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6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7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8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9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10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11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12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13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14.xml" ContentType="application/vnd.openxmlformats-officedocument.theme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15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16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7.xml" ContentType="application/vnd.openxmlformats-officedocument.theme+xml"/>
  <Override PartName="/ppt/tags/tag2.xml" ContentType="application/vnd.openxmlformats-officedocument.presentationml.tags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18.xml" ContentType="application/vnd.openxmlformats-officedocument.theme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19.xml" ContentType="application/vnd.openxmlformats-officedocument.theme+xml"/>
  <Override PartName="/ppt/theme/theme20.xml" ContentType="application/vnd.openxmlformats-officedocument.theme+xml"/>
  <Override PartName="/ppt/theme/theme2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4"/>
    <p:sldMasterId id="2147483806" r:id="rId5"/>
    <p:sldMasterId id="2147483816" r:id="rId6"/>
    <p:sldMasterId id="2147483825" r:id="rId7"/>
    <p:sldMasterId id="2147483832" r:id="rId8"/>
    <p:sldMasterId id="2147483837" r:id="rId9"/>
    <p:sldMasterId id="2147483853" r:id="rId10"/>
    <p:sldMasterId id="2147483869" r:id="rId11"/>
    <p:sldMasterId id="2147483876" r:id="rId12"/>
    <p:sldMasterId id="2147483898" r:id="rId13"/>
    <p:sldMasterId id="2147483944" r:id="rId14"/>
    <p:sldMasterId id="2147483978" r:id="rId15"/>
    <p:sldMasterId id="2147483986" r:id="rId16"/>
    <p:sldMasterId id="2147484042" r:id="rId17"/>
    <p:sldMasterId id="2147484050" r:id="rId18"/>
    <p:sldMasterId id="2147484056" r:id="rId19"/>
    <p:sldMasterId id="2147484060" r:id="rId20"/>
    <p:sldMasterId id="2147484090" r:id="rId21"/>
    <p:sldMasterId id="2147484110" r:id="rId22"/>
  </p:sldMasterIdLst>
  <p:notesMasterIdLst>
    <p:notesMasterId r:id="rId51"/>
  </p:notesMasterIdLst>
  <p:handoutMasterIdLst>
    <p:handoutMasterId r:id="rId52"/>
  </p:handoutMasterIdLst>
  <p:sldIdLst>
    <p:sldId id="8323" r:id="rId23"/>
    <p:sldId id="2146848915" r:id="rId24"/>
    <p:sldId id="2146849077" r:id="rId25"/>
    <p:sldId id="2146849079" r:id="rId26"/>
    <p:sldId id="2146849080" r:id="rId27"/>
    <p:sldId id="2146849086" r:id="rId28"/>
    <p:sldId id="2146848926" r:id="rId29"/>
    <p:sldId id="2146848924" r:id="rId30"/>
    <p:sldId id="2146848999" r:id="rId31"/>
    <p:sldId id="8343" r:id="rId32"/>
    <p:sldId id="2146848970" r:id="rId33"/>
    <p:sldId id="2146849002" r:id="rId34"/>
    <p:sldId id="2146848996" r:id="rId35"/>
    <p:sldId id="2146848997" r:id="rId36"/>
    <p:sldId id="2146849005" r:id="rId37"/>
    <p:sldId id="2146848971" r:id="rId38"/>
    <p:sldId id="2146848937" r:id="rId39"/>
    <p:sldId id="2146848939" r:id="rId40"/>
    <p:sldId id="2146848975" r:id="rId41"/>
    <p:sldId id="2146849063" r:id="rId42"/>
    <p:sldId id="288" r:id="rId43"/>
    <p:sldId id="2146849125" r:id="rId44"/>
    <p:sldId id="2146849127" r:id="rId45"/>
    <p:sldId id="289" r:id="rId46"/>
    <p:sldId id="2146849128" r:id="rId47"/>
    <p:sldId id="2146848979" r:id="rId48"/>
    <p:sldId id="2146848922" r:id="rId49"/>
    <p:sldId id="2146848884" r:id="rId50"/>
  </p:sldIdLst>
  <p:sldSz cx="18288000" cy="10287000"/>
  <p:notesSz cx="6797675" cy="9926638"/>
  <p:defaultTextStyle>
    <a:defPPr>
      <a:defRPr lang="uk-UA"/>
    </a:defPPr>
    <a:lvl1pPr marL="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1pPr>
    <a:lvl2pPr marL="6858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2pPr>
    <a:lvl3pPr marL="13716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3pPr>
    <a:lvl4pPr marL="20574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4pPr>
    <a:lvl5pPr marL="27432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5pPr>
    <a:lvl6pPr marL="34290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6pPr>
    <a:lvl7pPr marL="41148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7pPr>
    <a:lvl8pPr marL="48006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8pPr>
    <a:lvl9pPr marL="54864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F3051DB-D001-4476-BC3B-BFBAB24E3588}">
          <p14:sldIdLst>
            <p14:sldId id="8323"/>
            <p14:sldId id="2146848915"/>
            <p14:sldId id="2146849077"/>
            <p14:sldId id="2146849079"/>
            <p14:sldId id="2146849080"/>
            <p14:sldId id="2146849086"/>
            <p14:sldId id="2146848926"/>
            <p14:sldId id="2146848924"/>
            <p14:sldId id="2146848999"/>
            <p14:sldId id="8343"/>
            <p14:sldId id="2146848970"/>
            <p14:sldId id="2146849002"/>
            <p14:sldId id="2146848996"/>
            <p14:sldId id="2146848997"/>
            <p14:sldId id="2146849005"/>
            <p14:sldId id="2146848971"/>
            <p14:sldId id="2146848937"/>
            <p14:sldId id="2146848939"/>
            <p14:sldId id="2146848975"/>
          </p14:sldIdLst>
        </p14:section>
        <p14:section name="Default Section" id="{7F584583-4CFB-445D-9AA1-878992F6A6D9}">
          <p14:sldIdLst>
            <p14:sldId id="2146849063"/>
            <p14:sldId id="288"/>
            <p14:sldId id="2146849125"/>
            <p14:sldId id="2146849127"/>
            <p14:sldId id="289"/>
            <p14:sldId id="2146849128"/>
            <p14:sldId id="2146848979"/>
            <p14:sldId id="2146848922"/>
            <p14:sldId id="214684888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6007" userDrawn="1">
          <p15:clr>
            <a:srgbClr val="A4A3A4"/>
          </p15:clr>
        </p15:guide>
        <p15:guide id="2" pos="57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F74E22F-AC07-39DD-E00C-3704D963E870}" name="ΚΑΛΟΓΕΡΑΚΗΣ ΚΩΝΣΤΑΝΤΙΝΟΣ" initials="ΚΚ" userId="S::k.kalogerakis@hdb.gr::16d17eb3-f10e-4e45-8d77-866cec1c1e3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00"/>
    <a:srgbClr val="281F76"/>
    <a:srgbClr val="0F2755"/>
    <a:srgbClr val="CC9B00"/>
    <a:srgbClr val="81A3D9"/>
    <a:srgbClr val="0A091B"/>
    <a:srgbClr val="1B6A06"/>
    <a:srgbClr val="FFD54F"/>
    <a:srgbClr val="00CC00"/>
    <a:srgbClr val="7094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Μεσαίο στυλ 2 - Έμφαση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182" autoAdjust="0"/>
    <p:restoredTop sz="93453" autoAdjust="0"/>
  </p:normalViewPr>
  <p:slideViewPr>
    <p:cSldViewPr snapToGrid="0">
      <p:cViewPr varScale="1">
        <p:scale>
          <a:sx n="57" d="100"/>
          <a:sy n="57" d="100"/>
        </p:scale>
        <p:origin x="624" y="66"/>
      </p:cViewPr>
      <p:guideLst>
        <p:guide orient="horz" pos="6007"/>
        <p:guide pos="57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2416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4.xml"/><Relationship Id="rId39" Type="http://schemas.openxmlformats.org/officeDocument/2006/relationships/slide" Target="slides/slide17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12.xml"/><Relationship Id="rId42" Type="http://schemas.openxmlformats.org/officeDocument/2006/relationships/slide" Target="slides/slide20.xml"/><Relationship Id="rId47" Type="http://schemas.openxmlformats.org/officeDocument/2006/relationships/slide" Target="slides/slide25.xml"/><Relationship Id="rId50" Type="http://schemas.openxmlformats.org/officeDocument/2006/relationships/slide" Target="slides/slide28.xml"/><Relationship Id="rId55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3.xml"/><Relationship Id="rId33" Type="http://schemas.openxmlformats.org/officeDocument/2006/relationships/slide" Target="slides/slide11.xml"/><Relationship Id="rId38" Type="http://schemas.openxmlformats.org/officeDocument/2006/relationships/slide" Target="slides/slide16.xml"/><Relationship Id="rId46" Type="http://schemas.openxmlformats.org/officeDocument/2006/relationships/slide" Target="slides/slide2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7.xml"/><Relationship Id="rId41" Type="http://schemas.openxmlformats.org/officeDocument/2006/relationships/slide" Target="slides/slide19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2.xml"/><Relationship Id="rId32" Type="http://schemas.openxmlformats.org/officeDocument/2006/relationships/slide" Target="slides/slide10.xml"/><Relationship Id="rId37" Type="http://schemas.openxmlformats.org/officeDocument/2006/relationships/slide" Target="slides/slide15.xml"/><Relationship Id="rId40" Type="http://schemas.openxmlformats.org/officeDocument/2006/relationships/slide" Target="slides/slide18.xml"/><Relationship Id="rId45" Type="http://schemas.openxmlformats.org/officeDocument/2006/relationships/slide" Target="slides/slide23.xml"/><Relationship Id="rId53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slide" Target="slides/slide14.xml"/><Relationship Id="rId49" Type="http://schemas.openxmlformats.org/officeDocument/2006/relationships/slide" Target="slides/slide27.xml"/><Relationship Id="rId57" Type="http://schemas.microsoft.com/office/2018/10/relationships/authors" Target="author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9.xml"/><Relationship Id="rId44" Type="http://schemas.openxmlformats.org/officeDocument/2006/relationships/slide" Target="slides/slide22.xml"/><Relationship Id="rId52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5.xml"/><Relationship Id="rId30" Type="http://schemas.openxmlformats.org/officeDocument/2006/relationships/slide" Target="slides/slide8.xml"/><Relationship Id="rId35" Type="http://schemas.openxmlformats.org/officeDocument/2006/relationships/slide" Target="slides/slide13.xml"/><Relationship Id="rId43" Type="http://schemas.openxmlformats.org/officeDocument/2006/relationships/slide" Target="slides/slide21.xml"/><Relationship Id="rId48" Type="http://schemas.openxmlformats.org/officeDocument/2006/relationships/slide" Target="slides/slide26.xml"/><Relationship Id="rId56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\\FILESRV\common_ETEAN\_HDB\&#915;11%20-%20&#916;&#957;&#963;&#951;%20&#916;&#945;&#957;&#949;&#943;&#969;&#957;%20&amp;%20&#922;&#961;&#945;&#964;&#953;&#954;&#974;&#957;%20&#917;&#957;&#953;&#963;&#967;&#973;&#963;&#949;&#969;&#957;%20(&#915;1)\08.%20EIB_BGF\06&#946;.%20&#932;&#917;&#935;&#925;&#921;&#922;&#917;&#931;%20&#928;&#929;&#927;&#916;&#921;&#913;&#915;&#929;&#913;&#934;&#917;&#931;\&#928;&#929;&#927;&#933;&#928;&#927;&#923;&#927;&#915;&#921;&#931;&#924;&#927;&#921;%20&#916;&#929;&#913;&#931;&#917;&#937;&#925;%20&#928;&#929;&#927;&#931;%20&#922;&#933;&#928;\2%20&#924;&#917;&#932;&#913;%20&#932;&#919;&#925;%20&#913;&#925;&#913;&#922;&#913;&#932;&#913;&#925;&#927;&#924;&#919;\&#928;&#927;&#929;&#927;&#921;%20&#917;&#921;&#914;-&#928;&#916;&#917;_&#956;&#949;%20&#945;&#957;&#945;&#954;&#945;&#964;&#945;&#957;&#959;&#956;&#942;_090823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6398610428057417"/>
          <c:y val="1.5392684760726673E-2"/>
          <c:w val="0.50308936746708988"/>
          <c:h val="0.96799751253836974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270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l-GR"/>
    </a:p>
  </c:txPr>
  <c:externalData r:id="rId4">
    <c:autoUpdate val="0"/>
  </c:externalData>
  <c:userShapes r:id="rId5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l-GR" sz="2400">
                <a:latin typeface="Calibri" panose="020F0502020204030204" pitchFamily="34" charset="0"/>
                <a:cs typeface="Calibri" panose="020F0502020204030204" pitchFamily="34" charset="0"/>
              </a:rPr>
              <a:t>Κατανομή πόρων ταμείων </a:t>
            </a:r>
            <a:r>
              <a:rPr lang="en-US" sz="2400">
                <a:latin typeface="Calibri" panose="020F0502020204030204" pitchFamily="34" charset="0"/>
                <a:cs typeface="Calibri" panose="020F0502020204030204" pitchFamily="34" charset="0"/>
              </a:rPr>
              <a:t>BGF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l-GR"/>
        </a:p>
      </c:txPr>
    </c:title>
    <c:autoTitleDeleted val="0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>
                  <a:tint val="6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4641-4130-AB12-1E97AE9841BB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4641-4130-AB12-1E97AE9841BB}"/>
              </c:ext>
            </c:extLst>
          </c:dPt>
          <c:dPt>
            <c:idx val="2"/>
            <c:bubble3D val="0"/>
            <c:explosion val="2"/>
            <c:spPr>
              <a:solidFill>
                <a:schemeClr val="accent1">
                  <a:shade val="6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4641-4130-AB12-1E97AE9841BB}"/>
              </c:ext>
            </c:extLst>
          </c:dPt>
          <c:dLbls>
            <c:dLbl>
              <c:idx val="0"/>
              <c:layout>
                <c:manualLayout>
                  <c:x val="9.7625211428306768E-2"/>
                  <c:y val="-7.518247531316139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rgbClr val="CC9B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59459297-8019-4615-A04C-0EA324C92E4D}" type="VALUE">
                      <a:rPr lang="el-GR" sz="1800">
                        <a:solidFill>
                          <a:srgbClr val="CC9B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1800">
                          <a:solidFill>
                            <a:srgbClr val="CC9B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ΤΙΜΗ]</a:t>
                    </a:fld>
                    <a:r>
                      <a:rPr lang="el-GR" sz="1800">
                        <a:solidFill>
                          <a:srgbClr val="CC9B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εκ.€ </a:t>
                    </a:r>
                  </a:p>
                  <a:p>
                    <a:pPr>
                      <a:defRPr sz="1800">
                        <a:solidFill>
                          <a:srgbClr val="CC9B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pPr>
                    <a:r>
                      <a:rPr lang="el-GR" sz="1800" baseline="0">
                        <a:solidFill>
                          <a:srgbClr val="CC9B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fld id="{46D9F340-D069-4F73-BE78-3341DC19BC70}" type="PERCENTAGE">
                      <a:rPr lang="el-GR" sz="1800" baseline="0">
                        <a:solidFill>
                          <a:srgbClr val="CC9B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1800">
                          <a:solidFill>
                            <a:srgbClr val="CC9B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ΠΟΣΟΣΤΟ]</a:t>
                    </a:fld>
                    <a:endParaRPr lang="el-GR" sz="1800" baseline="0">
                      <a:solidFill>
                        <a:srgbClr val="CC9B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solidFill>
                  <a:srgbClr val="272733">
                    <a:lumMod val="10000"/>
                    <a:lumOff val="90000"/>
                  </a:srgbClr>
                </a:solidFill>
                <a:ln>
                  <a:solidFill>
                    <a:srgbClr val="3768B7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rgbClr val="CC9B0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043479370589211"/>
                      <c:h val="0.1256762952773956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4641-4130-AB12-1E97AE9841BB}"/>
                </c:ext>
              </c:extLst>
            </c:dLbl>
            <c:dLbl>
              <c:idx val="1"/>
              <c:layout>
                <c:manualLayout>
                  <c:x val="6.3198528896544398E-2"/>
                  <c:y val="8.83008801060066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rgbClr val="CC9B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F74A588D-81B4-4E7B-B8F9-C75740A745AF}" type="VALUE">
                      <a:rPr lang="el-GR" sz="1800">
                        <a:solidFill>
                          <a:srgbClr val="CC9B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1800">
                          <a:solidFill>
                            <a:srgbClr val="CC9B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ΤΙΜΗ]</a:t>
                    </a:fld>
                    <a:r>
                      <a:rPr lang="el-GR" sz="1800">
                        <a:solidFill>
                          <a:srgbClr val="CC9B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εκ. €</a:t>
                    </a:r>
                  </a:p>
                  <a:p>
                    <a:pPr>
                      <a:defRPr sz="1800">
                        <a:solidFill>
                          <a:srgbClr val="CC9B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pPr>
                    <a:r>
                      <a:rPr lang="el-GR" sz="1800" baseline="0">
                        <a:solidFill>
                          <a:srgbClr val="CC9B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</a:t>
                    </a:r>
                    <a:fld id="{57F2FBF7-037A-4FF9-B84B-DCB95F506D4F}" type="PERCENTAGE">
                      <a:rPr lang="el-GR" sz="1800" baseline="0">
                        <a:solidFill>
                          <a:srgbClr val="CC9B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1800">
                          <a:solidFill>
                            <a:srgbClr val="CC9B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ΠΟΣΟΣΤΟ]</a:t>
                    </a:fld>
                    <a:endParaRPr lang="el-GR" sz="1800" baseline="0">
                      <a:solidFill>
                        <a:srgbClr val="CC9B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c:rich>
              </c:tx>
              <c:spPr>
                <a:solidFill>
                  <a:srgbClr val="272733">
                    <a:lumMod val="10000"/>
                    <a:lumOff val="90000"/>
                  </a:srgbClr>
                </a:solidFill>
                <a:ln>
                  <a:solidFill>
                    <a:srgbClr val="3768B7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rgbClr val="CC9B0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815423471195273"/>
                      <c:h val="0.1394314534617148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4641-4130-AB12-1E97AE9841BB}"/>
                </c:ext>
              </c:extLst>
            </c:dLbl>
            <c:dLbl>
              <c:idx val="2"/>
              <c:layout>
                <c:manualLayout>
                  <c:x val="-5.2478532066292514E-2"/>
                  <c:y val="0.20243055013669109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rgbClr val="CC9B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74EE75A6-7E7A-4476-A25F-6E50C4EFA503}" type="VALUE">
                      <a:rPr lang="el-GR" sz="1800">
                        <a:solidFill>
                          <a:srgbClr val="CC9B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1800">
                          <a:solidFill>
                            <a:srgbClr val="CC9B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ΤΙΜΗ]</a:t>
                    </a:fld>
                    <a:r>
                      <a:rPr lang="el-GR" sz="1800" dirty="0">
                        <a:solidFill>
                          <a:srgbClr val="CC9B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εκ. € </a:t>
                    </a:r>
                  </a:p>
                  <a:p>
                    <a:pPr>
                      <a:defRPr sz="1800">
                        <a:solidFill>
                          <a:srgbClr val="CC9B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pPr>
                    <a:fld id="{F5320044-24A9-4BC5-A0C6-B0C33CF97BC2}" type="PERCENTAGE">
                      <a:rPr lang="el-GR" sz="1800" baseline="0">
                        <a:solidFill>
                          <a:srgbClr val="CC9B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pPr>
                        <a:defRPr sz="1800">
                          <a:solidFill>
                            <a:srgbClr val="CC9B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ΠΟΣΟΣΤΟ]</a:t>
                    </a:fld>
                    <a:endParaRPr lang="el-GR"/>
                  </a:p>
                </c:rich>
              </c:tx>
              <c:spPr>
                <a:solidFill>
                  <a:srgbClr val="272733">
                    <a:lumMod val="10000"/>
                    <a:lumOff val="90000"/>
                  </a:srgbClr>
                </a:solidFill>
                <a:ln>
                  <a:solidFill>
                    <a:srgbClr val="3768B7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rgbClr val="CC9B0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388028600924156"/>
                      <c:h val="0.1348464007336084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4641-4130-AB12-1E97AE9841BB}"/>
                </c:ext>
              </c:extLst>
            </c:dLbl>
            <c:spPr>
              <a:solidFill>
                <a:srgbClr val="272733">
                  <a:lumMod val="10000"/>
                  <a:lumOff val="90000"/>
                </a:srgbClr>
              </a:solidFill>
              <a:ln>
                <a:solidFill>
                  <a:srgbClr val="3768B7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rgbClr val="CC9B00"/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2!$A$1:$C$1</c:f>
              <c:strCache>
                <c:ptCount val="3"/>
                <c:pt idx="0">
                  <c:v>Πράσινα Συγχρηματοδοτούμενα Δάνεια</c:v>
                </c:pt>
                <c:pt idx="1">
                  <c:v>Δάνεια Ψηφιακής Αναβάθμισης</c:v>
                </c:pt>
                <c:pt idx="2">
                  <c:v>Δάνεια Ρευστότητας Επιχειρήσεων</c:v>
                </c:pt>
              </c:strCache>
            </c:strRef>
          </c:cat>
          <c:val>
            <c:numRef>
              <c:f>Sheet2!$A$2:$C$2</c:f>
              <c:numCache>
                <c:formatCode>#,##0</c:formatCode>
                <c:ptCount val="3"/>
                <c:pt idx="0">
                  <c:v>415</c:v>
                </c:pt>
                <c:pt idx="1">
                  <c:v>175</c:v>
                </c:pt>
                <c:pt idx="2">
                  <c:v>7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641-4130-AB12-1E97AE9841BB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7793721681521948"/>
          <c:y val="0.42764074364839344"/>
          <c:w val="0.42206278318478058"/>
          <c:h val="0.26842474606491329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l-G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el-GR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6F873E3-A133-4836-927C-7C91B6322FAE}" type="doc">
      <dgm:prSet loTypeId="urn:microsoft.com/office/officeart/2005/8/layout/hierarchy4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en-US"/>
        </a:p>
      </dgm:t>
    </dgm:pt>
    <dgm:pt modelId="{B9F54962-AA17-4F51-B1DE-77060D8DF73C}">
      <dgm:prSet phldrT="[Text]" custT="1"/>
      <dgm:spPr>
        <a:xfrm>
          <a:off x="4550" y="1181"/>
          <a:ext cx="6227234" cy="1177870"/>
        </a:xfrm>
        <a:prstGeom prst="roundRect">
          <a:avLst>
            <a:gd name="adj" fmla="val 10000"/>
          </a:avLst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44546A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l-GR" sz="2800" dirty="0">
              <a:solidFill>
                <a:srgbClr val="44546A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/>
              <a:ea typeface="+mn-ea"/>
              <a:cs typeface="+mn-cs"/>
            </a:rPr>
            <a:t>Ταμείο Χαρτοφυλακίου</a:t>
          </a:r>
        </a:p>
        <a:p>
          <a:pPr>
            <a:buNone/>
          </a:pPr>
          <a:r>
            <a:rPr lang="el-GR" sz="2800" dirty="0">
              <a:solidFill>
                <a:srgbClr val="44546A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/>
              <a:ea typeface="+mn-ea"/>
              <a:cs typeface="+mn-cs"/>
            </a:rPr>
            <a:t>Δίκαιης Αναπτυξιακής Μετάβασης </a:t>
          </a:r>
          <a:endParaRPr lang="en-US" sz="2800" dirty="0">
            <a:solidFill>
              <a:srgbClr val="44546A">
                <a:hueOff val="0"/>
                <a:satOff val="0"/>
                <a:lumOff val="0"/>
                <a:alphaOff val="0"/>
              </a:srgbClr>
            </a:solidFill>
            <a:latin typeface="Calibri" panose="020F0502020204030204"/>
            <a:ea typeface="+mn-ea"/>
            <a:cs typeface="+mn-cs"/>
          </a:endParaRPr>
        </a:p>
      </dgm:t>
    </dgm:pt>
    <dgm:pt modelId="{92F838AE-E2C5-4FD5-967C-FB67139102B5}" type="parTrans" cxnId="{3E169EBC-4762-40D3-9D98-8DB1EBA128F5}">
      <dgm:prSet/>
      <dgm:spPr/>
      <dgm:t>
        <a:bodyPr/>
        <a:lstStyle/>
        <a:p>
          <a:endParaRPr lang="en-US"/>
        </a:p>
      </dgm:t>
    </dgm:pt>
    <dgm:pt modelId="{CF25CE8E-B66D-4C52-8AF5-4DB9445DBA1C}" type="sibTrans" cxnId="{3E169EBC-4762-40D3-9D98-8DB1EBA128F5}">
      <dgm:prSet/>
      <dgm:spPr/>
      <dgm:t>
        <a:bodyPr/>
        <a:lstStyle/>
        <a:p>
          <a:endParaRPr lang="en-US"/>
        </a:p>
      </dgm:t>
    </dgm:pt>
    <dgm:pt modelId="{7C3B6413-1791-4722-8A8C-6C1A7F23B44C}">
      <dgm:prSet phldrT="[Text]" custT="1"/>
      <dgm:spPr>
        <a:xfrm>
          <a:off x="17257" y="1583425"/>
          <a:ext cx="1651703" cy="1177870"/>
        </a:xfrm>
        <a:prstGeom prst="roundRect">
          <a:avLst>
            <a:gd name="adj" fmla="val 10000"/>
          </a:avLst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44546A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l-GR" sz="1800" b="1" dirty="0">
              <a:solidFill>
                <a:srgbClr val="44546A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/>
              <a:ea typeface="+mn-ea"/>
              <a:cs typeface="+mn-cs"/>
            </a:rPr>
            <a:t>Ταμείο Συγχρηματοδοτούμενων Δανείων Δίκαιης Αναπτυξιακής Μετάβασης</a:t>
          </a:r>
          <a:endParaRPr lang="en-US" sz="1800" b="1" dirty="0">
            <a:solidFill>
              <a:srgbClr val="44546A">
                <a:hueOff val="0"/>
                <a:satOff val="0"/>
                <a:lumOff val="0"/>
                <a:alphaOff val="0"/>
              </a:srgbClr>
            </a:solidFill>
            <a:latin typeface="Calibri" panose="020F0502020204030204"/>
            <a:ea typeface="+mn-ea"/>
            <a:cs typeface="+mn-cs"/>
          </a:endParaRPr>
        </a:p>
      </dgm:t>
    </dgm:pt>
    <dgm:pt modelId="{6A7F8810-4C7A-476D-8FEE-32CD92E576A3}" type="parTrans" cxnId="{C6405DB2-17BD-42E6-BEE2-E59D11780788}">
      <dgm:prSet/>
      <dgm:spPr/>
      <dgm:t>
        <a:bodyPr/>
        <a:lstStyle/>
        <a:p>
          <a:endParaRPr lang="en-US"/>
        </a:p>
      </dgm:t>
    </dgm:pt>
    <dgm:pt modelId="{212D1D57-870C-408F-80B8-C19F770009D2}" type="sibTrans" cxnId="{C6405DB2-17BD-42E6-BEE2-E59D11780788}">
      <dgm:prSet/>
      <dgm:spPr/>
      <dgm:t>
        <a:bodyPr/>
        <a:lstStyle/>
        <a:p>
          <a:endParaRPr lang="en-US"/>
        </a:p>
      </dgm:t>
    </dgm:pt>
    <dgm:pt modelId="{F8E11E50-A5BE-438D-900E-F987B570EFCB}">
      <dgm:prSet phldrT="[Text]" custT="1"/>
      <dgm:spPr>
        <a:xfrm>
          <a:off x="1726589" y="1594933"/>
          <a:ext cx="1149151" cy="1177870"/>
        </a:xfrm>
        <a:prstGeom prst="roundRect">
          <a:avLst>
            <a:gd name="adj" fmla="val 10000"/>
          </a:avLst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44546A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l-GR" sz="1800" b="1" dirty="0">
              <a:solidFill>
                <a:srgbClr val="44546A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/>
              <a:ea typeface="+mn-ea"/>
              <a:cs typeface="+mn-cs"/>
            </a:rPr>
            <a:t>Ταμείο Εγγυήσεων Επενδυτικών Δανείων Δίκαιης Αναπτυξιακής Μετάβασης</a:t>
          </a:r>
          <a:endParaRPr lang="en-US" sz="1800" b="1" dirty="0">
            <a:solidFill>
              <a:srgbClr val="44546A">
                <a:hueOff val="0"/>
                <a:satOff val="0"/>
                <a:lumOff val="0"/>
                <a:alphaOff val="0"/>
              </a:srgbClr>
            </a:solidFill>
            <a:latin typeface="Calibri" panose="020F0502020204030204"/>
            <a:ea typeface="+mn-ea"/>
            <a:cs typeface="+mn-cs"/>
          </a:endParaRPr>
        </a:p>
      </dgm:t>
    </dgm:pt>
    <dgm:pt modelId="{ABF57ED9-7913-49D2-A571-AA27CEF32F29}" type="parTrans" cxnId="{E53C10AB-34B5-474E-A0B5-89465F9B1C6B}">
      <dgm:prSet/>
      <dgm:spPr/>
      <dgm:t>
        <a:bodyPr/>
        <a:lstStyle/>
        <a:p>
          <a:endParaRPr lang="en-US"/>
        </a:p>
      </dgm:t>
    </dgm:pt>
    <dgm:pt modelId="{585EAC04-987E-4A4B-AC18-03924D15F172}" type="sibTrans" cxnId="{E53C10AB-34B5-474E-A0B5-89465F9B1C6B}">
      <dgm:prSet/>
      <dgm:spPr/>
      <dgm:t>
        <a:bodyPr/>
        <a:lstStyle/>
        <a:p>
          <a:endParaRPr lang="en-US"/>
        </a:p>
      </dgm:t>
    </dgm:pt>
    <dgm:pt modelId="{9D0DFC12-9854-4C55-B597-2DFC6B8B2083}" type="pres">
      <dgm:prSet presAssocID="{D6F873E3-A133-4836-927C-7C91B6322FAE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FAD23D3E-FFE7-464E-8406-8C38BEBFC67B}" type="pres">
      <dgm:prSet presAssocID="{B9F54962-AA17-4F51-B1DE-77060D8DF73C}" presName="vertOne" presStyleCnt="0"/>
      <dgm:spPr/>
    </dgm:pt>
    <dgm:pt modelId="{D1AE0AAB-5F24-4120-B447-CF5AAFA79A64}" type="pres">
      <dgm:prSet presAssocID="{B9F54962-AA17-4F51-B1DE-77060D8DF73C}" presName="txOne" presStyleLbl="node0" presStyleIdx="0" presStyleCnt="1">
        <dgm:presLayoutVars>
          <dgm:chPref val="3"/>
        </dgm:presLayoutVars>
      </dgm:prSet>
      <dgm:spPr/>
    </dgm:pt>
    <dgm:pt modelId="{27A89C1B-E7A7-492D-9FB5-F32590FC257D}" type="pres">
      <dgm:prSet presAssocID="{B9F54962-AA17-4F51-B1DE-77060D8DF73C}" presName="parTransOne" presStyleCnt="0"/>
      <dgm:spPr/>
    </dgm:pt>
    <dgm:pt modelId="{DEB2F16C-DFEA-4094-9A72-8C6E28C92860}" type="pres">
      <dgm:prSet presAssocID="{B9F54962-AA17-4F51-B1DE-77060D8DF73C}" presName="horzOne" presStyleCnt="0"/>
      <dgm:spPr/>
    </dgm:pt>
    <dgm:pt modelId="{116214DB-F2FD-49B3-8F50-0F00689B8A53}" type="pres">
      <dgm:prSet presAssocID="{7C3B6413-1791-4722-8A8C-6C1A7F23B44C}" presName="vertTwo" presStyleCnt="0"/>
      <dgm:spPr/>
    </dgm:pt>
    <dgm:pt modelId="{483B41D9-2995-45BF-BCF5-D9990BABE538}" type="pres">
      <dgm:prSet presAssocID="{7C3B6413-1791-4722-8A8C-6C1A7F23B44C}" presName="txTwo" presStyleLbl="node2" presStyleIdx="0" presStyleCnt="2" custScaleX="98047" custLinFactY="15047" custLinFactNeighborX="-583" custLinFactNeighborY="100000">
        <dgm:presLayoutVars>
          <dgm:chPref val="3"/>
        </dgm:presLayoutVars>
      </dgm:prSet>
      <dgm:spPr/>
    </dgm:pt>
    <dgm:pt modelId="{C9E57223-17A6-4EC6-8528-47E62C62868C}" type="pres">
      <dgm:prSet presAssocID="{7C3B6413-1791-4722-8A8C-6C1A7F23B44C}" presName="horzTwo" presStyleCnt="0"/>
      <dgm:spPr/>
    </dgm:pt>
    <dgm:pt modelId="{32B72528-2E52-4169-BE9D-87CC47D98E2F}" type="pres">
      <dgm:prSet presAssocID="{212D1D57-870C-408F-80B8-C19F770009D2}" presName="sibSpaceTwo" presStyleCnt="0"/>
      <dgm:spPr/>
    </dgm:pt>
    <dgm:pt modelId="{EA52DA24-0E06-4783-9BDD-22D1CA704658}" type="pres">
      <dgm:prSet presAssocID="{F8E11E50-A5BE-438D-900E-F987B570EFCB}" presName="vertTwo" presStyleCnt="0"/>
      <dgm:spPr/>
    </dgm:pt>
    <dgm:pt modelId="{DF77A102-B1D7-4D0B-B615-D9996C79945D}" type="pres">
      <dgm:prSet presAssocID="{F8E11E50-A5BE-438D-900E-F987B570EFCB}" presName="txTwo" presStyleLbl="node2" presStyleIdx="1" presStyleCnt="2" custScaleX="90184" custLinFactNeighborX="-5061" custLinFactNeighborY="23034">
        <dgm:presLayoutVars>
          <dgm:chPref val="3"/>
        </dgm:presLayoutVars>
      </dgm:prSet>
      <dgm:spPr/>
    </dgm:pt>
    <dgm:pt modelId="{74D76DBA-0B2A-47CA-9A5B-557488634538}" type="pres">
      <dgm:prSet presAssocID="{F8E11E50-A5BE-438D-900E-F987B570EFCB}" presName="horzTwo" presStyleCnt="0"/>
      <dgm:spPr/>
    </dgm:pt>
  </dgm:ptLst>
  <dgm:cxnLst>
    <dgm:cxn modelId="{94FF5C3E-2844-4F1B-9C3D-BBA414DE1237}" type="presOf" srcId="{7C3B6413-1791-4722-8A8C-6C1A7F23B44C}" destId="{483B41D9-2995-45BF-BCF5-D9990BABE538}" srcOrd="0" destOrd="0" presId="urn:microsoft.com/office/officeart/2005/8/layout/hierarchy4"/>
    <dgm:cxn modelId="{E53C10AB-34B5-474E-A0B5-89465F9B1C6B}" srcId="{B9F54962-AA17-4F51-B1DE-77060D8DF73C}" destId="{F8E11E50-A5BE-438D-900E-F987B570EFCB}" srcOrd="1" destOrd="0" parTransId="{ABF57ED9-7913-49D2-A571-AA27CEF32F29}" sibTransId="{585EAC04-987E-4A4B-AC18-03924D15F172}"/>
    <dgm:cxn modelId="{B694DAAC-DBB9-47A5-92AC-FDF1CF8FB06A}" type="presOf" srcId="{D6F873E3-A133-4836-927C-7C91B6322FAE}" destId="{9D0DFC12-9854-4C55-B597-2DFC6B8B2083}" srcOrd="0" destOrd="0" presId="urn:microsoft.com/office/officeart/2005/8/layout/hierarchy4"/>
    <dgm:cxn modelId="{C6405DB2-17BD-42E6-BEE2-E59D11780788}" srcId="{B9F54962-AA17-4F51-B1DE-77060D8DF73C}" destId="{7C3B6413-1791-4722-8A8C-6C1A7F23B44C}" srcOrd="0" destOrd="0" parTransId="{6A7F8810-4C7A-476D-8FEE-32CD92E576A3}" sibTransId="{212D1D57-870C-408F-80B8-C19F770009D2}"/>
    <dgm:cxn modelId="{3E169EBC-4762-40D3-9D98-8DB1EBA128F5}" srcId="{D6F873E3-A133-4836-927C-7C91B6322FAE}" destId="{B9F54962-AA17-4F51-B1DE-77060D8DF73C}" srcOrd="0" destOrd="0" parTransId="{92F838AE-E2C5-4FD5-967C-FB67139102B5}" sibTransId="{CF25CE8E-B66D-4C52-8AF5-4DB9445DBA1C}"/>
    <dgm:cxn modelId="{BCBD60C4-6A87-46DC-BC84-A2D279849C8D}" type="presOf" srcId="{B9F54962-AA17-4F51-B1DE-77060D8DF73C}" destId="{D1AE0AAB-5F24-4120-B447-CF5AAFA79A64}" srcOrd="0" destOrd="0" presId="urn:microsoft.com/office/officeart/2005/8/layout/hierarchy4"/>
    <dgm:cxn modelId="{A5E31CE5-529A-420C-A55D-97503A2C00AF}" type="presOf" srcId="{F8E11E50-A5BE-438D-900E-F987B570EFCB}" destId="{DF77A102-B1D7-4D0B-B615-D9996C79945D}" srcOrd="0" destOrd="0" presId="urn:microsoft.com/office/officeart/2005/8/layout/hierarchy4"/>
    <dgm:cxn modelId="{9D77D436-3FF8-4AA2-90C9-51DD07B7F2DB}" type="presParOf" srcId="{9D0DFC12-9854-4C55-B597-2DFC6B8B2083}" destId="{FAD23D3E-FFE7-464E-8406-8C38BEBFC67B}" srcOrd="0" destOrd="0" presId="urn:microsoft.com/office/officeart/2005/8/layout/hierarchy4"/>
    <dgm:cxn modelId="{7C16542C-8047-415D-9A8E-3208909AF16F}" type="presParOf" srcId="{FAD23D3E-FFE7-464E-8406-8C38BEBFC67B}" destId="{D1AE0AAB-5F24-4120-B447-CF5AAFA79A64}" srcOrd="0" destOrd="0" presId="urn:microsoft.com/office/officeart/2005/8/layout/hierarchy4"/>
    <dgm:cxn modelId="{FF45FC62-14C4-490F-A0D8-20F2CCCB5F5F}" type="presParOf" srcId="{FAD23D3E-FFE7-464E-8406-8C38BEBFC67B}" destId="{27A89C1B-E7A7-492D-9FB5-F32590FC257D}" srcOrd="1" destOrd="0" presId="urn:microsoft.com/office/officeart/2005/8/layout/hierarchy4"/>
    <dgm:cxn modelId="{EB118E9B-B5C1-41B3-A4AA-B4DA7CCAD616}" type="presParOf" srcId="{FAD23D3E-FFE7-464E-8406-8C38BEBFC67B}" destId="{DEB2F16C-DFEA-4094-9A72-8C6E28C92860}" srcOrd="2" destOrd="0" presId="urn:microsoft.com/office/officeart/2005/8/layout/hierarchy4"/>
    <dgm:cxn modelId="{FCA0BFC6-A687-409E-B366-0AC0BFACD13A}" type="presParOf" srcId="{DEB2F16C-DFEA-4094-9A72-8C6E28C92860}" destId="{116214DB-F2FD-49B3-8F50-0F00689B8A53}" srcOrd="0" destOrd="0" presId="urn:microsoft.com/office/officeart/2005/8/layout/hierarchy4"/>
    <dgm:cxn modelId="{B8587B55-D449-4E4E-BCE7-1815E79673F9}" type="presParOf" srcId="{116214DB-F2FD-49B3-8F50-0F00689B8A53}" destId="{483B41D9-2995-45BF-BCF5-D9990BABE538}" srcOrd="0" destOrd="0" presId="urn:microsoft.com/office/officeart/2005/8/layout/hierarchy4"/>
    <dgm:cxn modelId="{1E52386B-76B2-48D7-B25C-A742D5B9BADB}" type="presParOf" srcId="{116214DB-F2FD-49B3-8F50-0F00689B8A53}" destId="{C9E57223-17A6-4EC6-8528-47E62C62868C}" srcOrd="1" destOrd="0" presId="urn:microsoft.com/office/officeart/2005/8/layout/hierarchy4"/>
    <dgm:cxn modelId="{EC11C5CA-131C-4A76-B574-15E3956B5795}" type="presParOf" srcId="{DEB2F16C-DFEA-4094-9A72-8C6E28C92860}" destId="{32B72528-2E52-4169-BE9D-87CC47D98E2F}" srcOrd="1" destOrd="0" presId="urn:microsoft.com/office/officeart/2005/8/layout/hierarchy4"/>
    <dgm:cxn modelId="{1F89AEF0-DD8B-42D5-8B64-C50B776FDC71}" type="presParOf" srcId="{DEB2F16C-DFEA-4094-9A72-8C6E28C92860}" destId="{EA52DA24-0E06-4783-9BDD-22D1CA704658}" srcOrd="2" destOrd="0" presId="urn:microsoft.com/office/officeart/2005/8/layout/hierarchy4"/>
    <dgm:cxn modelId="{1CD2918E-7034-4D5E-91AA-98790C3B9375}" type="presParOf" srcId="{EA52DA24-0E06-4783-9BDD-22D1CA704658}" destId="{DF77A102-B1D7-4D0B-B615-D9996C79945D}" srcOrd="0" destOrd="0" presId="urn:microsoft.com/office/officeart/2005/8/layout/hierarchy4"/>
    <dgm:cxn modelId="{BC9C227B-78BD-447E-9588-AFC6BDDA8A26}" type="presParOf" srcId="{EA52DA24-0E06-4783-9BDD-22D1CA704658}" destId="{74D76DBA-0B2A-47CA-9A5B-557488634538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1AE0AAB-5F24-4120-B447-CF5AAFA79A64}">
      <dsp:nvSpPr>
        <dsp:cNvPr id="0" name=""/>
        <dsp:cNvSpPr/>
      </dsp:nvSpPr>
      <dsp:spPr>
        <a:xfrm>
          <a:off x="6249" y="1364"/>
          <a:ext cx="8414259" cy="2982929"/>
        </a:xfrm>
        <a:prstGeom prst="roundRect">
          <a:avLst>
            <a:gd name="adj" fmla="val 10000"/>
          </a:avLst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44546A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800" kern="1200" dirty="0">
              <a:solidFill>
                <a:srgbClr val="44546A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/>
              <a:ea typeface="+mn-ea"/>
              <a:cs typeface="+mn-cs"/>
            </a:rPr>
            <a:t>Ταμείο Χαρτοφυλακίου</a:t>
          </a:r>
        </a:p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2800" kern="1200" dirty="0">
              <a:solidFill>
                <a:srgbClr val="44546A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/>
              <a:ea typeface="+mn-ea"/>
              <a:cs typeface="+mn-cs"/>
            </a:rPr>
            <a:t>Δίκαιης Αναπτυξιακής Μετάβασης </a:t>
          </a:r>
          <a:endParaRPr lang="en-US" sz="2800" kern="1200" dirty="0">
            <a:solidFill>
              <a:srgbClr val="44546A">
                <a:hueOff val="0"/>
                <a:satOff val="0"/>
                <a:lumOff val="0"/>
                <a:alphaOff val="0"/>
              </a:srgbClr>
            </a:solidFill>
            <a:latin typeface="Calibri" panose="020F0502020204030204"/>
            <a:ea typeface="+mn-ea"/>
            <a:cs typeface="+mn-cs"/>
          </a:endParaRPr>
        </a:p>
      </dsp:txBody>
      <dsp:txXfrm>
        <a:off x="93616" y="88731"/>
        <a:ext cx="8239525" cy="2808195"/>
      </dsp:txXfrm>
    </dsp:sp>
    <dsp:sp modelId="{483B41D9-2995-45BF-BCF5-D9990BABE538}">
      <dsp:nvSpPr>
        <dsp:cNvPr id="0" name=""/>
        <dsp:cNvSpPr/>
      </dsp:nvSpPr>
      <dsp:spPr>
        <a:xfrm>
          <a:off x="0" y="3212850"/>
          <a:ext cx="4195640" cy="2982929"/>
        </a:xfrm>
        <a:prstGeom prst="roundRect">
          <a:avLst>
            <a:gd name="adj" fmla="val 10000"/>
          </a:avLst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44546A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800" b="1" kern="1200" dirty="0">
              <a:solidFill>
                <a:srgbClr val="44546A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/>
              <a:ea typeface="+mn-ea"/>
              <a:cs typeface="+mn-cs"/>
            </a:rPr>
            <a:t>Ταμείο Συγχρηματοδοτούμενων Δανείων Δίκαιης Αναπτυξιακής Μετάβασης</a:t>
          </a:r>
          <a:endParaRPr lang="en-US" sz="1800" b="1" kern="1200" dirty="0">
            <a:solidFill>
              <a:srgbClr val="44546A">
                <a:hueOff val="0"/>
                <a:satOff val="0"/>
                <a:lumOff val="0"/>
                <a:alphaOff val="0"/>
              </a:srgbClr>
            </a:solidFill>
            <a:latin typeface="Calibri" panose="020F0502020204030204"/>
            <a:ea typeface="+mn-ea"/>
            <a:cs typeface="+mn-cs"/>
          </a:endParaRPr>
        </a:p>
      </dsp:txBody>
      <dsp:txXfrm>
        <a:off x="87367" y="3300217"/>
        <a:ext cx="4020906" cy="2808195"/>
      </dsp:txXfrm>
    </dsp:sp>
    <dsp:sp modelId="{DF77A102-B1D7-4D0B-B615-D9996C79945D}">
      <dsp:nvSpPr>
        <dsp:cNvPr id="0" name=""/>
        <dsp:cNvSpPr/>
      </dsp:nvSpPr>
      <dsp:spPr>
        <a:xfrm>
          <a:off x="4344772" y="3212850"/>
          <a:ext cx="3859165" cy="2982929"/>
        </a:xfrm>
        <a:prstGeom prst="roundRect">
          <a:avLst>
            <a:gd name="adj" fmla="val 10000"/>
          </a:avLst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44546A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800" b="1" kern="1200" dirty="0">
              <a:solidFill>
                <a:srgbClr val="44546A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/>
              <a:ea typeface="+mn-ea"/>
              <a:cs typeface="+mn-cs"/>
            </a:rPr>
            <a:t>Ταμείο Εγγυήσεων Επενδυτικών Δανείων Δίκαιης Αναπτυξιακής Μετάβασης</a:t>
          </a:r>
          <a:endParaRPr lang="en-US" sz="1800" b="1" kern="1200" dirty="0">
            <a:solidFill>
              <a:srgbClr val="44546A">
                <a:hueOff val="0"/>
                <a:satOff val="0"/>
                <a:lumOff val="0"/>
                <a:alphaOff val="0"/>
              </a:srgbClr>
            </a:solidFill>
            <a:latin typeface="Calibri" panose="020F0502020204030204"/>
            <a:ea typeface="+mn-ea"/>
            <a:cs typeface="+mn-cs"/>
          </a:endParaRPr>
        </a:p>
      </dsp:txBody>
      <dsp:txXfrm>
        <a:off x="4432139" y="3300217"/>
        <a:ext cx="3684431" cy="280819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4866</cdr:x>
      <cdr:y>0.70489</cdr:y>
    </cdr:from>
    <cdr:to>
      <cdr:x>0.85242</cdr:x>
      <cdr:y>0.9699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F89AF557-B41B-8AE8-2EF6-2D7847E5407A}"/>
            </a:ext>
          </a:extLst>
        </cdr:cNvPr>
        <cdr:cNvSpPr txBox="1"/>
      </cdr:nvSpPr>
      <cdr:spPr>
        <a:xfrm xmlns:a="http://schemas.openxmlformats.org/drawingml/2006/main">
          <a:off x="739504" y="2465615"/>
          <a:ext cx="3500832" cy="92695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 anchor="ctr"/>
        <a:lstStyle xmlns:a="http://schemas.openxmlformats.org/drawingml/2006/main"/>
        <a:p xmlns:a="http://schemas.openxmlformats.org/drawingml/2006/main">
          <a:pPr algn="ctr"/>
          <a:r>
            <a:rPr lang="el-GR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Απορρόφηση σε επίπεδο </a:t>
          </a:r>
          <a:r>
            <a:rPr lang="el-GR" sz="2000" b="0" i="0" u="none" strike="noStrike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Εγκρίσεων</a:t>
          </a:r>
          <a:endParaRPr lang="el-GR" sz="20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01021</cdr:x>
      <cdr:y>0.01674</cdr:y>
    </cdr:from>
    <cdr:to>
      <cdr:x>0.88704</cdr:x>
      <cdr:y>0.7298</cdr:y>
    </cdr:to>
    <cdr:pic>
      <cdr:nvPicPr>
        <cdr:cNvPr id="3" name="Εικόνα 2">
          <a:extLst xmlns:a="http://schemas.openxmlformats.org/drawingml/2006/main">
            <a:ext uri="{FF2B5EF4-FFF2-40B4-BE49-F238E27FC236}">
              <a16:creationId xmlns:a16="http://schemas.microsoft.com/office/drawing/2014/main" id="{851DAA15-D8EC-7FBD-7354-07525B32B80E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>
          <a:extLst>
            <a:ext uri="{28A0092B-C50C-407E-A947-70E740481C1C}">
              <a14:useLocalDpi xmlns:a14="http://schemas.microsoft.com/office/drawing/2010/main" val="0"/>
            </a:ext>
          </a:extLst>
        </a:blip>
        <a:srcRect xmlns:a="http://schemas.openxmlformats.org/drawingml/2006/main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42297" y="58552"/>
          <a:ext cx="3631631" cy="2494202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</cdr:pic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κεφαλίδας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8" cy="498057"/>
          </a:xfrm>
          <a:prstGeom prst="rect">
            <a:avLst/>
          </a:prstGeom>
        </p:spPr>
        <p:txBody>
          <a:bodyPr vert="horz" lIns="92255" tIns="46127" rIns="92255" bIns="46127" rtlCol="0"/>
          <a:lstStyle>
            <a:lvl1pPr algn="l">
              <a:defRPr sz="1200"/>
            </a:lvl1pPr>
          </a:lstStyle>
          <a:p>
            <a:endParaRPr lang="el-GR" dirty="0">
              <a:latin typeface="Arial" panose="020B0604020202020204" pitchFamily="34" charset="0"/>
            </a:endParaRPr>
          </a:p>
        </p:txBody>
      </p:sp>
      <p:sp>
        <p:nvSpPr>
          <p:cNvPr id="3" name="Θέση ημερομηνίας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8" cy="498057"/>
          </a:xfrm>
          <a:prstGeom prst="rect">
            <a:avLst/>
          </a:prstGeom>
        </p:spPr>
        <p:txBody>
          <a:bodyPr vert="horz" lIns="92255" tIns="46127" rIns="92255" bIns="46127" rtlCol="0"/>
          <a:lstStyle>
            <a:lvl1pPr algn="r">
              <a:defRPr sz="1200"/>
            </a:lvl1pPr>
          </a:lstStyle>
          <a:p>
            <a:fld id="{C65812B2-C573-4688-81DA-A299F9899EB6}" type="datetimeFigureOut">
              <a:rPr lang="el-GR" smtClean="0">
                <a:latin typeface="Arial" panose="020B0604020202020204" pitchFamily="34" charset="0"/>
              </a:rPr>
              <a:t>15/3/2024</a:t>
            </a:fld>
            <a:endParaRPr lang="el-GR" dirty="0">
              <a:latin typeface="Arial" panose="020B0604020202020204" pitchFamily="34" charset="0"/>
            </a:endParaRPr>
          </a:p>
        </p:txBody>
      </p:sp>
      <p:sp>
        <p:nvSpPr>
          <p:cNvPr id="4" name="Θέση υποσέλιδου 3"/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8" cy="498055"/>
          </a:xfrm>
          <a:prstGeom prst="rect">
            <a:avLst/>
          </a:prstGeom>
        </p:spPr>
        <p:txBody>
          <a:bodyPr vert="horz" lIns="92255" tIns="46127" rIns="92255" bIns="46127" rtlCol="0" anchor="b"/>
          <a:lstStyle>
            <a:lvl1pPr algn="l">
              <a:defRPr sz="1200"/>
            </a:lvl1pPr>
          </a:lstStyle>
          <a:p>
            <a:endParaRPr lang="el-GR" dirty="0">
              <a:latin typeface="Arial" panose="020B0604020202020204" pitchFamily="34" charset="0"/>
            </a:endParaRPr>
          </a:p>
        </p:txBody>
      </p:sp>
      <p:sp>
        <p:nvSpPr>
          <p:cNvPr id="5" name="Θέση αριθμού διαφάνειας 4"/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8" cy="498055"/>
          </a:xfrm>
          <a:prstGeom prst="rect">
            <a:avLst/>
          </a:prstGeom>
        </p:spPr>
        <p:txBody>
          <a:bodyPr vert="horz" lIns="92255" tIns="46127" rIns="92255" bIns="46127" rtlCol="0" anchor="b"/>
          <a:lstStyle>
            <a:lvl1pPr algn="r">
              <a:defRPr sz="1200"/>
            </a:lvl1pPr>
          </a:lstStyle>
          <a:p>
            <a:fld id="{730C6A11-E769-44DE-8C7A-D7849D4E93F9}" type="slidenum">
              <a:rPr lang="el-GR" smtClean="0">
                <a:latin typeface="Arial" panose="020B0604020202020204" pitchFamily="34" charset="0"/>
              </a:rPr>
              <a:t>‹#›</a:t>
            </a:fld>
            <a:endParaRPr lang="el-GR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21174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8" cy="498057"/>
          </a:xfrm>
          <a:prstGeom prst="rect">
            <a:avLst/>
          </a:prstGeom>
        </p:spPr>
        <p:txBody>
          <a:bodyPr vert="horz" lIns="92255" tIns="46127" rIns="92255" bIns="46127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uk-U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8" cy="498057"/>
          </a:xfrm>
          <a:prstGeom prst="rect">
            <a:avLst/>
          </a:prstGeom>
        </p:spPr>
        <p:txBody>
          <a:bodyPr vert="horz" lIns="92255" tIns="46127" rIns="92255" bIns="46127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B027185-10FB-4A57-B3F0-45136A811A24}" type="datetimeFigureOut">
              <a:rPr lang="uk-UA" smtClean="0"/>
              <a:pPr/>
              <a:t>15.03.2024</a:t>
            </a:fld>
            <a:endParaRPr lang="uk-U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55" tIns="46127" rIns="92255" bIns="46127" rtlCol="0" anchor="ctr"/>
          <a:lstStyle/>
          <a:p>
            <a:endParaRPr lang="uk-U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4"/>
          </a:xfrm>
          <a:prstGeom prst="rect">
            <a:avLst/>
          </a:prstGeom>
        </p:spPr>
        <p:txBody>
          <a:bodyPr vert="horz" lIns="92255" tIns="46127" rIns="92255" bIns="46127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uk-U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8" cy="498055"/>
          </a:xfrm>
          <a:prstGeom prst="rect">
            <a:avLst/>
          </a:prstGeom>
        </p:spPr>
        <p:txBody>
          <a:bodyPr vert="horz" lIns="92255" tIns="46127" rIns="92255" bIns="46127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uk-U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8" cy="498055"/>
          </a:xfrm>
          <a:prstGeom prst="rect">
            <a:avLst/>
          </a:prstGeom>
        </p:spPr>
        <p:txBody>
          <a:bodyPr vert="horz" lIns="92255" tIns="46127" rIns="92255" bIns="46127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BD9C3A12-1E0F-412B-B376-8089A55D946C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5672169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9C3A12-1E0F-412B-B376-8089A55D946C}" type="slidenum">
              <a:rPr lang="uk-UA" smtClean="0"/>
              <a:pPr/>
              <a:t>1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8529934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9">
          <a:extLst>
            <a:ext uri="{FF2B5EF4-FFF2-40B4-BE49-F238E27FC236}">
              <a16:creationId xmlns:a16="http://schemas.microsoft.com/office/drawing/2014/main" id="{A71BE90B-B66E-CF23-5F5D-E7B2BFC439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0" name="Google Shape;1250;p31:notes">
            <a:extLst>
              <a:ext uri="{FF2B5EF4-FFF2-40B4-BE49-F238E27FC236}">
                <a16:creationId xmlns:a16="http://schemas.microsoft.com/office/drawing/2014/main" id="{78EEDB69-3501-8C50-34D6-A68AF2A15A52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000" y="4335773"/>
            <a:ext cx="5480001" cy="41075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79" tIns="91279" rIns="91279" bIns="91279" anchor="t" anchorCtr="0">
            <a:noAutofit/>
          </a:bodyPr>
          <a:lstStyle/>
          <a:p>
            <a:pPr>
              <a:buSzPts val="1400"/>
            </a:pPr>
            <a:endParaRPr/>
          </a:p>
        </p:txBody>
      </p:sp>
      <p:sp>
        <p:nvSpPr>
          <p:cNvPr id="1251" name="Google Shape;1251;p31:notes">
            <a:extLst>
              <a:ext uri="{FF2B5EF4-FFF2-40B4-BE49-F238E27FC236}">
                <a16:creationId xmlns:a16="http://schemas.microsoft.com/office/drawing/2014/main" id="{B23FC5BE-8ADE-5D36-2075-5545F33DA0C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4213"/>
            <a:ext cx="6084887" cy="3422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5660485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0" name="Google Shape;1250;p31:notes"/>
          <p:cNvSpPr txBox="1">
            <a:spLocks noGrp="1"/>
          </p:cNvSpPr>
          <p:nvPr>
            <p:ph type="body" idx="1"/>
          </p:nvPr>
        </p:nvSpPr>
        <p:spPr>
          <a:xfrm>
            <a:off x="685000" y="4335773"/>
            <a:ext cx="5480001" cy="41075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79" tIns="91279" rIns="91279" bIns="91279" anchor="t" anchorCtr="0">
            <a:noAutofit/>
          </a:bodyPr>
          <a:lstStyle/>
          <a:p>
            <a:pPr>
              <a:buSzPts val="1400"/>
            </a:pPr>
            <a:endParaRPr/>
          </a:p>
        </p:txBody>
      </p:sp>
      <p:sp>
        <p:nvSpPr>
          <p:cNvPr id="1251" name="Google Shape;1251;p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4213"/>
            <a:ext cx="6084887" cy="3422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8626564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9">
          <a:extLst>
            <a:ext uri="{FF2B5EF4-FFF2-40B4-BE49-F238E27FC236}">
              <a16:creationId xmlns:a16="http://schemas.microsoft.com/office/drawing/2014/main" id="{6F5BFEE4-CCC9-36CA-C8F3-6C6488CBAE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0" name="Google Shape;1250;p31:notes">
            <a:extLst>
              <a:ext uri="{FF2B5EF4-FFF2-40B4-BE49-F238E27FC236}">
                <a16:creationId xmlns:a16="http://schemas.microsoft.com/office/drawing/2014/main" id="{463D4CEC-7AA4-A38B-5982-E533A833E51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000" y="4335773"/>
            <a:ext cx="5480001" cy="41075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79" tIns="91279" rIns="91279" bIns="91279" anchor="t" anchorCtr="0">
            <a:noAutofit/>
          </a:bodyPr>
          <a:lstStyle/>
          <a:p>
            <a:pPr>
              <a:buSzPts val="1400"/>
            </a:pPr>
            <a:endParaRPr/>
          </a:p>
        </p:txBody>
      </p:sp>
      <p:sp>
        <p:nvSpPr>
          <p:cNvPr id="1251" name="Google Shape;1251;p31:notes">
            <a:extLst>
              <a:ext uri="{FF2B5EF4-FFF2-40B4-BE49-F238E27FC236}">
                <a16:creationId xmlns:a16="http://schemas.microsoft.com/office/drawing/2014/main" id="{8C42D05D-58FF-D6F4-16B5-07D6874D64E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4213"/>
            <a:ext cx="6084887" cy="3422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0867900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38BC30-521E-031A-24A0-33550EEE72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>
            <a:extLst>
              <a:ext uri="{FF2B5EF4-FFF2-40B4-BE49-F238E27FC236}">
                <a16:creationId xmlns:a16="http://schemas.microsoft.com/office/drawing/2014/main" id="{DFDECEEB-E753-839B-1550-EFCC912D15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>
            <a:extLst>
              <a:ext uri="{FF2B5EF4-FFF2-40B4-BE49-F238E27FC236}">
                <a16:creationId xmlns:a16="http://schemas.microsoft.com/office/drawing/2014/main" id="{2A2A7305-1F67-AA0F-4D7F-7D86D1E63F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Θέση αριθμού διαφάνειας 3">
            <a:extLst>
              <a:ext uri="{FF2B5EF4-FFF2-40B4-BE49-F238E27FC236}">
                <a16:creationId xmlns:a16="http://schemas.microsoft.com/office/drawing/2014/main" id="{AE356264-D18A-334A-BE5C-75E453D5D4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9C3A12-1E0F-412B-B376-8089A55D946C}" type="slidenum">
              <a:rPr lang="uk-UA" smtClean="0"/>
              <a:pPr/>
              <a:t>12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3869756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37DCD2-DEE3-1394-B72E-661885A829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>
            <a:extLst>
              <a:ext uri="{FF2B5EF4-FFF2-40B4-BE49-F238E27FC236}">
                <a16:creationId xmlns:a16="http://schemas.microsoft.com/office/drawing/2014/main" id="{D58D9748-2223-E400-9C54-0318BE27B4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>
            <a:extLst>
              <a:ext uri="{FF2B5EF4-FFF2-40B4-BE49-F238E27FC236}">
                <a16:creationId xmlns:a16="http://schemas.microsoft.com/office/drawing/2014/main" id="{8005298C-8283-29A7-05D1-9420E324B0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Θέση αριθμού διαφάνειας 3">
            <a:extLst>
              <a:ext uri="{FF2B5EF4-FFF2-40B4-BE49-F238E27FC236}">
                <a16:creationId xmlns:a16="http://schemas.microsoft.com/office/drawing/2014/main" id="{DE985439-E717-DC8E-FF4F-10224E6AFB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9C3A12-1E0F-412B-B376-8089A55D946C}" type="slidenum">
              <a:rPr lang="uk-UA" smtClean="0"/>
              <a:pPr/>
              <a:t>13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4439559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762A1C-8CDD-2A32-AC4B-858E2C2681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>
            <a:extLst>
              <a:ext uri="{FF2B5EF4-FFF2-40B4-BE49-F238E27FC236}">
                <a16:creationId xmlns:a16="http://schemas.microsoft.com/office/drawing/2014/main" id="{CB4BABF0-670A-9897-01D1-CEBDCB9A533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>
            <a:extLst>
              <a:ext uri="{FF2B5EF4-FFF2-40B4-BE49-F238E27FC236}">
                <a16:creationId xmlns:a16="http://schemas.microsoft.com/office/drawing/2014/main" id="{5B1EB9E2-DE0F-63D2-1711-4124423FFB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Θέση αριθμού διαφάνειας 3">
            <a:extLst>
              <a:ext uri="{FF2B5EF4-FFF2-40B4-BE49-F238E27FC236}">
                <a16:creationId xmlns:a16="http://schemas.microsoft.com/office/drawing/2014/main" id="{C5498AB5-4FA5-58C7-345B-3A35B6FF6D7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9C3A12-1E0F-412B-B376-8089A55D946C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uk-U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22236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0" name="Google Shape;1250;p31:notes"/>
          <p:cNvSpPr txBox="1">
            <a:spLocks noGrp="1"/>
          </p:cNvSpPr>
          <p:nvPr>
            <p:ph type="body" idx="1"/>
          </p:nvPr>
        </p:nvSpPr>
        <p:spPr>
          <a:xfrm>
            <a:off x="685000" y="4335773"/>
            <a:ext cx="5480001" cy="41075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79" tIns="91279" rIns="91279" bIns="91279" anchor="t" anchorCtr="0">
            <a:noAutofit/>
          </a:bodyPr>
          <a:lstStyle/>
          <a:p>
            <a:pPr>
              <a:buSzPts val="1400"/>
            </a:pPr>
            <a:endParaRPr/>
          </a:p>
        </p:txBody>
      </p:sp>
      <p:sp>
        <p:nvSpPr>
          <p:cNvPr id="1251" name="Google Shape;1251;p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4213"/>
            <a:ext cx="6084887" cy="3422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0040869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0" name="Google Shape;1250;p31:notes"/>
          <p:cNvSpPr txBox="1">
            <a:spLocks noGrp="1"/>
          </p:cNvSpPr>
          <p:nvPr>
            <p:ph type="body" idx="1"/>
          </p:nvPr>
        </p:nvSpPr>
        <p:spPr>
          <a:xfrm>
            <a:off x="685000" y="4335773"/>
            <a:ext cx="5480001" cy="41075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79" tIns="91279" rIns="91279" bIns="91279" anchor="t" anchorCtr="0">
            <a:noAutofit/>
          </a:bodyPr>
          <a:lstStyle/>
          <a:p>
            <a:pPr>
              <a:buSzPts val="1400"/>
            </a:pPr>
            <a:endParaRPr/>
          </a:p>
        </p:txBody>
      </p:sp>
      <p:sp>
        <p:nvSpPr>
          <p:cNvPr id="1251" name="Google Shape;1251;p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4213"/>
            <a:ext cx="6084887" cy="3422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3219543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3E94A0-CF8E-173B-5CFF-9362E33660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>
            <a:extLst>
              <a:ext uri="{FF2B5EF4-FFF2-40B4-BE49-F238E27FC236}">
                <a16:creationId xmlns:a16="http://schemas.microsoft.com/office/drawing/2014/main" id="{26C8FCAA-A025-76C2-1BBA-BE3B3DA827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>
            <a:extLst>
              <a:ext uri="{FF2B5EF4-FFF2-40B4-BE49-F238E27FC236}">
                <a16:creationId xmlns:a16="http://schemas.microsoft.com/office/drawing/2014/main" id="{050BE595-A04E-8370-C72B-62B2C0ADE3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Θέση αριθμού διαφάνειας 3">
            <a:extLst>
              <a:ext uri="{FF2B5EF4-FFF2-40B4-BE49-F238E27FC236}">
                <a16:creationId xmlns:a16="http://schemas.microsoft.com/office/drawing/2014/main" id="{954E8845-A955-D4AA-7BBD-C4F1ACCD387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9C3A12-1E0F-412B-B376-8089A55D946C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uk-U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81438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svg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4.png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8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8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8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9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4.png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7.sv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4.png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7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F2F2F7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1894"/>
            <a:ext cx="16921880" cy="5832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6786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chemeClr val="bg2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1894"/>
            <a:ext cx="16921880" cy="5832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2"/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9024" y="9054899"/>
            <a:ext cx="2054023" cy="1025986"/>
          </a:xfrm>
          <a:prstGeom prst="rect">
            <a:avLst/>
          </a:prstGeom>
        </p:spPr>
      </p:pic>
      <p:pic>
        <p:nvPicPr>
          <p:cNvPr id="14" name="Picture 3">
            <a:extLst>
              <a:ext uri="{FF2B5EF4-FFF2-40B4-BE49-F238E27FC236}">
                <a16:creationId xmlns:a16="http://schemas.microsoft.com/office/drawing/2014/main" id="{CAD0448E-1287-426E-AD15-E5A3AAB01FB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 rot="5400000">
            <a:off x="15409604" y="0"/>
            <a:ext cx="2855698" cy="2855698"/>
          </a:xfrm>
          <a:prstGeom prst="rect">
            <a:avLst/>
          </a:prstGeom>
        </p:spPr>
      </p:pic>
      <p:pic>
        <p:nvPicPr>
          <p:cNvPr id="18" name="Picture 8">
            <a:extLst>
              <a:ext uri="{FF2B5EF4-FFF2-40B4-BE49-F238E27FC236}">
                <a16:creationId xmlns:a16="http://schemas.microsoft.com/office/drawing/2014/main" id="{75749EFD-5497-4272-9F8C-429AD099443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 rot="-5400000">
            <a:off x="-32642" y="7431302"/>
            <a:ext cx="2855698" cy="285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992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chemeClr val="bg2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1894"/>
            <a:ext cx="16921880" cy="5832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2"/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61A773D-D72F-40ED-9BFA-8DA31EC260C1}"/>
              </a:ext>
            </a:extLst>
          </p:cNvPr>
          <p:cNvCxnSpPr>
            <a:cxnSpLocks/>
          </p:cNvCxnSpPr>
          <p:nvPr userDrawn="1"/>
        </p:nvCxnSpPr>
        <p:spPr>
          <a:xfrm>
            <a:off x="647056" y="1255068"/>
            <a:ext cx="16921880" cy="0"/>
          </a:xfrm>
          <a:prstGeom prst="line">
            <a:avLst/>
          </a:prstGeom>
          <a:ln w="25400" cap="sq">
            <a:solidFill>
              <a:srgbClr val="281F76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3">
            <a:extLst>
              <a:ext uri="{FF2B5EF4-FFF2-40B4-BE49-F238E27FC236}">
                <a16:creationId xmlns:a16="http://schemas.microsoft.com/office/drawing/2014/main" id="{9DF1E843-186B-4726-A92E-7CA29B6D24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5400000">
            <a:off x="15409604" y="0"/>
            <a:ext cx="2855698" cy="2855698"/>
          </a:xfrm>
          <a:prstGeom prst="rect">
            <a:avLst/>
          </a:prstGeom>
        </p:spPr>
      </p:pic>
      <p:pic>
        <p:nvPicPr>
          <p:cNvPr id="10" name="Picture 8">
            <a:extLst>
              <a:ext uri="{FF2B5EF4-FFF2-40B4-BE49-F238E27FC236}">
                <a16:creationId xmlns:a16="http://schemas.microsoft.com/office/drawing/2014/main" id="{928B0D83-6B43-4AD1-BACB-5A6ACA15B7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-5400000">
            <a:off x="0" y="7431302"/>
            <a:ext cx="2855698" cy="285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501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>
            <a:extLst>
              <a:ext uri="{FF2B5EF4-FFF2-40B4-BE49-F238E27FC236}">
                <a16:creationId xmlns:a16="http://schemas.microsoft.com/office/drawing/2014/main" id="{CA96DD7E-0BD0-4EC7-8934-AD14907500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5400000">
            <a:off x="15409604" y="0"/>
            <a:ext cx="2855698" cy="2855698"/>
          </a:xfrm>
          <a:prstGeom prst="rect">
            <a:avLst/>
          </a:prstGeom>
        </p:spPr>
      </p:pic>
      <p:pic>
        <p:nvPicPr>
          <p:cNvPr id="7" name="Picture 8">
            <a:extLst>
              <a:ext uri="{FF2B5EF4-FFF2-40B4-BE49-F238E27FC236}">
                <a16:creationId xmlns:a16="http://schemas.microsoft.com/office/drawing/2014/main" id="{27CD148B-40CD-4041-AD94-64F7987BF9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-5400000">
            <a:off x="-32642" y="7431302"/>
            <a:ext cx="2855698" cy="285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4973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A30287-DAD0-40F4-93EA-DF08FDF6A5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9024" y="9054899"/>
            <a:ext cx="2054023" cy="10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6626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8785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Title &amp; Content">
    <p:bg>
      <p:bgPr>
        <a:solidFill>
          <a:srgbClr val="F2F2F7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7" y="344533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9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92" marR="0" lvl="1" indent="-68583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337" marR="0" lvl="2" indent="-64773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783" marR="0" lvl="3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228" marR="0" lvl="4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675" marR="0" lvl="5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1120" marR="0" lvl="6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566" marR="0" lvl="7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30011" marR="0" lvl="8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7" y="1391894"/>
            <a:ext cx="16921880" cy="5832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45" marR="0" lvl="0" indent="-457223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92" marR="0" lvl="1" indent="-68583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337" marR="0" lvl="2" indent="-64773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783" marR="0" lvl="3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228" marR="0" lvl="4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675" marR="0" lvl="5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1120" marR="0" lvl="6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566" marR="0" lvl="7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30011" marR="0" lvl="8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6" y="9054899"/>
            <a:ext cx="2054024" cy="1025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764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"/>
          <p:cNvSpPr txBox="1"/>
          <p:nvPr/>
        </p:nvSpPr>
        <p:spPr>
          <a:xfrm>
            <a:off x="15878846" y="9445683"/>
            <a:ext cx="413987" cy="2462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601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601" b="0" i="0" u="none" strike="noStrike" cap="none">
              <a:solidFill>
                <a:schemeClr val="accent4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16" name="Google Shape;16;p3">
            <a:hlinkClick r:id="" action="ppaction://hlinkshowjump?jump=nextslide"/>
          </p:cNvPr>
          <p:cNvSpPr/>
          <p:nvPr/>
        </p:nvSpPr>
        <p:spPr>
          <a:xfrm>
            <a:off x="16814858" y="9426634"/>
            <a:ext cx="282518" cy="282518"/>
          </a:xfrm>
          <a:custGeom>
            <a:avLst/>
            <a:gdLst/>
            <a:ahLst/>
            <a:cxnLst/>
            <a:rect l="l" t="t" r="r" b="b"/>
            <a:pathLst>
              <a:path w="2350" h="2350" extrusionOk="0">
                <a:moveTo>
                  <a:pt x="883" y="679"/>
                </a:moveTo>
                <a:cubicBezTo>
                  <a:pt x="1338" y="1175"/>
                  <a:pt x="1338" y="1175"/>
                  <a:pt x="1338" y="1175"/>
                </a:cubicBezTo>
                <a:cubicBezTo>
                  <a:pt x="883" y="1671"/>
                  <a:pt x="883" y="1671"/>
                  <a:pt x="883" y="1671"/>
                </a:cubicBezTo>
                <a:cubicBezTo>
                  <a:pt x="844" y="1710"/>
                  <a:pt x="844" y="1774"/>
                  <a:pt x="883" y="1813"/>
                </a:cubicBezTo>
                <a:cubicBezTo>
                  <a:pt x="922" y="1852"/>
                  <a:pt x="985" y="1852"/>
                  <a:pt x="1023" y="1813"/>
                </a:cubicBezTo>
                <a:cubicBezTo>
                  <a:pt x="1579" y="1246"/>
                  <a:pt x="1579" y="1246"/>
                  <a:pt x="1579" y="1246"/>
                </a:cubicBezTo>
                <a:cubicBezTo>
                  <a:pt x="1618" y="1207"/>
                  <a:pt x="1618" y="1143"/>
                  <a:pt x="1579" y="1104"/>
                </a:cubicBezTo>
                <a:cubicBezTo>
                  <a:pt x="1023" y="537"/>
                  <a:pt x="1023" y="537"/>
                  <a:pt x="1023" y="537"/>
                </a:cubicBezTo>
                <a:cubicBezTo>
                  <a:pt x="985" y="498"/>
                  <a:pt x="922" y="498"/>
                  <a:pt x="883" y="537"/>
                </a:cubicBezTo>
                <a:cubicBezTo>
                  <a:pt x="844" y="576"/>
                  <a:pt x="844" y="640"/>
                  <a:pt x="883" y="679"/>
                </a:cubicBezTo>
                <a:close/>
                <a:moveTo>
                  <a:pt x="0" y="1175"/>
                </a:move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lose/>
                <a:moveTo>
                  <a:pt x="2198" y="1175"/>
                </a:move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82850" tIns="91400" rIns="182850" bIns="914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17" name="Google Shape;17;p3">
            <a:hlinkClick r:id="" action="ppaction://hlinkshowjump?jump=previousslide"/>
          </p:cNvPr>
          <p:cNvSpPr/>
          <p:nvPr/>
        </p:nvSpPr>
        <p:spPr>
          <a:xfrm>
            <a:off x="16488196" y="9426634"/>
            <a:ext cx="282518" cy="282518"/>
          </a:xfrm>
          <a:custGeom>
            <a:avLst/>
            <a:gdLst/>
            <a:ahLst/>
            <a:cxnLst/>
            <a:rect l="l" t="t" r="r" b="b"/>
            <a:pathLst>
              <a:path w="2350" h="2350" extrusionOk="0">
                <a:moveTo>
                  <a:pt x="1467" y="1671"/>
                </a:moveTo>
                <a:cubicBezTo>
                  <a:pt x="1012" y="1175"/>
                  <a:pt x="1012" y="1175"/>
                  <a:pt x="1012" y="1175"/>
                </a:cubicBezTo>
                <a:cubicBezTo>
                  <a:pt x="1467" y="679"/>
                  <a:pt x="1467" y="679"/>
                  <a:pt x="1467" y="679"/>
                </a:cubicBezTo>
                <a:cubicBezTo>
                  <a:pt x="1506" y="640"/>
                  <a:pt x="1506" y="576"/>
                  <a:pt x="1467" y="537"/>
                </a:cubicBezTo>
                <a:cubicBezTo>
                  <a:pt x="1428" y="498"/>
                  <a:pt x="1365" y="498"/>
                  <a:pt x="1327" y="537"/>
                </a:cubicBezTo>
                <a:cubicBezTo>
                  <a:pt x="771" y="1104"/>
                  <a:pt x="771" y="1104"/>
                  <a:pt x="771" y="1104"/>
                </a:cubicBezTo>
                <a:cubicBezTo>
                  <a:pt x="732" y="1143"/>
                  <a:pt x="732" y="1207"/>
                  <a:pt x="771" y="1246"/>
                </a:cubicBezTo>
                <a:cubicBezTo>
                  <a:pt x="1327" y="1813"/>
                  <a:pt x="1327" y="1813"/>
                  <a:pt x="1327" y="1813"/>
                </a:cubicBezTo>
                <a:cubicBezTo>
                  <a:pt x="1365" y="1852"/>
                  <a:pt x="1428" y="1852"/>
                  <a:pt x="1467" y="1813"/>
                </a:cubicBezTo>
                <a:cubicBezTo>
                  <a:pt x="1506" y="1774"/>
                  <a:pt x="1506" y="1710"/>
                  <a:pt x="1467" y="1671"/>
                </a:cubicBezTo>
                <a:close/>
                <a:moveTo>
                  <a:pt x="2350" y="1175"/>
                </a:move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lose/>
                <a:moveTo>
                  <a:pt x="152" y="1175"/>
                </a:move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82850" tIns="91400" rIns="182850" bIns="914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6" y="9054899"/>
            <a:ext cx="2054024" cy="1025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788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G-SLIDE OP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682615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8801" b="1" i="0">
                <a:solidFill>
                  <a:srgbClr val="281F7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6083641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8288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18288000" y="0"/>
                </a:moveTo>
                <a:lnTo>
                  <a:pt x="0" y="0"/>
                </a:lnTo>
                <a:lnTo>
                  <a:pt x="0" y="10287000"/>
                </a:lnTo>
                <a:lnTo>
                  <a:pt x="18288000" y="10287000"/>
                </a:lnTo>
                <a:lnTo>
                  <a:pt x="18288000" y="0"/>
                </a:lnTo>
                <a:close/>
              </a:path>
            </a:pathLst>
          </a:custGeom>
          <a:solidFill>
            <a:srgbClr val="F1F1F7"/>
          </a:solidFill>
        </p:spPr>
        <p:txBody>
          <a:bodyPr wrap="square" lIns="0" tIns="0" rIns="0" bIns="0" rtlCol="0"/>
          <a:lstStyle/>
          <a:p>
            <a:endParaRPr sz="1800" dirty="0">
              <a:latin typeface="Arial" panose="020B0604020202020204" pitchFamily="34" charset="0"/>
            </a:endParaRPr>
          </a:p>
        </p:txBody>
      </p:sp>
      <p:pic>
        <p:nvPicPr>
          <p:cNvPr id="17" name="bg object 1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359664" y="9055607"/>
            <a:ext cx="2052827" cy="1025652"/>
          </a:xfrm>
          <a:prstGeom prst="rect">
            <a:avLst/>
          </a:prstGeom>
        </p:spPr>
      </p:pic>
      <p:sp>
        <p:nvSpPr>
          <p:cNvPr id="18" name="bg object 18"/>
          <p:cNvSpPr/>
          <p:nvPr/>
        </p:nvSpPr>
        <p:spPr>
          <a:xfrm>
            <a:off x="13273279" y="9582911"/>
            <a:ext cx="5015231" cy="38100"/>
          </a:xfrm>
          <a:custGeom>
            <a:avLst/>
            <a:gdLst/>
            <a:ahLst/>
            <a:cxnLst/>
            <a:rect l="l" t="t" r="r" b="b"/>
            <a:pathLst>
              <a:path w="5015230" h="38100">
                <a:moveTo>
                  <a:pt x="0" y="38100"/>
                </a:moveTo>
                <a:lnTo>
                  <a:pt x="5014720" y="38100"/>
                </a:lnTo>
                <a:lnTo>
                  <a:pt x="5014720" y="0"/>
                </a:lnTo>
                <a:lnTo>
                  <a:pt x="0" y="0"/>
                </a:lnTo>
                <a:lnTo>
                  <a:pt x="0" y="381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 dirty="0">
              <a:latin typeface="Arial" panose="020B0604020202020204" pitchFamily="34" charset="0"/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10312146" y="1686305"/>
            <a:ext cx="901065" cy="990600"/>
          </a:xfrm>
          <a:custGeom>
            <a:avLst/>
            <a:gdLst/>
            <a:ahLst/>
            <a:cxnLst/>
            <a:rect l="l" t="t" r="r" b="b"/>
            <a:pathLst>
              <a:path w="901065" h="990600">
                <a:moveTo>
                  <a:pt x="450342" y="0"/>
                </a:moveTo>
                <a:lnTo>
                  <a:pt x="404305" y="2557"/>
                </a:lnTo>
                <a:lnTo>
                  <a:pt x="359597" y="10062"/>
                </a:lnTo>
                <a:lnTo>
                  <a:pt x="316443" y="22266"/>
                </a:lnTo>
                <a:lnTo>
                  <a:pt x="275070" y="38921"/>
                </a:lnTo>
                <a:lnTo>
                  <a:pt x="235704" y="59777"/>
                </a:lnTo>
                <a:lnTo>
                  <a:pt x="198573" y="84586"/>
                </a:lnTo>
                <a:lnTo>
                  <a:pt x="163903" y="113098"/>
                </a:lnTo>
                <a:lnTo>
                  <a:pt x="131921" y="145065"/>
                </a:lnTo>
                <a:lnTo>
                  <a:pt x="102852" y="180238"/>
                </a:lnTo>
                <a:lnTo>
                  <a:pt x="76924" y="218368"/>
                </a:lnTo>
                <a:lnTo>
                  <a:pt x="54364" y="259205"/>
                </a:lnTo>
                <a:lnTo>
                  <a:pt x="35397" y="302502"/>
                </a:lnTo>
                <a:lnTo>
                  <a:pt x="20250" y="348008"/>
                </a:lnTo>
                <a:lnTo>
                  <a:pt x="9151" y="395476"/>
                </a:lnTo>
                <a:lnTo>
                  <a:pt x="2325" y="444656"/>
                </a:lnTo>
                <a:lnTo>
                  <a:pt x="0" y="495300"/>
                </a:lnTo>
                <a:lnTo>
                  <a:pt x="2325" y="545943"/>
                </a:lnTo>
                <a:lnTo>
                  <a:pt x="9151" y="595123"/>
                </a:lnTo>
                <a:lnTo>
                  <a:pt x="20250" y="642591"/>
                </a:lnTo>
                <a:lnTo>
                  <a:pt x="35397" y="688097"/>
                </a:lnTo>
                <a:lnTo>
                  <a:pt x="54364" y="731394"/>
                </a:lnTo>
                <a:lnTo>
                  <a:pt x="76924" y="772231"/>
                </a:lnTo>
                <a:lnTo>
                  <a:pt x="102852" y="810361"/>
                </a:lnTo>
                <a:lnTo>
                  <a:pt x="131921" y="845534"/>
                </a:lnTo>
                <a:lnTo>
                  <a:pt x="163903" y="877501"/>
                </a:lnTo>
                <a:lnTo>
                  <a:pt x="198573" y="906013"/>
                </a:lnTo>
                <a:lnTo>
                  <a:pt x="235704" y="930822"/>
                </a:lnTo>
                <a:lnTo>
                  <a:pt x="275070" y="951678"/>
                </a:lnTo>
                <a:lnTo>
                  <a:pt x="316443" y="968333"/>
                </a:lnTo>
                <a:lnTo>
                  <a:pt x="359597" y="980537"/>
                </a:lnTo>
                <a:lnTo>
                  <a:pt x="404305" y="988042"/>
                </a:lnTo>
                <a:lnTo>
                  <a:pt x="450342" y="990600"/>
                </a:lnTo>
                <a:lnTo>
                  <a:pt x="496378" y="988042"/>
                </a:lnTo>
                <a:lnTo>
                  <a:pt x="541086" y="980537"/>
                </a:lnTo>
                <a:lnTo>
                  <a:pt x="584240" y="968333"/>
                </a:lnTo>
                <a:lnTo>
                  <a:pt x="625613" y="951678"/>
                </a:lnTo>
                <a:lnTo>
                  <a:pt x="664979" y="930822"/>
                </a:lnTo>
                <a:lnTo>
                  <a:pt x="702110" y="906013"/>
                </a:lnTo>
                <a:lnTo>
                  <a:pt x="736780" y="877501"/>
                </a:lnTo>
                <a:lnTo>
                  <a:pt x="768762" y="845534"/>
                </a:lnTo>
                <a:lnTo>
                  <a:pt x="797831" y="810361"/>
                </a:lnTo>
                <a:lnTo>
                  <a:pt x="823759" y="772231"/>
                </a:lnTo>
                <a:lnTo>
                  <a:pt x="846319" y="731394"/>
                </a:lnTo>
                <a:lnTo>
                  <a:pt x="865286" y="688097"/>
                </a:lnTo>
                <a:lnTo>
                  <a:pt x="880433" y="642591"/>
                </a:lnTo>
                <a:lnTo>
                  <a:pt x="891532" y="595123"/>
                </a:lnTo>
                <a:lnTo>
                  <a:pt x="898358" y="545943"/>
                </a:lnTo>
                <a:lnTo>
                  <a:pt x="900683" y="495300"/>
                </a:lnTo>
                <a:lnTo>
                  <a:pt x="898358" y="444656"/>
                </a:lnTo>
                <a:lnTo>
                  <a:pt x="891532" y="395476"/>
                </a:lnTo>
                <a:lnTo>
                  <a:pt x="880433" y="348008"/>
                </a:lnTo>
                <a:lnTo>
                  <a:pt x="865286" y="302502"/>
                </a:lnTo>
                <a:lnTo>
                  <a:pt x="846319" y="259205"/>
                </a:lnTo>
                <a:lnTo>
                  <a:pt x="823759" y="218368"/>
                </a:lnTo>
                <a:lnTo>
                  <a:pt x="797831" y="180238"/>
                </a:lnTo>
                <a:lnTo>
                  <a:pt x="768762" y="145065"/>
                </a:lnTo>
                <a:lnTo>
                  <a:pt x="736780" y="113098"/>
                </a:lnTo>
                <a:lnTo>
                  <a:pt x="702110" y="84586"/>
                </a:lnTo>
                <a:lnTo>
                  <a:pt x="664979" y="59777"/>
                </a:lnTo>
                <a:lnTo>
                  <a:pt x="625613" y="38921"/>
                </a:lnTo>
                <a:lnTo>
                  <a:pt x="584240" y="22266"/>
                </a:lnTo>
                <a:lnTo>
                  <a:pt x="541086" y="10062"/>
                </a:lnTo>
                <a:lnTo>
                  <a:pt x="496378" y="2557"/>
                </a:lnTo>
                <a:lnTo>
                  <a:pt x="450342" y="0"/>
                </a:lnTo>
                <a:close/>
              </a:path>
            </a:pathLst>
          </a:custGeom>
          <a:solidFill>
            <a:srgbClr val="233146"/>
          </a:solidFill>
        </p:spPr>
        <p:txBody>
          <a:bodyPr wrap="square" lIns="0" tIns="0" rIns="0" bIns="0" rtlCol="0"/>
          <a:lstStyle/>
          <a:p>
            <a:endParaRPr sz="1800" dirty="0">
              <a:latin typeface="Arial" panose="020B0604020202020204" pitchFamily="34" charset="0"/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10312146" y="1686305"/>
            <a:ext cx="901065" cy="990600"/>
          </a:xfrm>
          <a:custGeom>
            <a:avLst/>
            <a:gdLst/>
            <a:ahLst/>
            <a:cxnLst/>
            <a:rect l="l" t="t" r="r" b="b"/>
            <a:pathLst>
              <a:path w="901065" h="990600">
                <a:moveTo>
                  <a:pt x="0" y="495300"/>
                </a:moveTo>
                <a:lnTo>
                  <a:pt x="2325" y="444656"/>
                </a:lnTo>
                <a:lnTo>
                  <a:pt x="9151" y="395476"/>
                </a:lnTo>
                <a:lnTo>
                  <a:pt x="20250" y="348008"/>
                </a:lnTo>
                <a:lnTo>
                  <a:pt x="35397" y="302502"/>
                </a:lnTo>
                <a:lnTo>
                  <a:pt x="54364" y="259205"/>
                </a:lnTo>
                <a:lnTo>
                  <a:pt x="76924" y="218368"/>
                </a:lnTo>
                <a:lnTo>
                  <a:pt x="102852" y="180238"/>
                </a:lnTo>
                <a:lnTo>
                  <a:pt x="131921" y="145065"/>
                </a:lnTo>
                <a:lnTo>
                  <a:pt x="163903" y="113098"/>
                </a:lnTo>
                <a:lnTo>
                  <a:pt x="198573" y="84586"/>
                </a:lnTo>
                <a:lnTo>
                  <a:pt x="235704" y="59777"/>
                </a:lnTo>
                <a:lnTo>
                  <a:pt x="275070" y="38921"/>
                </a:lnTo>
                <a:lnTo>
                  <a:pt x="316443" y="22266"/>
                </a:lnTo>
                <a:lnTo>
                  <a:pt x="359597" y="10062"/>
                </a:lnTo>
                <a:lnTo>
                  <a:pt x="404305" y="2557"/>
                </a:lnTo>
                <a:lnTo>
                  <a:pt x="450342" y="0"/>
                </a:lnTo>
                <a:lnTo>
                  <a:pt x="496378" y="2557"/>
                </a:lnTo>
                <a:lnTo>
                  <a:pt x="541086" y="10062"/>
                </a:lnTo>
                <a:lnTo>
                  <a:pt x="584240" y="22266"/>
                </a:lnTo>
                <a:lnTo>
                  <a:pt x="625613" y="38921"/>
                </a:lnTo>
                <a:lnTo>
                  <a:pt x="664979" y="59777"/>
                </a:lnTo>
                <a:lnTo>
                  <a:pt x="702110" y="84586"/>
                </a:lnTo>
                <a:lnTo>
                  <a:pt x="736780" y="113098"/>
                </a:lnTo>
                <a:lnTo>
                  <a:pt x="768762" y="145065"/>
                </a:lnTo>
                <a:lnTo>
                  <a:pt x="797831" y="180238"/>
                </a:lnTo>
                <a:lnTo>
                  <a:pt x="823759" y="218368"/>
                </a:lnTo>
                <a:lnTo>
                  <a:pt x="846319" y="259205"/>
                </a:lnTo>
                <a:lnTo>
                  <a:pt x="865286" y="302502"/>
                </a:lnTo>
                <a:lnTo>
                  <a:pt x="880433" y="348008"/>
                </a:lnTo>
                <a:lnTo>
                  <a:pt x="891532" y="395476"/>
                </a:lnTo>
                <a:lnTo>
                  <a:pt x="898358" y="444656"/>
                </a:lnTo>
                <a:lnTo>
                  <a:pt x="900683" y="495300"/>
                </a:lnTo>
                <a:lnTo>
                  <a:pt x="898358" y="545943"/>
                </a:lnTo>
                <a:lnTo>
                  <a:pt x="891532" y="595123"/>
                </a:lnTo>
                <a:lnTo>
                  <a:pt x="880433" y="642591"/>
                </a:lnTo>
                <a:lnTo>
                  <a:pt x="865286" y="688097"/>
                </a:lnTo>
                <a:lnTo>
                  <a:pt x="846319" y="731394"/>
                </a:lnTo>
                <a:lnTo>
                  <a:pt x="823759" y="772231"/>
                </a:lnTo>
                <a:lnTo>
                  <a:pt x="797831" y="810361"/>
                </a:lnTo>
                <a:lnTo>
                  <a:pt x="768762" y="845534"/>
                </a:lnTo>
                <a:lnTo>
                  <a:pt x="736780" y="877501"/>
                </a:lnTo>
                <a:lnTo>
                  <a:pt x="702110" y="906013"/>
                </a:lnTo>
                <a:lnTo>
                  <a:pt x="664979" y="930822"/>
                </a:lnTo>
                <a:lnTo>
                  <a:pt x="625613" y="951678"/>
                </a:lnTo>
                <a:lnTo>
                  <a:pt x="584240" y="968333"/>
                </a:lnTo>
                <a:lnTo>
                  <a:pt x="541086" y="980537"/>
                </a:lnTo>
                <a:lnTo>
                  <a:pt x="496378" y="988042"/>
                </a:lnTo>
                <a:lnTo>
                  <a:pt x="450342" y="990600"/>
                </a:lnTo>
                <a:lnTo>
                  <a:pt x="404305" y="988042"/>
                </a:lnTo>
                <a:lnTo>
                  <a:pt x="359597" y="980537"/>
                </a:lnTo>
                <a:lnTo>
                  <a:pt x="316443" y="968333"/>
                </a:lnTo>
                <a:lnTo>
                  <a:pt x="275070" y="951678"/>
                </a:lnTo>
                <a:lnTo>
                  <a:pt x="235704" y="930822"/>
                </a:lnTo>
                <a:lnTo>
                  <a:pt x="198573" y="906013"/>
                </a:lnTo>
                <a:lnTo>
                  <a:pt x="163903" y="877501"/>
                </a:lnTo>
                <a:lnTo>
                  <a:pt x="131921" y="845534"/>
                </a:lnTo>
                <a:lnTo>
                  <a:pt x="102852" y="810361"/>
                </a:lnTo>
                <a:lnTo>
                  <a:pt x="76924" y="772231"/>
                </a:lnTo>
                <a:lnTo>
                  <a:pt x="54364" y="731394"/>
                </a:lnTo>
                <a:lnTo>
                  <a:pt x="35397" y="688097"/>
                </a:lnTo>
                <a:lnTo>
                  <a:pt x="20250" y="642591"/>
                </a:lnTo>
                <a:lnTo>
                  <a:pt x="9151" y="595123"/>
                </a:lnTo>
                <a:lnTo>
                  <a:pt x="2325" y="545943"/>
                </a:lnTo>
                <a:lnTo>
                  <a:pt x="0" y="495300"/>
                </a:lnTo>
                <a:close/>
              </a:path>
            </a:pathLst>
          </a:custGeom>
          <a:ln w="38100">
            <a:solidFill>
              <a:srgbClr val="281F76"/>
            </a:solidFill>
          </a:ln>
        </p:spPr>
        <p:txBody>
          <a:bodyPr wrap="square" lIns="0" tIns="0" rIns="0" bIns="0" rtlCol="0"/>
          <a:lstStyle/>
          <a:p>
            <a:endParaRPr sz="1800" dirty="0">
              <a:latin typeface="Arial" panose="020B0604020202020204" pitchFamily="34" charset="0"/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659131" y="3231643"/>
            <a:ext cx="1009016" cy="1007744"/>
          </a:xfrm>
          <a:custGeom>
            <a:avLst/>
            <a:gdLst/>
            <a:ahLst/>
            <a:cxnLst/>
            <a:rect l="l" t="t" r="r" b="b"/>
            <a:pathLst>
              <a:path w="1009014" h="1007745">
                <a:moveTo>
                  <a:pt x="1008888" y="0"/>
                </a:moveTo>
                <a:lnTo>
                  <a:pt x="167894" y="0"/>
                </a:lnTo>
                <a:lnTo>
                  <a:pt x="123262" y="5998"/>
                </a:lnTo>
                <a:lnTo>
                  <a:pt x="83155" y="22925"/>
                </a:lnTo>
                <a:lnTo>
                  <a:pt x="49175" y="49180"/>
                </a:lnTo>
                <a:lnTo>
                  <a:pt x="22923" y="83161"/>
                </a:lnTo>
                <a:lnTo>
                  <a:pt x="5997" y="123266"/>
                </a:lnTo>
                <a:lnTo>
                  <a:pt x="0" y="167893"/>
                </a:lnTo>
                <a:lnTo>
                  <a:pt x="0" y="1007363"/>
                </a:lnTo>
                <a:lnTo>
                  <a:pt x="840994" y="1007363"/>
                </a:lnTo>
                <a:lnTo>
                  <a:pt x="885621" y="1001365"/>
                </a:lnTo>
                <a:lnTo>
                  <a:pt x="925726" y="984438"/>
                </a:lnTo>
                <a:lnTo>
                  <a:pt x="959707" y="958183"/>
                </a:lnTo>
                <a:lnTo>
                  <a:pt x="985962" y="924202"/>
                </a:lnTo>
                <a:lnTo>
                  <a:pt x="1002889" y="884097"/>
                </a:lnTo>
                <a:lnTo>
                  <a:pt x="1008888" y="839469"/>
                </a:lnTo>
                <a:lnTo>
                  <a:pt x="1008888" y="0"/>
                </a:lnTo>
                <a:close/>
              </a:path>
            </a:pathLst>
          </a:custGeom>
          <a:solidFill>
            <a:srgbClr val="A0B9E2"/>
          </a:solidFill>
        </p:spPr>
        <p:txBody>
          <a:bodyPr wrap="square" lIns="0" tIns="0" rIns="0" bIns="0" rtlCol="0"/>
          <a:lstStyle/>
          <a:p>
            <a:endParaRPr sz="1800" dirty="0">
              <a:latin typeface="Arial" panose="020B0604020202020204" pitchFamily="34" charset="0"/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659131" y="3231643"/>
            <a:ext cx="1009016" cy="1007744"/>
          </a:xfrm>
          <a:custGeom>
            <a:avLst/>
            <a:gdLst/>
            <a:ahLst/>
            <a:cxnLst/>
            <a:rect l="l" t="t" r="r" b="b"/>
            <a:pathLst>
              <a:path w="1009014" h="1007745">
                <a:moveTo>
                  <a:pt x="167894" y="0"/>
                </a:moveTo>
                <a:lnTo>
                  <a:pt x="1008888" y="0"/>
                </a:lnTo>
                <a:lnTo>
                  <a:pt x="1008888" y="839469"/>
                </a:lnTo>
                <a:lnTo>
                  <a:pt x="1002889" y="884097"/>
                </a:lnTo>
                <a:lnTo>
                  <a:pt x="985962" y="924202"/>
                </a:lnTo>
                <a:lnTo>
                  <a:pt x="959707" y="958183"/>
                </a:lnTo>
                <a:lnTo>
                  <a:pt x="925726" y="984438"/>
                </a:lnTo>
                <a:lnTo>
                  <a:pt x="885621" y="1001365"/>
                </a:lnTo>
                <a:lnTo>
                  <a:pt x="840994" y="1007363"/>
                </a:lnTo>
                <a:lnTo>
                  <a:pt x="0" y="1007363"/>
                </a:lnTo>
                <a:lnTo>
                  <a:pt x="0" y="167893"/>
                </a:lnTo>
                <a:lnTo>
                  <a:pt x="5997" y="123266"/>
                </a:lnTo>
                <a:lnTo>
                  <a:pt x="22923" y="83161"/>
                </a:lnTo>
                <a:lnTo>
                  <a:pt x="49175" y="49180"/>
                </a:lnTo>
                <a:lnTo>
                  <a:pt x="83155" y="22925"/>
                </a:lnTo>
                <a:lnTo>
                  <a:pt x="123262" y="5998"/>
                </a:lnTo>
                <a:lnTo>
                  <a:pt x="167894" y="0"/>
                </a:lnTo>
                <a:close/>
              </a:path>
            </a:pathLst>
          </a:custGeom>
          <a:ln w="38100">
            <a:solidFill>
              <a:srgbClr val="281F76"/>
            </a:solidFill>
          </a:ln>
        </p:spPr>
        <p:txBody>
          <a:bodyPr wrap="square" lIns="0" tIns="0" rIns="0" bIns="0" rtlCol="0"/>
          <a:lstStyle/>
          <a:p>
            <a:endParaRPr sz="1800" dirty="0">
              <a:latin typeface="Arial" panose="020B0604020202020204" pitchFamily="34" charset="0"/>
            </a:endParaRPr>
          </a:p>
        </p:txBody>
      </p:sp>
      <p:sp>
        <p:nvSpPr>
          <p:cNvPr id="23" name="bg object 23"/>
          <p:cNvSpPr/>
          <p:nvPr/>
        </p:nvSpPr>
        <p:spPr>
          <a:xfrm>
            <a:off x="856375" y="3378836"/>
            <a:ext cx="612776" cy="711200"/>
          </a:xfrm>
          <a:custGeom>
            <a:avLst/>
            <a:gdLst/>
            <a:ahLst/>
            <a:cxnLst/>
            <a:rect l="l" t="t" r="r" b="b"/>
            <a:pathLst>
              <a:path w="612775" h="711200">
                <a:moveTo>
                  <a:pt x="290118" y="0"/>
                </a:moveTo>
                <a:lnTo>
                  <a:pt x="269494" y="6858"/>
                </a:lnTo>
                <a:lnTo>
                  <a:pt x="252272" y="23875"/>
                </a:lnTo>
                <a:lnTo>
                  <a:pt x="248767" y="47625"/>
                </a:lnTo>
                <a:lnTo>
                  <a:pt x="246913" y="93345"/>
                </a:lnTo>
                <a:lnTo>
                  <a:pt x="227876" y="139192"/>
                </a:lnTo>
                <a:lnTo>
                  <a:pt x="210604" y="173228"/>
                </a:lnTo>
                <a:lnTo>
                  <a:pt x="186474" y="203835"/>
                </a:lnTo>
                <a:lnTo>
                  <a:pt x="136499" y="260096"/>
                </a:lnTo>
                <a:lnTo>
                  <a:pt x="77914" y="324993"/>
                </a:lnTo>
                <a:lnTo>
                  <a:pt x="33058" y="396367"/>
                </a:lnTo>
                <a:lnTo>
                  <a:pt x="15786" y="430403"/>
                </a:lnTo>
                <a:lnTo>
                  <a:pt x="0" y="537210"/>
                </a:lnTo>
                <a:lnTo>
                  <a:pt x="6819" y="557403"/>
                </a:lnTo>
                <a:lnTo>
                  <a:pt x="23939" y="574167"/>
                </a:lnTo>
                <a:lnTo>
                  <a:pt x="298310" y="707517"/>
                </a:lnTo>
                <a:lnTo>
                  <a:pt x="322338" y="710692"/>
                </a:lnTo>
                <a:lnTo>
                  <a:pt x="342976" y="703707"/>
                </a:lnTo>
                <a:lnTo>
                  <a:pt x="360197" y="686689"/>
                </a:lnTo>
                <a:lnTo>
                  <a:pt x="363140" y="666750"/>
                </a:lnTo>
                <a:lnTo>
                  <a:pt x="319036" y="666750"/>
                </a:lnTo>
                <a:lnTo>
                  <a:pt x="44665" y="533400"/>
                </a:lnTo>
                <a:lnTo>
                  <a:pt x="55181" y="462280"/>
                </a:lnTo>
                <a:lnTo>
                  <a:pt x="79413" y="397764"/>
                </a:lnTo>
                <a:lnTo>
                  <a:pt x="258673" y="179578"/>
                </a:lnTo>
                <a:lnTo>
                  <a:pt x="282905" y="115062"/>
                </a:lnTo>
                <a:lnTo>
                  <a:pt x="293420" y="43942"/>
                </a:lnTo>
                <a:lnTo>
                  <a:pt x="398111" y="43942"/>
                </a:lnTo>
                <a:lnTo>
                  <a:pt x="314159" y="3175"/>
                </a:lnTo>
                <a:lnTo>
                  <a:pt x="290118" y="0"/>
                </a:lnTo>
                <a:close/>
              </a:path>
              <a:path w="612775" h="711200">
                <a:moveTo>
                  <a:pt x="398111" y="43942"/>
                </a:moveTo>
                <a:lnTo>
                  <a:pt x="293420" y="43942"/>
                </a:lnTo>
                <a:lnTo>
                  <a:pt x="567804" y="177165"/>
                </a:lnTo>
                <a:lnTo>
                  <a:pt x="562597" y="212851"/>
                </a:lnTo>
                <a:lnTo>
                  <a:pt x="557263" y="248412"/>
                </a:lnTo>
                <a:lnTo>
                  <a:pt x="545198" y="280670"/>
                </a:lnTo>
                <a:lnTo>
                  <a:pt x="533006" y="312928"/>
                </a:lnTo>
                <a:lnTo>
                  <a:pt x="353796" y="530987"/>
                </a:lnTo>
                <a:lnTo>
                  <a:pt x="329552" y="595503"/>
                </a:lnTo>
                <a:lnTo>
                  <a:pt x="319036" y="666750"/>
                </a:lnTo>
                <a:lnTo>
                  <a:pt x="363140" y="666750"/>
                </a:lnTo>
                <a:lnTo>
                  <a:pt x="363702" y="662940"/>
                </a:lnTo>
                <a:lnTo>
                  <a:pt x="365556" y="617220"/>
                </a:lnTo>
                <a:lnTo>
                  <a:pt x="384581" y="571373"/>
                </a:lnTo>
                <a:lnTo>
                  <a:pt x="401853" y="537464"/>
                </a:lnTo>
                <a:lnTo>
                  <a:pt x="425945" y="506730"/>
                </a:lnTo>
                <a:lnTo>
                  <a:pt x="475983" y="450469"/>
                </a:lnTo>
                <a:lnTo>
                  <a:pt x="534530" y="385699"/>
                </a:lnTo>
                <a:lnTo>
                  <a:pt x="557009" y="350012"/>
                </a:lnTo>
                <a:lnTo>
                  <a:pt x="579361" y="314198"/>
                </a:lnTo>
                <a:lnTo>
                  <a:pt x="596633" y="280289"/>
                </a:lnTo>
                <a:lnTo>
                  <a:pt x="601967" y="244729"/>
                </a:lnTo>
                <a:lnTo>
                  <a:pt x="607174" y="209042"/>
                </a:lnTo>
                <a:lnTo>
                  <a:pt x="612508" y="173482"/>
                </a:lnTo>
                <a:lnTo>
                  <a:pt x="605650" y="153289"/>
                </a:lnTo>
                <a:lnTo>
                  <a:pt x="588505" y="136398"/>
                </a:lnTo>
                <a:lnTo>
                  <a:pt x="398111" y="4394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 dirty="0">
              <a:latin typeface="Arial" panose="020B0604020202020204" pitchFamily="34" charset="0"/>
            </a:endParaRPr>
          </a:p>
        </p:txBody>
      </p:sp>
      <p:pic>
        <p:nvPicPr>
          <p:cNvPr id="24" name="bg object 2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124090" y="3862706"/>
            <a:ext cx="75857" cy="132335"/>
          </a:xfrm>
          <a:prstGeom prst="rect">
            <a:avLst/>
          </a:prstGeom>
        </p:spPr>
      </p:pic>
      <p:pic>
        <p:nvPicPr>
          <p:cNvPr id="25" name="bg object 2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075258" y="3474848"/>
            <a:ext cx="182079" cy="344360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8801" b="1" i="0">
                <a:solidFill>
                  <a:srgbClr val="281F7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1973708" y="3402839"/>
            <a:ext cx="7321550" cy="3323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rgbClr val="281F7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11409935" y="2128775"/>
            <a:ext cx="5532119" cy="3323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0" i="0">
                <a:solidFill>
                  <a:srgbClr val="281F7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1323856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+mj-lt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1894"/>
            <a:ext cx="16921880" cy="5832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+mj-lt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333681"/>
            <a:ext cx="1495902" cy="747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0956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chemeClr val="bg2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1894"/>
            <a:ext cx="16921880" cy="5832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2"/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61A773D-D72F-40ED-9BFA-8DA31EC260C1}"/>
              </a:ext>
            </a:extLst>
          </p:cNvPr>
          <p:cNvCxnSpPr>
            <a:cxnSpLocks/>
          </p:cNvCxnSpPr>
          <p:nvPr userDrawn="1"/>
        </p:nvCxnSpPr>
        <p:spPr>
          <a:xfrm>
            <a:off x="647056" y="1255068"/>
            <a:ext cx="16921880" cy="0"/>
          </a:xfrm>
          <a:prstGeom prst="line">
            <a:avLst/>
          </a:prstGeom>
          <a:ln w="25400" cap="sq">
            <a:solidFill>
              <a:srgbClr val="281F76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3">
            <a:extLst>
              <a:ext uri="{FF2B5EF4-FFF2-40B4-BE49-F238E27FC236}">
                <a16:creationId xmlns:a16="http://schemas.microsoft.com/office/drawing/2014/main" id="{9DF1E843-186B-4726-A92E-7CA29B6D24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5400000">
            <a:off x="15409604" y="0"/>
            <a:ext cx="2855698" cy="2855698"/>
          </a:xfrm>
          <a:prstGeom prst="rect">
            <a:avLst/>
          </a:prstGeom>
        </p:spPr>
      </p:pic>
      <p:pic>
        <p:nvPicPr>
          <p:cNvPr id="10" name="Picture 8">
            <a:extLst>
              <a:ext uri="{FF2B5EF4-FFF2-40B4-BE49-F238E27FC236}">
                <a16:creationId xmlns:a16="http://schemas.microsoft.com/office/drawing/2014/main" id="{928B0D83-6B43-4AD1-BACB-5A6ACA15B7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-5400000">
            <a:off x="0" y="7431302"/>
            <a:ext cx="2855698" cy="285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304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G-SLIDE OP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807635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7" y="344533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9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+mj-lt"/>
                <a:ea typeface="Lato Black"/>
                <a:cs typeface="Lato Black"/>
                <a:sym typeface="Lato Black"/>
              </a:defRPr>
            </a:lvl1pPr>
            <a:lvl2pPr marL="1828892" marR="0" lvl="1" indent="-68583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337" marR="0" lvl="2" indent="-64773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783" marR="0" lvl="3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228" marR="0" lvl="4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675" marR="0" lvl="5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1120" marR="0" lvl="6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566" marR="0" lvl="7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30011" marR="0" lvl="8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7" y="1391894"/>
            <a:ext cx="16921880" cy="5832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45" marR="0" lvl="0" indent="-457223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+mj-lt"/>
                <a:ea typeface="Lato"/>
                <a:cs typeface="Lato"/>
                <a:sym typeface="Lato"/>
              </a:defRPr>
            </a:lvl1pPr>
            <a:lvl2pPr marL="1828892" marR="0" lvl="1" indent="-68583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337" marR="0" lvl="2" indent="-64773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783" marR="0" lvl="3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228" marR="0" lvl="4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675" marR="0" lvl="5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1120" marR="0" lvl="6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566" marR="0" lvl="7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30011" marR="0" lvl="8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5" name="Google Shape;15;p3"/>
          <p:cNvSpPr txBox="1"/>
          <p:nvPr/>
        </p:nvSpPr>
        <p:spPr>
          <a:xfrm>
            <a:off x="15878846" y="9445683"/>
            <a:ext cx="413987" cy="2462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601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601" b="0" i="0" u="none" strike="noStrike" cap="none">
              <a:solidFill>
                <a:schemeClr val="accent4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16" name="Google Shape;16;p3">
            <a:hlinkClick r:id="" action="ppaction://hlinkshowjump?jump=nextslide"/>
          </p:cNvPr>
          <p:cNvSpPr/>
          <p:nvPr/>
        </p:nvSpPr>
        <p:spPr>
          <a:xfrm>
            <a:off x="16814858" y="9426634"/>
            <a:ext cx="282518" cy="282518"/>
          </a:xfrm>
          <a:custGeom>
            <a:avLst/>
            <a:gdLst/>
            <a:ahLst/>
            <a:cxnLst/>
            <a:rect l="l" t="t" r="r" b="b"/>
            <a:pathLst>
              <a:path w="2350" h="2350" extrusionOk="0">
                <a:moveTo>
                  <a:pt x="883" y="679"/>
                </a:moveTo>
                <a:cubicBezTo>
                  <a:pt x="1338" y="1175"/>
                  <a:pt x="1338" y="1175"/>
                  <a:pt x="1338" y="1175"/>
                </a:cubicBezTo>
                <a:cubicBezTo>
                  <a:pt x="883" y="1671"/>
                  <a:pt x="883" y="1671"/>
                  <a:pt x="883" y="1671"/>
                </a:cubicBezTo>
                <a:cubicBezTo>
                  <a:pt x="844" y="1710"/>
                  <a:pt x="844" y="1774"/>
                  <a:pt x="883" y="1813"/>
                </a:cubicBezTo>
                <a:cubicBezTo>
                  <a:pt x="922" y="1852"/>
                  <a:pt x="985" y="1852"/>
                  <a:pt x="1023" y="1813"/>
                </a:cubicBezTo>
                <a:cubicBezTo>
                  <a:pt x="1579" y="1246"/>
                  <a:pt x="1579" y="1246"/>
                  <a:pt x="1579" y="1246"/>
                </a:cubicBezTo>
                <a:cubicBezTo>
                  <a:pt x="1618" y="1207"/>
                  <a:pt x="1618" y="1143"/>
                  <a:pt x="1579" y="1104"/>
                </a:cubicBezTo>
                <a:cubicBezTo>
                  <a:pt x="1023" y="537"/>
                  <a:pt x="1023" y="537"/>
                  <a:pt x="1023" y="537"/>
                </a:cubicBezTo>
                <a:cubicBezTo>
                  <a:pt x="985" y="498"/>
                  <a:pt x="922" y="498"/>
                  <a:pt x="883" y="537"/>
                </a:cubicBezTo>
                <a:cubicBezTo>
                  <a:pt x="844" y="576"/>
                  <a:pt x="844" y="640"/>
                  <a:pt x="883" y="679"/>
                </a:cubicBezTo>
                <a:close/>
                <a:moveTo>
                  <a:pt x="0" y="1175"/>
                </a:move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lose/>
                <a:moveTo>
                  <a:pt x="2198" y="1175"/>
                </a:move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82850" tIns="91400" rIns="182850" bIns="914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" name="Google Shape;17;p3">
            <a:hlinkClick r:id="" action="ppaction://hlinkshowjump?jump=previousslide"/>
          </p:cNvPr>
          <p:cNvSpPr/>
          <p:nvPr/>
        </p:nvSpPr>
        <p:spPr>
          <a:xfrm>
            <a:off x="16488196" y="9426634"/>
            <a:ext cx="282518" cy="282518"/>
          </a:xfrm>
          <a:custGeom>
            <a:avLst/>
            <a:gdLst/>
            <a:ahLst/>
            <a:cxnLst/>
            <a:rect l="l" t="t" r="r" b="b"/>
            <a:pathLst>
              <a:path w="2350" h="2350" extrusionOk="0">
                <a:moveTo>
                  <a:pt x="1467" y="1671"/>
                </a:moveTo>
                <a:cubicBezTo>
                  <a:pt x="1012" y="1175"/>
                  <a:pt x="1012" y="1175"/>
                  <a:pt x="1012" y="1175"/>
                </a:cubicBezTo>
                <a:cubicBezTo>
                  <a:pt x="1467" y="679"/>
                  <a:pt x="1467" y="679"/>
                  <a:pt x="1467" y="679"/>
                </a:cubicBezTo>
                <a:cubicBezTo>
                  <a:pt x="1506" y="640"/>
                  <a:pt x="1506" y="576"/>
                  <a:pt x="1467" y="537"/>
                </a:cubicBezTo>
                <a:cubicBezTo>
                  <a:pt x="1428" y="498"/>
                  <a:pt x="1365" y="498"/>
                  <a:pt x="1327" y="537"/>
                </a:cubicBezTo>
                <a:cubicBezTo>
                  <a:pt x="771" y="1104"/>
                  <a:pt x="771" y="1104"/>
                  <a:pt x="771" y="1104"/>
                </a:cubicBezTo>
                <a:cubicBezTo>
                  <a:pt x="732" y="1143"/>
                  <a:pt x="732" y="1207"/>
                  <a:pt x="771" y="1246"/>
                </a:cubicBezTo>
                <a:cubicBezTo>
                  <a:pt x="1327" y="1813"/>
                  <a:pt x="1327" y="1813"/>
                  <a:pt x="1327" y="1813"/>
                </a:cubicBezTo>
                <a:cubicBezTo>
                  <a:pt x="1365" y="1852"/>
                  <a:pt x="1428" y="1852"/>
                  <a:pt x="1467" y="1813"/>
                </a:cubicBezTo>
                <a:cubicBezTo>
                  <a:pt x="1506" y="1774"/>
                  <a:pt x="1506" y="1710"/>
                  <a:pt x="1467" y="1671"/>
                </a:cubicBezTo>
                <a:close/>
                <a:moveTo>
                  <a:pt x="2350" y="1175"/>
                </a:move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lose/>
                <a:moveTo>
                  <a:pt x="152" y="1175"/>
                </a:move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82850" tIns="91400" rIns="182850" bIns="914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61A773D-D72F-40ED-9BFA-8DA31EC260C1}"/>
              </a:ext>
            </a:extLst>
          </p:cNvPr>
          <p:cNvCxnSpPr>
            <a:cxnSpLocks/>
          </p:cNvCxnSpPr>
          <p:nvPr userDrawn="1"/>
        </p:nvCxnSpPr>
        <p:spPr>
          <a:xfrm>
            <a:off x="647057" y="1255068"/>
            <a:ext cx="16921880" cy="0"/>
          </a:xfrm>
          <a:prstGeom prst="line">
            <a:avLst/>
          </a:prstGeom>
          <a:ln w="25400" cap="sq">
            <a:solidFill>
              <a:srgbClr val="281F76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46163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7" y="344533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9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+mj-lt"/>
                <a:ea typeface="Lato Black"/>
                <a:cs typeface="Lato Black"/>
                <a:sym typeface="Lato Black"/>
              </a:defRPr>
            </a:lvl1pPr>
            <a:lvl2pPr marL="1828892" marR="0" lvl="1" indent="-68583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337" marR="0" lvl="2" indent="-64773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783" marR="0" lvl="3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228" marR="0" lvl="4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675" marR="0" lvl="5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1120" marR="0" lvl="6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566" marR="0" lvl="7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30011" marR="0" lvl="8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7" y="1391894"/>
            <a:ext cx="16921880" cy="5832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45" marR="0" lvl="0" indent="-457223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+mj-lt"/>
                <a:ea typeface="Lato"/>
                <a:cs typeface="Lato"/>
                <a:sym typeface="Lato"/>
              </a:defRPr>
            </a:lvl1pPr>
            <a:lvl2pPr marL="1828892" marR="0" lvl="1" indent="-68583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337" marR="0" lvl="2" indent="-64773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783" marR="0" lvl="3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228" marR="0" lvl="4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675" marR="0" lvl="5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1120" marR="0" lvl="6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566" marR="0" lvl="7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30011" marR="0" lvl="8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5" name="Google Shape;15;p3"/>
          <p:cNvSpPr txBox="1"/>
          <p:nvPr/>
        </p:nvSpPr>
        <p:spPr>
          <a:xfrm>
            <a:off x="15878846" y="9445683"/>
            <a:ext cx="413987" cy="2462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601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601" b="0" i="0" u="none" strike="noStrike" cap="none">
              <a:solidFill>
                <a:schemeClr val="accent4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16" name="Google Shape;16;p3">
            <a:hlinkClick r:id="" action="ppaction://hlinkshowjump?jump=nextslide"/>
          </p:cNvPr>
          <p:cNvSpPr/>
          <p:nvPr/>
        </p:nvSpPr>
        <p:spPr>
          <a:xfrm>
            <a:off x="16814858" y="9426634"/>
            <a:ext cx="282518" cy="282518"/>
          </a:xfrm>
          <a:custGeom>
            <a:avLst/>
            <a:gdLst/>
            <a:ahLst/>
            <a:cxnLst/>
            <a:rect l="l" t="t" r="r" b="b"/>
            <a:pathLst>
              <a:path w="2350" h="2350" extrusionOk="0">
                <a:moveTo>
                  <a:pt x="883" y="679"/>
                </a:moveTo>
                <a:cubicBezTo>
                  <a:pt x="1338" y="1175"/>
                  <a:pt x="1338" y="1175"/>
                  <a:pt x="1338" y="1175"/>
                </a:cubicBezTo>
                <a:cubicBezTo>
                  <a:pt x="883" y="1671"/>
                  <a:pt x="883" y="1671"/>
                  <a:pt x="883" y="1671"/>
                </a:cubicBezTo>
                <a:cubicBezTo>
                  <a:pt x="844" y="1710"/>
                  <a:pt x="844" y="1774"/>
                  <a:pt x="883" y="1813"/>
                </a:cubicBezTo>
                <a:cubicBezTo>
                  <a:pt x="922" y="1852"/>
                  <a:pt x="985" y="1852"/>
                  <a:pt x="1023" y="1813"/>
                </a:cubicBezTo>
                <a:cubicBezTo>
                  <a:pt x="1579" y="1246"/>
                  <a:pt x="1579" y="1246"/>
                  <a:pt x="1579" y="1246"/>
                </a:cubicBezTo>
                <a:cubicBezTo>
                  <a:pt x="1618" y="1207"/>
                  <a:pt x="1618" y="1143"/>
                  <a:pt x="1579" y="1104"/>
                </a:cubicBezTo>
                <a:cubicBezTo>
                  <a:pt x="1023" y="537"/>
                  <a:pt x="1023" y="537"/>
                  <a:pt x="1023" y="537"/>
                </a:cubicBezTo>
                <a:cubicBezTo>
                  <a:pt x="985" y="498"/>
                  <a:pt x="922" y="498"/>
                  <a:pt x="883" y="537"/>
                </a:cubicBezTo>
                <a:cubicBezTo>
                  <a:pt x="844" y="576"/>
                  <a:pt x="844" y="640"/>
                  <a:pt x="883" y="679"/>
                </a:cubicBezTo>
                <a:close/>
                <a:moveTo>
                  <a:pt x="0" y="1175"/>
                </a:move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lose/>
                <a:moveTo>
                  <a:pt x="2198" y="1175"/>
                </a:move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82850" tIns="91400" rIns="182850" bIns="914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" name="Google Shape;17;p3">
            <a:hlinkClick r:id="" action="ppaction://hlinkshowjump?jump=previousslide"/>
          </p:cNvPr>
          <p:cNvSpPr/>
          <p:nvPr/>
        </p:nvSpPr>
        <p:spPr>
          <a:xfrm>
            <a:off x="16488196" y="9426634"/>
            <a:ext cx="282518" cy="282518"/>
          </a:xfrm>
          <a:custGeom>
            <a:avLst/>
            <a:gdLst/>
            <a:ahLst/>
            <a:cxnLst/>
            <a:rect l="l" t="t" r="r" b="b"/>
            <a:pathLst>
              <a:path w="2350" h="2350" extrusionOk="0">
                <a:moveTo>
                  <a:pt x="1467" y="1671"/>
                </a:moveTo>
                <a:cubicBezTo>
                  <a:pt x="1012" y="1175"/>
                  <a:pt x="1012" y="1175"/>
                  <a:pt x="1012" y="1175"/>
                </a:cubicBezTo>
                <a:cubicBezTo>
                  <a:pt x="1467" y="679"/>
                  <a:pt x="1467" y="679"/>
                  <a:pt x="1467" y="679"/>
                </a:cubicBezTo>
                <a:cubicBezTo>
                  <a:pt x="1506" y="640"/>
                  <a:pt x="1506" y="576"/>
                  <a:pt x="1467" y="537"/>
                </a:cubicBezTo>
                <a:cubicBezTo>
                  <a:pt x="1428" y="498"/>
                  <a:pt x="1365" y="498"/>
                  <a:pt x="1327" y="537"/>
                </a:cubicBezTo>
                <a:cubicBezTo>
                  <a:pt x="771" y="1104"/>
                  <a:pt x="771" y="1104"/>
                  <a:pt x="771" y="1104"/>
                </a:cubicBezTo>
                <a:cubicBezTo>
                  <a:pt x="732" y="1143"/>
                  <a:pt x="732" y="1207"/>
                  <a:pt x="771" y="1246"/>
                </a:cubicBezTo>
                <a:cubicBezTo>
                  <a:pt x="1327" y="1813"/>
                  <a:pt x="1327" y="1813"/>
                  <a:pt x="1327" y="1813"/>
                </a:cubicBezTo>
                <a:cubicBezTo>
                  <a:pt x="1365" y="1852"/>
                  <a:pt x="1428" y="1852"/>
                  <a:pt x="1467" y="1813"/>
                </a:cubicBezTo>
                <a:cubicBezTo>
                  <a:pt x="1506" y="1774"/>
                  <a:pt x="1506" y="1710"/>
                  <a:pt x="1467" y="1671"/>
                </a:cubicBezTo>
                <a:close/>
                <a:moveTo>
                  <a:pt x="2350" y="1175"/>
                </a:move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lose/>
                <a:moveTo>
                  <a:pt x="152" y="1175"/>
                </a:move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82850" tIns="91400" rIns="182850" bIns="914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61538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7" y="344533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9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+mj-lt"/>
                <a:ea typeface="Lato Black"/>
                <a:cs typeface="Lato Black"/>
                <a:sym typeface="Lato Black"/>
              </a:defRPr>
            </a:lvl1pPr>
            <a:lvl2pPr marL="1828892" marR="0" lvl="1" indent="-68583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337" marR="0" lvl="2" indent="-64773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783" marR="0" lvl="3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228" marR="0" lvl="4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675" marR="0" lvl="5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1120" marR="0" lvl="6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566" marR="0" lvl="7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30011" marR="0" lvl="8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7" y="1391894"/>
            <a:ext cx="7200800" cy="583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45" marR="0" lvl="0" indent="-457223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+mj-lt"/>
                <a:ea typeface="Lato"/>
                <a:cs typeface="Lato"/>
                <a:sym typeface="Lato"/>
              </a:defRPr>
            </a:lvl1pPr>
            <a:lvl2pPr marL="1828892" marR="0" lvl="1" indent="-68583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337" marR="0" lvl="2" indent="-64773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783" marR="0" lvl="3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228" marR="0" lvl="4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675" marR="0" lvl="5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1120" marR="0" lvl="6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566" marR="0" lvl="7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30011" marR="0" lvl="8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5" name="Google Shape;15;p3"/>
          <p:cNvSpPr txBox="1"/>
          <p:nvPr/>
        </p:nvSpPr>
        <p:spPr>
          <a:xfrm>
            <a:off x="15878846" y="9445683"/>
            <a:ext cx="413987" cy="2462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601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601" b="0" i="0" u="none" strike="noStrike" cap="none">
              <a:solidFill>
                <a:schemeClr val="accent4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16" name="Google Shape;16;p3">
            <a:hlinkClick r:id="" action="ppaction://hlinkshowjump?jump=nextslide"/>
          </p:cNvPr>
          <p:cNvSpPr/>
          <p:nvPr/>
        </p:nvSpPr>
        <p:spPr>
          <a:xfrm>
            <a:off x="16814858" y="9426634"/>
            <a:ext cx="282518" cy="282518"/>
          </a:xfrm>
          <a:custGeom>
            <a:avLst/>
            <a:gdLst/>
            <a:ahLst/>
            <a:cxnLst/>
            <a:rect l="l" t="t" r="r" b="b"/>
            <a:pathLst>
              <a:path w="2350" h="2350" extrusionOk="0">
                <a:moveTo>
                  <a:pt x="883" y="679"/>
                </a:moveTo>
                <a:cubicBezTo>
                  <a:pt x="1338" y="1175"/>
                  <a:pt x="1338" y="1175"/>
                  <a:pt x="1338" y="1175"/>
                </a:cubicBezTo>
                <a:cubicBezTo>
                  <a:pt x="883" y="1671"/>
                  <a:pt x="883" y="1671"/>
                  <a:pt x="883" y="1671"/>
                </a:cubicBezTo>
                <a:cubicBezTo>
                  <a:pt x="844" y="1710"/>
                  <a:pt x="844" y="1774"/>
                  <a:pt x="883" y="1813"/>
                </a:cubicBezTo>
                <a:cubicBezTo>
                  <a:pt x="922" y="1852"/>
                  <a:pt x="985" y="1852"/>
                  <a:pt x="1023" y="1813"/>
                </a:cubicBezTo>
                <a:cubicBezTo>
                  <a:pt x="1579" y="1246"/>
                  <a:pt x="1579" y="1246"/>
                  <a:pt x="1579" y="1246"/>
                </a:cubicBezTo>
                <a:cubicBezTo>
                  <a:pt x="1618" y="1207"/>
                  <a:pt x="1618" y="1143"/>
                  <a:pt x="1579" y="1104"/>
                </a:cubicBezTo>
                <a:cubicBezTo>
                  <a:pt x="1023" y="537"/>
                  <a:pt x="1023" y="537"/>
                  <a:pt x="1023" y="537"/>
                </a:cubicBezTo>
                <a:cubicBezTo>
                  <a:pt x="985" y="498"/>
                  <a:pt x="922" y="498"/>
                  <a:pt x="883" y="537"/>
                </a:cubicBezTo>
                <a:cubicBezTo>
                  <a:pt x="844" y="576"/>
                  <a:pt x="844" y="640"/>
                  <a:pt x="883" y="679"/>
                </a:cubicBezTo>
                <a:close/>
                <a:moveTo>
                  <a:pt x="0" y="1175"/>
                </a:move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lose/>
                <a:moveTo>
                  <a:pt x="2198" y="1175"/>
                </a:move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82850" tIns="91400" rIns="182850" bIns="914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" name="Google Shape;17;p3">
            <a:hlinkClick r:id="" action="ppaction://hlinkshowjump?jump=previousslide"/>
          </p:cNvPr>
          <p:cNvSpPr/>
          <p:nvPr/>
        </p:nvSpPr>
        <p:spPr>
          <a:xfrm>
            <a:off x="16488196" y="9426634"/>
            <a:ext cx="282518" cy="282518"/>
          </a:xfrm>
          <a:custGeom>
            <a:avLst/>
            <a:gdLst/>
            <a:ahLst/>
            <a:cxnLst/>
            <a:rect l="l" t="t" r="r" b="b"/>
            <a:pathLst>
              <a:path w="2350" h="2350" extrusionOk="0">
                <a:moveTo>
                  <a:pt x="1467" y="1671"/>
                </a:moveTo>
                <a:cubicBezTo>
                  <a:pt x="1012" y="1175"/>
                  <a:pt x="1012" y="1175"/>
                  <a:pt x="1012" y="1175"/>
                </a:cubicBezTo>
                <a:cubicBezTo>
                  <a:pt x="1467" y="679"/>
                  <a:pt x="1467" y="679"/>
                  <a:pt x="1467" y="679"/>
                </a:cubicBezTo>
                <a:cubicBezTo>
                  <a:pt x="1506" y="640"/>
                  <a:pt x="1506" y="576"/>
                  <a:pt x="1467" y="537"/>
                </a:cubicBezTo>
                <a:cubicBezTo>
                  <a:pt x="1428" y="498"/>
                  <a:pt x="1365" y="498"/>
                  <a:pt x="1327" y="537"/>
                </a:cubicBezTo>
                <a:cubicBezTo>
                  <a:pt x="771" y="1104"/>
                  <a:pt x="771" y="1104"/>
                  <a:pt x="771" y="1104"/>
                </a:cubicBezTo>
                <a:cubicBezTo>
                  <a:pt x="732" y="1143"/>
                  <a:pt x="732" y="1207"/>
                  <a:pt x="771" y="1246"/>
                </a:cubicBezTo>
                <a:cubicBezTo>
                  <a:pt x="1327" y="1813"/>
                  <a:pt x="1327" y="1813"/>
                  <a:pt x="1327" y="1813"/>
                </a:cubicBezTo>
                <a:cubicBezTo>
                  <a:pt x="1365" y="1852"/>
                  <a:pt x="1428" y="1852"/>
                  <a:pt x="1467" y="1813"/>
                </a:cubicBezTo>
                <a:cubicBezTo>
                  <a:pt x="1506" y="1774"/>
                  <a:pt x="1506" y="1710"/>
                  <a:pt x="1467" y="1671"/>
                </a:cubicBezTo>
                <a:close/>
                <a:moveTo>
                  <a:pt x="2350" y="1175"/>
                </a:move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lose/>
                <a:moveTo>
                  <a:pt x="152" y="1175"/>
                </a:move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82850" tIns="91400" rIns="182850" bIns="914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61A773D-D72F-40ED-9BFA-8DA31EC260C1}"/>
              </a:ext>
            </a:extLst>
          </p:cNvPr>
          <p:cNvCxnSpPr>
            <a:cxnSpLocks/>
          </p:cNvCxnSpPr>
          <p:nvPr userDrawn="1"/>
        </p:nvCxnSpPr>
        <p:spPr>
          <a:xfrm>
            <a:off x="647057" y="1255068"/>
            <a:ext cx="16921880" cy="0"/>
          </a:xfrm>
          <a:prstGeom prst="line">
            <a:avLst/>
          </a:prstGeom>
          <a:ln w="25400" cap="sq">
            <a:solidFill>
              <a:srgbClr val="281F76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0AA0D64-9D05-4FAB-915C-1C4B8E9FA7E4}"/>
              </a:ext>
            </a:extLst>
          </p:cNvPr>
          <p:cNvCxnSpPr/>
          <p:nvPr userDrawn="1"/>
        </p:nvCxnSpPr>
        <p:spPr>
          <a:xfrm>
            <a:off x="9144001" y="1548701"/>
            <a:ext cx="72008" cy="8393769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Google Shape;13;p3">
            <a:extLst>
              <a:ext uri="{FF2B5EF4-FFF2-40B4-BE49-F238E27FC236}">
                <a16:creationId xmlns:a16="http://schemas.microsoft.com/office/drawing/2014/main" id="{4D4419B1-67D7-4EEE-A517-CC197D7E6D86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9896576" y="1391894"/>
            <a:ext cx="7200800" cy="583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45" marR="0" lvl="0" indent="-457223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+mj-lt"/>
                <a:ea typeface="Lato"/>
                <a:cs typeface="Lato"/>
                <a:sym typeface="Lato"/>
              </a:defRPr>
            </a:lvl1pPr>
            <a:lvl2pPr marL="1828892" marR="0" lvl="1" indent="-68583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337" marR="0" lvl="2" indent="-64773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783" marR="0" lvl="3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228" marR="0" lvl="4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675" marR="0" lvl="5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1120" marR="0" lvl="6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566" marR="0" lvl="7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30011" marR="0" lvl="8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103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G-SLIDE OP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390329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E3B7210E-0403-40AD-B31D-CFDB47F355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DA78FDB-BCB5-4EFA-8412-2EF549AC10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E793E7A1-9DB3-44A9-A070-9B3244FCD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D77F96-C240-4A64-9F15-1997422FDCF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2099658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White">
          <a:xfrm>
            <a:off x="2400300" y="3580116"/>
            <a:ext cx="13487400" cy="2468880"/>
          </a:xfr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 algn="ctr">
              <a:defRPr sz="5700">
                <a:solidFill>
                  <a:srgbClr val="26262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42791" y="6528816"/>
            <a:ext cx="10202418" cy="1859841"/>
          </a:xfrm>
          <a:noFill/>
        </p:spPr>
        <p:txBody>
          <a:bodyPr>
            <a:normAutofit/>
          </a:bodyPr>
          <a:lstStyle>
            <a:lvl1pPr marL="0" indent="0" algn="ctr">
              <a:buNone/>
              <a:defRPr sz="3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60EA64-D806-43AC-9DF2-F8C432F32B4C}" type="datetimeFigureOut">
              <a:rPr lang="en-US" dirty="0"/>
              <a:t>3/15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89959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70A7B3-6521-4DCA-87E5-044747A908C1}" type="datetimeFigureOut">
              <a:rPr lang="en-US" dirty="0"/>
              <a:t>3/15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1848743"/>
      </p:ext>
    </p:extLst>
  </p:cSld>
  <p:clrMapOvr>
    <a:masterClrMapping/>
  </p:clrMapOvr>
  <p:hf sldNum="0" hdr="0" ftr="0" dt="0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2400300" y="3580116"/>
            <a:ext cx="13487400" cy="2468880"/>
          </a:xfr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>
              <a:defRPr sz="5700">
                <a:solidFill>
                  <a:srgbClr val="26262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42791" y="6528698"/>
            <a:ext cx="10202418" cy="1897623"/>
          </a:xfrm>
        </p:spPr>
        <p:txBody>
          <a:bodyPr anchor="t" anchorCtr="1">
            <a:normAutofit/>
          </a:bodyPr>
          <a:lstStyle>
            <a:lvl1pPr marL="0" indent="0">
              <a:buNone/>
              <a:defRPr sz="3000">
                <a:solidFill>
                  <a:schemeClr val="tx1"/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60EA64-D806-43AC-9DF2-F8C432F32B4C}" type="datetimeFigureOut">
              <a:rPr lang="en-US" dirty="0"/>
              <a:t>3/15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61905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372868" y="3957066"/>
            <a:ext cx="6407657" cy="46529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507473" y="3957066"/>
            <a:ext cx="6405371" cy="46529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134690-1557-4C89-A502-4959FE7FAD70}" type="datetimeFigureOut">
              <a:rPr lang="en-US" dirty="0"/>
              <a:t>3/15/2024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2067666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>
            <a:extLst>
              <a:ext uri="{FF2B5EF4-FFF2-40B4-BE49-F238E27FC236}">
                <a16:creationId xmlns:a16="http://schemas.microsoft.com/office/drawing/2014/main" id="{CA96DD7E-0BD0-4EC7-8934-AD14907500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5400000">
            <a:off x="15409604" y="0"/>
            <a:ext cx="2855698" cy="2855698"/>
          </a:xfrm>
          <a:prstGeom prst="rect">
            <a:avLst/>
          </a:prstGeom>
        </p:spPr>
      </p:pic>
      <p:pic>
        <p:nvPicPr>
          <p:cNvPr id="7" name="Picture 8">
            <a:extLst>
              <a:ext uri="{FF2B5EF4-FFF2-40B4-BE49-F238E27FC236}">
                <a16:creationId xmlns:a16="http://schemas.microsoft.com/office/drawing/2014/main" id="{27CD148B-40CD-4041-AD94-64F7987BF9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-5400000">
            <a:off x="-32642" y="7431302"/>
            <a:ext cx="2855698" cy="285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004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75154" y="3470150"/>
            <a:ext cx="6405372" cy="1056131"/>
          </a:xfrm>
        </p:spPr>
        <p:txBody>
          <a:bodyPr anchor="b" anchorCtr="1">
            <a:normAutofit/>
          </a:bodyPr>
          <a:lstStyle>
            <a:lvl1pPr marL="0" indent="0" algn="ctr">
              <a:buNone/>
              <a:defRPr sz="2850" b="0" cap="all" spc="15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685800" indent="0">
              <a:buNone/>
              <a:defRPr sz="285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375154" y="4714875"/>
            <a:ext cx="6405372" cy="38951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507474" y="4714875"/>
            <a:ext cx="6380226" cy="3895164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9507474" y="3470150"/>
            <a:ext cx="6405372" cy="1056131"/>
          </a:xfrm>
        </p:spPr>
        <p:txBody>
          <a:bodyPr anchor="b" anchorCtr="1">
            <a:normAutofit/>
          </a:bodyPr>
          <a:lstStyle>
            <a:lvl1pPr marL="0" indent="0" algn="ctr">
              <a:buNone/>
              <a:defRPr sz="2850" b="0" cap="all" spc="15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685800" indent="0">
              <a:buNone/>
              <a:defRPr sz="285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7D4976-E339-4826-83B7-FBD03F55ECF8}" type="datetimeFigureOut">
              <a:rPr lang="en-US" dirty="0"/>
              <a:t>3/15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3771766"/>
      </p:ext>
    </p:extLst>
  </p:cSld>
  <p:clrMapOvr>
    <a:masterClrMapping/>
  </p:clrMapOvr>
  <p:hf sldNum="0" hdr="0" ftr="0" dt="0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037C31-9E7A-4F99-8774-A0E530DE1A42}" type="datetimeFigureOut">
              <a:rPr lang="en-US" dirty="0"/>
              <a:t>3/15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8882732"/>
      </p:ext>
    </p:extLst>
  </p:cSld>
  <p:clrMapOvr>
    <a:masterClrMapping/>
  </p:clrMapOvr>
  <p:hf sldNum="0" hdr="0" ftr="0" dt="0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78504F-A551-4DE0-9316-4DCD1D8CC752}" type="datetimeFigureOut">
              <a:rPr lang="en-US" dirty="0"/>
              <a:t>3/15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5201253"/>
      </p:ext>
    </p:extLst>
  </p:cSld>
  <p:clrMapOvr>
    <a:masterClrMapping/>
  </p:clrMapOvr>
  <p:hf sldNum="0" hdr="0" ftr="0" dt="0"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0" y="0"/>
            <a:ext cx="9144000" cy="10287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1207008" y="3365743"/>
            <a:ext cx="6729984" cy="1712246"/>
          </a:xfrm>
          <a:solidFill>
            <a:srgbClr val="FFFFFF"/>
          </a:solidFill>
          <a:ln>
            <a:solidFill>
              <a:srgbClr val="404040"/>
            </a:solidFill>
          </a:ln>
        </p:spPr>
        <p:txBody>
          <a:bodyPr anchor="ctr" anchorCtr="1">
            <a:normAutofit/>
          </a:bodyPr>
          <a:lstStyle>
            <a:lvl1pPr>
              <a:defRPr sz="3300">
                <a:solidFill>
                  <a:srgbClr val="26262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104120" y="1207008"/>
            <a:ext cx="7223760" cy="7872984"/>
          </a:xfrm>
        </p:spPr>
        <p:txBody>
          <a:bodyPr>
            <a:normAutofit/>
          </a:bodyPr>
          <a:lstStyle>
            <a:lvl1pPr>
              <a:defRPr sz="285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400">
                <a:solidFill>
                  <a:schemeClr val="tx1"/>
                </a:solidFill>
              </a:defRPr>
            </a:lvl4pPr>
            <a:lvl5pPr>
              <a:defRPr sz="240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3352" y="5324877"/>
            <a:ext cx="5692140" cy="3291054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2250">
                <a:solidFill>
                  <a:srgbClr val="FFFFFF"/>
                </a:solidFill>
              </a:defRPr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BE4249-C0D0-4B06-8692-E8BB871AF643}" type="datetimeFigureOut">
              <a:rPr lang="en-US" dirty="0"/>
              <a:t>3/15/2024</a:t>
            </a:fld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>
          <a:xfrm>
            <a:off x="1207009" y="9354312"/>
            <a:ext cx="7687196" cy="480060"/>
          </a:xfrm>
        </p:spPr>
        <p:txBody>
          <a:bodyPr/>
          <a:lstStyle>
            <a:lvl1pPr>
              <a:defRPr>
                <a:solidFill>
                  <a:srgbClr val="FFFFFF">
                    <a:alpha val="70000"/>
                  </a:srgb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0250256"/>
      </p:ext>
    </p:extLst>
  </p:cSld>
  <p:clrMapOvr>
    <a:masterClrMapping/>
  </p:clrMapOvr>
  <p:hf sldNum="0" hdr="0" ftr="0" dt="0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1" y="0"/>
            <a:ext cx="9143999" cy="10287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1212785" y="3365742"/>
            <a:ext cx="6742497" cy="1701960"/>
          </a:xfrm>
          <a:solidFill>
            <a:srgbClr val="FFFFFF"/>
          </a:solidFill>
          <a:ln>
            <a:solidFill>
              <a:srgbClr val="404040"/>
            </a:solidFill>
          </a:ln>
        </p:spPr>
        <p:txBody>
          <a:bodyPr anchor="ctr" anchorCtr="1">
            <a:noAutofit/>
          </a:bodyPr>
          <a:lstStyle>
            <a:lvl1pPr>
              <a:defRPr sz="3300">
                <a:solidFill>
                  <a:srgbClr val="26262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143999" y="0"/>
            <a:ext cx="9153146" cy="10287000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4800">
                <a:solidFill>
                  <a:schemeClr val="bg1">
                    <a:lumMod val="85000"/>
                    <a:lumOff val="15000"/>
                  </a:schemeClr>
                </a:solidFill>
              </a:defRPr>
            </a:lvl1pPr>
            <a:lvl2pPr marL="685800" indent="0">
              <a:buNone/>
              <a:defRPr sz="4200"/>
            </a:lvl2pPr>
            <a:lvl3pPr marL="1371600" indent="0">
              <a:buNone/>
              <a:defRPr sz="3600"/>
            </a:lvl3pPr>
            <a:lvl4pPr marL="2057400" indent="0">
              <a:buNone/>
              <a:defRPr sz="3000"/>
            </a:lvl4pPr>
            <a:lvl5pPr marL="2743200" indent="0">
              <a:buNone/>
              <a:defRPr sz="3000"/>
            </a:lvl5pPr>
            <a:lvl6pPr marL="3429000" indent="0">
              <a:buNone/>
              <a:defRPr sz="3000"/>
            </a:lvl6pPr>
            <a:lvl7pPr marL="4114800" indent="0">
              <a:buNone/>
              <a:defRPr sz="3000"/>
            </a:lvl7pPr>
            <a:lvl8pPr marL="4800600" indent="0">
              <a:buNone/>
              <a:defRPr sz="3000"/>
            </a:lvl8pPr>
            <a:lvl9pPr marL="5486400" indent="0">
              <a:buNone/>
              <a:defRPr sz="3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3352" y="5324878"/>
            <a:ext cx="5692140" cy="3291056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2250">
                <a:solidFill>
                  <a:srgbClr val="FFFFFF"/>
                </a:solidFill>
              </a:defRPr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3000"/>
                    </a:prstClr>
                  </a:outerShdw>
                </a:effectLst>
              </a:defRPr>
            </a:lvl1pPr>
          </a:lstStyle>
          <a:p>
            <a:fld id="{042B0DB6-F5C7-45FB-8CF3-31B45F9C2DAC}" type="datetimeFigureOut">
              <a:rPr lang="en-US" dirty="0"/>
              <a:t>3/15/2024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1207009" y="9354312"/>
            <a:ext cx="7687196" cy="480060"/>
          </a:xfrm>
        </p:spPr>
        <p:txBody>
          <a:bodyPr/>
          <a:lstStyle>
            <a:lvl1pPr>
              <a:defRPr>
                <a:solidFill>
                  <a:srgbClr val="FFFFFF">
                    <a:alpha val="70000"/>
                  </a:srgb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4B29787-11CC-41DF-9069-3E3BBEEC9100}"/>
              </a:ext>
            </a:extLst>
          </p:cNvPr>
          <p:cNvSpPr/>
          <p:nvPr userDrawn="1"/>
        </p:nvSpPr>
        <p:spPr>
          <a:xfrm>
            <a:off x="15336688" y="0"/>
            <a:ext cx="2808312" cy="452368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608647531"/>
      </p:ext>
    </p:extLst>
  </p:cSld>
  <p:clrMapOvr>
    <a:masterClrMapping/>
  </p:clrMapOvr>
  <p:hf sldNum="0" hdr="0" ftr="0" dt="0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F9C37B-1D36-470B-8223-D6C91242EC14}" type="datetimeFigureOut">
              <a:rPr lang="en-US" dirty="0"/>
              <a:t>3/1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9908188"/>
      </p:ext>
    </p:extLst>
  </p:cSld>
  <p:clrMapOvr>
    <a:masterClrMapping/>
  </p:clrMapOvr>
  <p:hf sldNum="0" hdr="0" ftr="0" dt="0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2979668" y="1405890"/>
            <a:ext cx="1947912" cy="747522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46705" y="1405890"/>
            <a:ext cx="9297734" cy="747522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C6F52A-A82B-47A2-A83A-8C4C91F2D59F}" type="datetimeFigureOut">
              <a:rPr lang="en-US" dirty="0"/>
              <a:t>3/1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331106"/>
      </p:ext>
    </p:extLst>
  </p:cSld>
  <p:clrMapOvr>
    <a:masterClrMapping/>
  </p:clrMapOvr>
  <p:hf sldNum="0" hdr="0" ftr="0" dt="0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userDrawn="1">
  <p:cSld name="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1888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userDrawn="1">
  <p:cSld name="1_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1" i="0" u="none" strike="noStrike" cap="none">
                <a:solidFill>
                  <a:srgbClr val="281F76"/>
                </a:solidFill>
                <a:latin typeface="+mj-lt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1894"/>
            <a:ext cx="16921880" cy="5832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+mj-lt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282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" userDrawn="1">
  <p:cSld name="Full Image">
    <p:bg>
      <p:bgPr>
        <a:solidFill>
          <a:srgbClr val="F2F2F7"/>
        </a:solidFill>
        <a:effectLst/>
      </p:bgPr>
    </p:bg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&#10;&#10;Description automatically generated with medium confidence">
            <a:extLst>
              <a:ext uri="{FF2B5EF4-FFF2-40B4-BE49-F238E27FC236}">
                <a16:creationId xmlns:a16="http://schemas.microsoft.com/office/drawing/2014/main" id="{FB0887B9-4E2E-440E-A5AE-69FC8690A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2638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A30287-DAD0-40F4-93EA-DF08FDF6A5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9024" y="9054899"/>
            <a:ext cx="2054023" cy="10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455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userDrawn="1">
  <p:cSld name="1_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+mj-lt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1894"/>
            <a:ext cx="7200800" cy="583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+mj-lt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" name="Google Shape;15;p3"/>
          <p:cNvSpPr txBox="1"/>
          <p:nvPr/>
        </p:nvSpPr>
        <p:spPr>
          <a:xfrm>
            <a:off x="15878845" y="9445683"/>
            <a:ext cx="413986" cy="2462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6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600" b="0" i="0" u="none" strike="noStrike" cap="none">
              <a:solidFill>
                <a:schemeClr val="accent4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16" name="Google Shape;16;p3">
            <a:hlinkClick r:id="" action="ppaction://hlinkshowjump?jump=nextslide"/>
          </p:cNvPr>
          <p:cNvSpPr/>
          <p:nvPr/>
        </p:nvSpPr>
        <p:spPr>
          <a:xfrm>
            <a:off x="16814857" y="9426633"/>
            <a:ext cx="282518" cy="282518"/>
          </a:xfrm>
          <a:custGeom>
            <a:avLst/>
            <a:gdLst/>
            <a:ahLst/>
            <a:cxnLst/>
            <a:rect l="l" t="t" r="r" b="b"/>
            <a:pathLst>
              <a:path w="2350" h="2350" extrusionOk="0">
                <a:moveTo>
                  <a:pt x="883" y="679"/>
                </a:moveTo>
                <a:cubicBezTo>
                  <a:pt x="1338" y="1175"/>
                  <a:pt x="1338" y="1175"/>
                  <a:pt x="1338" y="1175"/>
                </a:cubicBezTo>
                <a:cubicBezTo>
                  <a:pt x="883" y="1671"/>
                  <a:pt x="883" y="1671"/>
                  <a:pt x="883" y="1671"/>
                </a:cubicBezTo>
                <a:cubicBezTo>
                  <a:pt x="844" y="1710"/>
                  <a:pt x="844" y="1774"/>
                  <a:pt x="883" y="1813"/>
                </a:cubicBezTo>
                <a:cubicBezTo>
                  <a:pt x="922" y="1852"/>
                  <a:pt x="985" y="1852"/>
                  <a:pt x="1023" y="1813"/>
                </a:cubicBezTo>
                <a:cubicBezTo>
                  <a:pt x="1579" y="1246"/>
                  <a:pt x="1579" y="1246"/>
                  <a:pt x="1579" y="1246"/>
                </a:cubicBezTo>
                <a:cubicBezTo>
                  <a:pt x="1618" y="1207"/>
                  <a:pt x="1618" y="1143"/>
                  <a:pt x="1579" y="1104"/>
                </a:cubicBezTo>
                <a:cubicBezTo>
                  <a:pt x="1023" y="537"/>
                  <a:pt x="1023" y="537"/>
                  <a:pt x="1023" y="537"/>
                </a:cubicBezTo>
                <a:cubicBezTo>
                  <a:pt x="985" y="498"/>
                  <a:pt x="922" y="498"/>
                  <a:pt x="883" y="537"/>
                </a:cubicBezTo>
                <a:cubicBezTo>
                  <a:pt x="844" y="576"/>
                  <a:pt x="844" y="640"/>
                  <a:pt x="883" y="679"/>
                </a:cubicBezTo>
                <a:close/>
                <a:moveTo>
                  <a:pt x="0" y="1175"/>
                </a:move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lose/>
                <a:moveTo>
                  <a:pt x="2198" y="1175"/>
                </a:move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82850" tIns="91400" rIns="182850" bIns="914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" name="Google Shape;17;p3">
            <a:hlinkClick r:id="" action="ppaction://hlinkshowjump?jump=previousslide"/>
          </p:cNvPr>
          <p:cNvSpPr/>
          <p:nvPr/>
        </p:nvSpPr>
        <p:spPr>
          <a:xfrm>
            <a:off x="16488195" y="9426633"/>
            <a:ext cx="282518" cy="282518"/>
          </a:xfrm>
          <a:custGeom>
            <a:avLst/>
            <a:gdLst/>
            <a:ahLst/>
            <a:cxnLst/>
            <a:rect l="l" t="t" r="r" b="b"/>
            <a:pathLst>
              <a:path w="2350" h="2350" extrusionOk="0">
                <a:moveTo>
                  <a:pt x="1467" y="1671"/>
                </a:moveTo>
                <a:cubicBezTo>
                  <a:pt x="1012" y="1175"/>
                  <a:pt x="1012" y="1175"/>
                  <a:pt x="1012" y="1175"/>
                </a:cubicBezTo>
                <a:cubicBezTo>
                  <a:pt x="1467" y="679"/>
                  <a:pt x="1467" y="679"/>
                  <a:pt x="1467" y="679"/>
                </a:cubicBezTo>
                <a:cubicBezTo>
                  <a:pt x="1506" y="640"/>
                  <a:pt x="1506" y="576"/>
                  <a:pt x="1467" y="537"/>
                </a:cubicBezTo>
                <a:cubicBezTo>
                  <a:pt x="1428" y="498"/>
                  <a:pt x="1365" y="498"/>
                  <a:pt x="1327" y="537"/>
                </a:cubicBezTo>
                <a:cubicBezTo>
                  <a:pt x="771" y="1104"/>
                  <a:pt x="771" y="1104"/>
                  <a:pt x="771" y="1104"/>
                </a:cubicBezTo>
                <a:cubicBezTo>
                  <a:pt x="732" y="1143"/>
                  <a:pt x="732" y="1207"/>
                  <a:pt x="771" y="1246"/>
                </a:cubicBezTo>
                <a:cubicBezTo>
                  <a:pt x="1327" y="1813"/>
                  <a:pt x="1327" y="1813"/>
                  <a:pt x="1327" y="1813"/>
                </a:cubicBezTo>
                <a:cubicBezTo>
                  <a:pt x="1365" y="1852"/>
                  <a:pt x="1428" y="1852"/>
                  <a:pt x="1467" y="1813"/>
                </a:cubicBezTo>
                <a:cubicBezTo>
                  <a:pt x="1506" y="1774"/>
                  <a:pt x="1506" y="1710"/>
                  <a:pt x="1467" y="1671"/>
                </a:cubicBezTo>
                <a:close/>
                <a:moveTo>
                  <a:pt x="2350" y="1175"/>
                </a:move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lose/>
                <a:moveTo>
                  <a:pt x="152" y="1175"/>
                </a:move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82850" tIns="91400" rIns="182850" bIns="914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61A773D-D72F-40ED-9BFA-8DA31EC260C1}"/>
              </a:ext>
            </a:extLst>
          </p:cNvPr>
          <p:cNvCxnSpPr>
            <a:cxnSpLocks/>
          </p:cNvCxnSpPr>
          <p:nvPr userDrawn="1"/>
        </p:nvCxnSpPr>
        <p:spPr>
          <a:xfrm>
            <a:off x="647056" y="1255068"/>
            <a:ext cx="16921880" cy="0"/>
          </a:xfrm>
          <a:prstGeom prst="line">
            <a:avLst/>
          </a:prstGeom>
          <a:ln w="25400" cap="sq">
            <a:solidFill>
              <a:srgbClr val="281F76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0AA0D64-9D05-4FAB-915C-1C4B8E9FA7E4}"/>
              </a:ext>
            </a:extLst>
          </p:cNvPr>
          <p:cNvCxnSpPr/>
          <p:nvPr userDrawn="1"/>
        </p:nvCxnSpPr>
        <p:spPr>
          <a:xfrm>
            <a:off x="9144000" y="1548700"/>
            <a:ext cx="72008" cy="8393769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Google Shape;13;p3">
            <a:extLst>
              <a:ext uri="{FF2B5EF4-FFF2-40B4-BE49-F238E27FC236}">
                <a16:creationId xmlns:a16="http://schemas.microsoft.com/office/drawing/2014/main" id="{4D4419B1-67D7-4EEE-A517-CC197D7E6D86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9896575" y="1391894"/>
            <a:ext cx="7200800" cy="583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+mj-lt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60933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93E38A73-349E-2B7A-966C-EE2336656F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86000" y="1683545"/>
            <a:ext cx="13716000" cy="3581400"/>
          </a:xfrm>
        </p:spPr>
        <p:txBody>
          <a:bodyPr anchor="b"/>
          <a:lstStyle>
            <a:lvl1pPr algn="ctr">
              <a:defRPr sz="9000"/>
            </a:lvl1pPr>
          </a:lstStyle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Υπότιτλος 2">
            <a:extLst>
              <a:ext uri="{FF2B5EF4-FFF2-40B4-BE49-F238E27FC236}">
                <a16:creationId xmlns:a16="http://schemas.microsoft.com/office/drawing/2014/main" id="{86F575B0-4225-9A19-A24B-DB58A1AD34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86000" y="5403057"/>
            <a:ext cx="13716000" cy="2483643"/>
          </a:xfrm>
        </p:spPr>
        <p:txBody>
          <a:bodyPr/>
          <a:lstStyle>
            <a:lvl1pPr marL="0" indent="0" algn="ctr">
              <a:buNone/>
              <a:defRPr sz="3600"/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l-GR"/>
              <a:t>Κάντε κλικ για να επεξεργαστείτε τον υπότιτλο του υποδείγματος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id="{2ABEB86A-7C8C-A10D-77F2-7B5B8F6A46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1C25D-7FB8-4D36-9B18-8F55FBC65D4C}" type="datetimeFigureOut">
              <a:rPr lang="el-GR" smtClean="0"/>
              <a:t>15/3/2024</a:t>
            </a:fld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id="{FF16CDC7-6BF7-859F-A19C-6C27B16171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id="{F1002B81-50D2-E91A-560A-7E8E2027C4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FD355A-6DCF-4C8F-BD4D-74D9E14487FB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315198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random/>
      </p:transition>
    </mc:Choice>
    <mc:Fallback xmlns="">
      <p:transition>
        <p:random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91514415-C63C-C51B-30AA-7F0361D6A4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περιεχομένου 2">
            <a:extLst>
              <a:ext uri="{FF2B5EF4-FFF2-40B4-BE49-F238E27FC236}">
                <a16:creationId xmlns:a16="http://schemas.microsoft.com/office/drawing/2014/main" id="{94C8A176-AAA7-FDE2-59F3-E1C4421D2B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id="{B63B51E0-97A0-FC83-C2EE-B098868410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1C25D-7FB8-4D36-9B18-8F55FBC65D4C}" type="datetimeFigureOut">
              <a:rPr lang="el-GR" smtClean="0"/>
              <a:t>15/3/2024</a:t>
            </a:fld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id="{AE7A19A8-4813-8D49-6409-8456620622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id="{5284C7F7-5CE2-3574-7202-100BF6E0D5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FD355A-6DCF-4C8F-BD4D-74D9E14487FB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398268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random/>
      </p:transition>
    </mc:Choice>
    <mc:Fallback xmlns="">
      <p:transition>
        <p:random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028D7583-289F-4857-C548-DDCCF46C8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7775" y="2564608"/>
            <a:ext cx="15773400" cy="4279106"/>
          </a:xfrm>
        </p:spPr>
        <p:txBody>
          <a:bodyPr anchor="b"/>
          <a:lstStyle>
            <a:lvl1pPr>
              <a:defRPr sz="9000"/>
            </a:lvl1pPr>
          </a:lstStyle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κειμένου 2">
            <a:extLst>
              <a:ext uri="{FF2B5EF4-FFF2-40B4-BE49-F238E27FC236}">
                <a16:creationId xmlns:a16="http://schemas.microsoft.com/office/drawing/2014/main" id="{47163AFE-0A21-CBAF-030E-7CAED68A30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47775" y="6884195"/>
            <a:ext cx="15773400" cy="2250281"/>
          </a:xfrm>
        </p:spPr>
        <p:txBody>
          <a:bodyPr/>
          <a:lstStyle>
            <a:lvl1pPr marL="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id="{3488CD11-6DEF-A495-FD71-F9FBE155A7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1C25D-7FB8-4D36-9B18-8F55FBC65D4C}" type="datetimeFigureOut">
              <a:rPr lang="el-GR" smtClean="0"/>
              <a:t>15/3/2024</a:t>
            </a:fld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id="{A626CFEA-B886-2320-22BF-4B62EED231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id="{DCD4BB6F-5A5A-68B8-11BF-B3F9140E4E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FD355A-6DCF-4C8F-BD4D-74D9E14487FB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713876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random/>
      </p:transition>
    </mc:Choice>
    <mc:Fallback xmlns="">
      <p:transition>
        <p:random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8ACF5708-DBB0-8671-E605-18474DA1FC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περιεχομένου 2">
            <a:extLst>
              <a:ext uri="{FF2B5EF4-FFF2-40B4-BE49-F238E27FC236}">
                <a16:creationId xmlns:a16="http://schemas.microsoft.com/office/drawing/2014/main" id="{56817611-0645-CD90-ACB5-A165023595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57300" y="2738438"/>
            <a:ext cx="7772400" cy="6527007"/>
          </a:xfrm>
        </p:spPr>
        <p:txBody>
          <a:bodyPr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4" name="Θέση περιεχομένου 3">
            <a:extLst>
              <a:ext uri="{FF2B5EF4-FFF2-40B4-BE49-F238E27FC236}">
                <a16:creationId xmlns:a16="http://schemas.microsoft.com/office/drawing/2014/main" id="{7E12FF2D-9669-F43B-7ACE-898C347CCD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258300" y="2738438"/>
            <a:ext cx="7772400" cy="6527007"/>
          </a:xfrm>
        </p:spPr>
        <p:txBody>
          <a:bodyPr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5" name="Θέση ημερομηνίας 4">
            <a:extLst>
              <a:ext uri="{FF2B5EF4-FFF2-40B4-BE49-F238E27FC236}">
                <a16:creationId xmlns:a16="http://schemas.microsoft.com/office/drawing/2014/main" id="{47598DD9-7AFF-B95A-9BB2-588B06290E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1C25D-7FB8-4D36-9B18-8F55FBC65D4C}" type="datetimeFigureOut">
              <a:rPr lang="el-GR" smtClean="0"/>
              <a:t>15/3/2024</a:t>
            </a:fld>
            <a:endParaRPr lang="el-GR"/>
          </a:p>
        </p:txBody>
      </p:sp>
      <p:sp>
        <p:nvSpPr>
          <p:cNvPr id="6" name="Θέση υποσέλιδου 5">
            <a:extLst>
              <a:ext uri="{FF2B5EF4-FFF2-40B4-BE49-F238E27FC236}">
                <a16:creationId xmlns:a16="http://schemas.microsoft.com/office/drawing/2014/main" id="{3DA4CF16-88B8-CC16-AA64-4415F1A281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>
            <a:extLst>
              <a:ext uri="{FF2B5EF4-FFF2-40B4-BE49-F238E27FC236}">
                <a16:creationId xmlns:a16="http://schemas.microsoft.com/office/drawing/2014/main" id="{5FA1DA42-FB72-CEF8-264D-94542C28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FD355A-6DCF-4C8F-BD4D-74D9E14487FB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973505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random/>
      </p:transition>
    </mc:Choice>
    <mc:Fallback xmlns="">
      <p:transition>
        <p:random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EF007452-C5CD-410D-C41B-19696601C6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9682" y="547688"/>
            <a:ext cx="15773400" cy="1988345"/>
          </a:xfrm>
        </p:spPr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κειμένου 2">
            <a:extLst>
              <a:ext uri="{FF2B5EF4-FFF2-40B4-BE49-F238E27FC236}">
                <a16:creationId xmlns:a16="http://schemas.microsoft.com/office/drawing/2014/main" id="{17FAD03C-27ED-591D-04C6-7D17993B8B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59683" y="2521745"/>
            <a:ext cx="7736681" cy="1235868"/>
          </a:xfr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4" name="Θέση περιεχομένου 3">
            <a:extLst>
              <a:ext uri="{FF2B5EF4-FFF2-40B4-BE49-F238E27FC236}">
                <a16:creationId xmlns:a16="http://schemas.microsoft.com/office/drawing/2014/main" id="{E22D4663-911F-1825-9284-A12697F941B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59683" y="3757613"/>
            <a:ext cx="7736681" cy="5526882"/>
          </a:xfrm>
        </p:spPr>
        <p:txBody>
          <a:bodyPr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5" name="Θέση κειμένου 4">
            <a:extLst>
              <a:ext uri="{FF2B5EF4-FFF2-40B4-BE49-F238E27FC236}">
                <a16:creationId xmlns:a16="http://schemas.microsoft.com/office/drawing/2014/main" id="{6F6BFC42-7CA9-77BE-D22E-A2B3F5D8B18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9258300" y="2521745"/>
            <a:ext cx="7774782" cy="1235868"/>
          </a:xfr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6" name="Θέση περιεχομένου 5">
            <a:extLst>
              <a:ext uri="{FF2B5EF4-FFF2-40B4-BE49-F238E27FC236}">
                <a16:creationId xmlns:a16="http://schemas.microsoft.com/office/drawing/2014/main" id="{FA2EB901-9F79-8F1F-8CD6-95DF57BB60F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9258300" y="3757613"/>
            <a:ext cx="7774782" cy="5526882"/>
          </a:xfrm>
        </p:spPr>
        <p:txBody>
          <a:bodyPr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7" name="Θέση ημερομηνίας 6">
            <a:extLst>
              <a:ext uri="{FF2B5EF4-FFF2-40B4-BE49-F238E27FC236}">
                <a16:creationId xmlns:a16="http://schemas.microsoft.com/office/drawing/2014/main" id="{BD50E48F-6DD1-AA4A-08C6-90411E06A9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1C25D-7FB8-4D36-9B18-8F55FBC65D4C}" type="datetimeFigureOut">
              <a:rPr lang="el-GR" smtClean="0"/>
              <a:t>15/3/2024</a:t>
            </a:fld>
            <a:endParaRPr lang="el-GR"/>
          </a:p>
        </p:txBody>
      </p:sp>
      <p:sp>
        <p:nvSpPr>
          <p:cNvPr id="8" name="Θέση υποσέλιδου 7">
            <a:extLst>
              <a:ext uri="{FF2B5EF4-FFF2-40B4-BE49-F238E27FC236}">
                <a16:creationId xmlns:a16="http://schemas.microsoft.com/office/drawing/2014/main" id="{36F1B2CC-A653-76E8-465E-9633B72B32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9" name="Θέση αριθμού διαφάνειας 8">
            <a:extLst>
              <a:ext uri="{FF2B5EF4-FFF2-40B4-BE49-F238E27FC236}">
                <a16:creationId xmlns:a16="http://schemas.microsoft.com/office/drawing/2014/main" id="{15A22A25-6DB2-AF78-9F66-9DFE2A2A9B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FD355A-6DCF-4C8F-BD4D-74D9E14487FB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9215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random/>
      </p:transition>
    </mc:Choice>
    <mc:Fallback xmlns="">
      <p:transition>
        <p:random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09CA240C-82E0-A0AD-AC7B-27E743BC6D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ημερομηνίας 2">
            <a:extLst>
              <a:ext uri="{FF2B5EF4-FFF2-40B4-BE49-F238E27FC236}">
                <a16:creationId xmlns:a16="http://schemas.microsoft.com/office/drawing/2014/main" id="{1A4518FB-47AD-7319-34BB-71096C74D6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1C25D-7FB8-4D36-9B18-8F55FBC65D4C}" type="datetimeFigureOut">
              <a:rPr lang="el-GR" smtClean="0"/>
              <a:t>15/3/2024</a:t>
            </a:fld>
            <a:endParaRPr lang="el-GR"/>
          </a:p>
        </p:txBody>
      </p:sp>
      <p:sp>
        <p:nvSpPr>
          <p:cNvPr id="4" name="Θέση υποσέλιδου 3">
            <a:extLst>
              <a:ext uri="{FF2B5EF4-FFF2-40B4-BE49-F238E27FC236}">
                <a16:creationId xmlns:a16="http://schemas.microsoft.com/office/drawing/2014/main" id="{5AEBAFDF-595E-BE85-6ACE-49EB97174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5" name="Θέση αριθμού διαφάνειας 4">
            <a:extLst>
              <a:ext uri="{FF2B5EF4-FFF2-40B4-BE49-F238E27FC236}">
                <a16:creationId xmlns:a16="http://schemas.microsoft.com/office/drawing/2014/main" id="{A6C1F4D8-A5A5-C504-1B0E-FAFF09DE5E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FD355A-6DCF-4C8F-BD4D-74D9E14487FB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993570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random/>
      </p:transition>
    </mc:Choice>
    <mc:Fallback xmlns="">
      <p:transition>
        <p:random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ημερομηνίας 1">
            <a:extLst>
              <a:ext uri="{FF2B5EF4-FFF2-40B4-BE49-F238E27FC236}">
                <a16:creationId xmlns:a16="http://schemas.microsoft.com/office/drawing/2014/main" id="{33B8E201-0471-2E3D-9A35-842A66BA73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1C25D-7FB8-4D36-9B18-8F55FBC65D4C}" type="datetimeFigureOut">
              <a:rPr lang="el-GR" smtClean="0"/>
              <a:t>15/3/2024</a:t>
            </a:fld>
            <a:endParaRPr lang="el-GR"/>
          </a:p>
        </p:txBody>
      </p:sp>
      <p:sp>
        <p:nvSpPr>
          <p:cNvPr id="3" name="Θέση υποσέλιδου 2">
            <a:extLst>
              <a:ext uri="{FF2B5EF4-FFF2-40B4-BE49-F238E27FC236}">
                <a16:creationId xmlns:a16="http://schemas.microsoft.com/office/drawing/2014/main" id="{A38D902E-3794-70CB-6207-B5F5251E49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Θέση αριθμού διαφάνειας 3">
            <a:extLst>
              <a:ext uri="{FF2B5EF4-FFF2-40B4-BE49-F238E27FC236}">
                <a16:creationId xmlns:a16="http://schemas.microsoft.com/office/drawing/2014/main" id="{76706F50-AE84-745F-AD69-45950B4E2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FD355A-6DCF-4C8F-BD4D-74D9E14487FB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517945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random/>
      </p:transition>
    </mc:Choice>
    <mc:Fallback xmlns="">
      <p:transition>
        <p:random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F4599DF8-0922-7A8E-E88E-BB2D38427A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9683" y="685800"/>
            <a:ext cx="5898356" cy="2400300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περιεχομένου 2">
            <a:extLst>
              <a:ext uri="{FF2B5EF4-FFF2-40B4-BE49-F238E27FC236}">
                <a16:creationId xmlns:a16="http://schemas.microsoft.com/office/drawing/2014/main" id="{0AD04835-1E92-2429-56B9-97197F56C6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74782" y="1481138"/>
            <a:ext cx="9258300" cy="7310438"/>
          </a:xfrm>
        </p:spPr>
        <p:txBody>
          <a:bodyPr/>
          <a:lstStyle>
            <a:lvl1pPr>
              <a:defRPr sz="4800"/>
            </a:lvl1pPr>
            <a:lvl2pPr>
              <a:defRPr sz="4200"/>
            </a:lvl2pPr>
            <a:lvl3pPr>
              <a:defRPr sz="3600"/>
            </a:lvl3pPr>
            <a:lvl4pPr>
              <a:defRPr sz="3000"/>
            </a:lvl4pPr>
            <a:lvl5pPr>
              <a:defRPr sz="3000"/>
            </a:lvl5pPr>
            <a:lvl6pPr>
              <a:defRPr sz="3000"/>
            </a:lvl6pPr>
            <a:lvl7pPr>
              <a:defRPr sz="3000"/>
            </a:lvl7pPr>
            <a:lvl8pPr>
              <a:defRPr sz="3000"/>
            </a:lvl8pPr>
            <a:lvl9pPr>
              <a:defRPr sz="3000"/>
            </a:lvl9pPr>
          </a:lstStyle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4" name="Θέση κειμένου 3">
            <a:extLst>
              <a:ext uri="{FF2B5EF4-FFF2-40B4-BE49-F238E27FC236}">
                <a16:creationId xmlns:a16="http://schemas.microsoft.com/office/drawing/2014/main" id="{C439A7A8-7F59-7E7A-BE83-BA19CB5B106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259683" y="3086100"/>
            <a:ext cx="5898356" cy="5717382"/>
          </a:xfr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5" name="Θέση ημερομηνίας 4">
            <a:extLst>
              <a:ext uri="{FF2B5EF4-FFF2-40B4-BE49-F238E27FC236}">
                <a16:creationId xmlns:a16="http://schemas.microsoft.com/office/drawing/2014/main" id="{00B72A05-BF1E-F92C-BB74-D360133827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1C25D-7FB8-4D36-9B18-8F55FBC65D4C}" type="datetimeFigureOut">
              <a:rPr lang="el-GR" smtClean="0"/>
              <a:t>15/3/2024</a:t>
            </a:fld>
            <a:endParaRPr lang="el-GR"/>
          </a:p>
        </p:txBody>
      </p:sp>
      <p:sp>
        <p:nvSpPr>
          <p:cNvPr id="6" name="Θέση υποσέλιδου 5">
            <a:extLst>
              <a:ext uri="{FF2B5EF4-FFF2-40B4-BE49-F238E27FC236}">
                <a16:creationId xmlns:a16="http://schemas.microsoft.com/office/drawing/2014/main" id="{B7AE1F9C-667A-2F1A-4DDE-5C3AEAFFD4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>
            <a:extLst>
              <a:ext uri="{FF2B5EF4-FFF2-40B4-BE49-F238E27FC236}">
                <a16:creationId xmlns:a16="http://schemas.microsoft.com/office/drawing/2014/main" id="{F17AE9ED-336A-964C-163F-0F1E9B6297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FD355A-6DCF-4C8F-BD4D-74D9E14487FB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330296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random/>
      </p:transition>
    </mc:Choice>
    <mc:Fallback xmlns="">
      <p:transition>
        <p:random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1DB164D3-39EB-89BB-172D-94F2F9161C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9683" y="685800"/>
            <a:ext cx="5898356" cy="2400300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εικόνας 2">
            <a:extLst>
              <a:ext uri="{FF2B5EF4-FFF2-40B4-BE49-F238E27FC236}">
                <a16:creationId xmlns:a16="http://schemas.microsoft.com/office/drawing/2014/main" id="{640BA238-CCAB-17A2-BAD2-C04DE69F96D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774782" y="1481138"/>
            <a:ext cx="9258300" cy="7310438"/>
          </a:xfrm>
        </p:spPr>
        <p:txBody>
          <a:bodyPr/>
          <a:lstStyle>
            <a:lvl1pPr marL="0" indent="0">
              <a:buNone/>
              <a:defRPr sz="4800"/>
            </a:lvl1pPr>
            <a:lvl2pPr marL="685800" indent="0">
              <a:buNone/>
              <a:defRPr sz="4200"/>
            </a:lvl2pPr>
            <a:lvl3pPr marL="1371600" indent="0">
              <a:buNone/>
              <a:defRPr sz="3600"/>
            </a:lvl3pPr>
            <a:lvl4pPr marL="2057400" indent="0">
              <a:buNone/>
              <a:defRPr sz="3000"/>
            </a:lvl4pPr>
            <a:lvl5pPr marL="2743200" indent="0">
              <a:buNone/>
              <a:defRPr sz="3000"/>
            </a:lvl5pPr>
            <a:lvl6pPr marL="3429000" indent="0">
              <a:buNone/>
              <a:defRPr sz="3000"/>
            </a:lvl6pPr>
            <a:lvl7pPr marL="4114800" indent="0">
              <a:buNone/>
              <a:defRPr sz="3000"/>
            </a:lvl7pPr>
            <a:lvl8pPr marL="4800600" indent="0">
              <a:buNone/>
              <a:defRPr sz="3000"/>
            </a:lvl8pPr>
            <a:lvl9pPr marL="5486400" indent="0">
              <a:buNone/>
              <a:defRPr sz="3000"/>
            </a:lvl9pPr>
          </a:lstStyle>
          <a:p>
            <a:endParaRPr lang="el-GR"/>
          </a:p>
        </p:txBody>
      </p:sp>
      <p:sp>
        <p:nvSpPr>
          <p:cNvPr id="4" name="Θέση κειμένου 3">
            <a:extLst>
              <a:ext uri="{FF2B5EF4-FFF2-40B4-BE49-F238E27FC236}">
                <a16:creationId xmlns:a16="http://schemas.microsoft.com/office/drawing/2014/main" id="{BB425411-B973-5EF5-F03F-13FC360A7E0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259683" y="3086100"/>
            <a:ext cx="5898356" cy="5717382"/>
          </a:xfr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5" name="Θέση ημερομηνίας 4">
            <a:extLst>
              <a:ext uri="{FF2B5EF4-FFF2-40B4-BE49-F238E27FC236}">
                <a16:creationId xmlns:a16="http://schemas.microsoft.com/office/drawing/2014/main" id="{1D7674BA-70C5-697E-0D5F-0DDED3D02A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1C25D-7FB8-4D36-9B18-8F55FBC65D4C}" type="datetimeFigureOut">
              <a:rPr lang="el-GR" smtClean="0"/>
              <a:t>15/3/2024</a:t>
            </a:fld>
            <a:endParaRPr lang="el-GR"/>
          </a:p>
        </p:txBody>
      </p:sp>
      <p:sp>
        <p:nvSpPr>
          <p:cNvPr id="6" name="Θέση υποσέλιδου 5">
            <a:extLst>
              <a:ext uri="{FF2B5EF4-FFF2-40B4-BE49-F238E27FC236}">
                <a16:creationId xmlns:a16="http://schemas.microsoft.com/office/drawing/2014/main" id="{F7358B51-C898-89F2-CDB3-52F4B5F87C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>
            <a:extLst>
              <a:ext uri="{FF2B5EF4-FFF2-40B4-BE49-F238E27FC236}">
                <a16:creationId xmlns:a16="http://schemas.microsoft.com/office/drawing/2014/main" id="{0B46DF6A-C32D-B6C9-E0DC-1B42898589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FD355A-6DCF-4C8F-BD4D-74D9E14487FB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979109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random/>
      </p:transition>
    </mc:Choice>
    <mc:Fallback xmlns="">
      <p:transition>
        <p:random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871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CCCA7E9E-A051-FCB1-D307-94F4C7240D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κατακόρυφου κειμένου 2">
            <a:extLst>
              <a:ext uri="{FF2B5EF4-FFF2-40B4-BE49-F238E27FC236}">
                <a16:creationId xmlns:a16="http://schemas.microsoft.com/office/drawing/2014/main" id="{5FF83C3A-843D-9086-5C71-B83515E1AF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id="{6A21EA5C-19F2-5D4D-16E2-133263F131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1C25D-7FB8-4D36-9B18-8F55FBC65D4C}" type="datetimeFigureOut">
              <a:rPr lang="el-GR" smtClean="0"/>
              <a:t>15/3/2024</a:t>
            </a:fld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id="{95C013C5-916C-773B-07DF-6DD6B3F138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id="{67170283-9479-2245-5F9A-38D6811022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FD355A-6DCF-4C8F-BD4D-74D9E14487FB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146367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random/>
      </p:transition>
    </mc:Choice>
    <mc:Fallback xmlns="">
      <p:transition>
        <p:random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Κατακόρυφος τίτλος 1">
            <a:extLst>
              <a:ext uri="{FF2B5EF4-FFF2-40B4-BE49-F238E27FC236}">
                <a16:creationId xmlns:a16="http://schemas.microsoft.com/office/drawing/2014/main" id="{A5455562-FC22-F1BF-EC61-4529BB033A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3087350" y="547688"/>
            <a:ext cx="3943350" cy="8717757"/>
          </a:xfrm>
        </p:spPr>
        <p:txBody>
          <a:bodyPr vert="eaVert"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κατακόρυφου κειμένου 2">
            <a:extLst>
              <a:ext uri="{FF2B5EF4-FFF2-40B4-BE49-F238E27FC236}">
                <a16:creationId xmlns:a16="http://schemas.microsoft.com/office/drawing/2014/main" id="{910DE1E4-B1A9-333C-DF51-6926FA4DAA6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257300" y="547688"/>
            <a:ext cx="11601450" cy="8717757"/>
          </a:xfrm>
        </p:spPr>
        <p:txBody>
          <a:bodyPr vert="eaVert"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id="{D2323413-24D2-266B-6A4C-2AD8BA5D62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1C25D-7FB8-4D36-9B18-8F55FBC65D4C}" type="datetimeFigureOut">
              <a:rPr lang="el-GR" smtClean="0"/>
              <a:t>15/3/2024</a:t>
            </a:fld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id="{0093721D-D9B2-0958-138F-26FA5CD681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id="{5369EB3B-BA3F-0930-254A-726A4452CF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FD355A-6DCF-4C8F-BD4D-74D9E14487FB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148829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random/>
      </p:transition>
    </mc:Choice>
    <mc:Fallback xmlns="">
      <p:transition>
        <p:random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1315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random/>
      </p:transition>
    </mc:Choice>
    <mc:Fallback xmlns="">
      <p:transition>
        <p:random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5320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random/>
      </p:transition>
    </mc:Choice>
    <mc:Fallback xmlns="">
      <p:transition>
        <p:random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userDrawn="1">
  <p:cSld name="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7" y="344534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9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92" marR="0" lvl="1" indent="-68583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337" marR="0" lvl="2" indent="-64773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783" marR="0" lvl="3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228" marR="0" lvl="4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675" marR="0" lvl="5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1120" marR="0" lvl="6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566" marR="0" lvl="7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30011" marR="0" lvl="8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7" y="1399086"/>
            <a:ext cx="16957884" cy="5803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45" marR="0" lvl="0" indent="-457223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92" marR="0" lvl="1" indent="-68583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337" marR="0" lvl="2" indent="-64773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783" marR="0" lvl="3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228" marR="0" lvl="4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675" marR="0" lvl="5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1120" marR="0" lvl="6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566" marR="0" lvl="7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30011" marR="0" lvl="8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7" y="9054902"/>
            <a:ext cx="2054024" cy="1025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805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random/>
      </p:transition>
    </mc:Choice>
    <mc:Fallback xmlns="">
      <p:transition>
        <p:random/>
      </p:transition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14400" y="411957"/>
            <a:ext cx="16459200" cy="171450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90001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random/>
      </p:transition>
    </mc:Choice>
    <mc:Fallback xmlns="">
      <p:transition>
        <p:random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9086"/>
            <a:ext cx="16957884" cy="5803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23024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1894"/>
            <a:ext cx="7200800" cy="583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61A773D-D72F-40ED-9BFA-8DA31EC260C1}"/>
              </a:ext>
            </a:extLst>
          </p:cNvPr>
          <p:cNvCxnSpPr>
            <a:cxnSpLocks/>
          </p:cNvCxnSpPr>
          <p:nvPr userDrawn="1"/>
        </p:nvCxnSpPr>
        <p:spPr>
          <a:xfrm>
            <a:off x="647056" y="1255068"/>
            <a:ext cx="16921880" cy="0"/>
          </a:xfrm>
          <a:prstGeom prst="line">
            <a:avLst/>
          </a:prstGeom>
          <a:ln w="25400" cap="sq">
            <a:solidFill>
              <a:srgbClr val="281F76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0AA0D64-9D05-4FAB-915C-1C4B8E9FA7E4}"/>
              </a:ext>
            </a:extLst>
          </p:cNvPr>
          <p:cNvCxnSpPr/>
          <p:nvPr userDrawn="1"/>
        </p:nvCxnSpPr>
        <p:spPr>
          <a:xfrm>
            <a:off x="9144000" y="1548700"/>
            <a:ext cx="72008" cy="8393769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Google Shape;13;p3">
            <a:extLst>
              <a:ext uri="{FF2B5EF4-FFF2-40B4-BE49-F238E27FC236}">
                <a16:creationId xmlns:a16="http://schemas.microsoft.com/office/drawing/2014/main" id="{4D4419B1-67D7-4EEE-A517-CC197D7E6D86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9896575" y="1391894"/>
            <a:ext cx="7200800" cy="583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91752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chemeClr val="bg2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1894"/>
            <a:ext cx="16921880" cy="5832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2"/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9024" y="9054899"/>
            <a:ext cx="2054023" cy="1025986"/>
          </a:xfrm>
          <a:prstGeom prst="rect">
            <a:avLst/>
          </a:prstGeom>
        </p:spPr>
      </p:pic>
      <p:pic>
        <p:nvPicPr>
          <p:cNvPr id="14" name="Picture 3">
            <a:extLst>
              <a:ext uri="{FF2B5EF4-FFF2-40B4-BE49-F238E27FC236}">
                <a16:creationId xmlns:a16="http://schemas.microsoft.com/office/drawing/2014/main" id="{CAD0448E-1287-426E-AD15-E5A3AAB01FB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 rot="5400000">
            <a:off x="15409604" y="0"/>
            <a:ext cx="2855698" cy="2855698"/>
          </a:xfrm>
          <a:prstGeom prst="rect">
            <a:avLst/>
          </a:prstGeom>
        </p:spPr>
      </p:pic>
      <p:pic>
        <p:nvPicPr>
          <p:cNvPr id="18" name="Picture 8">
            <a:extLst>
              <a:ext uri="{FF2B5EF4-FFF2-40B4-BE49-F238E27FC236}">
                <a16:creationId xmlns:a16="http://schemas.microsoft.com/office/drawing/2014/main" id="{75749EFD-5497-4272-9F8C-429AD099443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 rot="-5400000">
            <a:off x="-32642" y="7431302"/>
            <a:ext cx="2855698" cy="285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2700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chemeClr val="bg2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1894"/>
            <a:ext cx="16921880" cy="5832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2"/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61A773D-D72F-40ED-9BFA-8DA31EC260C1}"/>
              </a:ext>
            </a:extLst>
          </p:cNvPr>
          <p:cNvCxnSpPr>
            <a:cxnSpLocks/>
          </p:cNvCxnSpPr>
          <p:nvPr userDrawn="1"/>
        </p:nvCxnSpPr>
        <p:spPr>
          <a:xfrm>
            <a:off x="647056" y="1255068"/>
            <a:ext cx="16921880" cy="0"/>
          </a:xfrm>
          <a:prstGeom prst="line">
            <a:avLst/>
          </a:prstGeom>
          <a:ln w="25400" cap="sq">
            <a:solidFill>
              <a:srgbClr val="281F76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3">
            <a:extLst>
              <a:ext uri="{FF2B5EF4-FFF2-40B4-BE49-F238E27FC236}">
                <a16:creationId xmlns:a16="http://schemas.microsoft.com/office/drawing/2014/main" id="{9DF1E843-186B-4726-A92E-7CA29B6D24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5400000">
            <a:off x="15409604" y="0"/>
            <a:ext cx="2855698" cy="2855698"/>
          </a:xfrm>
          <a:prstGeom prst="rect">
            <a:avLst/>
          </a:prstGeom>
        </p:spPr>
      </p:pic>
      <p:pic>
        <p:nvPicPr>
          <p:cNvPr id="10" name="Picture 8">
            <a:extLst>
              <a:ext uri="{FF2B5EF4-FFF2-40B4-BE49-F238E27FC236}">
                <a16:creationId xmlns:a16="http://schemas.microsoft.com/office/drawing/2014/main" id="{928B0D83-6B43-4AD1-BACB-5A6ACA15B7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-5400000">
            <a:off x="0" y="7431302"/>
            <a:ext cx="2855698" cy="285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2028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>
            <a:extLst>
              <a:ext uri="{FF2B5EF4-FFF2-40B4-BE49-F238E27FC236}">
                <a16:creationId xmlns:a16="http://schemas.microsoft.com/office/drawing/2014/main" id="{CA96DD7E-0BD0-4EC7-8934-AD14907500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5400000">
            <a:off x="15409604" y="0"/>
            <a:ext cx="2855698" cy="2855698"/>
          </a:xfrm>
          <a:prstGeom prst="rect">
            <a:avLst/>
          </a:prstGeom>
        </p:spPr>
      </p:pic>
      <p:pic>
        <p:nvPicPr>
          <p:cNvPr id="7" name="Picture 8">
            <a:extLst>
              <a:ext uri="{FF2B5EF4-FFF2-40B4-BE49-F238E27FC236}">
                <a16:creationId xmlns:a16="http://schemas.microsoft.com/office/drawing/2014/main" id="{27CD148B-40CD-4041-AD94-64F7987BF9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-5400000">
            <a:off x="-32642" y="7431302"/>
            <a:ext cx="2855698" cy="285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7316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"/>
          <p:cNvSpPr txBox="1"/>
          <p:nvPr/>
        </p:nvSpPr>
        <p:spPr>
          <a:xfrm>
            <a:off x="15878845" y="9445683"/>
            <a:ext cx="413986" cy="2462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6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600" b="0" i="0" u="none" strike="noStrike" cap="none">
              <a:solidFill>
                <a:schemeClr val="accent4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16" name="Google Shape;16;p3">
            <a:hlinkClick r:id="" action="ppaction://hlinkshowjump?jump=nextslide"/>
          </p:cNvPr>
          <p:cNvSpPr/>
          <p:nvPr/>
        </p:nvSpPr>
        <p:spPr>
          <a:xfrm>
            <a:off x="16814857" y="9426633"/>
            <a:ext cx="282518" cy="282518"/>
          </a:xfrm>
          <a:custGeom>
            <a:avLst/>
            <a:gdLst/>
            <a:ahLst/>
            <a:cxnLst/>
            <a:rect l="l" t="t" r="r" b="b"/>
            <a:pathLst>
              <a:path w="2350" h="2350" extrusionOk="0">
                <a:moveTo>
                  <a:pt x="883" y="679"/>
                </a:moveTo>
                <a:cubicBezTo>
                  <a:pt x="1338" y="1175"/>
                  <a:pt x="1338" y="1175"/>
                  <a:pt x="1338" y="1175"/>
                </a:cubicBezTo>
                <a:cubicBezTo>
                  <a:pt x="883" y="1671"/>
                  <a:pt x="883" y="1671"/>
                  <a:pt x="883" y="1671"/>
                </a:cubicBezTo>
                <a:cubicBezTo>
                  <a:pt x="844" y="1710"/>
                  <a:pt x="844" y="1774"/>
                  <a:pt x="883" y="1813"/>
                </a:cubicBezTo>
                <a:cubicBezTo>
                  <a:pt x="922" y="1852"/>
                  <a:pt x="985" y="1852"/>
                  <a:pt x="1023" y="1813"/>
                </a:cubicBezTo>
                <a:cubicBezTo>
                  <a:pt x="1579" y="1246"/>
                  <a:pt x="1579" y="1246"/>
                  <a:pt x="1579" y="1246"/>
                </a:cubicBezTo>
                <a:cubicBezTo>
                  <a:pt x="1618" y="1207"/>
                  <a:pt x="1618" y="1143"/>
                  <a:pt x="1579" y="1104"/>
                </a:cubicBezTo>
                <a:cubicBezTo>
                  <a:pt x="1023" y="537"/>
                  <a:pt x="1023" y="537"/>
                  <a:pt x="1023" y="537"/>
                </a:cubicBezTo>
                <a:cubicBezTo>
                  <a:pt x="985" y="498"/>
                  <a:pt x="922" y="498"/>
                  <a:pt x="883" y="537"/>
                </a:cubicBezTo>
                <a:cubicBezTo>
                  <a:pt x="844" y="576"/>
                  <a:pt x="844" y="640"/>
                  <a:pt x="883" y="679"/>
                </a:cubicBezTo>
                <a:close/>
                <a:moveTo>
                  <a:pt x="0" y="1175"/>
                </a:move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lose/>
                <a:moveTo>
                  <a:pt x="2198" y="1175"/>
                </a:move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82850" tIns="91400" rIns="182850" bIns="914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17" name="Google Shape;17;p3">
            <a:hlinkClick r:id="" action="ppaction://hlinkshowjump?jump=previousslide"/>
          </p:cNvPr>
          <p:cNvSpPr/>
          <p:nvPr/>
        </p:nvSpPr>
        <p:spPr>
          <a:xfrm>
            <a:off x="16488195" y="9426633"/>
            <a:ext cx="282518" cy="282518"/>
          </a:xfrm>
          <a:custGeom>
            <a:avLst/>
            <a:gdLst/>
            <a:ahLst/>
            <a:cxnLst/>
            <a:rect l="l" t="t" r="r" b="b"/>
            <a:pathLst>
              <a:path w="2350" h="2350" extrusionOk="0">
                <a:moveTo>
                  <a:pt x="1467" y="1671"/>
                </a:moveTo>
                <a:cubicBezTo>
                  <a:pt x="1012" y="1175"/>
                  <a:pt x="1012" y="1175"/>
                  <a:pt x="1012" y="1175"/>
                </a:cubicBezTo>
                <a:cubicBezTo>
                  <a:pt x="1467" y="679"/>
                  <a:pt x="1467" y="679"/>
                  <a:pt x="1467" y="679"/>
                </a:cubicBezTo>
                <a:cubicBezTo>
                  <a:pt x="1506" y="640"/>
                  <a:pt x="1506" y="576"/>
                  <a:pt x="1467" y="537"/>
                </a:cubicBezTo>
                <a:cubicBezTo>
                  <a:pt x="1428" y="498"/>
                  <a:pt x="1365" y="498"/>
                  <a:pt x="1327" y="537"/>
                </a:cubicBezTo>
                <a:cubicBezTo>
                  <a:pt x="771" y="1104"/>
                  <a:pt x="771" y="1104"/>
                  <a:pt x="771" y="1104"/>
                </a:cubicBezTo>
                <a:cubicBezTo>
                  <a:pt x="732" y="1143"/>
                  <a:pt x="732" y="1207"/>
                  <a:pt x="771" y="1246"/>
                </a:cubicBezTo>
                <a:cubicBezTo>
                  <a:pt x="1327" y="1813"/>
                  <a:pt x="1327" y="1813"/>
                  <a:pt x="1327" y="1813"/>
                </a:cubicBezTo>
                <a:cubicBezTo>
                  <a:pt x="1365" y="1852"/>
                  <a:pt x="1428" y="1852"/>
                  <a:pt x="1467" y="1813"/>
                </a:cubicBezTo>
                <a:cubicBezTo>
                  <a:pt x="1506" y="1774"/>
                  <a:pt x="1506" y="1710"/>
                  <a:pt x="1467" y="1671"/>
                </a:cubicBezTo>
                <a:close/>
                <a:moveTo>
                  <a:pt x="2350" y="1175"/>
                </a:move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lose/>
                <a:moveTo>
                  <a:pt x="152" y="1175"/>
                </a:move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82850" tIns="91400" rIns="182850" bIns="914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94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A30287-DAD0-40F4-93EA-DF08FDF6A5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9024" y="9054899"/>
            <a:ext cx="2054023" cy="10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831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39684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7" y="344533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9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92" marR="0" lvl="1" indent="-68583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337" marR="0" lvl="2" indent="-64773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783" marR="0" lvl="3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228" marR="0" lvl="4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675" marR="0" lvl="5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1120" marR="0" lvl="6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566" marR="0" lvl="7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30011" marR="0" lvl="8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7" y="1391894"/>
            <a:ext cx="16921880" cy="5832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45" marR="0" lvl="0" indent="-457223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92" marR="0" lvl="1" indent="-68583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337" marR="0" lvl="2" indent="-64773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783" marR="0" lvl="3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228" marR="0" lvl="4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675" marR="0" lvl="5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1120" marR="0" lvl="6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566" marR="0" lvl="7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30011" marR="0" lvl="8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5" name="Google Shape;15;p3"/>
          <p:cNvSpPr txBox="1"/>
          <p:nvPr/>
        </p:nvSpPr>
        <p:spPr>
          <a:xfrm>
            <a:off x="15878846" y="9445683"/>
            <a:ext cx="413987" cy="2462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601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601" b="0" i="0" u="none" strike="noStrike" cap="none">
              <a:solidFill>
                <a:schemeClr val="accent4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16" name="Google Shape;16;p3">
            <a:hlinkClick r:id="" action="ppaction://hlinkshowjump?jump=nextslide"/>
          </p:cNvPr>
          <p:cNvSpPr/>
          <p:nvPr/>
        </p:nvSpPr>
        <p:spPr>
          <a:xfrm>
            <a:off x="16814858" y="9426634"/>
            <a:ext cx="282518" cy="282518"/>
          </a:xfrm>
          <a:custGeom>
            <a:avLst/>
            <a:gdLst/>
            <a:ahLst/>
            <a:cxnLst/>
            <a:rect l="l" t="t" r="r" b="b"/>
            <a:pathLst>
              <a:path w="2350" h="2350" extrusionOk="0">
                <a:moveTo>
                  <a:pt x="883" y="679"/>
                </a:moveTo>
                <a:cubicBezTo>
                  <a:pt x="1338" y="1175"/>
                  <a:pt x="1338" y="1175"/>
                  <a:pt x="1338" y="1175"/>
                </a:cubicBezTo>
                <a:cubicBezTo>
                  <a:pt x="883" y="1671"/>
                  <a:pt x="883" y="1671"/>
                  <a:pt x="883" y="1671"/>
                </a:cubicBezTo>
                <a:cubicBezTo>
                  <a:pt x="844" y="1710"/>
                  <a:pt x="844" y="1774"/>
                  <a:pt x="883" y="1813"/>
                </a:cubicBezTo>
                <a:cubicBezTo>
                  <a:pt x="922" y="1852"/>
                  <a:pt x="985" y="1852"/>
                  <a:pt x="1023" y="1813"/>
                </a:cubicBezTo>
                <a:cubicBezTo>
                  <a:pt x="1579" y="1246"/>
                  <a:pt x="1579" y="1246"/>
                  <a:pt x="1579" y="1246"/>
                </a:cubicBezTo>
                <a:cubicBezTo>
                  <a:pt x="1618" y="1207"/>
                  <a:pt x="1618" y="1143"/>
                  <a:pt x="1579" y="1104"/>
                </a:cubicBezTo>
                <a:cubicBezTo>
                  <a:pt x="1023" y="537"/>
                  <a:pt x="1023" y="537"/>
                  <a:pt x="1023" y="537"/>
                </a:cubicBezTo>
                <a:cubicBezTo>
                  <a:pt x="985" y="498"/>
                  <a:pt x="922" y="498"/>
                  <a:pt x="883" y="537"/>
                </a:cubicBezTo>
                <a:cubicBezTo>
                  <a:pt x="844" y="576"/>
                  <a:pt x="844" y="640"/>
                  <a:pt x="883" y="679"/>
                </a:cubicBezTo>
                <a:close/>
                <a:moveTo>
                  <a:pt x="0" y="1175"/>
                </a:move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lose/>
                <a:moveTo>
                  <a:pt x="2198" y="1175"/>
                </a:move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82850" tIns="91400" rIns="182850" bIns="914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17" name="Google Shape;17;p3">
            <a:hlinkClick r:id="" action="ppaction://hlinkshowjump?jump=previousslide"/>
          </p:cNvPr>
          <p:cNvSpPr/>
          <p:nvPr/>
        </p:nvSpPr>
        <p:spPr>
          <a:xfrm>
            <a:off x="16488196" y="9426634"/>
            <a:ext cx="282518" cy="282518"/>
          </a:xfrm>
          <a:custGeom>
            <a:avLst/>
            <a:gdLst/>
            <a:ahLst/>
            <a:cxnLst/>
            <a:rect l="l" t="t" r="r" b="b"/>
            <a:pathLst>
              <a:path w="2350" h="2350" extrusionOk="0">
                <a:moveTo>
                  <a:pt x="1467" y="1671"/>
                </a:moveTo>
                <a:cubicBezTo>
                  <a:pt x="1012" y="1175"/>
                  <a:pt x="1012" y="1175"/>
                  <a:pt x="1012" y="1175"/>
                </a:cubicBezTo>
                <a:cubicBezTo>
                  <a:pt x="1467" y="679"/>
                  <a:pt x="1467" y="679"/>
                  <a:pt x="1467" y="679"/>
                </a:cubicBezTo>
                <a:cubicBezTo>
                  <a:pt x="1506" y="640"/>
                  <a:pt x="1506" y="576"/>
                  <a:pt x="1467" y="537"/>
                </a:cubicBezTo>
                <a:cubicBezTo>
                  <a:pt x="1428" y="498"/>
                  <a:pt x="1365" y="498"/>
                  <a:pt x="1327" y="537"/>
                </a:cubicBezTo>
                <a:cubicBezTo>
                  <a:pt x="771" y="1104"/>
                  <a:pt x="771" y="1104"/>
                  <a:pt x="771" y="1104"/>
                </a:cubicBezTo>
                <a:cubicBezTo>
                  <a:pt x="732" y="1143"/>
                  <a:pt x="732" y="1207"/>
                  <a:pt x="771" y="1246"/>
                </a:cubicBezTo>
                <a:cubicBezTo>
                  <a:pt x="1327" y="1813"/>
                  <a:pt x="1327" y="1813"/>
                  <a:pt x="1327" y="1813"/>
                </a:cubicBezTo>
                <a:cubicBezTo>
                  <a:pt x="1365" y="1852"/>
                  <a:pt x="1428" y="1852"/>
                  <a:pt x="1467" y="1813"/>
                </a:cubicBezTo>
                <a:cubicBezTo>
                  <a:pt x="1506" y="1774"/>
                  <a:pt x="1506" y="1710"/>
                  <a:pt x="1467" y="1671"/>
                </a:cubicBezTo>
                <a:close/>
                <a:moveTo>
                  <a:pt x="2350" y="1175"/>
                </a:move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lose/>
                <a:moveTo>
                  <a:pt x="152" y="1175"/>
                </a:move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82850" tIns="91400" rIns="182850" bIns="914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61A773D-D72F-40ED-9BFA-8DA31EC260C1}"/>
              </a:ext>
            </a:extLst>
          </p:cNvPr>
          <p:cNvCxnSpPr>
            <a:cxnSpLocks/>
          </p:cNvCxnSpPr>
          <p:nvPr userDrawn="1"/>
        </p:nvCxnSpPr>
        <p:spPr>
          <a:xfrm>
            <a:off x="647057" y="1255068"/>
            <a:ext cx="16921880" cy="0"/>
          </a:xfrm>
          <a:prstGeom prst="line">
            <a:avLst/>
          </a:prstGeom>
          <a:ln w="25400" cap="sq">
            <a:solidFill>
              <a:srgbClr val="281F76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7560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7" y="344533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9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92" marR="0" lvl="1" indent="-68583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337" marR="0" lvl="2" indent="-64773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783" marR="0" lvl="3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228" marR="0" lvl="4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675" marR="0" lvl="5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1120" marR="0" lvl="6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566" marR="0" lvl="7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30011" marR="0" lvl="8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7" y="1391894"/>
            <a:ext cx="7200800" cy="583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45" marR="0" lvl="0" indent="-457223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92" marR="0" lvl="1" indent="-68583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337" marR="0" lvl="2" indent="-64773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783" marR="0" lvl="3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228" marR="0" lvl="4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675" marR="0" lvl="5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1120" marR="0" lvl="6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566" marR="0" lvl="7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30011" marR="0" lvl="8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5" name="Google Shape;15;p3"/>
          <p:cNvSpPr txBox="1"/>
          <p:nvPr/>
        </p:nvSpPr>
        <p:spPr>
          <a:xfrm>
            <a:off x="15878846" y="9445683"/>
            <a:ext cx="413987" cy="2462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601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601" b="0" i="0" u="none" strike="noStrike" cap="none">
              <a:solidFill>
                <a:schemeClr val="accent4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16" name="Google Shape;16;p3">
            <a:hlinkClick r:id="" action="ppaction://hlinkshowjump?jump=nextslide"/>
          </p:cNvPr>
          <p:cNvSpPr/>
          <p:nvPr/>
        </p:nvSpPr>
        <p:spPr>
          <a:xfrm>
            <a:off x="16814858" y="9426634"/>
            <a:ext cx="282518" cy="282518"/>
          </a:xfrm>
          <a:custGeom>
            <a:avLst/>
            <a:gdLst/>
            <a:ahLst/>
            <a:cxnLst/>
            <a:rect l="l" t="t" r="r" b="b"/>
            <a:pathLst>
              <a:path w="2350" h="2350" extrusionOk="0">
                <a:moveTo>
                  <a:pt x="883" y="679"/>
                </a:moveTo>
                <a:cubicBezTo>
                  <a:pt x="1338" y="1175"/>
                  <a:pt x="1338" y="1175"/>
                  <a:pt x="1338" y="1175"/>
                </a:cubicBezTo>
                <a:cubicBezTo>
                  <a:pt x="883" y="1671"/>
                  <a:pt x="883" y="1671"/>
                  <a:pt x="883" y="1671"/>
                </a:cubicBezTo>
                <a:cubicBezTo>
                  <a:pt x="844" y="1710"/>
                  <a:pt x="844" y="1774"/>
                  <a:pt x="883" y="1813"/>
                </a:cubicBezTo>
                <a:cubicBezTo>
                  <a:pt x="922" y="1852"/>
                  <a:pt x="985" y="1852"/>
                  <a:pt x="1023" y="1813"/>
                </a:cubicBezTo>
                <a:cubicBezTo>
                  <a:pt x="1579" y="1246"/>
                  <a:pt x="1579" y="1246"/>
                  <a:pt x="1579" y="1246"/>
                </a:cubicBezTo>
                <a:cubicBezTo>
                  <a:pt x="1618" y="1207"/>
                  <a:pt x="1618" y="1143"/>
                  <a:pt x="1579" y="1104"/>
                </a:cubicBezTo>
                <a:cubicBezTo>
                  <a:pt x="1023" y="537"/>
                  <a:pt x="1023" y="537"/>
                  <a:pt x="1023" y="537"/>
                </a:cubicBezTo>
                <a:cubicBezTo>
                  <a:pt x="985" y="498"/>
                  <a:pt x="922" y="498"/>
                  <a:pt x="883" y="537"/>
                </a:cubicBezTo>
                <a:cubicBezTo>
                  <a:pt x="844" y="576"/>
                  <a:pt x="844" y="640"/>
                  <a:pt x="883" y="679"/>
                </a:cubicBezTo>
                <a:close/>
                <a:moveTo>
                  <a:pt x="0" y="1175"/>
                </a:move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lose/>
                <a:moveTo>
                  <a:pt x="2198" y="1175"/>
                </a:move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82850" tIns="91400" rIns="182850" bIns="914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17" name="Google Shape;17;p3">
            <a:hlinkClick r:id="" action="ppaction://hlinkshowjump?jump=previousslide"/>
          </p:cNvPr>
          <p:cNvSpPr/>
          <p:nvPr/>
        </p:nvSpPr>
        <p:spPr>
          <a:xfrm>
            <a:off x="16488196" y="9426634"/>
            <a:ext cx="282518" cy="282518"/>
          </a:xfrm>
          <a:custGeom>
            <a:avLst/>
            <a:gdLst/>
            <a:ahLst/>
            <a:cxnLst/>
            <a:rect l="l" t="t" r="r" b="b"/>
            <a:pathLst>
              <a:path w="2350" h="2350" extrusionOk="0">
                <a:moveTo>
                  <a:pt x="1467" y="1671"/>
                </a:moveTo>
                <a:cubicBezTo>
                  <a:pt x="1012" y="1175"/>
                  <a:pt x="1012" y="1175"/>
                  <a:pt x="1012" y="1175"/>
                </a:cubicBezTo>
                <a:cubicBezTo>
                  <a:pt x="1467" y="679"/>
                  <a:pt x="1467" y="679"/>
                  <a:pt x="1467" y="679"/>
                </a:cubicBezTo>
                <a:cubicBezTo>
                  <a:pt x="1506" y="640"/>
                  <a:pt x="1506" y="576"/>
                  <a:pt x="1467" y="537"/>
                </a:cubicBezTo>
                <a:cubicBezTo>
                  <a:pt x="1428" y="498"/>
                  <a:pt x="1365" y="498"/>
                  <a:pt x="1327" y="537"/>
                </a:cubicBezTo>
                <a:cubicBezTo>
                  <a:pt x="771" y="1104"/>
                  <a:pt x="771" y="1104"/>
                  <a:pt x="771" y="1104"/>
                </a:cubicBezTo>
                <a:cubicBezTo>
                  <a:pt x="732" y="1143"/>
                  <a:pt x="732" y="1207"/>
                  <a:pt x="771" y="1246"/>
                </a:cubicBezTo>
                <a:cubicBezTo>
                  <a:pt x="1327" y="1813"/>
                  <a:pt x="1327" y="1813"/>
                  <a:pt x="1327" y="1813"/>
                </a:cubicBezTo>
                <a:cubicBezTo>
                  <a:pt x="1365" y="1852"/>
                  <a:pt x="1428" y="1852"/>
                  <a:pt x="1467" y="1813"/>
                </a:cubicBezTo>
                <a:cubicBezTo>
                  <a:pt x="1506" y="1774"/>
                  <a:pt x="1506" y="1710"/>
                  <a:pt x="1467" y="1671"/>
                </a:cubicBezTo>
                <a:close/>
                <a:moveTo>
                  <a:pt x="2350" y="1175"/>
                </a:move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lose/>
                <a:moveTo>
                  <a:pt x="152" y="1175"/>
                </a:move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82850" tIns="91400" rIns="182850" bIns="914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61A773D-D72F-40ED-9BFA-8DA31EC260C1}"/>
              </a:ext>
            </a:extLst>
          </p:cNvPr>
          <p:cNvCxnSpPr>
            <a:cxnSpLocks/>
          </p:cNvCxnSpPr>
          <p:nvPr userDrawn="1"/>
        </p:nvCxnSpPr>
        <p:spPr>
          <a:xfrm>
            <a:off x="647057" y="1255068"/>
            <a:ext cx="16921880" cy="0"/>
          </a:xfrm>
          <a:prstGeom prst="line">
            <a:avLst/>
          </a:prstGeom>
          <a:ln w="25400" cap="sq">
            <a:solidFill>
              <a:srgbClr val="281F76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0AA0D64-9D05-4FAB-915C-1C4B8E9FA7E4}"/>
              </a:ext>
            </a:extLst>
          </p:cNvPr>
          <p:cNvCxnSpPr/>
          <p:nvPr userDrawn="1"/>
        </p:nvCxnSpPr>
        <p:spPr>
          <a:xfrm>
            <a:off x="9144001" y="1548701"/>
            <a:ext cx="72008" cy="8393769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Google Shape;13;p3">
            <a:extLst>
              <a:ext uri="{FF2B5EF4-FFF2-40B4-BE49-F238E27FC236}">
                <a16:creationId xmlns:a16="http://schemas.microsoft.com/office/drawing/2014/main" id="{4D4419B1-67D7-4EEE-A517-CC197D7E6D86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9896576" y="1391894"/>
            <a:ext cx="7200800" cy="583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45" marR="0" lvl="0" indent="-457223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92" marR="0" lvl="1" indent="-68583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337" marR="0" lvl="2" indent="-64773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783" marR="0" lvl="3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228" marR="0" lvl="4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675" marR="0" lvl="5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1120" marR="0" lvl="6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566" marR="0" lvl="7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30011" marR="0" lvl="8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347645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G-SLIDE OP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84345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">
  <p:cSld name="Full Image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13"/>
          <p:cNvSpPr/>
          <p:nvPr/>
        </p:nvSpPr>
        <p:spPr>
          <a:xfrm>
            <a:off x="2" y="0"/>
            <a:ext cx="18287999" cy="10287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68570" tIns="34275" rIns="68570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endParaRPr sz="2700" b="0" i="0" u="none" strike="noStrike" cap="none">
              <a:solidFill>
                <a:schemeClr val="lt1"/>
              </a:solidFill>
              <a:latin typeface="Lato Light"/>
              <a:ea typeface="Lato Light"/>
              <a:cs typeface="Lato Light"/>
              <a:sym typeface="Lato Light"/>
            </a:endParaRPr>
          </a:p>
        </p:txBody>
      </p:sp>
      <p:sp>
        <p:nvSpPr>
          <p:cNvPr id="49" name="Google Shape;49;p13"/>
          <p:cNvSpPr>
            <a:spLocks noGrp="1"/>
          </p:cNvSpPr>
          <p:nvPr>
            <p:ph type="pic" idx="2"/>
          </p:nvPr>
        </p:nvSpPr>
        <p:spPr>
          <a:xfrm>
            <a:off x="2" y="0"/>
            <a:ext cx="18322298" cy="1028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buClr>
                <a:srgbClr val="D8D8D8"/>
              </a:buClr>
              <a:buSzPts val="4200"/>
              <a:buFont typeface="Arial"/>
              <a:buNone/>
              <a:defRPr sz="3150" b="0" i="0" u="none" strike="noStrike" cap="none">
                <a:solidFill>
                  <a:srgbClr val="D8D8D8"/>
                </a:solidFill>
                <a:latin typeface="Lato Light"/>
                <a:ea typeface="Lato Light"/>
                <a:cs typeface="Lato Light"/>
                <a:sym typeface="Lato Light"/>
              </a:defRPr>
            </a:lvl1pPr>
            <a:lvl2pPr marR="0" lvl="1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None/>
              <a:defRPr sz="30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2pPr>
            <a:lvl3pPr marR="0" lvl="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27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3pPr>
            <a:lvl4pPr marR="0" lvl="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4pPr>
            <a:lvl5pPr marR="0" lvl="4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5pPr>
            <a:lvl6pPr marR="0" lvl="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6pPr>
            <a:lvl7pPr marR="0" lvl="6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7pPr>
            <a:lvl8pPr marR="0" lvl="7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8pPr>
            <a:lvl9pPr marR="0" lvl="8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9pPr>
          </a:lstStyle>
          <a:p>
            <a:endParaRPr/>
          </a:p>
        </p:txBody>
      </p:sp>
      <p:pic>
        <p:nvPicPr>
          <p:cNvPr id="4" name="Εικόνα 3">
            <a:extLst>
              <a:ext uri="{FF2B5EF4-FFF2-40B4-BE49-F238E27FC236}">
                <a16:creationId xmlns:a16="http://schemas.microsoft.com/office/drawing/2014/main" id="{D37DC60C-A9B6-43BA-B87B-4687904BCD2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5009" y="9103942"/>
            <a:ext cx="2054531" cy="1030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7498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E3B7210E-0403-40AD-B31D-CFDB47F355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ko-KR" altLang="en-US" dirty="0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DA78FDB-BCB5-4EFA-8412-2EF549AC10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E793E7A1-9DB3-44A9-A070-9B3244FCD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AAD77F96-C240-4A64-9F15-1997422FDCF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5362946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E48962-28C7-408C-AAB7-9BCA14FD7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ED0287-58F5-498E-B9AF-737797D0F98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57300" y="9534527"/>
            <a:ext cx="4114800" cy="54768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el-G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32061B-42D4-4AD4-8FF2-A4E7737496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57900" y="9534527"/>
            <a:ext cx="6172200" cy="54768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el-GR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FD6BC2-91ED-418E-A065-F47AF88916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B73C4995-2383-47DD-B37C-569C183B6617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0512784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" userDrawn="1">
  <p:cSld name="1_Full Image">
    <p:bg>
      <p:bgPr>
        <a:solidFill>
          <a:srgbClr val="F2F2F7"/>
        </a:solidFill>
        <a:effectLst/>
      </p:bgPr>
    </p:bg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&#10;&#10;Description automatically generated with medium confidence">
            <a:extLst>
              <a:ext uri="{FF2B5EF4-FFF2-40B4-BE49-F238E27FC236}">
                <a16:creationId xmlns:a16="http://schemas.microsoft.com/office/drawing/2014/main" id="{FB0887B9-4E2E-440E-A5AE-69FC8690A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60350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AAFC6775-A6EF-CC2C-AF12-FECFE34C03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7776" y="2564608"/>
            <a:ext cx="15773400" cy="4279106"/>
          </a:xfrm>
        </p:spPr>
        <p:txBody>
          <a:bodyPr anchor="b"/>
          <a:lstStyle>
            <a:lvl1pPr>
              <a:defRPr sz="8998"/>
            </a:lvl1pPr>
          </a:lstStyle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κειμένου 2">
            <a:extLst>
              <a:ext uri="{FF2B5EF4-FFF2-40B4-BE49-F238E27FC236}">
                <a16:creationId xmlns:a16="http://schemas.microsoft.com/office/drawing/2014/main" id="{FF372753-0D4E-974A-FFE4-6C6A2791D2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47776" y="6884195"/>
            <a:ext cx="15773400" cy="2250281"/>
          </a:xfrm>
        </p:spPr>
        <p:txBody>
          <a:bodyPr/>
          <a:lstStyle>
            <a:lvl1pPr marL="0" indent="0">
              <a:buNone/>
              <a:defRPr sz="3599">
                <a:solidFill>
                  <a:schemeClr val="tx1">
                    <a:tint val="75000"/>
                  </a:schemeClr>
                </a:solidFill>
              </a:defRPr>
            </a:lvl1pPr>
            <a:lvl2pPr marL="685628" indent="0">
              <a:buNone/>
              <a:defRPr sz="2999">
                <a:solidFill>
                  <a:schemeClr val="tx1">
                    <a:tint val="75000"/>
                  </a:schemeClr>
                </a:solidFill>
              </a:defRPr>
            </a:lvl2pPr>
            <a:lvl3pPr marL="1371257" indent="0">
              <a:buNone/>
              <a:defRPr sz="2699">
                <a:solidFill>
                  <a:schemeClr val="tx1">
                    <a:tint val="75000"/>
                  </a:schemeClr>
                </a:solidFill>
              </a:defRPr>
            </a:lvl3pPr>
            <a:lvl4pPr marL="2056886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4pPr>
            <a:lvl5pPr marL="2742515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5pPr>
            <a:lvl6pPr marL="3428143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6pPr>
            <a:lvl7pPr marL="4113771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7pPr>
            <a:lvl8pPr marL="4799400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8pPr>
            <a:lvl9pPr marL="5485028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id="{D536367D-5DE9-E721-FBC9-87D2B1843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1C737D-AA98-4B8E-AE5B-AC816EB90565}" type="datetime1">
              <a:rPr lang="el-GR" smtClean="0"/>
              <a:t>15/3/2024</a:t>
            </a:fld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id="{2A85DC91-7213-FB60-4D46-E2B6F7D5B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id="{34D0D886-4AF7-8D4A-24B1-08808EFAC0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C8613E-B558-4E56-A8A1-353954C8735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0305992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G-SLIDE OP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65393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4249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random/>
      </p:transition>
    </mc:Choice>
    <mc:Fallback xmlns="">
      <p:transition>
        <p:random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Title &amp; Content">
    <p:bg>
      <p:bgPr>
        <a:solidFill>
          <a:srgbClr val="F2F2F7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7" y="344533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9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92" marR="0" lvl="1" indent="-68583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337" marR="0" lvl="2" indent="-64773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783" marR="0" lvl="3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228" marR="0" lvl="4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675" marR="0" lvl="5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1120" marR="0" lvl="6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566" marR="0" lvl="7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30011" marR="0" lvl="8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7" y="1391894"/>
            <a:ext cx="16921880" cy="5832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45" marR="0" lvl="0" indent="-457223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92" marR="0" lvl="1" indent="-68583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337" marR="0" lvl="2" indent="-64773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783" marR="0" lvl="3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228" marR="0" lvl="4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675" marR="0" lvl="5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1120" marR="0" lvl="6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566" marR="0" lvl="7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30011" marR="0" lvl="8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6" y="9054899"/>
            <a:ext cx="2054024" cy="1025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112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7" y="344533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9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92" marR="0" lvl="1" indent="-68583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337" marR="0" lvl="2" indent="-64773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783" marR="0" lvl="3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228" marR="0" lvl="4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675" marR="0" lvl="5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1120" marR="0" lvl="6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566" marR="0" lvl="7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30011" marR="0" lvl="8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7" y="1391894"/>
            <a:ext cx="7200800" cy="583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45" marR="0" lvl="0" indent="-457223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92" marR="0" lvl="1" indent="-68583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337" marR="0" lvl="2" indent="-64773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783" marR="0" lvl="3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228" marR="0" lvl="4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675" marR="0" lvl="5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1120" marR="0" lvl="6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566" marR="0" lvl="7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30011" marR="0" lvl="8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5" name="Google Shape;15;p3"/>
          <p:cNvSpPr txBox="1"/>
          <p:nvPr/>
        </p:nvSpPr>
        <p:spPr>
          <a:xfrm>
            <a:off x="15878846" y="9445683"/>
            <a:ext cx="413987" cy="2462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1601" b="0" i="0" u="none" strike="noStrike" cap="none" dirty="0">
              <a:solidFill>
                <a:schemeClr val="accent4"/>
              </a:solidFill>
              <a:latin typeface="Lato"/>
              <a:ea typeface="Lato"/>
              <a:cs typeface="Lato"/>
              <a:sym typeface="Lato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61A773D-D72F-40ED-9BFA-8DA31EC260C1}"/>
              </a:ext>
            </a:extLst>
          </p:cNvPr>
          <p:cNvCxnSpPr>
            <a:cxnSpLocks/>
          </p:cNvCxnSpPr>
          <p:nvPr userDrawn="1"/>
        </p:nvCxnSpPr>
        <p:spPr>
          <a:xfrm>
            <a:off x="647057" y="1255068"/>
            <a:ext cx="16921880" cy="0"/>
          </a:xfrm>
          <a:prstGeom prst="line">
            <a:avLst/>
          </a:prstGeom>
          <a:ln w="25400" cap="sq">
            <a:solidFill>
              <a:srgbClr val="281F76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6" y="9054899"/>
            <a:ext cx="2054024" cy="1025987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0AA0D64-9D05-4FAB-915C-1C4B8E9FA7E4}"/>
              </a:ext>
            </a:extLst>
          </p:cNvPr>
          <p:cNvCxnSpPr/>
          <p:nvPr userDrawn="1"/>
        </p:nvCxnSpPr>
        <p:spPr>
          <a:xfrm>
            <a:off x="9144001" y="1548701"/>
            <a:ext cx="72008" cy="8393769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Google Shape;13;p3">
            <a:extLst>
              <a:ext uri="{FF2B5EF4-FFF2-40B4-BE49-F238E27FC236}">
                <a16:creationId xmlns:a16="http://schemas.microsoft.com/office/drawing/2014/main" id="{4D4419B1-67D7-4EEE-A517-CC197D7E6D86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9896576" y="1391894"/>
            <a:ext cx="7200800" cy="583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45" marR="0" lvl="0" indent="-457223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92" marR="0" lvl="1" indent="-68583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337" marR="0" lvl="2" indent="-64773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783" marR="0" lvl="3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228" marR="0" lvl="4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675" marR="0" lvl="5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1120" marR="0" lvl="6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566" marR="0" lvl="7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30011" marR="0" lvl="8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542485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G-SLIDE OP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135335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2757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9086"/>
            <a:ext cx="16957884" cy="5803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4477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1894"/>
            <a:ext cx="7200800" cy="583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61A773D-D72F-40ED-9BFA-8DA31EC260C1}"/>
              </a:ext>
            </a:extLst>
          </p:cNvPr>
          <p:cNvCxnSpPr>
            <a:cxnSpLocks/>
          </p:cNvCxnSpPr>
          <p:nvPr userDrawn="1"/>
        </p:nvCxnSpPr>
        <p:spPr>
          <a:xfrm>
            <a:off x="647056" y="1255068"/>
            <a:ext cx="16921880" cy="0"/>
          </a:xfrm>
          <a:prstGeom prst="line">
            <a:avLst/>
          </a:prstGeom>
          <a:ln w="25400" cap="sq">
            <a:solidFill>
              <a:srgbClr val="281F76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0AA0D64-9D05-4FAB-915C-1C4B8E9FA7E4}"/>
              </a:ext>
            </a:extLst>
          </p:cNvPr>
          <p:cNvCxnSpPr/>
          <p:nvPr userDrawn="1"/>
        </p:nvCxnSpPr>
        <p:spPr>
          <a:xfrm>
            <a:off x="9144000" y="1548700"/>
            <a:ext cx="72008" cy="8393769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Google Shape;13;p3">
            <a:extLst>
              <a:ext uri="{FF2B5EF4-FFF2-40B4-BE49-F238E27FC236}">
                <a16:creationId xmlns:a16="http://schemas.microsoft.com/office/drawing/2014/main" id="{4D4419B1-67D7-4EEE-A517-CC197D7E6D86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9896575" y="1391894"/>
            <a:ext cx="7200800" cy="583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9016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chemeClr val="bg2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1894"/>
            <a:ext cx="16921880" cy="5832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2"/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9024" y="9054899"/>
            <a:ext cx="2054023" cy="1025986"/>
          </a:xfrm>
          <a:prstGeom prst="rect">
            <a:avLst/>
          </a:prstGeom>
        </p:spPr>
      </p:pic>
      <p:pic>
        <p:nvPicPr>
          <p:cNvPr id="14" name="Picture 3">
            <a:extLst>
              <a:ext uri="{FF2B5EF4-FFF2-40B4-BE49-F238E27FC236}">
                <a16:creationId xmlns:a16="http://schemas.microsoft.com/office/drawing/2014/main" id="{CAD0448E-1287-426E-AD15-E5A3AAB01FB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 rot="5400000">
            <a:off x="15433318" y="0"/>
            <a:ext cx="2855698" cy="2855698"/>
          </a:xfrm>
          <a:prstGeom prst="rect">
            <a:avLst/>
          </a:prstGeom>
        </p:spPr>
      </p:pic>
      <p:pic>
        <p:nvPicPr>
          <p:cNvPr id="18" name="Picture 8">
            <a:extLst>
              <a:ext uri="{FF2B5EF4-FFF2-40B4-BE49-F238E27FC236}">
                <a16:creationId xmlns:a16="http://schemas.microsoft.com/office/drawing/2014/main" id="{75749EFD-5497-4272-9F8C-429AD099443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 rot="-5400000">
            <a:off x="-32642" y="7431302"/>
            <a:ext cx="2855698" cy="285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46576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81A3D9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496826"/>
            <a:ext cx="16921880" cy="5832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rgbClr val="281F76"/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61A773D-D72F-40ED-9BFA-8DA31EC260C1}"/>
              </a:ext>
            </a:extLst>
          </p:cNvPr>
          <p:cNvCxnSpPr>
            <a:cxnSpLocks/>
          </p:cNvCxnSpPr>
          <p:nvPr userDrawn="1"/>
        </p:nvCxnSpPr>
        <p:spPr>
          <a:xfrm>
            <a:off x="647056" y="1255068"/>
            <a:ext cx="16921880" cy="0"/>
          </a:xfrm>
          <a:prstGeom prst="line">
            <a:avLst/>
          </a:prstGeom>
          <a:ln w="25400" cap="sq">
            <a:solidFill>
              <a:srgbClr val="281F76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>
            <a:extLst>
              <a:ext uri="{FF2B5EF4-FFF2-40B4-BE49-F238E27FC236}">
                <a16:creationId xmlns:a16="http://schemas.microsoft.com/office/drawing/2014/main" id="{CAD0448E-1287-426E-AD15-E5A3AAB01F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5400000">
            <a:off x="15433318" y="0"/>
            <a:ext cx="2855698" cy="2855698"/>
          </a:xfrm>
          <a:prstGeom prst="rect">
            <a:avLst/>
          </a:prstGeom>
        </p:spPr>
      </p:pic>
      <p:pic>
        <p:nvPicPr>
          <p:cNvPr id="18" name="Picture 8">
            <a:extLst>
              <a:ext uri="{FF2B5EF4-FFF2-40B4-BE49-F238E27FC236}">
                <a16:creationId xmlns:a16="http://schemas.microsoft.com/office/drawing/2014/main" id="{75749EFD-5497-4272-9F8C-429AD09944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-5400000">
            <a:off x="-32642" y="7447756"/>
            <a:ext cx="2855698" cy="2855698"/>
          </a:xfrm>
          <a:prstGeom prst="rect">
            <a:avLst/>
          </a:prstGeom>
        </p:spPr>
      </p:pic>
      <p:pic>
        <p:nvPicPr>
          <p:cNvPr id="10" name="Picture 9" descr="Logo&#10;&#10;Description automatically generated with medium confidence">
            <a:extLst>
              <a:ext uri="{FF2B5EF4-FFF2-40B4-BE49-F238E27FC236}">
                <a16:creationId xmlns:a16="http://schemas.microsoft.com/office/drawing/2014/main" id="{F9D8AEF3-5907-4088-81DA-25A4C4E6E49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2736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>
            <a:extLst>
              <a:ext uri="{FF2B5EF4-FFF2-40B4-BE49-F238E27FC236}">
                <a16:creationId xmlns:a16="http://schemas.microsoft.com/office/drawing/2014/main" id="{CA96DD7E-0BD0-4EC7-8934-AD14907500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5400000">
            <a:off x="15433318" y="0"/>
            <a:ext cx="2855698" cy="2855698"/>
          </a:xfrm>
          <a:prstGeom prst="rect">
            <a:avLst/>
          </a:prstGeom>
        </p:spPr>
      </p:pic>
      <p:pic>
        <p:nvPicPr>
          <p:cNvPr id="7" name="Picture 8">
            <a:extLst>
              <a:ext uri="{FF2B5EF4-FFF2-40B4-BE49-F238E27FC236}">
                <a16:creationId xmlns:a16="http://schemas.microsoft.com/office/drawing/2014/main" id="{27CD148B-40CD-4041-AD94-64F7987BF9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-5400000">
            <a:off x="-32642" y="7431302"/>
            <a:ext cx="2855698" cy="285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09014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" userDrawn="1">
  <p:cSld name="Full Image">
    <p:bg>
      <p:bgPr>
        <a:solidFill>
          <a:srgbClr val="F2F2F7"/>
        </a:solidFill>
        <a:effectLst/>
      </p:bgPr>
    </p:bg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&#10;&#10;Description automatically generated with medium confidence">
            <a:extLst>
              <a:ext uri="{FF2B5EF4-FFF2-40B4-BE49-F238E27FC236}">
                <a16:creationId xmlns:a16="http://schemas.microsoft.com/office/drawing/2014/main" id="{FB0887B9-4E2E-440E-A5AE-69FC8690A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1627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81A3D9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>
            <a:extLst>
              <a:ext uri="{FF2B5EF4-FFF2-40B4-BE49-F238E27FC236}">
                <a16:creationId xmlns:a16="http://schemas.microsoft.com/office/drawing/2014/main" id="{CA96DD7E-0BD0-4EC7-8934-AD14907500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5400000">
            <a:off x="15433318" y="0"/>
            <a:ext cx="2855698" cy="2855698"/>
          </a:xfrm>
          <a:prstGeom prst="rect">
            <a:avLst/>
          </a:prstGeom>
        </p:spPr>
      </p:pic>
      <p:pic>
        <p:nvPicPr>
          <p:cNvPr id="7" name="Picture 8">
            <a:extLst>
              <a:ext uri="{FF2B5EF4-FFF2-40B4-BE49-F238E27FC236}">
                <a16:creationId xmlns:a16="http://schemas.microsoft.com/office/drawing/2014/main" id="{27CD148B-40CD-4041-AD94-64F7987BF9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-5400000">
            <a:off x="-32642" y="7431302"/>
            <a:ext cx="2855698" cy="285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24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A30287-DAD0-40F4-93EA-DF08FDF6A5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9024" y="9054899"/>
            <a:ext cx="2054023" cy="10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4048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81A3D9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67E81750-C8B1-4630-BEDB-6D0FDDC267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640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94944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81A3D9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5468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3851411" y="246956"/>
            <a:ext cx="10585176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6000" kern="1200" dirty="0">
                <a:solidFill>
                  <a:srgbClr val="281F7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  <p:sp>
        <p:nvSpPr>
          <p:cNvPr id="9" name="Google Shape;12;p3">
            <a:extLst>
              <a:ext uri="{FF2B5EF4-FFF2-40B4-BE49-F238E27FC236}">
                <a16:creationId xmlns:a16="http://schemas.microsoft.com/office/drawing/2014/main" id="{E633EB56-4ECB-4E23-A34E-9734EF766380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3815408" y="1015567"/>
            <a:ext cx="10585176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200" kern="1200" spc="200" dirty="0">
                <a:solidFill>
                  <a:srgbClr val="81A3D9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21067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G-SLIDE OP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884898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9086"/>
            <a:ext cx="16957884" cy="5803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8872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1894"/>
            <a:ext cx="7200800" cy="583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61A773D-D72F-40ED-9BFA-8DA31EC260C1}"/>
              </a:ext>
            </a:extLst>
          </p:cNvPr>
          <p:cNvCxnSpPr>
            <a:cxnSpLocks/>
          </p:cNvCxnSpPr>
          <p:nvPr userDrawn="1"/>
        </p:nvCxnSpPr>
        <p:spPr>
          <a:xfrm>
            <a:off x="647056" y="1255068"/>
            <a:ext cx="16921880" cy="0"/>
          </a:xfrm>
          <a:prstGeom prst="line">
            <a:avLst/>
          </a:prstGeom>
          <a:ln w="25400" cap="sq">
            <a:solidFill>
              <a:srgbClr val="281F76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0AA0D64-9D05-4FAB-915C-1C4B8E9FA7E4}"/>
              </a:ext>
            </a:extLst>
          </p:cNvPr>
          <p:cNvCxnSpPr/>
          <p:nvPr userDrawn="1"/>
        </p:nvCxnSpPr>
        <p:spPr>
          <a:xfrm>
            <a:off x="9144000" y="1548700"/>
            <a:ext cx="72008" cy="8393769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Google Shape;13;p3">
            <a:extLst>
              <a:ext uri="{FF2B5EF4-FFF2-40B4-BE49-F238E27FC236}">
                <a16:creationId xmlns:a16="http://schemas.microsoft.com/office/drawing/2014/main" id="{4D4419B1-67D7-4EEE-A517-CC197D7E6D86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9896575" y="1391894"/>
            <a:ext cx="7200800" cy="583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34297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chemeClr val="bg2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1894"/>
            <a:ext cx="16921880" cy="5832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2"/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61A773D-D72F-40ED-9BFA-8DA31EC260C1}"/>
              </a:ext>
            </a:extLst>
          </p:cNvPr>
          <p:cNvCxnSpPr>
            <a:cxnSpLocks/>
          </p:cNvCxnSpPr>
          <p:nvPr userDrawn="1"/>
        </p:nvCxnSpPr>
        <p:spPr>
          <a:xfrm>
            <a:off x="647056" y="1255068"/>
            <a:ext cx="16921880" cy="0"/>
          </a:xfrm>
          <a:prstGeom prst="line">
            <a:avLst/>
          </a:prstGeom>
          <a:ln w="25400" cap="sq">
            <a:solidFill>
              <a:schemeClr val="bg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9024" y="9054899"/>
            <a:ext cx="2054023" cy="1025986"/>
          </a:xfrm>
          <a:prstGeom prst="rect">
            <a:avLst/>
          </a:prstGeom>
        </p:spPr>
      </p:pic>
      <p:pic>
        <p:nvPicPr>
          <p:cNvPr id="14" name="Picture 3">
            <a:extLst>
              <a:ext uri="{FF2B5EF4-FFF2-40B4-BE49-F238E27FC236}">
                <a16:creationId xmlns:a16="http://schemas.microsoft.com/office/drawing/2014/main" id="{CAD0448E-1287-426E-AD15-E5A3AAB01FB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 rot="5400000">
            <a:off x="15433318" y="0"/>
            <a:ext cx="2855698" cy="2855698"/>
          </a:xfrm>
          <a:prstGeom prst="rect">
            <a:avLst/>
          </a:prstGeom>
        </p:spPr>
      </p:pic>
      <p:pic>
        <p:nvPicPr>
          <p:cNvPr id="18" name="Picture 8">
            <a:extLst>
              <a:ext uri="{FF2B5EF4-FFF2-40B4-BE49-F238E27FC236}">
                <a16:creationId xmlns:a16="http://schemas.microsoft.com/office/drawing/2014/main" id="{75749EFD-5497-4272-9F8C-429AD099443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 rot="-5400000">
            <a:off x="-32642" y="7431302"/>
            <a:ext cx="2855698" cy="285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193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8288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18288000" y="0"/>
                </a:moveTo>
                <a:lnTo>
                  <a:pt x="0" y="0"/>
                </a:lnTo>
                <a:lnTo>
                  <a:pt x="0" y="10287000"/>
                </a:lnTo>
                <a:lnTo>
                  <a:pt x="18288000" y="10287000"/>
                </a:lnTo>
                <a:lnTo>
                  <a:pt x="18288000" y="0"/>
                </a:lnTo>
                <a:close/>
              </a:path>
            </a:pathLst>
          </a:custGeom>
          <a:solidFill>
            <a:srgbClr val="F1F1F7"/>
          </a:solidFill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</a:endParaRPr>
          </a:p>
        </p:txBody>
      </p:sp>
      <p:pic>
        <p:nvPicPr>
          <p:cNvPr id="17" name="bg object 1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359663" y="9055607"/>
            <a:ext cx="2052827" cy="1025652"/>
          </a:xfrm>
          <a:prstGeom prst="rect">
            <a:avLst/>
          </a:prstGeom>
        </p:spPr>
      </p:pic>
      <p:sp>
        <p:nvSpPr>
          <p:cNvPr id="18" name="bg object 18"/>
          <p:cNvSpPr/>
          <p:nvPr/>
        </p:nvSpPr>
        <p:spPr>
          <a:xfrm>
            <a:off x="13273278" y="9582911"/>
            <a:ext cx="5015230" cy="38100"/>
          </a:xfrm>
          <a:custGeom>
            <a:avLst/>
            <a:gdLst/>
            <a:ahLst/>
            <a:cxnLst/>
            <a:rect l="l" t="t" r="r" b="b"/>
            <a:pathLst>
              <a:path w="5015230" h="38100">
                <a:moveTo>
                  <a:pt x="0" y="38100"/>
                </a:moveTo>
                <a:lnTo>
                  <a:pt x="5014720" y="38100"/>
                </a:lnTo>
                <a:lnTo>
                  <a:pt x="5014720" y="0"/>
                </a:lnTo>
                <a:lnTo>
                  <a:pt x="0" y="0"/>
                </a:lnTo>
                <a:lnTo>
                  <a:pt x="0" y="381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10312145" y="1686305"/>
            <a:ext cx="901065" cy="990600"/>
          </a:xfrm>
          <a:custGeom>
            <a:avLst/>
            <a:gdLst/>
            <a:ahLst/>
            <a:cxnLst/>
            <a:rect l="l" t="t" r="r" b="b"/>
            <a:pathLst>
              <a:path w="901065" h="990600">
                <a:moveTo>
                  <a:pt x="450342" y="0"/>
                </a:moveTo>
                <a:lnTo>
                  <a:pt x="404305" y="2557"/>
                </a:lnTo>
                <a:lnTo>
                  <a:pt x="359597" y="10062"/>
                </a:lnTo>
                <a:lnTo>
                  <a:pt x="316443" y="22266"/>
                </a:lnTo>
                <a:lnTo>
                  <a:pt x="275070" y="38921"/>
                </a:lnTo>
                <a:lnTo>
                  <a:pt x="235704" y="59777"/>
                </a:lnTo>
                <a:lnTo>
                  <a:pt x="198573" y="84586"/>
                </a:lnTo>
                <a:lnTo>
                  <a:pt x="163903" y="113098"/>
                </a:lnTo>
                <a:lnTo>
                  <a:pt x="131921" y="145065"/>
                </a:lnTo>
                <a:lnTo>
                  <a:pt x="102852" y="180238"/>
                </a:lnTo>
                <a:lnTo>
                  <a:pt x="76924" y="218368"/>
                </a:lnTo>
                <a:lnTo>
                  <a:pt x="54364" y="259205"/>
                </a:lnTo>
                <a:lnTo>
                  <a:pt x="35397" y="302502"/>
                </a:lnTo>
                <a:lnTo>
                  <a:pt x="20250" y="348008"/>
                </a:lnTo>
                <a:lnTo>
                  <a:pt x="9151" y="395476"/>
                </a:lnTo>
                <a:lnTo>
                  <a:pt x="2325" y="444656"/>
                </a:lnTo>
                <a:lnTo>
                  <a:pt x="0" y="495300"/>
                </a:lnTo>
                <a:lnTo>
                  <a:pt x="2325" y="545943"/>
                </a:lnTo>
                <a:lnTo>
                  <a:pt x="9151" y="595123"/>
                </a:lnTo>
                <a:lnTo>
                  <a:pt x="20250" y="642591"/>
                </a:lnTo>
                <a:lnTo>
                  <a:pt x="35397" y="688097"/>
                </a:lnTo>
                <a:lnTo>
                  <a:pt x="54364" y="731394"/>
                </a:lnTo>
                <a:lnTo>
                  <a:pt x="76924" y="772231"/>
                </a:lnTo>
                <a:lnTo>
                  <a:pt x="102852" y="810361"/>
                </a:lnTo>
                <a:lnTo>
                  <a:pt x="131921" y="845534"/>
                </a:lnTo>
                <a:lnTo>
                  <a:pt x="163903" y="877501"/>
                </a:lnTo>
                <a:lnTo>
                  <a:pt x="198573" y="906013"/>
                </a:lnTo>
                <a:lnTo>
                  <a:pt x="235704" y="930822"/>
                </a:lnTo>
                <a:lnTo>
                  <a:pt x="275070" y="951678"/>
                </a:lnTo>
                <a:lnTo>
                  <a:pt x="316443" y="968333"/>
                </a:lnTo>
                <a:lnTo>
                  <a:pt x="359597" y="980537"/>
                </a:lnTo>
                <a:lnTo>
                  <a:pt x="404305" y="988042"/>
                </a:lnTo>
                <a:lnTo>
                  <a:pt x="450342" y="990600"/>
                </a:lnTo>
                <a:lnTo>
                  <a:pt x="496378" y="988042"/>
                </a:lnTo>
                <a:lnTo>
                  <a:pt x="541086" y="980537"/>
                </a:lnTo>
                <a:lnTo>
                  <a:pt x="584240" y="968333"/>
                </a:lnTo>
                <a:lnTo>
                  <a:pt x="625613" y="951678"/>
                </a:lnTo>
                <a:lnTo>
                  <a:pt x="664979" y="930822"/>
                </a:lnTo>
                <a:lnTo>
                  <a:pt x="702110" y="906013"/>
                </a:lnTo>
                <a:lnTo>
                  <a:pt x="736780" y="877501"/>
                </a:lnTo>
                <a:lnTo>
                  <a:pt x="768762" y="845534"/>
                </a:lnTo>
                <a:lnTo>
                  <a:pt x="797831" y="810361"/>
                </a:lnTo>
                <a:lnTo>
                  <a:pt x="823759" y="772231"/>
                </a:lnTo>
                <a:lnTo>
                  <a:pt x="846319" y="731394"/>
                </a:lnTo>
                <a:lnTo>
                  <a:pt x="865286" y="688097"/>
                </a:lnTo>
                <a:lnTo>
                  <a:pt x="880433" y="642591"/>
                </a:lnTo>
                <a:lnTo>
                  <a:pt x="891532" y="595123"/>
                </a:lnTo>
                <a:lnTo>
                  <a:pt x="898358" y="545943"/>
                </a:lnTo>
                <a:lnTo>
                  <a:pt x="900683" y="495300"/>
                </a:lnTo>
                <a:lnTo>
                  <a:pt x="898358" y="444656"/>
                </a:lnTo>
                <a:lnTo>
                  <a:pt x="891532" y="395476"/>
                </a:lnTo>
                <a:lnTo>
                  <a:pt x="880433" y="348008"/>
                </a:lnTo>
                <a:lnTo>
                  <a:pt x="865286" y="302502"/>
                </a:lnTo>
                <a:lnTo>
                  <a:pt x="846319" y="259205"/>
                </a:lnTo>
                <a:lnTo>
                  <a:pt x="823759" y="218368"/>
                </a:lnTo>
                <a:lnTo>
                  <a:pt x="797831" y="180238"/>
                </a:lnTo>
                <a:lnTo>
                  <a:pt x="768762" y="145065"/>
                </a:lnTo>
                <a:lnTo>
                  <a:pt x="736780" y="113098"/>
                </a:lnTo>
                <a:lnTo>
                  <a:pt x="702110" y="84586"/>
                </a:lnTo>
                <a:lnTo>
                  <a:pt x="664979" y="59777"/>
                </a:lnTo>
                <a:lnTo>
                  <a:pt x="625613" y="38921"/>
                </a:lnTo>
                <a:lnTo>
                  <a:pt x="584240" y="22266"/>
                </a:lnTo>
                <a:lnTo>
                  <a:pt x="541086" y="10062"/>
                </a:lnTo>
                <a:lnTo>
                  <a:pt x="496378" y="2557"/>
                </a:lnTo>
                <a:lnTo>
                  <a:pt x="450342" y="0"/>
                </a:lnTo>
                <a:close/>
              </a:path>
            </a:pathLst>
          </a:custGeom>
          <a:solidFill>
            <a:srgbClr val="233146"/>
          </a:solidFill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10312145" y="1686305"/>
            <a:ext cx="901065" cy="990600"/>
          </a:xfrm>
          <a:custGeom>
            <a:avLst/>
            <a:gdLst/>
            <a:ahLst/>
            <a:cxnLst/>
            <a:rect l="l" t="t" r="r" b="b"/>
            <a:pathLst>
              <a:path w="901065" h="990600">
                <a:moveTo>
                  <a:pt x="0" y="495300"/>
                </a:moveTo>
                <a:lnTo>
                  <a:pt x="2325" y="444656"/>
                </a:lnTo>
                <a:lnTo>
                  <a:pt x="9151" y="395476"/>
                </a:lnTo>
                <a:lnTo>
                  <a:pt x="20250" y="348008"/>
                </a:lnTo>
                <a:lnTo>
                  <a:pt x="35397" y="302502"/>
                </a:lnTo>
                <a:lnTo>
                  <a:pt x="54364" y="259205"/>
                </a:lnTo>
                <a:lnTo>
                  <a:pt x="76924" y="218368"/>
                </a:lnTo>
                <a:lnTo>
                  <a:pt x="102852" y="180238"/>
                </a:lnTo>
                <a:lnTo>
                  <a:pt x="131921" y="145065"/>
                </a:lnTo>
                <a:lnTo>
                  <a:pt x="163903" y="113098"/>
                </a:lnTo>
                <a:lnTo>
                  <a:pt x="198573" y="84586"/>
                </a:lnTo>
                <a:lnTo>
                  <a:pt x="235704" y="59777"/>
                </a:lnTo>
                <a:lnTo>
                  <a:pt x="275070" y="38921"/>
                </a:lnTo>
                <a:lnTo>
                  <a:pt x="316443" y="22266"/>
                </a:lnTo>
                <a:lnTo>
                  <a:pt x="359597" y="10062"/>
                </a:lnTo>
                <a:lnTo>
                  <a:pt x="404305" y="2557"/>
                </a:lnTo>
                <a:lnTo>
                  <a:pt x="450342" y="0"/>
                </a:lnTo>
                <a:lnTo>
                  <a:pt x="496378" y="2557"/>
                </a:lnTo>
                <a:lnTo>
                  <a:pt x="541086" y="10062"/>
                </a:lnTo>
                <a:lnTo>
                  <a:pt x="584240" y="22266"/>
                </a:lnTo>
                <a:lnTo>
                  <a:pt x="625613" y="38921"/>
                </a:lnTo>
                <a:lnTo>
                  <a:pt x="664979" y="59777"/>
                </a:lnTo>
                <a:lnTo>
                  <a:pt x="702110" y="84586"/>
                </a:lnTo>
                <a:lnTo>
                  <a:pt x="736780" y="113098"/>
                </a:lnTo>
                <a:lnTo>
                  <a:pt x="768762" y="145065"/>
                </a:lnTo>
                <a:lnTo>
                  <a:pt x="797831" y="180238"/>
                </a:lnTo>
                <a:lnTo>
                  <a:pt x="823759" y="218368"/>
                </a:lnTo>
                <a:lnTo>
                  <a:pt x="846319" y="259205"/>
                </a:lnTo>
                <a:lnTo>
                  <a:pt x="865286" y="302502"/>
                </a:lnTo>
                <a:lnTo>
                  <a:pt x="880433" y="348008"/>
                </a:lnTo>
                <a:lnTo>
                  <a:pt x="891532" y="395476"/>
                </a:lnTo>
                <a:lnTo>
                  <a:pt x="898358" y="444656"/>
                </a:lnTo>
                <a:lnTo>
                  <a:pt x="900683" y="495300"/>
                </a:lnTo>
                <a:lnTo>
                  <a:pt x="898358" y="545943"/>
                </a:lnTo>
                <a:lnTo>
                  <a:pt x="891532" y="595123"/>
                </a:lnTo>
                <a:lnTo>
                  <a:pt x="880433" y="642591"/>
                </a:lnTo>
                <a:lnTo>
                  <a:pt x="865286" y="688097"/>
                </a:lnTo>
                <a:lnTo>
                  <a:pt x="846319" y="731394"/>
                </a:lnTo>
                <a:lnTo>
                  <a:pt x="823759" y="772231"/>
                </a:lnTo>
                <a:lnTo>
                  <a:pt x="797831" y="810361"/>
                </a:lnTo>
                <a:lnTo>
                  <a:pt x="768762" y="845534"/>
                </a:lnTo>
                <a:lnTo>
                  <a:pt x="736780" y="877501"/>
                </a:lnTo>
                <a:lnTo>
                  <a:pt x="702110" y="906013"/>
                </a:lnTo>
                <a:lnTo>
                  <a:pt x="664979" y="930822"/>
                </a:lnTo>
                <a:lnTo>
                  <a:pt x="625613" y="951678"/>
                </a:lnTo>
                <a:lnTo>
                  <a:pt x="584240" y="968333"/>
                </a:lnTo>
                <a:lnTo>
                  <a:pt x="541086" y="980537"/>
                </a:lnTo>
                <a:lnTo>
                  <a:pt x="496378" y="988042"/>
                </a:lnTo>
                <a:lnTo>
                  <a:pt x="450342" y="990600"/>
                </a:lnTo>
                <a:lnTo>
                  <a:pt x="404305" y="988042"/>
                </a:lnTo>
                <a:lnTo>
                  <a:pt x="359597" y="980537"/>
                </a:lnTo>
                <a:lnTo>
                  <a:pt x="316443" y="968333"/>
                </a:lnTo>
                <a:lnTo>
                  <a:pt x="275070" y="951678"/>
                </a:lnTo>
                <a:lnTo>
                  <a:pt x="235704" y="930822"/>
                </a:lnTo>
                <a:lnTo>
                  <a:pt x="198573" y="906013"/>
                </a:lnTo>
                <a:lnTo>
                  <a:pt x="163903" y="877501"/>
                </a:lnTo>
                <a:lnTo>
                  <a:pt x="131921" y="845534"/>
                </a:lnTo>
                <a:lnTo>
                  <a:pt x="102852" y="810361"/>
                </a:lnTo>
                <a:lnTo>
                  <a:pt x="76924" y="772231"/>
                </a:lnTo>
                <a:lnTo>
                  <a:pt x="54364" y="731394"/>
                </a:lnTo>
                <a:lnTo>
                  <a:pt x="35397" y="688097"/>
                </a:lnTo>
                <a:lnTo>
                  <a:pt x="20250" y="642591"/>
                </a:lnTo>
                <a:lnTo>
                  <a:pt x="9151" y="595123"/>
                </a:lnTo>
                <a:lnTo>
                  <a:pt x="2325" y="545943"/>
                </a:lnTo>
                <a:lnTo>
                  <a:pt x="0" y="495300"/>
                </a:lnTo>
                <a:close/>
              </a:path>
            </a:pathLst>
          </a:custGeom>
          <a:ln w="38100">
            <a:solidFill>
              <a:srgbClr val="281F76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659130" y="3231642"/>
            <a:ext cx="1009015" cy="1007744"/>
          </a:xfrm>
          <a:custGeom>
            <a:avLst/>
            <a:gdLst/>
            <a:ahLst/>
            <a:cxnLst/>
            <a:rect l="l" t="t" r="r" b="b"/>
            <a:pathLst>
              <a:path w="1009014" h="1007745">
                <a:moveTo>
                  <a:pt x="1008888" y="0"/>
                </a:moveTo>
                <a:lnTo>
                  <a:pt x="167894" y="0"/>
                </a:lnTo>
                <a:lnTo>
                  <a:pt x="123262" y="5998"/>
                </a:lnTo>
                <a:lnTo>
                  <a:pt x="83155" y="22925"/>
                </a:lnTo>
                <a:lnTo>
                  <a:pt x="49175" y="49180"/>
                </a:lnTo>
                <a:lnTo>
                  <a:pt x="22923" y="83161"/>
                </a:lnTo>
                <a:lnTo>
                  <a:pt x="5997" y="123266"/>
                </a:lnTo>
                <a:lnTo>
                  <a:pt x="0" y="167893"/>
                </a:lnTo>
                <a:lnTo>
                  <a:pt x="0" y="1007363"/>
                </a:lnTo>
                <a:lnTo>
                  <a:pt x="840994" y="1007363"/>
                </a:lnTo>
                <a:lnTo>
                  <a:pt x="885621" y="1001365"/>
                </a:lnTo>
                <a:lnTo>
                  <a:pt x="925726" y="984438"/>
                </a:lnTo>
                <a:lnTo>
                  <a:pt x="959707" y="958183"/>
                </a:lnTo>
                <a:lnTo>
                  <a:pt x="985962" y="924202"/>
                </a:lnTo>
                <a:lnTo>
                  <a:pt x="1002889" y="884097"/>
                </a:lnTo>
                <a:lnTo>
                  <a:pt x="1008888" y="839469"/>
                </a:lnTo>
                <a:lnTo>
                  <a:pt x="1008888" y="0"/>
                </a:lnTo>
                <a:close/>
              </a:path>
            </a:pathLst>
          </a:custGeom>
          <a:solidFill>
            <a:srgbClr val="A0B9E2"/>
          </a:solidFill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659130" y="3231642"/>
            <a:ext cx="1009015" cy="1007744"/>
          </a:xfrm>
          <a:custGeom>
            <a:avLst/>
            <a:gdLst/>
            <a:ahLst/>
            <a:cxnLst/>
            <a:rect l="l" t="t" r="r" b="b"/>
            <a:pathLst>
              <a:path w="1009014" h="1007745">
                <a:moveTo>
                  <a:pt x="167894" y="0"/>
                </a:moveTo>
                <a:lnTo>
                  <a:pt x="1008888" y="0"/>
                </a:lnTo>
                <a:lnTo>
                  <a:pt x="1008888" y="839469"/>
                </a:lnTo>
                <a:lnTo>
                  <a:pt x="1002889" y="884097"/>
                </a:lnTo>
                <a:lnTo>
                  <a:pt x="985962" y="924202"/>
                </a:lnTo>
                <a:lnTo>
                  <a:pt x="959707" y="958183"/>
                </a:lnTo>
                <a:lnTo>
                  <a:pt x="925726" y="984438"/>
                </a:lnTo>
                <a:lnTo>
                  <a:pt x="885621" y="1001365"/>
                </a:lnTo>
                <a:lnTo>
                  <a:pt x="840994" y="1007363"/>
                </a:lnTo>
                <a:lnTo>
                  <a:pt x="0" y="1007363"/>
                </a:lnTo>
                <a:lnTo>
                  <a:pt x="0" y="167893"/>
                </a:lnTo>
                <a:lnTo>
                  <a:pt x="5997" y="123266"/>
                </a:lnTo>
                <a:lnTo>
                  <a:pt x="22923" y="83161"/>
                </a:lnTo>
                <a:lnTo>
                  <a:pt x="49175" y="49180"/>
                </a:lnTo>
                <a:lnTo>
                  <a:pt x="83155" y="22925"/>
                </a:lnTo>
                <a:lnTo>
                  <a:pt x="123262" y="5998"/>
                </a:lnTo>
                <a:lnTo>
                  <a:pt x="167894" y="0"/>
                </a:lnTo>
                <a:close/>
              </a:path>
            </a:pathLst>
          </a:custGeom>
          <a:ln w="38100">
            <a:solidFill>
              <a:srgbClr val="281F76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</a:endParaRPr>
          </a:p>
        </p:txBody>
      </p:sp>
      <p:sp>
        <p:nvSpPr>
          <p:cNvPr id="23" name="bg object 23"/>
          <p:cNvSpPr/>
          <p:nvPr/>
        </p:nvSpPr>
        <p:spPr>
          <a:xfrm>
            <a:off x="856373" y="3378835"/>
            <a:ext cx="612775" cy="711200"/>
          </a:xfrm>
          <a:custGeom>
            <a:avLst/>
            <a:gdLst/>
            <a:ahLst/>
            <a:cxnLst/>
            <a:rect l="l" t="t" r="r" b="b"/>
            <a:pathLst>
              <a:path w="612775" h="711200">
                <a:moveTo>
                  <a:pt x="290118" y="0"/>
                </a:moveTo>
                <a:lnTo>
                  <a:pt x="269494" y="6858"/>
                </a:lnTo>
                <a:lnTo>
                  <a:pt x="252272" y="23875"/>
                </a:lnTo>
                <a:lnTo>
                  <a:pt x="248767" y="47625"/>
                </a:lnTo>
                <a:lnTo>
                  <a:pt x="246913" y="93345"/>
                </a:lnTo>
                <a:lnTo>
                  <a:pt x="227876" y="139192"/>
                </a:lnTo>
                <a:lnTo>
                  <a:pt x="210604" y="173228"/>
                </a:lnTo>
                <a:lnTo>
                  <a:pt x="186474" y="203835"/>
                </a:lnTo>
                <a:lnTo>
                  <a:pt x="136499" y="260096"/>
                </a:lnTo>
                <a:lnTo>
                  <a:pt x="77914" y="324993"/>
                </a:lnTo>
                <a:lnTo>
                  <a:pt x="33058" y="396367"/>
                </a:lnTo>
                <a:lnTo>
                  <a:pt x="15786" y="430403"/>
                </a:lnTo>
                <a:lnTo>
                  <a:pt x="0" y="537210"/>
                </a:lnTo>
                <a:lnTo>
                  <a:pt x="6819" y="557403"/>
                </a:lnTo>
                <a:lnTo>
                  <a:pt x="23939" y="574167"/>
                </a:lnTo>
                <a:lnTo>
                  <a:pt x="298310" y="707517"/>
                </a:lnTo>
                <a:lnTo>
                  <a:pt x="322338" y="710692"/>
                </a:lnTo>
                <a:lnTo>
                  <a:pt x="342976" y="703707"/>
                </a:lnTo>
                <a:lnTo>
                  <a:pt x="360197" y="686689"/>
                </a:lnTo>
                <a:lnTo>
                  <a:pt x="363140" y="666750"/>
                </a:lnTo>
                <a:lnTo>
                  <a:pt x="319036" y="666750"/>
                </a:lnTo>
                <a:lnTo>
                  <a:pt x="44665" y="533400"/>
                </a:lnTo>
                <a:lnTo>
                  <a:pt x="55181" y="462280"/>
                </a:lnTo>
                <a:lnTo>
                  <a:pt x="79413" y="397764"/>
                </a:lnTo>
                <a:lnTo>
                  <a:pt x="258673" y="179578"/>
                </a:lnTo>
                <a:lnTo>
                  <a:pt x="282905" y="115062"/>
                </a:lnTo>
                <a:lnTo>
                  <a:pt x="293420" y="43942"/>
                </a:lnTo>
                <a:lnTo>
                  <a:pt x="398111" y="43942"/>
                </a:lnTo>
                <a:lnTo>
                  <a:pt x="314159" y="3175"/>
                </a:lnTo>
                <a:lnTo>
                  <a:pt x="290118" y="0"/>
                </a:lnTo>
                <a:close/>
              </a:path>
              <a:path w="612775" h="711200">
                <a:moveTo>
                  <a:pt x="398111" y="43942"/>
                </a:moveTo>
                <a:lnTo>
                  <a:pt x="293420" y="43942"/>
                </a:lnTo>
                <a:lnTo>
                  <a:pt x="567804" y="177165"/>
                </a:lnTo>
                <a:lnTo>
                  <a:pt x="562597" y="212851"/>
                </a:lnTo>
                <a:lnTo>
                  <a:pt x="557263" y="248412"/>
                </a:lnTo>
                <a:lnTo>
                  <a:pt x="545198" y="280670"/>
                </a:lnTo>
                <a:lnTo>
                  <a:pt x="533006" y="312928"/>
                </a:lnTo>
                <a:lnTo>
                  <a:pt x="353796" y="530987"/>
                </a:lnTo>
                <a:lnTo>
                  <a:pt x="329552" y="595503"/>
                </a:lnTo>
                <a:lnTo>
                  <a:pt x="319036" y="666750"/>
                </a:lnTo>
                <a:lnTo>
                  <a:pt x="363140" y="666750"/>
                </a:lnTo>
                <a:lnTo>
                  <a:pt x="363702" y="662940"/>
                </a:lnTo>
                <a:lnTo>
                  <a:pt x="365556" y="617220"/>
                </a:lnTo>
                <a:lnTo>
                  <a:pt x="384581" y="571373"/>
                </a:lnTo>
                <a:lnTo>
                  <a:pt x="401853" y="537464"/>
                </a:lnTo>
                <a:lnTo>
                  <a:pt x="425945" y="506730"/>
                </a:lnTo>
                <a:lnTo>
                  <a:pt x="475983" y="450469"/>
                </a:lnTo>
                <a:lnTo>
                  <a:pt x="534530" y="385699"/>
                </a:lnTo>
                <a:lnTo>
                  <a:pt x="557009" y="350012"/>
                </a:lnTo>
                <a:lnTo>
                  <a:pt x="579361" y="314198"/>
                </a:lnTo>
                <a:lnTo>
                  <a:pt x="596633" y="280289"/>
                </a:lnTo>
                <a:lnTo>
                  <a:pt x="601967" y="244729"/>
                </a:lnTo>
                <a:lnTo>
                  <a:pt x="607174" y="209042"/>
                </a:lnTo>
                <a:lnTo>
                  <a:pt x="612508" y="173482"/>
                </a:lnTo>
                <a:lnTo>
                  <a:pt x="605650" y="153289"/>
                </a:lnTo>
                <a:lnTo>
                  <a:pt x="588505" y="136398"/>
                </a:lnTo>
                <a:lnTo>
                  <a:pt x="398111" y="4394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</a:endParaRPr>
          </a:p>
        </p:txBody>
      </p:sp>
      <p:pic>
        <p:nvPicPr>
          <p:cNvPr id="24" name="bg object 2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124089" y="3862705"/>
            <a:ext cx="75857" cy="132334"/>
          </a:xfrm>
          <a:prstGeom prst="rect">
            <a:avLst/>
          </a:prstGeom>
        </p:spPr>
      </p:pic>
      <p:pic>
        <p:nvPicPr>
          <p:cNvPr id="25" name="bg object 2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075258" y="3474847"/>
            <a:ext cx="182079" cy="344360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8800" b="1" i="0">
                <a:solidFill>
                  <a:srgbClr val="281F7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1973707" y="3402838"/>
            <a:ext cx="7321550" cy="3323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rgbClr val="281F7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11409933" y="2128773"/>
            <a:ext cx="5532119" cy="3323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0" i="0">
                <a:solidFill>
                  <a:srgbClr val="281F7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3/15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7976536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81A3D9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496826"/>
            <a:ext cx="16921880" cy="5832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rgbClr val="281F76"/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61A773D-D72F-40ED-9BFA-8DA31EC260C1}"/>
              </a:ext>
            </a:extLst>
          </p:cNvPr>
          <p:cNvCxnSpPr>
            <a:cxnSpLocks/>
          </p:cNvCxnSpPr>
          <p:nvPr userDrawn="1"/>
        </p:nvCxnSpPr>
        <p:spPr>
          <a:xfrm>
            <a:off x="647056" y="1255068"/>
            <a:ext cx="16921880" cy="0"/>
          </a:xfrm>
          <a:prstGeom prst="line">
            <a:avLst/>
          </a:prstGeom>
          <a:ln w="25400" cap="sq">
            <a:solidFill>
              <a:srgbClr val="281F76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>
            <a:extLst>
              <a:ext uri="{FF2B5EF4-FFF2-40B4-BE49-F238E27FC236}">
                <a16:creationId xmlns:a16="http://schemas.microsoft.com/office/drawing/2014/main" id="{CAD0448E-1287-426E-AD15-E5A3AAB01F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5400000">
            <a:off x="15433318" y="0"/>
            <a:ext cx="2855698" cy="2855698"/>
          </a:xfrm>
          <a:prstGeom prst="rect">
            <a:avLst/>
          </a:prstGeom>
        </p:spPr>
      </p:pic>
      <p:pic>
        <p:nvPicPr>
          <p:cNvPr id="18" name="Picture 8">
            <a:extLst>
              <a:ext uri="{FF2B5EF4-FFF2-40B4-BE49-F238E27FC236}">
                <a16:creationId xmlns:a16="http://schemas.microsoft.com/office/drawing/2014/main" id="{75749EFD-5497-4272-9F8C-429AD09944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-5400000">
            <a:off x="-32642" y="7447756"/>
            <a:ext cx="2855698" cy="2855698"/>
          </a:xfrm>
          <a:prstGeom prst="rect">
            <a:avLst/>
          </a:prstGeom>
        </p:spPr>
      </p:pic>
      <p:pic>
        <p:nvPicPr>
          <p:cNvPr id="10" name="Picture 9" descr="Logo&#10;&#10;Description automatically generated with medium confidence">
            <a:extLst>
              <a:ext uri="{FF2B5EF4-FFF2-40B4-BE49-F238E27FC236}">
                <a16:creationId xmlns:a16="http://schemas.microsoft.com/office/drawing/2014/main" id="{F9D8AEF3-5907-4088-81DA-25A4C4E6E49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6994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>
            <a:extLst>
              <a:ext uri="{FF2B5EF4-FFF2-40B4-BE49-F238E27FC236}">
                <a16:creationId xmlns:a16="http://schemas.microsoft.com/office/drawing/2014/main" id="{CA96DD7E-0BD0-4EC7-8934-AD14907500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5400000">
            <a:off x="15433318" y="0"/>
            <a:ext cx="2855698" cy="2855698"/>
          </a:xfrm>
          <a:prstGeom prst="rect">
            <a:avLst/>
          </a:prstGeom>
        </p:spPr>
      </p:pic>
      <p:pic>
        <p:nvPicPr>
          <p:cNvPr id="7" name="Picture 8">
            <a:extLst>
              <a:ext uri="{FF2B5EF4-FFF2-40B4-BE49-F238E27FC236}">
                <a16:creationId xmlns:a16="http://schemas.microsoft.com/office/drawing/2014/main" id="{27CD148B-40CD-4041-AD94-64F7987BF9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-5400000">
            <a:off x="-32642" y="7431302"/>
            <a:ext cx="2855698" cy="285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8502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81A3D9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>
            <a:extLst>
              <a:ext uri="{FF2B5EF4-FFF2-40B4-BE49-F238E27FC236}">
                <a16:creationId xmlns:a16="http://schemas.microsoft.com/office/drawing/2014/main" id="{CA96DD7E-0BD0-4EC7-8934-AD14907500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5400000">
            <a:off x="15433318" y="0"/>
            <a:ext cx="2855698" cy="2855698"/>
          </a:xfrm>
          <a:prstGeom prst="rect">
            <a:avLst/>
          </a:prstGeom>
        </p:spPr>
      </p:pic>
      <p:pic>
        <p:nvPicPr>
          <p:cNvPr id="7" name="Picture 8">
            <a:extLst>
              <a:ext uri="{FF2B5EF4-FFF2-40B4-BE49-F238E27FC236}">
                <a16:creationId xmlns:a16="http://schemas.microsoft.com/office/drawing/2014/main" id="{27CD148B-40CD-4041-AD94-64F7987BF9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-5400000">
            <a:off x="-32642" y="7431302"/>
            <a:ext cx="2855698" cy="285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3951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A30287-DAD0-40F4-93EA-DF08FDF6A5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9024" y="9054899"/>
            <a:ext cx="2054023" cy="10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20190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81A3D9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67E81750-C8B1-4630-BEDB-6D0FDDC267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235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8692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81A3D9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022868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3851411" y="246956"/>
            <a:ext cx="10585176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6000" kern="1200" dirty="0">
                <a:solidFill>
                  <a:srgbClr val="281F76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  <p:sp>
        <p:nvSpPr>
          <p:cNvPr id="9" name="Google Shape;12;p3">
            <a:extLst>
              <a:ext uri="{FF2B5EF4-FFF2-40B4-BE49-F238E27FC236}">
                <a16:creationId xmlns:a16="http://schemas.microsoft.com/office/drawing/2014/main" id="{E633EB56-4ECB-4E23-A34E-9734EF766380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3815408" y="1015567"/>
            <a:ext cx="10585176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200" kern="1200" spc="200" dirty="0">
                <a:solidFill>
                  <a:srgbClr val="81A3D9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2857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G-SLIDE OP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649498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E3B7210E-0403-40AD-B31D-CFDB47F355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ko-KR" altLang="en-US" dirty="0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DA78FDB-BCB5-4EFA-8412-2EF549AC10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E793E7A1-9DB3-44A9-A070-9B3244FCD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AAD77F96-C240-4A64-9F15-1997422FDCFE}" type="slidenum">
              <a:rPr lang="ko-KR" altLang="en-US" smtClean="0"/>
              <a:pPr/>
              <a:t>‹#›</a:t>
            </a:fld>
            <a:endParaRPr lang="ko-KR" altLang="en-US"/>
          </a:p>
        </p:txBody>
      </p:sp>
      <p:pic>
        <p:nvPicPr>
          <p:cNvPr id="7" name="Picture 6" descr="Logo&#10;&#10;Description automatically generated with medium confidence">
            <a:extLst>
              <a:ext uri="{FF2B5EF4-FFF2-40B4-BE49-F238E27FC236}">
                <a16:creationId xmlns:a16="http://schemas.microsoft.com/office/drawing/2014/main" id="{4E60F4DE-2CC8-48BC-B2F6-DD2B7AD256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6815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3175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random/>
      </p:transition>
    </mc:Choice>
    <mc:Fallback xmlns="">
      <p:transition>
        <p:random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userDrawn="1">
  <p:cSld name="1_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9288015" y="344531"/>
            <a:ext cx="828092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9288016" y="1391894"/>
            <a:ext cx="8280920" cy="5112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5" name="Google Shape;15;p3"/>
          <p:cNvSpPr txBox="1"/>
          <p:nvPr/>
        </p:nvSpPr>
        <p:spPr>
          <a:xfrm>
            <a:off x="15878845" y="9445683"/>
            <a:ext cx="413986" cy="2462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6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600" b="0" i="0" u="none" strike="noStrike" cap="none">
              <a:solidFill>
                <a:schemeClr val="accent4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16" name="Google Shape;16;p3">
            <a:hlinkClick r:id="" action="ppaction://hlinkshowjump?jump=nextslide"/>
          </p:cNvPr>
          <p:cNvSpPr/>
          <p:nvPr/>
        </p:nvSpPr>
        <p:spPr>
          <a:xfrm>
            <a:off x="16814857" y="9426633"/>
            <a:ext cx="282518" cy="282518"/>
          </a:xfrm>
          <a:custGeom>
            <a:avLst/>
            <a:gdLst/>
            <a:ahLst/>
            <a:cxnLst/>
            <a:rect l="l" t="t" r="r" b="b"/>
            <a:pathLst>
              <a:path w="2350" h="2350" extrusionOk="0">
                <a:moveTo>
                  <a:pt x="883" y="679"/>
                </a:moveTo>
                <a:cubicBezTo>
                  <a:pt x="1338" y="1175"/>
                  <a:pt x="1338" y="1175"/>
                  <a:pt x="1338" y="1175"/>
                </a:cubicBezTo>
                <a:cubicBezTo>
                  <a:pt x="883" y="1671"/>
                  <a:pt x="883" y="1671"/>
                  <a:pt x="883" y="1671"/>
                </a:cubicBezTo>
                <a:cubicBezTo>
                  <a:pt x="844" y="1710"/>
                  <a:pt x="844" y="1774"/>
                  <a:pt x="883" y="1813"/>
                </a:cubicBezTo>
                <a:cubicBezTo>
                  <a:pt x="922" y="1852"/>
                  <a:pt x="985" y="1852"/>
                  <a:pt x="1023" y="1813"/>
                </a:cubicBezTo>
                <a:cubicBezTo>
                  <a:pt x="1579" y="1246"/>
                  <a:pt x="1579" y="1246"/>
                  <a:pt x="1579" y="1246"/>
                </a:cubicBezTo>
                <a:cubicBezTo>
                  <a:pt x="1618" y="1207"/>
                  <a:pt x="1618" y="1143"/>
                  <a:pt x="1579" y="1104"/>
                </a:cubicBezTo>
                <a:cubicBezTo>
                  <a:pt x="1023" y="537"/>
                  <a:pt x="1023" y="537"/>
                  <a:pt x="1023" y="537"/>
                </a:cubicBezTo>
                <a:cubicBezTo>
                  <a:pt x="985" y="498"/>
                  <a:pt x="922" y="498"/>
                  <a:pt x="883" y="537"/>
                </a:cubicBezTo>
                <a:cubicBezTo>
                  <a:pt x="844" y="576"/>
                  <a:pt x="844" y="640"/>
                  <a:pt x="883" y="679"/>
                </a:cubicBezTo>
                <a:close/>
                <a:moveTo>
                  <a:pt x="0" y="1175"/>
                </a:move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lose/>
                <a:moveTo>
                  <a:pt x="2198" y="1175"/>
                </a:move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82850" tIns="91400" rIns="182850" bIns="914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17" name="Google Shape;17;p3">
            <a:hlinkClick r:id="" action="ppaction://hlinkshowjump?jump=previousslide"/>
          </p:cNvPr>
          <p:cNvSpPr/>
          <p:nvPr/>
        </p:nvSpPr>
        <p:spPr>
          <a:xfrm>
            <a:off x="16488195" y="9426633"/>
            <a:ext cx="282518" cy="282518"/>
          </a:xfrm>
          <a:custGeom>
            <a:avLst/>
            <a:gdLst/>
            <a:ahLst/>
            <a:cxnLst/>
            <a:rect l="l" t="t" r="r" b="b"/>
            <a:pathLst>
              <a:path w="2350" h="2350" extrusionOk="0">
                <a:moveTo>
                  <a:pt x="1467" y="1671"/>
                </a:moveTo>
                <a:cubicBezTo>
                  <a:pt x="1012" y="1175"/>
                  <a:pt x="1012" y="1175"/>
                  <a:pt x="1012" y="1175"/>
                </a:cubicBezTo>
                <a:cubicBezTo>
                  <a:pt x="1467" y="679"/>
                  <a:pt x="1467" y="679"/>
                  <a:pt x="1467" y="679"/>
                </a:cubicBezTo>
                <a:cubicBezTo>
                  <a:pt x="1506" y="640"/>
                  <a:pt x="1506" y="576"/>
                  <a:pt x="1467" y="537"/>
                </a:cubicBezTo>
                <a:cubicBezTo>
                  <a:pt x="1428" y="498"/>
                  <a:pt x="1365" y="498"/>
                  <a:pt x="1327" y="537"/>
                </a:cubicBezTo>
                <a:cubicBezTo>
                  <a:pt x="771" y="1104"/>
                  <a:pt x="771" y="1104"/>
                  <a:pt x="771" y="1104"/>
                </a:cubicBezTo>
                <a:cubicBezTo>
                  <a:pt x="732" y="1143"/>
                  <a:pt x="732" y="1207"/>
                  <a:pt x="771" y="1246"/>
                </a:cubicBezTo>
                <a:cubicBezTo>
                  <a:pt x="1327" y="1813"/>
                  <a:pt x="1327" y="1813"/>
                  <a:pt x="1327" y="1813"/>
                </a:cubicBezTo>
                <a:cubicBezTo>
                  <a:pt x="1365" y="1852"/>
                  <a:pt x="1428" y="1852"/>
                  <a:pt x="1467" y="1813"/>
                </a:cubicBezTo>
                <a:cubicBezTo>
                  <a:pt x="1506" y="1774"/>
                  <a:pt x="1506" y="1710"/>
                  <a:pt x="1467" y="1671"/>
                </a:cubicBezTo>
                <a:close/>
                <a:moveTo>
                  <a:pt x="2350" y="1175"/>
                </a:move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lose/>
                <a:moveTo>
                  <a:pt x="152" y="1175"/>
                </a:move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82850" tIns="91400" rIns="182850" bIns="914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61A773D-D72F-40ED-9BFA-8DA31EC260C1}"/>
              </a:ext>
            </a:extLst>
          </p:cNvPr>
          <p:cNvCxnSpPr>
            <a:cxnSpLocks/>
          </p:cNvCxnSpPr>
          <p:nvPr userDrawn="1"/>
        </p:nvCxnSpPr>
        <p:spPr>
          <a:xfrm>
            <a:off x="9288016" y="1255068"/>
            <a:ext cx="8280920" cy="0"/>
          </a:xfrm>
          <a:prstGeom prst="line">
            <a:avLst/>
          </a:prstGeom>
          <a:ln w="25400" cap="sq">
            <a:solidFill>
              <a:srgbClr val="281F76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  <p:sp>
        <p:nvSpPr>
          <p:cNvPr id="14" name="Google Shape;126;p28">
            <a:extLst>
              <a:ext uri="{FF2B5EF4-FFF2-40B4-BE49-F238E27FC236}">
                <a16:creationId xmlns:a16="http://schemas.microsoft.com/office/drawing/2014/main" id="{71CC7731-3CCD-447F-8329-A866E4CA95F6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-2382" y="0"/>
            <a:ext cx="9123755" cy="1028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buClr>
                <a:srgbClr val="D8D8D8"/>
              </a:buClr>
              <a:buSzPts val="4200"/>
              <a:buFont typeface="Arial"/>
              <a:buNone/>
              <a:defRPr sz="3150" b="0" i="0" u="none" strike="noStrike" cap="none">
                <a:solidFill>
                  <a:srgbClr val="D8D8D8"/>
                </a:solidFill>
                <a:latin typeface="Lato Light"/>
                <a:ea typeface="Lato Light"/>
                <a:cs typeface="Lato Light"/>
                <a:sym typeface="Lato Light"/>
              </a:defRPr>
            </a:lvl1pPr>
            <a:lvl2pPr marR="0" lvl="1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None/>
              <a:defRPr sz="30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2pPr>
            <a:lvl3pPr marR="0" lvl="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27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3pPr>
            <a:lvl4pPr marR="0" lvl="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4pPr>
            <a:lvl5pPr marR="0" lvl="4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5pPr>
            <a:lvl6pPr marR="0" lvl="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6pPr>
            <a:lvl7pPr marR="0" lvl="6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7pPr>
            <a:lvl8pPr marR="0" lvl="7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8pPr>
            <a:lvl9pPr marR="0" lvl="8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Lato Light"/>
                <a:ea typeface="Lato Light"/>
                <a:cs typeface="Lato Light"/>
                <a:sym typeface="Lato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478464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Title &amp; Content">
    <p:bg>
      <p:bgPr>
        <a:solidFill>
          <a:srgbClr val="F2F2F7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7" y="344533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9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92" marR="0" lvl="1" indent="-68583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337" marR="0" lvl="2" indent="-64773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783" marR="0" lvl="3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228" marR="0" lvl="4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675" marR="0" lvl="5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1120" marR="0" lvl="6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566" marR="0" lvl="7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30011" marR="0" lvl="8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7" y="1391894"/>
            <a:ext cx="16921880" cy="5832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45" marR="0" lvl="0" indent="-457223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92" marR="0" lvl="1" indent="-68583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337" marR="0" lvl="2" indent="-64773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783" marR="0" lvl="3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228" marR="0" lvl="4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675" marR="0" lvl="5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1120" marR="0" lvl="6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566" marR="0" lvl="7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30011" marR="0" lvl="8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6" y="9054899"/>
            <a:ext cx="2054024" cy="1025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762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7" y="344533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9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92" marR="0" lvl="1" indent="-68583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337" marR="0" lvl="2" indent="-64773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783" marR="0" lvl="3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228" marR="0" lvl="4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675" marR="0" lvl="5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1120" marR="0" lvl="6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566" marR="0" lvl="7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30011" marR="0" lvl="8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7" y="1391894"/>
            <a:ext cx="7200800" cy="583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45" marR="0" lvl="0" indent="-457223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92" marR="0" lvl="1" indent="-68583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337" marR="0" lvl="2" indent="-64773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783" marR="0" lvl="3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228" marR="0" lvl="4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675" marR="0" lvl="5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1120" marR="0" lvl="6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566" marR="0" lvl="7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30011" marR="0" lvl="8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5" name="Google Shape;15;p3"/>
          <p:cNvSpPr txBox="1"/>
          <p:nvPr/>
        </p:nvSpPr>
        <p:spPr>
          <a:xfrm>
            <a:off x="15878846" y="9445683"/>
            <a:ext cx="413987" cy="2462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601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601" b="0" i="0" u="none" strike="noStrike" cap="none">
              <a:solidFill>
                <a:schemeClr val="accent4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16" name="Google Shape;16;p3">
            <a:hlinkClick r:id="" action="ppaction://hlinkshowjump?jump=nextslide"/>
          </p:cNvPr>
          <p:cNvSpPr/>
          <p:nvPr/>
        </p:nvSpPr>
        <p:spPr>
          <a:xfrm>
            <a:off x="16814858" y="9426634"/>
            <a:ext cx="282518" cy="282518"/>
          </a:xfrm>
          <a:custGeom>
            <a:avLst/>
            <a:gdLst/>
            <a:ahLst/>
            <a:cxnLst/>
            <a:rect l="l" t="t" r="r" b="b"/>
            <a:pathLst>
              <a:path w="2350" h="2350" extrusionOk="0">
                <a:moveTo>
                  <a:pt x="883" y="679"/>
                </a:moveTo>
                <a:cubicBezTo>
                  <a:pt x="1338" y="1175"/>
                  <a:pt x="1338" y="1175"/>
                  <a:pt x="1338" y="1175"/>
                </a:cubicBezTo>
                <a:cubicBezTo>
                  <a:pt x="883" y="1671"/>
                  <a:pt x="883" y="1671"/>
                  <a:pt x="883" y="1671"/>
                </a:cubicBezTo>
                <a:cubicBezTo>
                  <a:pt x="844" y="1710"/>
                  <a:pt x="844" y="1774"/>
                  <a:pt x="883" y="1813"/>
                </a:cubicBezTo>
                <a:cubicBezTo>
                  <a:pt x="922" y="1852"/>
                  <a:pt x="985" y="1852"/>
                  <a:pt x="1023" y="1813"/>
                </a:cubicBezTo>
                <a:cubicBezTo>
                  <a:pt x="1579" y="1246"/>
                  <a:pt x="1579" y="1246"/>
                  <a:pt x="1579" y="1246"/>
                </a:cubicBezTo>
                <a:cubicBezTo>
                  <a:pt x="1618" y="1207"/>
                  <a:pt x="1618" y="1143"/>
                  <a:pt x="1579" y="1104"/>
                </a:cubicBezTo>
                <a:cubicBezTo>
                  <a:pt x="1023" y="537"/>
                  <a:pt x="1023" y="537"/>
                  <a:pt x="1023" y="537"/>
                </a:cubicBezTo>
                <a:cubicBezTo>
                  <a:pt x="985" y="498"/>
                  <a:pt x="922" y="498"/>
                  <a:pt x="883" y="537"/>
                </a:cubicBezTo>
                <a:cubicBezTo>
                  <a:pt x="844" y="576"/>
                  <a:pt x="844" y="640"/>
                  <a:pt x="883" y="679"/>
                </a:cubicBezTo>
                <a:close/>
                <a:moveTo>
                  <a:pt x="0" y="1175"/>
                </a:move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lose/>
                <a:moveTo>
                  <a:pt x="2198" y="1175"/>
                </a:move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82850" tIns="91400" rIns="182850" bIns="914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17" name="Google Shape;17;p3">
            <a:hlinkClick r:id="" action="ppaction://hlinkshowjump?jump=previousslide"/>
          </p:cNvPr>
          <p:cNvSpPr/>
          <p:nvPr/>
        </p:nvSpPr>
        <p:spPr>
          <a:xfrm>
            <a:off x="16488196" y="9426634"/>
            <a:ext cx="282518" cy="282518"/>
          </a:xfrm>
          <a:custGeom>
            <a:avLst/>
            <a:gdLst/>
            <a:ahLst/>
            <a:cxnLst/>
            <a:rect l="l" t="t" r="r" b="b"/>
            <a:pathLst>
              <a:path w="2350" h="2350" extrusionOk="0">
                <a:moveTo>
                  <a:pt x="1467" y="1671"/>
                </a:moveTo>
                <a:cubicBezTo>
                  <a:pt x="1012" y="1175"/>
                  <a:pt x="1012" y="1175"/>
                  <a:pt x="1012" y="1175"/>
                </a:cubicBezTo>
                <a:cubicBezTo>
                  <a:pt x="1467" y="679"/>
                  <a:pt x="1467" y="679"/>
                  <a:pt x="1467" y="679"/>
                </a:cubicBezTo>
                <a:cubicBezTo>
                  <a:pt x="1506" y="640"/>
                  <a:pt x="1506" y="576"/>
                  <a:pt x="1467" y="537"/>
                </a:cubicBezTo>
                <a:cubicBezTo>
                  <a:pt x="1428" y="498"/>
                  <a:pt x="1365" y="498"/>
                  <a:pt x="1327" y="537"/>
                </a:cubicBezTo>
                <a:cubicBezTo>
                  <a:pt x="771" y="1104"/>
                  <a:pt x="771" y="1104"/>
                  <a:pt x="771" y="1104"/>
                </a:cubicBezTo>
                <a:cubicBezTo>
                  <a:pt x="732" y="1143"/>
                  <a:pt x="732" y="1207"/>
                  <a:pt x="771" y="1246"/>
                </a:cubicBezTo>
                <a:cubicBezTo>
                  <a:pt x="1327" y="1813"/>
                  <a:pt x="1327" y="1813"/>
                  <a:pt x="1327" y="1813"/>
                </a:cubicBezTo>
                <a:cubicBezTo>
                  <a:pt x="1365" y="1852"/>
                  <a:pt x="1428" y="1852"/>
                  <a:pt x="1467" y="1813"/>
                </a:cubicBezTo>
                <a:cubicBezTo>
                  <a:pt x="1506" y="1774"/>
                  <a:pt x="1506" y="1710"/>
                  <a:pt x="1467" y="1671"/>
                </a:cubicBezTo>
                <a:close/>
                <a:moveTo>
                  <a:pt x="2350" y="1175"/>
                </a:move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lose/>
                <a:moveTo>
                  <a:pt x="152" y="1175"/>
                </a:move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82850" tIns="91400" rIns="182850" bIns="914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61A773D-D72F-40ED-9BFA-8DA31EC260C1}"/>
              </a:ext>
            </a:extLst>
          </p:cNvPr>
          <p:cNvCxnSpPr>
            <a:cxnSpLocks/>
          </p:cNvCxnSpPr>
          <p:nvPr userDrawn="1"/>
        </p:nvCxnSpPr>
        <p:spPr>
          <a:xfrm>
            <a:off x="647057" y="1255068"/>
            <a:ext cx="16921880" cy="0"/>
          </a:xfrm>
          <a:prstGeom prst="line">
            <a:avLst/>
          </a:prstGeom>
          <a:ln w="25400" cap="sq">
            <a:solidFill>
              <a:srgbClr val="281F76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6" y="9054899"/>
            <a:ext cx="2054024" cy="1025987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0AA0D64-9D05-4FAB-915C-1C4B8E9FA7E4}"/>
              </a:ext>
            </a:extLst>
          </p:cNvPr>
          <p:cNvCxnSpPr/>
          <p:nvPr userDrawn="1"/>
        </p:nvCxnSpPr>
        <p:spPr>
          <a:xfrm>
            <a:off x="9144001" y="1548701"/>
            <a:ext cx="72008" cy="8393769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Google Shape;13;p3">
            <a:extLst>
              <a:ext uri="{FF2B5EF4-FFF2-40B4-BE49-F238E27FC236}">
                <a16:creationId xmlns:a16="http://schemas.microsoft.com/office/drawing/2014/main" id="{4D4419B1-67D7-4EEE-A517-CC197D7E6D86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9896576" y="1391894"/>
            <a:ext cx="7200800" cy="583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45" marR="0" lvl="0" indent="-457223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92" marR="0" lvl="1" indent="-68583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337" marR="0" lvl="2" indent="-647733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783" marR="0" lvl="3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228" marR="0" lvl="4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675" marR="0" lvl="5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1120" marR="0" lvl="6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566" marR="0" lvl="7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30011" marR="0" lvl="8" indent="-62868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42597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G-SLIDE OP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757580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" userDrawn="1">
  <p:cSld name="Full Image">
    <p:bg>
      <p:bgPr>
        <a:solidFill>
          <a:srgbClr val="F2F2F7"/>
        </a:solidFill>
        <a:effectLst/>
      </p:bgPr>
    </p:bg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&#10;&#10;Description automatically generated with medium confidence">
            <a:extLst>
              <a:ext uri="{FF2B5EF4-FFF2-40B4-BE49-F238E27FC236}">
                <a16:creationId xmlns:a16="http://schemas.microsoft.com/office/drawing/2014/main" id="{FB0887B9-4E2E-440E-A5AE-69FC8690A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6" y="9054899"/>
            <a:ext cx="2054024" cy="1025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360296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705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 defTabSz="1371669">
              <a:defRPr/>
            </a:pPr>
            <a:endParaRPr lang="en-US" dirty="0">
              <a:solidFill>
                <a:srgbClr val="0A091B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 defTabSz="1371669">
              <a:defRPr/>
            </a:pPr>
            <a:endParaRPr lang="en-US" dirty="0">
              <a:solidFill>
                <a:srgbClr val="0A091B"/>
              </a:solidFill>
            </a:endParaRP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539536C8-354C-4A28-A900-89021E95E7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4000" y="612003"/>
            <a:ext cx="7670400" cy="559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uk-UA" sz="3375" b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3194008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1894"/>
            <a:ext cx="16921880" cy="5832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333681"/>
            <a:ext cx="1495902" cy="747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77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G-SLIDE OP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460931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1" i="0" u="none" strike="noStrike" cap="none">
                <a:solidFill>
                  <a:srgbClr val="281F76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1894"/>
            <a:ext cx="16921880" cy="5832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908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userDrawn="1">
  <p:cSld name="1_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1894"/>
            <a:ext cx="7200800" cy="583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61A773D-D72F-40ED-9BFA-8DA31EC260C1}"/>
              </a:ext>
            </a:extLst>
          </p:cNvPr>
          <p:cNvCxnSpPr>
            <a:cxnSpLocks/>
          </p:cNvCxnSpPr>
          <p:nvPr userDrawn="1"/>
        </p:nvCxnSpPr>
        <p:spPr>
          <a:xfrm>
            <a:off x="647056" y="1255068"/>
            <a:ext cx="16921880" cy="0"/>
          </a:xfrm>
          <a:prstGeom prst="line">
            <a:avLst/>
          </a:prstGeom>
          <a:ln w="25400" cap="sq">
            <a:solidFill>
              <a:srgbClr val="281F76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0AA0D64-9D05-4FAB-915C-1C4B8E9FA7E4}"/>
              </a:ext>
            </a:extLst>
          </p:cNvPr>
          <p:cNvCxnSpPr/>
          <p:nvPr userDrawn="1"/>
        </p:nvCxnSpPr>
        <p:spPr>
          <a:xfrm>
            <a:off x="9144000" y="1548700"/>
            <a:ext cx="72008" cy="8393769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Google Shape;13;p3">
            <a:extLst>
              <a:ext uri="{FF2B5EF4-FFF2-40B4-BE49-F238E27FC236}">
                <a16:creationId xmlns:a16="http://schemas.microsoft.com/office/drawing/2014/main" id="{4D4419B1-67D7-4EEE-A517-CC197D7E6D86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9896575" y="1391894"/>
            <a:ext cx="7200800" cy="583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07315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1894"/>
            <a:ext cx="7200800" cy="583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5" name="Google Shape;15;p3"/>
          <p:cNvSpPr txBox="1"/>
          <p:nvPr/>
        </p:nvSpPr>
        <p:spPr>
          <a:xfrm>
            <a:off x="15878845" y="9445683"/>
            <a:ext cx="413986" cy="2462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6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600" b="0" i="0" u="none" strike="noStrike" cap="none">
              <a:solidFill>
                <a:schemeClr val="accent4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16" name="Google Shape;16;p3">
            <a:hlinkClick r:id="" action="ppaction://hlinkshowjump?jump=nextslide"/>
          </p:cNvPr>
          <p:cNvSpPr/>
          <p:nvPr/>
        </p:nvSpPr>
        <p:spPr>
          <a:xfrm>
            <a:off x="16814857" y="9426633"/>
            <a:ext cx="282518" cy="282518"/>
          </a:xfrm>
          <a:custGeom>
            <a:avLst/>
            <a:gdLst/>
            <a:ahLst/>
            <a:cxnLst/>
            <a:rect l="l" t="t" r="r" b="b"/>
            <a:pathLst>
              <a:path w="2350" h="2350" extrusionOk="0">
                <a:moveTo>
                  <a:pt x="883" y="679"/>
                </a:moveTo>
                <a:cubicBezTo>
                  <a:pt x="1338" y="1175"/>
                  <a:pt x="1338" y="1175"/>
                  <a:pt x="1338" y="1175"/>
                </a:cubicBezTo>
                <a:cubicBezTo>
                  <a:pt x="883" y="1671"/>
                  <a:pt x="883" y="1671"/>
                  <a:pt x="883" y="1671"/>
                </a:cubicBezTo>
                <a:cubicBezTo>
                  <a:pt x="844" y="1710"/>
                  <a:pt x="844" y="1774"/>
                  <a:pt x="883" y="1813"/>
                </a:cubicBezTo>
                <a:cubicBezTo>
                  <a:pt x="922" y="1852"/>
                  <a:pt x="985" y="1852"/>
                  <a:pt x="1023" y="1813"/>
                </a:cubicBezTo>
                <a:cubicBezTo>
                  <a:pt x="1579" y="1246"/>
                  <a:pt x="1579" y="1246"/>
                  <a:pt x="1579" y="1246"/>
                </a:cubicBezTo>
                <a:cubicBezTo>
                  <a:pt x="1618" y="1207"/>
                  <a:pt x="1618" y="1143"/>
                  <a:pt x="1579" y="1104"/>
                </a:cubicBezTo>
                <a:cubicBezTo>
                  <a:pt x="1023" y="537"/>
                  <a:pt x="1023" y="537"/>
                  <a:pt x="1023" y="537"/>
                </a:cubicBezTo>
                <a:cubicBezTo>
                  <a:pt x="985" y="498"/>
                  <a:pt x="922" y="498"/>
                  <a:pt x="883" y="537"/>
                </a:cubicBezTo>
                <a:cubicBezTo>
                  <a:pt x="844" y="576"/>
                  <a:pt x="844" y="640"/>
                  <a:pt x="883" y="679"/>
                </a:cubicBezTo>
                <a:close/>
                <a:moveTo>
                  <a:pt x="0" y="1175"/>
                </a:move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lose/>
                <a:moveTo>
                  <a:pt x="2198" y="1175"/>
                </a:move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82850" tIns="91400" rIns="182850" bIns="914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17" name="Google Shape;17;p3">
            <a:hlinkClick r:id="" action="ppaction://hlinkshowjump?jump=previousslide"/>
          </p:cNvPr>
          <p:cNvSpPr/>
          <p:nvPr/>
        </p:nvSpPr>
        <p:spPr>
          <a:xfrm>
            <a:off x="16488195" y="9426633"/>
            <a:ext cx="282518" cy="282518"/>
          </a:xfrm>
          <a:custGeom>
            <a:avLst/>
            <a:gdLst/>
            <a:ahLst/>
            <a:cxnLst/>
            <a:rect l="l" t="t" r="r" b="b"/>
            <a:pathLst>
              <a:path w="2350" h="2350" extrusionOk="0">
                <a:moveTo>
                  <a:pt x="1467" y="1671"/>
                </a:moveTo>
                <a:cubicBezTo>
                  <a:pt x="1012" y="1175"/>
                  <a:pt x="1012" y="1175"/>
                  <a:pt x="1012" y="1175"/>
                </a:cubicBezTo>
                <a:cubicBezTo>
                  <a:pt x="1467" y="679"/>
                  <a:pt x="1467" y="679"/>
                  <a:pt x="1467" y="679"/>
                </a:cubicBezTo>
                <a:cubicBezTo>
                  <a:pt x="1506" y="640"/>
                  <a:pt x="1506" y="576"/>
                  <a:pt x="1467" y="537"/>
                </a:cubicBezTo>
                <a:cubicBezTo>
                  <a:pt x="1428" y="498"/>
                  <a:pt x="1365" y="498"/>
                  <a:pt x="1327" y="537"/>
                </a:cubicBezTo>
                <a:cubicBezTo>
                  <a:pt x="771" y="1104"/>
                  <a:pt x="771" y="1104"/>
                  <a:pt x="771" y="1104"/>
                </a:cubicBezTo>
                <a:cubicBezTo>
                  <a:pt x="732" y="1143"/>
                  <a:pt x="732" y="1207"/>
                  <a:pt x="771" y="1246"/>
                </a:cubicBezTo>
                <a:cubicBezTo>
                  <a:pt x="1327" y="1813"/>
                  <a:pt x="1327" y="1813"/>
                  <a:pt x="1327" y="1813"/>
                </a:cubicBezTo>
                <a:cubicBezTo>
                  <a:pt x="1365" y="1852"/>
                  <a:pt x="1428" y="1852"/>
                  <a:pt x="1467" y="1813"/>
                </a:cubicBezTo>
                <a:cubicBezTo>
                  <a:pt x="1506" y="1774"/>
                  <a:pt x="1506" y="1710"/>
                  <a:pt x="1467" y="1671"/>
                </a:cubicBezTo>
                <a:close/>
                <a:moveTo>
                  <a:pt x="2350" y="1175"/>
                </a:move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lose/>
                <a:moveTo>
                  <a:pt x="152" y="1175"/>
                </a:move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82850" tIns="91400" rIns="182850" bIns="914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61A773D-D72F-40ED-9BFA-8DA31EC260C1}"/>
              </a:ext>
            </a:extLst>
          </p:cNvPr>
          <p:cNvCxnSpPr>
            <a:cxnSpLocks/>
          </p:cNvCxnSpPr>
          <p:nvPr userDrawn="1"/>
        </p:nvCxnSpPr>
        <p:spPr>
          <a:xfrm>
            <a:off x="647056" y="1255068"/>
            <a:ext cx="16921880" cy="0"/>
          </a:xfrm>
          <a:prstGeom prst="line">
            <a:avLst/>
          </a:prstGeom>
          <a:ln w="25400" cap="sq">
            <a:solidFill>
              <a:srgbClr val="281F76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0AA0D64-9D05-4FAB-915C-1C4B8E9FA7E4}"/>
              </a:ext>
            </a:extLst>
          </p:cNvPr>
          <p:cNvCxnSpPr/>
          <p:nvPr userDrawn="1"/>
        </p:nvCxnSpPr>
        <p:spPr>
          <a:xfrm>
            <a:off x="9144000" y="1548700"/>
            <a:ext cx="72008" cy="8393769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Google Shape;13;p3">
            <a:extLst>
              <a:ext uri="{FF2B5EF4-FFF2-40B4-BE49-F238E27FC236}">
                <a16:creationId xmlns:a16="http://schemas.microsoft.com/office/drawing/2014/main" id="{4D4419B1-67D7-4EEE-A517-CC197D7E6D86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9896575" y="1391894"/>
            <a:ext cx="7200800" cy="583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688541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G-SLIDE OP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042114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" userDrawn="1">
  <p:cSld name="Full Image">
    <p:bg>
      <p:bgPr>
        <a:solidFill>
          <a:srgbClr val="F2F2F7"/>
        </a:solidFill>
        <a:effectLst/>
      </p:bgPr>
    </p:bg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&#10;&#10;Description automatically generated with medium confidence">
            <a:extLst>
              <a:ext uri="{FF2B5EF4-FFF2-40B4-BE49-F238E27FC236}">
                <a16:creationId xmlns:a16="http://schemas.microsoft.com/office/drawing/2014/main" id="{FB0887B9-4E2E-440E-A5AE-69FC8690A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9613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4652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Title &amp; Content">
    <p:bg>
      <p:bgPr>
        <a:solidFill>
          <a:srgbClr val="F2F2F7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1894"/>
            <a:ext cx="16921880" cy="5832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6647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"/>
          <p:cNvSpPr txBox="1"/>
          <p:nvPr/>
        </p:nvSpPr>
        <p:spPr>
          <a:xfrm>
            <a:off x="15878845" y="9445683"/>
            <a:ext cx="413986" cy="2462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6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600" b="0" i="0" u="none" strike="noStrike" cap="none">
              <a:solidFill>
                <a:schemeClr val="accent4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16" name="Google Shape;16;p3">
            <a:hlinkClick r:id="" action="ppaction://hlinkshowjump?jump=nextslide"/>
          </p:cNvPr>
          <p:cNvSpPr/>
          <p:nvPr/>
        </p:nvSpPr>
        <p:spPr>
          <a:xfrm>
            <a:off x="16814857" y="9426633"/>
            <a:ext cx="282518" cy="282518"/>
          </a:xfrm>
          <a:custGeom>
            <a:avLst/>
            <a:gdLst/>
            <a:ahLst/>
            <a:cxnLst/>
            <a:rect l="l" t="t" r="r" b="b"/>
            <a:pathLst>
              <a:path w="2350" h="2350" extrusionOk="0">
                <a:moveTo>
                  <a:pt x="883" y="679"/>
                </a:moveTo>
                <a:cubicBezTo>
                  <a:pt x="1338" y="1175"/>
                  <a:pt x="1338" y="1175"/>
                  <a:pt x="1338" y="1175"/>
                </a:cubicBezTo>
                <a:cubicBezTo>
                  <a:pt x="883" y="1671"/>
                  <a:pt x="883" y="1671"/>
                  <a:pt x="883" y="1671"/>
                </a:cubicBezTo>
                <a:cubicBezTo>
                  <a:pt x="844" y="1710"/>
                  <a:pt x="844" y="1774"/>
                  <a:pt x="883" y="1813"/>
                </a:cubicBezTo>
                <a:cubicBezTo>
                  <a:pt x="922" y="1852"/>
                  <a:pt x="985" y="1852"/>
                  <a:pt x="1023" y="1813"/>
                </a:cubicBezTo>
                <a:cubicBezTo>
                  <a:pt x="1579" y="1246"/>
                  <a:pt x="1579" y="1246"/>
                  <a:pt x="1579" y="1246"/>
                </a:cubicBezTo>
                <a:cubicBezTo>
                  <a:pt x="1618" y="1207"/>
                  <a:pt x="1618" y="1143"/>
                  <a:pt x="1579" y="1104"/>
                </a:cubicBezTo>
                <a:cubicBezTo>
                  <a:pt x="1023" y="537"/>
                  <a:pt x="1023" y="537"/>
                  <a:pt x="1023" y="537"/>
                </a:cubicBezTo>
                <a:cubicBezTo>
                  <a:pt x="985" y="498"/>
                  <a:pt x="922" y="498"/>
                  <a:pt x="883" y="537"/>
                </a:cubicBezTo>
                <a:cubicBezTo>
                  <a:pt x="844" y="576"/>
                  <a:pt x="844" y="640"/>
                  <a:pt x="883" y="679"/>
                </a:cubicBezTo>
                <a:close/>
                <a:moveTo>
                  <a:pt x="0" y="1175"/>
                </a:move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lose/>
                <a:moveTo>
                  <a:pt x="2198" y="1175"/>
                </a:move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82850" tIns="91400" rIns="182850" bIns="914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17" name="Google Shape;17;p3">
            <a:hlinkClick r:id="" action="ppaction://hlinkshowjump?jump=previousslide"/>
          </p:cNvPr>
          <p:cNvSpPr/>
          <p:nvPr/>
        </p:nvSpPr>
        <p:spPr>
          <a:xfrm>
            <a:off x="16488195" y="9426633"/>
            <a:ext cx="282518" cy="282518"/>
          </a:xfrm>
          <a:custGeom>
            <a:avLst/>
            <a:gdLst/>
            <a:ahLst/>
            <a:cxnLst/>
            <a:rect l="l" t="t" r="r" b="b"/>
            <a:pathLst>
              <a:path w="2350" h="2350" extrusionOk="0">
                <a:moveTo>
                  <a:pt x="1467" y="1671"/>
                </a:moveTo>
                <a:cubicBezTo>
                  <a:pt x="1012" y="1175"/>
                  <a:pt x="1012" y="1175"/>
                  <a:pt x="1012" y="1175"/>
                </a:cubicBezTo>
                <a:cubicBezTo>
                  <a:pt x="1467" y="679"/>
                  <a:pt x="1467" y="679"/>
                  <a:pt x="1467" y="679"/>
                </a:cubicBezTo>
                <a:cubicBezTo>
                  <a:pt x="1506" y="640"/>
                  <a:pt x="1506" y="576"/>
                  <a:pt x="1467" y="537"/>
                </a:cubicBezTo>
                <a:cubicBezTo>
                  <a:pt x="1428" y="498"/>
                  <a:pt x="1365" y="498"/>
                  <a:pt x="1327" y="537"/>
                </a:cubicBezTo>
                <a:cubicBezTo>
                  <a:pt x="771" y="1104"/>
                  <a:pt x="771" y="1104"/>
                  <a:pt x="771" y="1104"/>
                </a:cubicBezTo>
                <a:cubicBezTo>
                  <a:pt x="732" y="1143"/>
                  <a:pt x="732" y="1207"/>
                  <a:pt x="771" y="1246"/>
                </a:cubicBezTo>
                <a:cubicBezTo>
                  <a:pt x="1327" y="1813"/>
                  <a:pt x="1327" y="1813"/>
                  <a:pt x="1327" y="1813"/>
                </a:cubicBezTo>
                <a:cubicBezTo>
                  <a:pt x="1365" y="1852"/>
                  <a:pt x="1428" y="1852"/>
                  <a:pt x="1467" y="1813"/>
                </a:cubicBezTo>
                <a:cubicBezTo>
                  <a:pt x="1506" y="1774"/>
                  <a:pt x="1506" y="1710"/>
                  <a:pt x="1467" y="1671"/>
                </a:cubicBezTo>
                <a:close/>
                <a:moveTo>
                  <a:pt x="2350" y="1175"/>
                </a:move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lose/>
                <a:moveTo>
                  <a:pt x="152" y="1175"/>
                </a:move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82850" tIns="91400" rIns="182850" bIns="914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219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G-SLIDE OP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271687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" userDrawn="1">
  <p:cSld name="Full Image">
    <p:bg>
      <p:bgPr>
        <a:solidFill>
          <a:srgbClr val="F2F2F7"/>
        </a:solidFill>
        <a:effectLst/>
      </p:bgPr>
    </p:bg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&#10;&#10;Description automatically generated with medium confidence">
            <a:extLst>
              <a:ext uri="{FF2B5EF4-FFF2-40B4-BE49-F238E27FC236}">
                <a16:creationId xmlns:a16="http://schemas.microsoft.com/office/drawing/2014/main" id="{FB0887B9-4E2E-440E-A5AE-69FC8690A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76511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8820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8800" b="1" i="0">
                <a:solidFill>
                  <a:srgbClr val="281F7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rgbClr val="001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749273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9086"/>
            <a:ext cx="16957884" cy="5803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9889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8288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18288000" y="0"/>
                </a:moveTo>
                <a:lnTo>
                  <a:pt x="0" y="0"/>
                </a:lnTo>
                <a:lnTo>
                  <a:pt x="0" y="10287000"/>
                </a:lnTo>
                <a:lnTo>
                  <a:pt x="18288000" y="10287000"/>
                </a:lnTo>
                <a:lnTo>
                  <a:pt x="18288000" y="0"/>
                </a:lnTo>
                <a:close/>
              </a:path>
            </a:pathLst>
          </a:custGeom>
          <a:solidFill>
            <a:srgbClr val="F1F1F7"/>
          </a:solidFill>
        </p:spPr>
        <p:txBody>
          <a:bodyPr wrap="square" lIns="0" tIns="0" rIns="0" bIns="0" rtlCol="0"/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700" b="0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7" name="bg object 1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359663" y="9055607"/>
            <a:ext cx="2052827" cy="1025652"/>
          </a:xfrm>
          <a:prstGeom prst="rect">
            <a:avLst/>
          </a:prstGeom>
        </p:spPr>
      </p:pic>
      <p:sp>
        <p:nvSpPr>
          <p:cNvPr id="18" name="bg object 18"/>
          <p:cNvSpPr/>
          <p:nvPr/>
        </p:nvSpPr>
        <p:spPr>
          <a:xfrm>
            <a:off x="13273278" y="9582911"/>
            <a:ext cx="5015230" cy="38100"/>
          </a:xfrm>
          <a:custGeom>
            <a:avLst/>
            <a:gdLst/>
            <a:ahLst/>
            <a:cxnLst/>
            <a:rect l="l" t="t" r="r" b="b"/>
            <a:pathLst>
              <a:path w="5015230" h="38100">
                <a:moveTo>
                  <a:pt x="0" y="38100"/>
                </a:moveTo>
                <a:lnTo>
                  <a:pt x="5014720" y="38100"/>
                </a:lnTo>
                <a:lnTo>
                  <a:pt x="5014720" y="0"/>
                </a:lnTo>
                <a:lnTo>
                  <a:pt x="0" y="0"/>
                </a:lnTo>
                <a:lnTo>
                  <a:pt x="0" y="381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700" b="0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10312145" y="1686305"/>
            <a:ext cx="901065" cy="990600"/>
          </a:xfrm>
          <a:custGeom>
            <a:avLst/>
            <a:gdLst/>
            <a:ahLst/>
            <a:cxnLst/>
            <a:rect l="l" t="t" r="r" b="b"/>
            <a:pathLst>
              <a:path w="901065" h="990600">
                <a:moveTo>
                  <a:pt x="450342" y="0"/>
                </a:moveTo>
                <a:lnTo>
                  <a:pt x="404305" y="2557"/>
                </a:lnTo>
                <a:lnTo>
                  <a:pt x="359597" y="10062"/>
                </a:lnTo>
                <a:lnTo>
                  <a:pt x="316443" y="22266"/>
                </a:lnTo>
                <a:lnTo>
                  <a:pt x="275070" y="38921"/>
                </a:lnTo>
                <a:lnTo>
                  <a:pt x="235704" y="59777"/>
                </a:lnTo>
                <a:lnTo>
                  <a:pt x="198573" y="84586"/>
                </a:lnTo>
                <a:lnTo>
                  <a:pt x="163903" y="113098"/>
                </a:lnTo>
                <a:lnTo>
                  <a:pt x="131921" y="145065"/>
                </a:lnTo>
                <a:lnTo>
                  <a:pt x="102852" y="180238"/>
                </a:lnTo>
                <a:lnTo>
                  <a:pt x="76924" y="218368"/>
                </a:lnTo>
                <a:lnTo>
                  <a:pt x="54364" y="259205"/>
                </a:lnTo>
                <a:lnTo>
                  <a:pt x="35397" y="302502"/>
                </a:lnTo>
                <a:lnTo>
                  <a:pt x="20250" y="348008"/>
                </a:lnTo>
                <a:lnTo>
                  <a:pt x="9151" y="395476"/>
                </a:lnTo>
                <a:lnTo>
                  <a:pt x="2325" y="444656"/>
                </a:lnTo>
                <a:lnTo>
                  <a:pt x="0" y="495300"/>
                </a:lnTo>
                <a:lnTo>
                  <a:pt x="2325" y="545943"/>
                </a:lnTo>
                <a:lnTo>
                  <a:pt x="9151" y="595123"/>
                </a:lnTo>
                <a:lnTo>
                  <a:pt x="20250" y="642591"/>
                </a:lnTo>
                <a:lnTo>
                  <a:pt x="35397" y="688097"/>
                </a:lnTo>
                <a:lnTo>
                  <a:pt x="54364" y="731394"/>
                </a:lnTo>
                <a:lnTo>
                  <a:pt x="76924" y="772231"/>
                </a:lnTo>
                <a:lnTo>
                  <a:pt x="102852" y="810361"/>
                </a:lnTo>
                <a:lnTo>
                  <a:pt x="131921" y="845534"/>
                </a:lnTo>
                <a:lnTo>
                  <a:pt x="163903" y="877501"/>
                </a:lnTo>
                <a:lnTo>
                  <a:pt x="198573" y="906013"/>
                </a:lnTo>
                <a:lnTo>
                  <a:pt x="235704" y="930822"/>
                </a:lnTo>
                <a:lnTo>
                  <a:pt x="275070" y="951678"/>
                </a:lnTo>
                <a:lnTo>
                  <a:pt x="316443" y="968333"/>
                </a:lnTo>
                <a:lnTo>
                  <a:pt x="359597" y="980537"/>
                </a:lnTo>
                <a:lnTo>
                  <a:pt x="404305" y="988042"/>
                </a:lnTo>
                <a:lnTo>
                  <a:pt x="450342" y="990600"/>
                </a:lnTo>
                <a:lnTo>
                  <a:pt x="496378" y="988042"/>
                </a:lnTo>
                <a:lnTo>
                  <a:pt x="541086" y="980537"/>
                </a:lnTo>
                <a:lnTo>
                  <a:pt x="584240" y="968333"/>
                </a:lnTo>
                <a:lnTo>
                  <a:pt x="625613" y="951678"/>
                </a:lnTo>
                <a:lnTo>
                  <a:pt x="664979" y="930822"/>
                </a:lnTo>
                <a:lnTo>
                  <a:pt x="702110" y="906013"/>
                </a:lnTo>
                <a:lnTo>
                  <a:pt x="736780" y="877501"/>
                </a:lnTo>
                <a:lnTo>
                  <a:pt x="768762" y="845534"/>
                </a:lnTo>
                <a:lnTo>
                  <a:pt x="797831" y="810361"/>
                </a:lnTo>
                <a:lnTo>
                  <a:pt x="823759" y="772231"/>
                </a:lnTo>
                <a:lnTo>
                  <a:pt x="846319" y="731394"/>
                </a:lnTo>
                <a:lnTo>
                  <a:pt x="865286" y="688097"/>
                </a:lnTo>
                <a:lnTo>
                  <a:pt x="880433" y="642591"/>
                </a:lnTo>
                <a:lnTo>
                  <a:pt x="891532" y="595123"/>
                </a:lnTo>
                <a:lnTo>
                  <a:pt x="898358" y="545943"/>
                </a:lnTo>
                <a:lnTo>
                  <a:pt x="900683" y="495300"/>
                </a:lnTo>
                <a:lnTo>
                  <a:pt x="898358" y="444656"/>
                </a:lnTo>
                <a:lnTo>
                  <a:pt x="891532" y="395476"/>
                </a:lnTo>
                <a:lnTo>
                  <a:pt x="880433" y="348008"/>
                </a:lnTo>
                <a:lnTo>
                  <a:pt x="865286" y="302502"/>
                </a:lnTo>
                <a:lnTo>
                  <a:pt x="846319" y="259205"/>
                </a:lnTo>
                <a:lnTo>
                  <a:pt x="823759" y="218368"/>
                </a:lnTo>
                <a:lnTo>
                  <a:pt x="797831" y="180238"/>
                </a:lnTo>
                <a:lnTo>
                  <a:pt x="768762" y="145065"/>
                </a:lnTo>
                <a:lnTo>
                  <a:pt x="736780" y="113098"/>
                </a:lnTo>
                <a:lnTo>
                  <a:pt x="702110" y="84586"/>
                </a:lnTo>
                <a:lnTo>
                  <a:pt x="664979" y="59777"/>
                </a:lnTo>
                <a:lnTo>
                  <a:pt x="625613" y="38921"/>
                </a:lnTo>
                <a:lnTo>
                  <a:pt x="584240" y="22266"/>
                </a:lnTo>
                <a:lnTo>
                  <a:pt x="541086" y="10062"/>
                </a:lnTo>
                <a:lnTo>
                  <a:pt x="496378" y="2557"/>
                </a:lnTo>
                <a:lnTo>
                  <a:pt x="450342" y="0"/>
                </a:lnTo>
                <a:close/>
              </a:path>
            </a:pathLst>
          </a:custGeom>
          <a:solidFill>
            <a:srgbClr val="233146"/>
          </a:solidFill>
        </p:spPr>
        <p:txBody>
          <a:bodyPr wrap="square" lIns="0" tIns="0" rIns="0" bIns="0" rtlCol="0"/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700" b="0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10312145" y="1686305"/>
            <a:ext cx="901065" cy="990600"/>
          </a:xfrm>
          <a:custGeom>
            <a:avLst/>
            <a:gdLst/>
            <a:ahLst/>
            <a:cxnLst/>
            <a:rect l="l" t="t" r="r" b="b"/>
            <a:pathLst>
              <a:path w="901065" h="990600">
                <a:moveTo>
                  <a:pt x="0" y="495300"/>
                </a:moveTo>
                <a:lnTo>
                  <a:pt x="2325" y="444656"/>
                </a:lnTo>
                <a:lnTo>
                  <a:pt x="9151" y="395476"/>
                </a:lnTo>
                <a:lnTo>
                  <a:pt x="20250" y="348008"/>
                </a:lnTo>
                <a:lnTo>
                  <a:pt x="35397" y="302502"/>
                </a:lnTo>
                <a:lnTo>
                  <a:pt x="54364" y="259205"/>
                </a:lnTo>
                <a:lnTo>
                  <a:pt x="76924" y="218368"/>
                </a:lnTo>
                <a:lnTo>
                  <a:pt x="102852" y="180238"/>
                </a:lnTo>
                <a:lnTo>
                  <a:pt x="131921" y="145065"/>
                </a:lnTo>
                <a:lnTo>
                  <a:pt x="163903" y="113098"/>
                </a:lnTo>
                <a:lnTo>
                  <a:pt x="198573" y="84586"/>
                </a:lnTo>
                <a:lnTo>
                  <a:pt x="235704" y="59777"/>
                </a:lnTo>
                <a:lnTo>
                  <a:pt x="275070" y="38921"/>
                </a:lnTo>
                <a:lnTo>
                  <a:pt x="316443" y="22266"/>
                </a:lnTo>
                <a:lnTo>
                  <a:pt x="359597" y="10062"/>
                </a:lnTo>
                <a:lnTo>
                  <a:pt x="404305" y="2557"/>
                </a:lnTo>
                <a:lnTo>
                  <a:pt x="450342" y="0"/>
                </a:lnTo>
                <a:lnTo>
                  <a:pt x="496378" y="2557"/>
                </a:lnTo>
                <a:lnTo>
                  <a:pt x="541086" y="10062"/>
                </a:lnTo>
                <a:lnTo>
                  <a:pt x="584240" y="22266"/>
                </a:lnTo>
                <a:lnTo>
                  <a:pt x="625613" y="38921"/>
                </a:lnTo>
                <a:lnTo>
                  <a:pt x="664979" y="59777"/>
                </a:lnTo>
                <a:lnTo>
                  <a:pt x="702110" y="84586"/>
                </a:lnTo>
                <a:lnTo>
                  <a:pt x="736780" y="113098"/>
                </a:lnTo>
                <a:lnTo>
                  <a:pt x="768762" y="145065"/>
                </a:lnTo>
                <a:lnTo>
                  <a:pt x="797831" y="180238"/>
                </a:lnTo>
                <a:lnTo>
                  <a:pt x="823759" y="218368"/>
                </a:lnTo>
                <a:lnTo>
                  <a:pt x="846319" y="259205"/>
                </a:lnTo>
                <a:lnTo>
                  <a:pt x="865286" y="302502"/>
                </a:lnTo>
                <a:lnTo>
                  <a:pt x="880433" y="348008"/>
                </a:lnTo>
                <a:lnTo>
                  <a:pt x="891532" y="395476"/>
                </a:lnTo>
                <a:lnTo>
                  <a:pt x="898358" y="444656"/>
                </a:lnTo>
                <a:lnTo>
                  <a:pt x="900683" y="495300"/>
                </a:lnTo>
                <a:lnTo>
                  <a:pt x="898358" y="545943"/>
                </a:lnTo>
                <a:lnTo>
                  <a:pt x="891532" y="595123"/>
                </a:lnTo>
                <a:lnTo>
                  <a:pt x="880433" y="642591"/>
                </a:lnTo>
                <a:lnTo>
                  <a:pt x="865286" y="688097"/>
                </a:lnTo>
                <a:lnTo>
                  <a:pt x="846319" y="731394"/>
                </a:lnTo>
                <a:lnTo>
                  <a:pt x="823759" y="772231"/>
                </a:lnTo>
                <a:lnTo>
                  <a:pt x="797831" y="810361"/>
                </a:lnTo>
                <a:lnTo>
                  <a:pt x="768762" y="845534"/>
                </a:lnTo>
                <a:lnTo>
                  <a:pt x="736780" y="877501"/>
                </a:lnTo>
                <a:lnTo>
                  <a:pt x="702110" y="906013"/>
                </a:lnTo>
                <a:lnTo>
                  <a:pt x="664979" y="930822"/>
                </a:lnTo>
                <a:lnTo>
                  <a:pt x="625613" y="951678"/>
                </a:lnTo>
                <a:lnTo>
                  <a:pt x="584240" y="968333"/>
                </a:lnTo>
                <a:lnTo>
                  <a:pt x="541086" y="980537"/>
                </a:lnTo>
                <a:lnTo>
                  <a:pt x="496378" y="988042"/>
                </a:lnTo>
                <a:lnTo>
                  <a:pt x="450342" y="990600"/>
                </a:lnTo>
                <a:lnTo>
                  <a:pt x="404305" y="988042"/>
                </a:lnTo>
                <a:lnTo>
                  <a:pt x="359597" y="980537"/>
                </a:lnTo>
                <a:lnTo>
                  <a:pt x="316443" y="968333"/>
                </a:lnTo>
                <a:lnTo>
                  <a:pt x="275070" y="951678"/>
                </a:lnTo>
                <a:lnTo>
                  <a:pt x="235704" y="930822"/>
                </a:lnTo>
                <a:lnTo>
                  <a:pt x="198573" y="906013"/>
                </a:lnTo>
                <a:lnTo>
                  <a:pt x="163903" y="877501"/>
                </a:lnTo>
                <a:lnTo>
                  <a:pt x="131921" y="845534"/>
                </a:lnTo>
                <a:lnTo>
                  <a:pt x="102852" y="810361"/>
                </a:lnTo>
                <a:lnTo>
                  <a:pt x="76924" y="772231"/>
                </a:lnTo>
                <a:lnTo>
                  <a:pt x="54364" y="731394"/>
                </a:lnTo>
                <a:lnTo>
                  <a:pt x="35397" y="688097"/>
                </a:lnTo>
                <a:lnTo>
                  <a:pt x="20250" y="642591"/>
                </a:lnTo>
                <a:lnTo>
                  <a:pt x="9151" y="595123"/>
                </a:lnTo>
                <a:lnTo>
                  <a:pt x="2325" y="545943"/>
                </a:lnTo>
                <a:lnTo>
                  <a:pt x="0" y="495300"/>
                </a:lnTo>
                <a:close/>
              </a:path>
            </a:pathLst>
          </a:custGeom>
          <a:ln w="38100">
            <a:solidFill>
              <a:srgbClr val="281F76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700" b="0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659130" y="3231642"/>
            <a:ext cx="1009015" cy="1007744"/>
          </a:xfrm>
          <a:custGeom>
            <a:avLst/>
            <a:gdLst/>
            <a:ahLst/>
            <a:cxnLst/>
            <a:rect l="l" t="t" r="r" b="b"/>
            <a:pathLst>
              <a:path w="1009014" h="1007745">
                <a:moveTo>
                  <a:pt x="1008888" y="0"/>
                </a:moveTo>
                <a:lnTo>
                  <a:pt x="167894" y="0"/>
                </a:lnTo>
                <a:lnTo>
                  <a:pt x="123262" y="5998"/>
                </a:lnTo>
                <a:lnTo>
                  <a:pt x="83155" y="22925"/>
                </a:lnTo>
                <a:lnTo>
                  <a:pt x="49175" y="49180"/>
                </a:lnTo>
                <a:lnTo>
                  <a:pt x="22923" y="83161"/>
                </a:lnTo>
                <a:lnTo>
                  <a:pt x="5997" y="123266"/>
                </a:lnTo>
                <a:lnTo>
                  <a:pt x="0" y="167893"/>
                </a:lnTo>
                <a:lnTo>
                  <a:pt x="0" y="1007363"/>
                </a:lnTo>
                <a:lnTo>
                  <a:pt x="840994" y="1007363"/>
                </a:lnTo>
                <a:lnTo>
                  <a:pt x="885621" y="1001365"/>
                </a:lnTo>
                <a:lnTo>
                  <a:pt x="925726" y="984438"/>
                </a:lnTo>
                <a:lnTo>
                  <a:pt x="959707" y="958183"/>
                </a:lnTo>
                <a:lnTo>
                  <a:pt x="985962" y="924202"/>
                </a:lnTo>
                <a:lnTo>
                  <a:pt x="1002889" y="884097"/>
                </a:lnTo>
                <a:lnTo>
                  <a:pt x="1008888" y="839469"/>
                </a:lnTo>
                <a:lnTo>
                  <a:pt x="1008888" y="0"/>
                </a:lnTo>
                <a:close/>
              </a:path>
            </a:pathLst>
          </a:custGeom>
          <a:solidFill>
            <a:srgbClr val="A0B9E2"/>
          </a:solidFill>
        </p:spPr>
        <p:txBody>
          <a:bodyPr wrap="square" lIns="0" tIns="0" rIns="0" bIns="0" rtlCol="0"/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700" b="0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659130" y="3231642"/>
            <a:ext cx="1009015" cy="1007744"/>
          </a:xfrm>
          <a:custGeom>
            <a:avLst/>
            <a:gdLst/>
            <a:ahLst/>
            <a:cxnLst/>
            <a:rect l="l" t="t" r="r" b="b"/>
            <a:pathLst>
              <a:path w="1009014" h="1007745">
                <a:moveTo>
                  <a:pt x="167894" y="0"/>
                </a:moveTo>
                <a:lnTo>
                  <a:pt x="1008888" y="0"/>
                </a:lnTo>
                <a:lnTo>
                  <a:pt x="1008888" y="839469"/>
                </a:lnTo>
                <a:lnTo>
                  <a:pt x="1002889" y="884097"/>
                </a:lnTo>
                <a:lnTo>
                  <a:pt x="985962" y="924202"/>
                </a:lnTo>
                <a:lnTo>
                  <a:pt x="959707" y="958183"/>
                </a:lnTo>
                <a:lnTo>
                  <a:pt x="925726" y="984438"/>
                </a:lnTo>
                <a:lnTo>
                  <a:pt x="885621" y="1001365"/>
                </a:lnTo>
                <a:lnTo>
                  <a:pt x="840994" y="1007363"/>
                </a:lnTo>
                <a:lnTo>
                  <a:pt x="0" y="1007363"/>
                </a:lnTo>
                <a:lnTo>
                  <a:pt x="0" y="167893"/>
                </a:lnTo>
                <a:lnTo>
                  <a:pt x="5997" y="123266"/>
                </a:lnTo>
                <a:lnTo>
                  <a:pt x="22923" y="83161"/>
                </a:lnTo>
                <a:lnTo>
                  <a:pt x="49175" y="49180"/>
                </a:lnTo>
                <a:lnTo>
                  <a:pt x="83155" y="22925"/>
                </a:lnTo>
                <a:lnTo>
                  <a:pt x="123262" y="5998"/>
                </a:lnTo>
                <a:lnTo>
                  <a:pt x="167894" y="0"/>
                </a:lnTo>
                <a:close/>
              </a:path>
            </a:pathLst>
          </a:custGeom>
          <a:ln w="38100">
            <a:solidFill>
              <a:srgbClr val="281F76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700" b="0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3" name="bg object 23"/>
          <p:cNvSpPr/>
          <p:nvPr/>
        </p:nvSpPr>
        <p:spPr>
          <a:xfrm>
            <a:off x="856373" y="3378835"/>
            <a:ext cx="612775" cy="711200"/>
          </a:xfrm>
          <a:custGeom>
            <a:avLst/>
            <a:gdLst/>
            <a:ahLst/>
            <a:cxnLst/>
            <a:rect l="l" t="t" r="r" b="b"/>
            <a:pathLst>
              <a:path w="612775" h="711200">
                <a:moveTo>
                  <a:pt x="290118" y="0"/>
                </a:moveTo>
                <a:lnTo>
                  <a:pt x="269494" y="6858"/>
                </a:lnTo>
                <a:lnTo>
                  <a:pt x="252272" y="23875"/>
                </a:lnTo>
                <a:lnTo>
                  <a:pt x="248767" y="47625"/>
                </a:lnTo>
                <a:lnTo>
                  <a:pt x="246913" y="93345"/>
                </a:lnTo>
                <a:lnTo>
                  <a:pt x="227876" y="139192"/>
                </a:lnTo>
                <a:lnTo>
                  <a:pt x="210604" y="173228"/>
                </a:lnTo>
                <a:lnTo>
                  <a:pt x="186474" y="203835"/>
                </a:lnTo>
                <a:lnTo>
                  <a:pt x="136499" y="260096"/>
                </a:lnTo>
                <a:lnTo>
                  <a:pt x="77914" y="324993"/>
                </a:lnTo>
                <a:lnTo>
                  <a:pt x="33058" y="396367"/>
                </a:lnTo>
                <a:lnTo>
                  <a:pt x="15786" y="430403"/>
                </a:lnTo>
                <a:lnTo>
                  <a:pt x="0" y="537210"/>
                </a:lnTo>
                <a:lnTo>
                  <a:pt x="6819" y="557403"/>
                </a:lnTo>
                <a:lnTo>
                  <a:pt x="23939" y="574167"/>
                </a:lnTo>
                <a:lnTo>
                  <a:pt x="298310" y="707517"/>
                </a:lnTo>
                <a:lnTo>
                  <a:pt x="322338" y="710692"/>
                </a:lnTo>
                <a:lnTo>
                  <a:pt x="342976" y="703707"/>
                </a:lnTo>
                <a:lnTo>
                  <a:pt x="360197" y="686689"/>
                </a:lnTo>
                <a:lnTo>
                  <a:pt x="363140" y="666750"/>
                </a:lnTo>
                <a:lnTo>
                  <a:pt x="319036" y="666750"/>
                </a:lnTo>
                <a:lnTo>
                  <a:pt x="44665" y="533400"/>
                </a:lnTo>
                <a:lnTo>
                  <a:pt x="55181" y="462280"/>
                </a:lnTo>
                <a:lnTo>
                  <a:pt x="79413" y="397764"/>
                </a:lnTo>
                <a:lnTo>
                  <a:pt x="258673" y="179578"/>
                </a:lnTo>
                <a:lnTo>
                  <a:pt x="282905" y="115062"/>
                </a:lnTo>
                <a:lnTo>
                  <a:pt x="293420" y="43942"/>
                </a:lnTo>
                <a:lnTo>
                  <a:pt x="398111" y="43942"/>
                </a:lnTo>
                <a:lnTo>
                  <a:pt x="314159" y="3175"/>
                </a:lnTo>
                <a:lnTo>
                  <a:pt x="290118" y="0"/>
                </a:lnTo>
                <a:close/>
              </a:path>
              <a:path w="612775" h="711200">
                <a:moveTo>
                  <a:pt x="398111" y="43942"/>
                </a:moveTo>
                <a:lnTo>
                  <a:pt x="293420" y="43942"/>
                </a:lnTo>
                <a:lnTo>
                  <a:pt x="567804" y="177165"/>
                </a:lnTo>
                <a:lnTo>
                  <a:pt x="562597" y="212851"/>
                </a:lnTo>
                <a:lnTo>
                  <a:pt x="557263" y="248412"/>
                </a:lnTo>
                <a:lnTo>
                  <a:pt x="545198" y="280670"/>
                </a:lnTo>
                <a:lnTo>
                  <a:pt x="533006" y="312928"/>
                </a:lnTo>
                <a:lnTo>
                  <a:pt x="353796" y="530987"/>
                </a:lnTo>
                <a:lnTo>
                  <a:pt x="329552" y="595503"/>
                </a:lnTo>
                <a:lnTo>
                  <a:pt x="319036" y="666750"/>
                </a:lnTo>
                <a:lnTo>
                  <a:pt x="363140" y="666750"/>
                </a:lnTo>
                <a:lnTo>
                  <a:pt x="363702" y="662940"/>
                </a:lnTo>
                <a:lnTo>
                  <a:pt x="365556" y="617220"/>
                </a:lnTo>
                <a:lnTo>
                  <a:pt x="384581" y="571373"/>
                </a:lnTo>
                <a:lnTo>
                  <a:pt x="401853" y="537464"/>
                </a:lnTo>
                <a:lnTo>
                  <a:pt x="425945" y="506730"/>
                </a:lnTo>
                <a:lnTo>
                  <a:pt x="475983" y="450469"/>
                </a:lnTo>
                <a:lnTo>
                  <a:pt x="534530" y="385699"/>
                </a:lnTo>
                <a:lnTo>
                  <a:pt x="557009" y="350012"/>
                </a:lnTo>
                <a:lnTo>
                  <a:pt x="579361" y="314198"/>
                </a:lnTo>
                <a:lnTo>
                  <a:pt x="596633" y="280289"/>
                </a:lnTo>
                <a:lnTo>
                  <a:pt x="601967" y="244729"/>
                </a:lnTo>
                <a:lnTo>
                  <a:pt x="607174" y="209042"/>
                </a:lnTo>
                <a:lnTo>
                  <a:pt x="612508" y="173482"/>
                </a:lnTo>
                <a:lnTo>
                  <a:pt x="605650" y="153289"/>
                </a:lnTo>
                <a:lnTo>
                  <a:pt x="588505" y="136398"/>
                </a:lnTo>
                <a:lnTo>
                  <a:pt x="398111" y="4394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700" b="0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24" name="bg object 2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124089" y="3862705"/>
            <a:ext cx="75857" cy="132334"/>
          </a:xfrm>
          <a:prstGeom prst="rect">
            <a:avLst/>
          </a:prstGeom>
        </p:spPr>
      </p:pic>
      <p:pic>
        <p:nvPicPr>
          <p:cNvPr id="25" name="bg object 2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075258" y="3474847"/>
            <a:ext cx="182079" cy="344360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8800" b="1" i="0">
                <a:solidFill>
                  <a:srgbClr val="281F7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1973707" y="3402838"/>
            <a:ext cx="7321550" cy="3323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rgbClr val="281F7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11409933" y="2128773"/>
            <a:ext cx="5532119" cy="3323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0" i="0">
                <a:solidFill>
                  <a:srgbClr val="281F7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>
              <a:solidFill>
                <a:srgbClr val="0A091B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>
              <a:solidFill>
                <a:srgbClr val="0A091B">
                  <a:tint val="75000"/>
                </a:srgb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B6F15528-21DE-4FAA-801E-634DDDAF4B2B}" type="slidenum">
              <a:rPr lang="en-US" sz="2700" smtClean="0">
                <a:solidFill>
                  <a:srgbClr val="0A091B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sz="2700" dirty="0">
              <a:solidFill>
                <a:srgbClr val="0A091B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617705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A4C9A0-8492-8DB4-C79B-E39B4EA127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547688"/>
            <a:ext cx="15773400" cy="198913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D7BACD2-994B-92BD-BB0E-C2C69305D3A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4273BE-2472-445C-BCBA-3A6F6BD3A0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217986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userDrawn="1">
  <p:cSld name="1_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5" name="Google Shape;15;p3"/>
          <p:cNvSpPr txBox="1"/>
          <p:nvPr/>
        </p:nvSpPr>
        <p:spPr>
          <a:xfrm>
            <a:off x="15878845" y="9445683"/>
            <a:ext cx="413986" cy="2462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6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600" b="0" i="0" u="none" strike="noStrike" cap="none">
              <a:solidFill>
                <a:schemeClr val="accent4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16" name="Google Shape;16;p3">
            <a:hlinkClick r:id="" action="ppaction://hlinkshowjump?jump=nextslide"/>
          </p:cNvPr>
          <p:cNvSpPr/>
          <p:nvPr/>
        </p:nvSpPr>
        <p:spPr>
          <a:xfrm>
            <a:off x="16814857" y="9426633"/>
            <a:ext cx="282518" cy="282518"/>
          </a:xfrm>
          <a:custGeom>
            <a:avLst/>
            <a:gdLst/>
            <a:ahLst/>
            <a:cxnLst/>
            <a:rect l="l" t="t" r="r" b="b"/>
            <a:pathLst>
              <a:path w="2350" h="2350" extrusionOk="0">
                <a:moveTo>
                  <a:pt x="883" y="679"/>
                </a:moveTo>
                <a:cubicBezTo>
                  <a:pt x="1338" y="1175"/>
                  <a:pt x="1338" y="1175"/>
                  <a:pt x="1338" y="1175"/>
                </a:cubicBezTo>
                <a:cubicBezTo>
                  <a:pt x="883" y="1671"/>
                  <a:pt x="883" y="1671"/>
                  <a:pt x="883" y="1671"/>
                </a:cubicBezTo>
                <a:cubicBezTo>
                  <a:pt x="844" y="1710"/>
                  <a:pt x="844" y="1774"/>
                  <a:pt x="883" y="1813"/>
                </a:cubicBezTo>
                <a:cubicBezTo>
                  <a:pt x="922" y="1852"/>
                  <a:pt x="985" y="1852"/>
                  <a:pt x="1023" y="1813"/>
                </a:cubicBezTo>
                <a:cubicBezTo>
                  <a:pt x="1579" y="1246"/>
                  <a:pt x="1579" y="1246"/>
                  <a:pt x="1579" y="1246"/>
                </a:cubicBezTo>
                <a:cubicBezTo>
                  <a:pt x="1618" y="1207"/>
                  <a:pt x="1618" y="1143"/>
                  <a:pt x="1579" y="1104"/>
                </a:cubicBezTo>
                <a:cubicBezTo>
                  <a:pt x="1023" y="537"/>
                  <a:pt x="1023" y="537"/>
                  <a:pt x="1023" y="537"/>
                </a:cubicBezTo>
                <a:cubicBezTo>
                  <a:pt x="985" y="498"/>
                  <a:pt x="922" y="498"/>
                  <a:pt x="883" y="537"/>
                </a:cubicBezTo>
                <a:cubicBezTo>
                  <a:pt x="844" y="576"/>
                  <a:pt x="844" y="640"/>
                  <a:pt x="883" y="679"/>
                </a:cubicBezTo>
                <a:close/>
                <a:moveTo>
                  <a:pt x="0" y="1175"/>
                </a:move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lose/>
                <a:moveTo>
                  <a:pt x="2198" y="1175"/>
                </a:move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82850" tIns="91400" rIns="182850" bIns="914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17" name="Google Shape;17;p3">
            <a:hlinkClick r:id="" action="ppaction://hlinkshowjump?jump=previousslide"/>
          </p:cNvPr>
          <p:cNvSpPr/>
          <p:nvPr/>
        </p:nvSpPr>
        <p:spPr>
          <a:xfrm>
            <a:off x="16488195" y="9426633"/>
            <a:ext cx="282518" cy="282518"/>
          </a:xfrm>
          <a:custGeom>
            <a:avLst/>
            <a:gdLst/>
            <a:ahLst/>
            <a:cxnLst/>
            <a:rect l="l" t="t" r="r" b="b"/>
            <a:pathLst>
              <a:path w="2350" h="2350" extrusionOk="0">
                <a:moveTo>
                  <a:pt x="1467" y="1671"/>
                </a:moveTo>
                <a:cubicBezTo>
                  <a:pt x="1012" y="1175"/>
                  <a:pt x="1012" y="1175"/>
                  <a:pt x="1012" y="1175"/>
                </a:cubicBezTo>
                <a:cubicBezTo>
                  <a:pt x="1467" y="679"/>
                  <a:pt x="1467" y="679"/>
                  <a:pt x="1467" y="679"/>
                </a:cubicBezTo>
                <a:cubicBezTo>
                  <a:pt x="1506" y="640"/>
                  <a:pt x="1506" y="576"/>
                  <a:pt x="1467" y="537"/>
                </a:cubicBezTo>
                <a:cubicBezTo>
                  <a:pt x="1428" y="498"/>
                  <a:pt x="1365" y="498"/>
                  <a:pt x="1327" y="537"/>
                </a:cubicBezTo>
                <a:cubicBezTo>
                  <a:pt x="771" y="1104"/>
                  <a:pt x="771" y="1104"/>
                  <a:pt x="771" y="1104"/>
                </a:cubicBezTo>
                <a:cubicBezTo>
                  <a:pt x="732" y="1143"/>
                  <a:pt x="732" y="1207"/>
                  <a:pt x="771" y="1246"/>
                </a:cubicBezTo>
                <a:cubicBezTo>
                  <a:pt x="1327" y="1813"/>
                  <a:pt x="1327" y="1813"/>
                  <a:pt x="1327" y="1813"/>
                </a:cubicBezTo>
                <a:cubicBezTo>
                  <a:pt x="1365" y="1852"/>
                  <a:pt x="1428" y="1852"/>
                  <a:pt x="1467" y="1813"/>
                </a:cubicBezTo>
                <a:cubicBezTo>
                  <a:pt x="1506" y="1774"/>
                  <a:pt x="1506" y="1710"/>
                  <a:pt x="1467" y="1671"/>
                </a:cubicBezTo>
                <a:close/>
                <a:moveTo>
                  <a:pt x="2350" y="1175"/>
                </a:move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lose/>
                <a:moveTo>
                  <a:pt x="152" y="1175"/>
                </a:move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82850" tIns="91400" rIns="182850" bIns="914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4291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+mj-lt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9086"/>
            <a:ext cx="16957884" cy="5803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+mj-lt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4901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+mj-lt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1894"/>
            <a:ext cx="7200800" cy="583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+mj-lt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61A773D-D72F-40ED-9BFA-8DA31EC260C1}"/>
              </a:ext>
            </a:extLst>
          </p:cNvPr>
          <p:cNvCxnSpPr>
            <a:cxnSpLocks/>
          </p:cNvCxnSpPr>
          <p:nvPr userDrawn="1"/>
        </p:nvCxnSpPr>
        <p:spPr>
          <a:xfrm>
            <a:off x="647056" y="1255068"/>
            <a:ext cx="16921880" cy="0"/>
          </a:xfrm>
          <a:prstGeom prst="line">
            <a:avLst/>
          </a:prstGeom>
          <a:ln w="25400" cap="sq">
            <a:solidFill>
              <a:srgbClr val="281F76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0AA0D64-9D05-4FAB-915C-1C4B8E9FA7E4}"/>
              </a:ext>
            </a:extLst>
          </p:cNvPr>
          <p:cNvCxnSpPr/>
          <p:nvPr userDrawn="1"/>
        </p:nvCxnSpPr>
        <p:spPr>
          <a:xfrm>
            <a:off x="9144000" y="1548700"/>
            <a:ext cx="72008" cy="8393769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Google Shape;13;p3">
            <a:extLst>
              <a:ext uri="{FF2B5EF4-FFF2-40B4-BE49-F238E27FC236}">
                <a16:creationId xmlns:a16="http://schemas.microsoft.com/office/drawing/2014/main" id="{4D4419B1-67D7-4EEE-A517-CC197D7E6D86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9896575" y="1391894"/>
            <a:ext cx="7200800" cy="583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+mj-lt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73707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chemeClr val="bg2"/>
                </a:solidFill>
                <a:latin typeface="+mj-lt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1894"/>
            <a:ext cx="16921880" cy="5832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2"/>
                </a:solidFill>
                <a:latin typeface="+mj-lt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9024" y="9054899"/>
            <a:ext cx="2054023" cy="1025986"/>
          </a:xfrm>
          <a:prstGeom prst="rect">
            <a:avLst/>
          </a:prstGeom>
        </p:spPr>
      </p:pic>
      <p:pic>
        <p:nvPicPr>
          <p:cNvPr id="14" name="Picture 3">
            <a:extLst>
              <a:ext uri="{FF2B5EF4-FFF2-40B4-BE49-F238E27FC236}">
                <a16:creationId xmlns:a16="http://schemas.microsoft.com/office/drawing/2014/main" id="{CAD0448E-1287-426E-AD15-E5A3AAB01FB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 rot="5400000">
            <a:off x="15409604" y="0"/>
            <a:ext cx="2855698" cy="2855698"/>
          </a:xfrm>
          <a:prstGeom prst="rect">
            <a:avLst/>
          </a:prstGeom>
        </p:spPr>
      </p:pic>
      <p:pic>
        <p:nvPicPr>
          <p:cNvPr id="18" name="Picture 8">
            <a:extLst>
              <a:ext uri="{FF2B5EF4-FFF2-40B4-BE49-F238E27FC236}">
                <a16:creationId xmlns:a16="http://schemas.microsoft.com/office/drawing/2014/main" id="{75749EFD-5497-4272-9F8C-429AD099443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 rot="-5400000">
            <a:off x="-32642" y="7431302"/>
            <a:ext cx="2855698" cy="285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280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chemeClr val="bg2"/>
                </a:solidFill>
                <a:latin typeface="+mj-lt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1894"/>
            <a:ext cx="16921880" cy="5832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2"/>
                </a:solidFill>
                <a:latin typeface="+mj-lt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61A773D-D72F-40ED-9BFA-8DA31EC260C1}"/>
              </a:ext>
            </a:extLst>
          </p:cNvPr>
          <p:cNvCxnSpPr>
            <a:cxnSpLocks/>
          </p:cNvCxnSpPr>
          <p:nvPr userDrawn="1"/>
        </p:nvCxnSpPr>
        <p:spPr>
          <a:xfrm>
            <a:off x="647056" y="1255068"/>
            <a:ext cx="16921880" cy="0"/>
          </a:xfrm>
          <a:prstGeom prst="line">
            <a:avLst/>
          </a:prstGeom>
          <a:ln w="25400" cap="sq">
            <a:solidFill>
              <a:srgbClr val="281F76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3">
            <a:extLst>
              <a:ext uri="{FF2B5EF4-FFF2-40B4-BE49-F238E27FC236}">
                <a16:creationId xmlns:a16="http://schemas.microsoft.com/office/drawing/2014/main" id="{9DF1E843-186B-4726-A92E-7CA29B6D24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5400000">
            <a:off x="15409604" y="0"/>
            <a:ext cx="2855698" cy="2855698"/>
          </a:xfrm>
          <a:prstGeom prst="rect">
            <a:avLst/>
          </a:prstGeom>
        </p:spPr>
      </p:pic>
      <p:pic>
        <p:nvPicPr>
          <p:cNvPr id="10" name="Picture 8">
            <a:extLst>
              <a:ext uri="{FF2B5EF4-FFF2-40B4-BE49-F238E27FC236}">
                <a16:creationId xmlns:a16="http://schemas.microsoft.com/office/drawing/2014/main" id="{928B0D83-6B43-4AD1-BACB-5A6ACA15B7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-5400000">
            <a:off x="0" y="7431302"/>
            <a:ext cx="2855698" cy="285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325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>
            <a:extLst>
              <a:ext uri="{FF2B5EF4-FFF2-40B4-BE49-F238E27FC236}">
                <a16:creationId xmlns:a16="http://schemas.microsoft.com/office/drawing/2014/main" id="{CA96DD7E-0BD0-4EC7-8934-AD14907500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5400000">
            <a:off x="15409604" y="0"/>
            <a:ext cx="2855698" cy="2855698"/>
          </a:xfrm>
          <a:prstGeom prst="rect">
            <a:avLst/>
          </a:prstGeom>
        </p:spPr>
      </p:pic>
      <p:pic>
        <p:nvPicPr>
          <p:cNvPr id="7" name="Picture 8">
            <a:extLst>
              <a:ext uri="{FF2B5EF4-FFF2-40B4-BE49-F238E27FC236}">
                <a16:creationId xmlns:a16="http://schemas.microsoft.com/office/drawing/2014/main" id="{27CD148B-40CD-4041-AD94-64F7987BF9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-5400000">
            <a:off x="-32642" y="7431302"/>
            <a:ext cx="2855698" cy="285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82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A30287-DAD0-40F4-93EA-DF08FDF6A5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9024" y="9054899"/>
            <a:ext cx="2054023" cy="10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98298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3548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1894"/>
            <a:ext cx="7200800" cy="583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61A773D-D72F-40ED-9BFA-8DA31EC260C1}"/>
              </a:ext>
            </a:extLst>
          </p:cNvPr>
          <p:cNvCxnSpPr>
            <a:cxnSpLocks/>
          </p:cNvCxnSpPr>
          <p:nvPr userDrawn="1"/>
        </p:nvCxnSpPr>
        <p:spPr>
          <a:xfrm>
            <a:off x="647056" y="1255068"/>
            <a:ext cx="16921880" cy="0"/>
          </a:xfrm>
          <a:prstGeom prst="line">
            <a:avLst/>
          </a:prstGeom>
          <a:ln w="25400" cap="sq">
            <a:solidFill>
              <a:srgbClr val="281F76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0AA0D64-9D05-4FAB-915C-1C4B8E9FA7E4}"/>
              </a:ext>
            </a:extLst>
          </p:cNvPr>
          <p:cNvCxnSpPr/>
          <p:nvPr userDrawn="1"/>
        </p:nvCxnSpPr>
        <p:spPr>
          <a:xfrm>
            <a:off x="9144000" y="1548700"/>
            <a:ext cx="72008" cy="8393769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Google Shape;13;p3">
            <a:extLst>
              <a:ext uri="{FF2B5EF4-FFF2-40B4-BE49-F238E27FC236}">
                <a16:creationId xmlns:a16="http://schemas.microsoft.com/office/drawing/2014/main" id="{4D4419B1-67D7-4EEE-A517-CC197D7E6D86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9896575" y="1391894"/>
            <a:ext cx="7200800" cy="583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372760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Title &amp; Content">
    <p:bg>
      <p:bgPr>
        <a:solidFill>
          <a:srgbClr val="F2F2F7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+mj-lt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1894"/>
            <a:ext cx="16921880" cy="5832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+mj-lt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01142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+mj-lt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1894"/>
            <a:ext cx="7200800" cy="583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+mj-lt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" name="Google Shape;15;p3"/>
          <p:cNvSpPr txBox="1"/>
          <p:nvPr/>
        </p:nvSpPr>
        <p:spPr>
          <a:xfrm>
            <a:off x="15878845" y="9445683"/>
            <a:ext cx="413986" cy="2462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6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1600" b="0" i="0" u="none" strike="noStrike" cap="none">
              <a:solidFill>
                <a:schemeClr val="accent4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16" name="Google Shape;16;p3">
            <a:hlinkClick r:id="" action="ppaction://hlinkshowjump?jump=nextslide"/>
          </p:cNvPr>
          <p:cNvSpPr/>
          <p:nvPr/>
        </p:nvSpPr>
        <p:spPr>
          <a:xfrm>
            <a:off x="16814857" y="9426633"/>
            <a:ext cx="282518" cy="282518"/>
          </a:xfrm>
          <a:custGeom>
            <a:avLst/>
            <a:gdLst/>
            <a:ahLst/>
            <a:cxnLst/>
            <a:rect l="l" t="t" r="r" b="b"/>
            <a:pathLst>
              <a:path w="2350" h="2350" extrusionOk="0">
                <a:moveTo>
                  <a:pt x="883" y="679"/>
                </a:moveTo>
                <a:cubicBezTo>
                  <a:pt x="1338" y="1175"/>
                  <a:pt x="1338" y="1175"/>
                  <a:pt x="1338" y="1175"/>
                </a:cubicBezTo>
                <a:cubicBezTo>
                  <a:pt x="883" y="1671"/>
                  <a:pt x="883" y="1671"/>
                  <a:pt x="883" y="1671"/>
                </a:cubicBezTo>
                <a:cubicBezTo>
                  <a:pt x="844" y="1710"/>
                  <a:pt x="844" y="1774"/>
                  <a:pt x="883" y="1813"/>
                </a:cubicBezTo>
                <a:cubicBezTo>
                  <a:pt x="922" y="1852"/>
                  <a:pt x="985" y="1852"/>
                  <a:pt x="1023" y="1813"/>
                </a:cubicBezTo>
                <a:cubicBezTo>
                  <a:pt x="1579" y="1246"/>
                  <a:pt x="1579" y="1246"/>
                  <a:pt x="1579" y="1246"/>
                </a:cubicBezTo>
                <a:cubicBezTo>
                  <a:pt x="1618" y="1207"/>
                  <a:pt x="1618" y="1143"/>
                  <a:pt x="1579" y="1104"/>
                </a:cubicBezTo>
                <a:cubicBezTo>
                  <a:pt x="1023" y="537"/>
                  <a:pt x="1023" y="537"/>
                  <a:pt x="1023" y="537"/>
                </a:cubicBezTo>
                <a:cubicBezTo>
                  <a:pt x="985" y="498"/>
                  <a:pt x="922" y="498"/>
                  <a:pt x="883" y="537"/>
                </a:cubicBezTo>
                <a:cubicBezTo>
                  <a:pt x="844" y="576"/>
                  <a:pt x="844" y="640"/>
                  <a:pt x="883" y="679"/>
                </a:cubicBezTo>
                <a:close/>
                <a:moveTo>
                  <a:pt x="0" y="1175"/>
                </a:move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lose/>
                <a:moveTo>
                  <a:pt x="2198" y="1175"/>
                </a:move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82850" tIns="91400" rIns="182850" bIns="914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" name="Google Shape;17;p3">
            <a:hlinkClick r:id="" action="ppaction://hlinkshowjump?jump=previousslide"/>
          </p:cNvPr>
          <p:cNvSpPr/>
          <p:nvPr/>
        </p:nvSpPr>
        <p:spPr>
          <a:xfrm>
            <a:off x="16488195" y="9426633"/>
            <a:ext cx="282518" cy="282518"/>
          </a:xfrm>
          <a:custGeom>
            <a:avLst/>
            <a:gdLst/>
            <a:ahLst/>
            <a:cxnLst/>
            <a:rect l="l" t="t" r="r" b="b"/>
            <a:pathLst>
              <a:path w="2350" h="2350" extrusionOk="0">
                <a:moveTo>
                  <a:pt x="1467" y="1671"/>
                </a:moveTo>
                <a:cubicBezTo>
                  <a:pt x="1012" y="1175"/>
                  <a:pt x="1012" y="1175"/>
                  <a:pt x="1012" y="1175"/>
                </a:cubicBezTo>
                <a:cubicBezTo>
                  <a:pt x="1467" y="679"/>
                  <a:pt x="1467" y="679"/>
                  <a:pt x="1467" y="679"/>
                </a:cubicBezTo>
                <a:cubicBezTo>
                  <a:pt x="1506" y="640"/>
                  <a:pt x="1506" y="576"/>
                  <a:pt x="1467" y="537"/>
                </a:cubicBezTo>
                <a:cubicBezTo>
                  <a:pt x="1428" y="498"/>
                  <a:pt x="1365" y="498"/>
                  <a:pt x="1327" y="537"/>
                </a:cubicBezTo>
                <a:cubicBezTo>
                  <a:pt x="771" y="1104"/>
                  <a:pt x="771" y="1104"/>
                  <a:pt x="771" y="1104"/>
                </a:cubicBezTo>
                <a:cubicBezTo>
                  <a:pt x="732" y="1143"/>
                  <a:pt x="732" y="1207"/>
                  <a:pt x="771" y="1246"/>
                </a:cubicBezTo>
                <a:cubicBezTo>
                  <a:pt x="1327" y="1813"/>
                  <a:pt x="1327" y="1813"/>
                  <a:pt x="1327" y="1813"/>
                </a:cubicBezTo>
                <a:cubicBezTo>
                  <a:pt x="1365" y="1852"/>
                  <a:pt x="1428" y="1852"/>
                  <a:pt x="1467" y="1813"/>
                </a:cubicBezTo>
                <a:cubicBezTo>
                  <a:pt x="1506" y="1774"/>
                  <a:pt x="1506" y="1710"/>
                  <a:pt x="1467" y="1671"/>
                </a:cubicBezTo>
                <a:close/>
                <a:moveTo>
                  <a:pt x="2350" y="1175"/>
                </a:move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lose/>
                <a:moveTo>
                  <a:pt x="152" y="1175"/>
                </a:move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spcFirstLastPara="1" wrap="square" lIns="182850" tIns="91400" rIns="182850" bIns="914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7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61A773D-D72F-40ED-9BFA-8DA31EC260C1}"/>
              </a:ext>
            </a:extLst>
          </p:cNvPr>
          <p:cNvCxnSpPr>
            <a:cxnSpLocks/>
          </p:cNvCxnSpPr>
          <p:nvPr userDrawn="1"/>
        </p:nvCxnSpPr>
        <p:spPr>
          <a:xfrm>
            <a:off x="647056" y="1255068"/>
            <a:ext cx="16921880" cy="0"/>
          </a:xfrm>
          <a:prstGeom prst="line">
            <a:avLst/>
          </a:prstGeom>
          <a:ln w="25400" cap="sq">
            <a:solidFill>
              <a:srgbClr val="281F76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0AA0D64-9D05-4FAB-915C-1C4B8E9FA7E4}"/>
              </a:ext>
            </a:extLst>
          </p:cNvPr>
          <p:cNvCxnSpPr/>
          <p:nvPr userDrawn="1"/>
        </p:nvCxnSpPr>
        <p:spPr>
          <a:xfrm>
            <a:off x="9144000" y="1548700"/>
            <a:ext cx="72008" cy="8393769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Google Shape;13;p3">
            <a:extLst>
              <a:ext uri="{FF2B5EF4-FFF2-40B4-BE49-F238E27FC236}">
                <a16:creationId xmlns:a16="http://schemas.microsoft.com/office/drawing/2014/main" id="{4D4419B1-67D7-4EEE-A517-CC197D7E6D86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9896575" y="1391894"/>
            <a:ext cx="7200800" cy="583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+mj-lt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118588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G-SLIDE OP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976354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" userDrawn="1">
  <p:cSld name="Full Image">
    <p:bg>
      <p:bgPr>
        <a:solidFill>
          <a:srgbClr val="F2F2F7"/>
        </a:solidFill>
        <a:effectLst/>
      </p:bgPr>
    </p:bg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&#10;&#10;Description automatically generated with medium confidence">
            <a:extLst>
              <a:ext uri="{FF2B5EF4-FFF2-40B4-BE49-F238E27FC236}">
                <a16:creationId xmlns:a16="http://schemas.microsoft.com/office/drawing/2014/main" id="{FB0887B9-4E2E-440E-A5AE-69FC8690A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95074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53216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8800" b="1" i="0">
                <a:solidFill>
                  <a:srgbClr val="281F76"/>
                </a:solidFill>
                <a:latin typeface="Segoe UI"/>
                <a:cs typeface="Segoe U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rgbClr val="001F5F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15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4066253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8288000" cy="10287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18288000" y="0"/>
                </a:moveTo>
                <a:lnTo>
                  <a:pt x="0" y="0"/>
                </a:lnTo>
                <a:lnTo>
                  <a:pt x="0" y="10287000"/>
                </a:lnTo>
                <a:lnTo>
                  <a:pt x="18288000" y="10287000"/>
                </a:lnTo>
                <a:lnTo>
                  <a:pt x="18288000" y="0"/>
                </a:lnTo>
                <a:close/>
              </a:path>
            </a:pathLst>
          </a:custGeom>
          <a:solidFill>
            <a:srgbClr val="F1F1F7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7" name="bg object 1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359663" y="9055607"/>
            <a:ext cx="2052827" cy="1025652"/>
          </a:xfrm>
          <a:prstGeom prst="rect">
            <a:avLst/>
          </a:prstGeom>
        </p:spPr>
      </p:pic>
      <p:sp>
        <p:nvSpPr>
          <p:cNvPr id="18" name="bg object 18"/>
          <p:cNvSpPr/>
          <p:nvPr/>
        </p:nvSpPr>
        <p:spPr>
          <a:xfrm>
            <a:off x="13273278" y="9582911"/>
            <a:ext cx="5015230" cy="38100"/>
          </a:xfrm>
          <a:custGeom>
            <a:avLst/>
            <a:gdLst/>
            <a:ahLst/>
            <a:cxnLst/>
            <a:rect l="l" t="t" r="r" b="b"/>
            <a:pathLst>
              <a:path w="5015230" h="38100">
                <a:moveTo>
                  <a:pt x="0" y="38100"/>
                </a:moveTo>
                <a:lnTo>
                  <a:pt x="5014720" y="38100"/>
                </a:lnTo>
                <a:lnTo>
                  <a:pt x="5014720" y="0"/>
                </a:lnTo>
                <a:lnTo>
                  <a:pt x="0" y="0"/>
                </a:lnTo>
                <a:lnTo>
                  <a:pt x="0" y="381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g object 19"/>
          <p:cNvSpPr/>
          <p:nvPr/>
        </p:nvSpPr>
        <p:spPr>
          <a:xfrm>
            <a:off x="10312145" y="1686305"/>
            <a:ext cx="901065" cy="990600"/>
          </a:xfrm>
          <a:custGeom>
            <a:avLst/>
            <a:gdLst/>
            <a:ahLst/>
            <a:cxnLst/>
            <a:rect l="l" t="t" r="r" b="b"/>
            <a:pathLst>
              <a:path w="901065" h="990600">
                <a:moveTo>
                  <a:pt x="450342" y="0"/>
                </a:moveTo>
                <a:lnTo>
                  <a:pt x="404305" y="2557"/>
                </a:lnTo>
                <a:lnTo>
                  <a:pt x="359597" y="10062"/>
                </a:lnTo>
                <a:lnTo>
                  <a:pt x="316443" y="22266"/>
                </a:lnTo>
                <a:lnTo>
                  <a:pt x="275070" y="38921"/>
                </a:lnTo>
                <a:lnTo>
                  <a:pt x="235704" y="59777"/>
                </a:lnTo>
                <a:lnTo>
                  <a:pt x="198573" y="84586"/>
                </a:lnTo>
                <a:lnTo>
                  <a:pt x="163903" y="113098"/>
                </a:lnTo>
                <a:lnTo>
                  <a:pt x="131921" y="145065"/>
                </a:lnTo>
                <a:lnTo>
                  <a:pt x="102852" y="180238"/>
                </a:lnTo>
                <a:lnTo>
                  <a:pt x="76924" y="218368"/>
                </a:lnTo>
                <a:lnTo>
                  <a:pt x="54364" y="259205"/>
                </a:lnTo>
                <a:lnTo>
                  <a:pt x="35397" y="302502"/>
                </a:lnTo>
                <a:lnTo>
                  <a:pt x="20250" y="348008"/>
                </a:lnTo>
                <a:lnTo>
                  <a:pt x="9151" y="395476"/>
                </a:lnTo>
                <a:lnTo>
                  <a:pt x="2325" y="444656"/>
                </a:lnTo>
                <a:lnTo>
                  <a:pt x="0" y="495300"/>
                </a:lnTo>
                <a:lnTo>
                  <a:pt x="2325" y="545943"/>
                </a:lnTo>
                <a:lnTo>
                  <a:pt x="9151" y="595123"/>
                </a:lnTo>
                <a:lnTo>
                  <a:pt x="20250" y="642591"/>
                </a:lnTo>
                <a:lnTo>
                  <a:pt x="35397" y="688097"/>
                </a:lnTo>
                <a:lnTo>
                  <a:pt x="54364" y="731394"/>
                </a:lnTo>
                <a:lnTo>
                  <a:pt x="76924" y="772231"/>
                </a:lnTo>
                <a:lnTo>
                  <a:pt x="102852" y="810361"/>
                </a:lnTo>
                <a:lnTo>
                  <a:pt x="131921" y="845534"/>
                </a:lnTo>
                <a:lnTo>
                  <a:pt x="163903" y="877501"/>
                </a:lnTo>
                <a:lnTo>
                  <a:pt x="198573" y="906013"/>
                </a:lnTo>
                <a:lnTo>
                  <a:pt x="235704" y="930822"/>
                </a:lnTo>
                <a:lnTo>
                  <a:pt x="275070" y="951678"/>
                </a:lnTo>
                <a:lnTo>
                  <a:pt x="316443" y="968333"/>
                </a:lnTo>
                <a:lnTo>
                  <a:pt x="359597" y="980537"/>
                </a:lnTo>
                <a:lnTo>
                  <a:pt x="404305" y="988042"/>
                </a:lnTo>
                <a:lnTo>
                  <a:pt x="450342" y="990600"/>
                </a:lnTo>
                <a:lnTo>
                  <a:pt x="496378" y="988042"/>
                </a:lnTo>
                <a:lnTo>
                  <a:pt x="541086" y="980537"/>
                </a:lnTo>
                <a:lnTo>
                  <a:pt x="584240" y="968333"/>
                </a:lnTo>
                <a:lnTo>
                  <a:pt x="625613" y="951678"/>
                </a:lnTo>
                <a:lnTo>
                  <a:pt x="664979" y="930822"/>
                </a:lnTo>
                <a:lnTo>
                  <a:pt x="702110" y="906013"/>
                </a:lnTo>
                <a:lnTo>
                  <a:pt x="736780" y="877501"/>
                </a:lnTo>
                <a:lnTo>
                  <a:pt x="768762" y="845534"/>
                </a:lnTo>
                <a:lnTo>
                  <a:pt x="797831" y="810361"/>
                </a:lnTo>
                <a:lnTo>
                  <a:pt x="823759" y="772231"/>
                </a:lnTo>
                <a:lnTo>
                  <a:pt x="846319" y="731394"/>
                </a:lnTo>
                <a:lnTo>
                  <a:pt x="865286" y="688097"/>
                </a:lnTo>
                <a:lnTo>
                  <a:pt x="880433" y="642591"/>
                </a:lnTo>
                <a:lnTo>
                  <a:pt x="891532" y="595123"/>
                </a:lnTo>
                <a:lnTo>
                  <a:pt x="898358" y="545943"/>
                </a:lnTo>
                <a:lnTo>
                  <a:pt x="900683" y="495300"/>
                </a:lnTo>
                <a:lnTo>
                  <a:pt x="898358" y="444656"/>
                </a:lnTo>
                <a:lnTo>
                  <a:pt x="891532" y="395476"/>
                </a:lnTo>
                <a:lnTo>
                  <a:pt x="880433" y="348008"/>
                </a:lnTo>
                <a:lnTo>
                  <a:pt x="865286" y="302502"/>
                </a:lnTo>
                <a:lnTo>
                  <a:pt x="846319" y="259205"/>
                </a:lnTo>
                <a:lnTo>
                  <a:pt x="823759" y="218368"/>
                </a:lnTo>
                <a:lnTo>
                  <a:pt x="797831" y="180238"/>
                </a:lnTo>
                <a:lnTo>
                  <a:pt x="768762" y="145065"/>
                </a:lnTo>
                <a:lnTo>
                  <a:pt x="736780" y="113098"/>
                </a:lnTo>
                <a:lnTo>
                  <a:pt x="702110" y="84586"/>
                </a:lnTo>
                <a:lnTo>
                  <a:pt x="664979" y="59777"/>
                </a:lnTo>
                <a:lnTo>
                  <a:pt x="625613" y="38921"/>
                </a:lnTo>
                <a:lnTo>
                  <a:pt x="584240" y="22266"/>
                </a:lnTo>
                <a:lnTo>
                  <a:pt x="541086" y="10062"/>
                </a:lnTo>
                <a:lnTo>
                  <a:pt x="496378" y="2557"/>
                </a:lnTo>
                <a:lnTo>
                  <a:pt x="450342" y="0"/>
                </a:lnTo>
                <a:close/>
              </a:path>
            </a:pathLst>
          </a:custGeom>
          <a:solidFill>
            <a:srgbClr val="23314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g object 20"/>
          <p:cNvSpPr/>
          <p:nvPr/>
        </p:nvSpPr>
        <p:spPr>
          <a:xfrm>
            <a:off x="10312145" y="1686305"/>
            <a:ext cx="901065" cy="990600"/>
          </a:xfrm>
          <a:custGeom>
            <a:avLst/>
            <a:gdLst/>
            <a:ahLst/>
            <a:cxnLst/>
            <a:rect l="l" t="t" r="r" b="b"/>
            <a:pathLst>
              <a:path w="901065" h="990600">
                <a:moveTo>
                  <a:pt x="0" y="495300"/>
                </a:moveTo>
                <a:lnTo>
                  <a:pt x="2325" y="444656"/>
                </a:lnTo>
                <a:lnTo>
                  <a:pt x="9151" y="395476"/>
                </a:lnTo>
                <a:lnTo>
                  <a:pt x="20250" y="348008"/>
                </a:lnTo>
                <a:lnTo>
                  <a:pt x="35397" y="302502"/>
                </a:lnTo>
                <a:lnTo>
                  <a:pt x="54364" y="259205"/>
                </a:lnTo>
                <a:lnTo>
                  <a:pt x="76924" y="218368"/>
                </a:lnTo>
                <a:lnTo>
                  <a:pt x="102852" y="180238"/>
                </a:lnTo>
                <a:lnTo>
                  <a:pt x="131921" y="145065"/>
                </a:lnTo>
                <a:lnTo>
                  <a:pt x="163903" y="113098"/>
                </a:lnTo>
                <a:lnTo>
                  <a:pt x="198573" y="84586"/>
                </a:lnTo>
                <a:lnTo>
                  <a:pt x="235704" y="59777"/>
                </a:lnTo>
                <a:lnTo>
                  <a:pt x="275070" y="38921"/>
                </a:lnTo>
                <a:lnTo>
                  <a:pt x="316443" y="22266"/>
                </a:lnTo>
                <a:lnTo>
                  <a:pt x="359597" y="10062"/>
                </a:lnTo>
                <a:lnTo>
                  <a:pt x="404305" y="2557"/>
                </a:lnTo>
                <a:lnTo>
                  <a:pt x="450342" y="0"/>
                </a:lnTo>
                <a:lnTo>
                  <a:pt x="496378" y="2557"/>
                </a:lnTo>
                <a:lnTo>
                  <a:pt x="541086" y="10062"/>
                </a:lnTo>
                <a:lnTo>
                  <a:pt x="584240" y="22266"/>
                </a:lnTo>
                <a:lnTo>
                  <a:pt x="625613" y="38921"/>
                </a:lnTo>
                <a:lnTo>
                  <a:pt x="664979" y="59777"/>
                </a:lnTo>
                <a:lnTo>
                  <a:pt x="702110" y="84586"/>
                </a:lnTo>
                <a:lnTo>
                  <a:pt x="736780" y="113098"/>
                </a:lnTo>
                <a:lnTo>
                  <a:pt x="768762" y="145065"/>
                </a:lnTo>
                <a:lnTo>
                  <a:pt x="797831" y="180238"/>
                </a:lnTo>
                <a:lnTo>
                  <a:pt x="823759" y="218368"/>
                </a:lnTo>
                <a:lnTo>
                  <a:pt x="846319" y="259205"/>
                </a:lnTo>
                <a:lnTo>
                  <a:pt x="865286" y="302502"/>
                </a:lnTo>
                <a:lnTo>
                  <a:pt x="880433" y="348008"/>
                </a:lnTo>
                <a:lnTo>
                  <a:pt x="891532" y="395476"/>
                </a:lnTo>
                <a:lnTo>
                  <a:pt x="898358" y="444656"/>
                </a:lnTo>
                <a:lnTo>
                  <a:pt x="900683" y="495300"/>
                </a:lnTo>
                <a:lnTo>
                  <a:pt x="898358" y="545943"/>
                </a:lnTo>
                <a:lnTo>
                  <a:pt x="891532" y="595123"/>
                </a:lnTo>
                <a:lnTo>
                  <a:pt x="880433" y="642591"/>
                </a:lnTo>
                <a:lnTo>
                  <a:pt x="865286" y="688097"/>
                </a:lnTo>
                <a:lnTo>
                  <a:pt x="846319" y="731394"/>
                </a:lnTo>
                <a:lnTo>
                  <a:pt x="823759" y="772231"/>
                </a:lnTo>
                <a:lnTo>
                  <a:pt x="797831" y="810361"/>
                </a:lnTo>
                <a:lnTo>
                  <a:pt x="768762" y="845534"/>
                </a:lnTo>
                <a:lnTo>
                  <a:pt x="736780" y="877501"/>
                </a:lnTo>
                <a:lnTo>
                  <a:pt x="702110" y="906013"/>
                </a:lnTo>
                <a:lnTo>
                  <a:pt x="664979" y="930822"/>
                </a:lnTo>
                <a:lnTo>
                  <a:pt x="625613" y="951678"/>
                </a:lnTo>
                <a:lnTo>
                  <a:pt x="584240" y="968333"/>
                </a:lnTo>
                <a:lnTo>
                  <a:pt x="541086" y="980537"/>
                </a:lnTo>
                <a:lnTo>
                  <a:pt x="496378" y="988042"/>
                </a:lnTo>
                <a:lnTo>
                  <a:pt x="450342" y="990600"/>
                </a:lnTo>
                <a:lnTo>
                  <a:pt x="404305" y="988042"/>
                </a:lnTo>
                <a:lnTo>
                  <a:pt x="359597" y="980537"/>
                </a:lnTo>
                <a:lnTo>
                  <a:pt x="316443" y="968333"/>
                </a:lnTo>
                <a:lnTo>
                  <a:pt x="275070" y="951678"/>
                </a:lnTo>
                <a:lnTo>
                  <a:pt x="235704" y="930822"/>
                </a:lnTo>
                <a:lnTo>
                  <a:pt x="198573" y="906013"/>
                </a:lnTo>
                <a:lnTo>
                  <a:pt x="163903" y="877501"/>
                </a:lnTo>
                <a:lnTo>
                  <a:pt x="131921" y="845534"/>
                </a:lnTo>
                <a:lnTo>
                  <a:pt x="102852" y="810361"/>
                </a:lnTo>
                <a:lnTo>
                  <a:pt x="76924" y="772231"/>
                </a:lnTo>
                <a:lnTo>
                  <a:pt x="54364" y="731394"/>
                </a:lnTo>
                <a:lnTo>
                  <a:pt x="35397" y="688097"/>
                </a:lnTo>
                <a:lnTo>
                  <a:pt x="20250" y="642591"/>
                </a:lnTo>
                <a:lnTo>
                  <a:pt x="9151" y="595123"/>
                </a:lnTo>
                <a:lnTo>
                  <a:pt x="2325" y="545943"/>
                </a:lnTo>
                <a:lnTo>
                  <a:pt x="0" y="495300"/>
                </a:lnTo>
                <a:close/>
              </a:path>
            </a:pathLst>
          </a:custGeom>
          <a:ln w="38100">
            <a:solidFill>
              <a:srgbClr val="281F7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g object 21"/>
          <p:cNvSpPr/>
          <p:nvPr/>
        </p:nvSpPr>
        <p:spPr>
          <a:xfrm>
            <a:off x="659130" y="3231642"/>
            <a:ext cx="1009015" cy="1007744"/>
          </a:xfrm>
          <a:custGeom>
            <a:avLst/>
            <a:gdLst/>
            <a:ahLst/>
            <a:cxnLst/>
            <a:rect l="l" t="t" r="r" b="b"/>
            <a:pathLst>
              <a:path w="1009014" h="1007745">
                <a:moveTo>
                  <a:pt x="1008888" y="0"/>
                </a:moveTo>
                <a:lnTo>
                  <a:pt x="167894" y="0"/>
                </a:lnTo>
                <a:lnTo>
                  <a:pt x="123262" y="5998"/>
                </a:lnTo>
                <a:lnTo>
                  <a:pt x="83155" y="22925"/>
                </a:lnTo>
                <a:lnTo>
                  <a:pt x="49175" y="49180"/>
                </a:lnTo>
                <a:lnTo>
                  <a:pt x="22923" y="83161"/>
                </a:lnTo>
                <a:lnTo>
                  <a:pt x="5997" y="123266"/>
                </a:lnTo>
                <a:lnTo>
                  <a:pt x="0" y="167893"/>
                </a:lnTo>
                <a:lnTo>
                  <a:pt x="0" y="1007363"/>
                </a:lnTo>
                <a:lnTo>
                  <a:pt x="840994" y="1007363"/>
                </a:lnTo>
                <a:lnTo>
                  <a:pt x="885621" y="1001365"/>
                </a:lnTo>
                <a:lnTo>
                  <a:pt x="925726" y="984438"/>
                </a:lnTo>
                <a:lnTo>
                  <a:pt x="959707" y="958183"/>
                </a:lnTo>
                <a:lnTo>
                  <a:pt x="985962" y="924202"/>
                </a:lnTo>
                <a:lnTo>
                  <a:pt x="1002889" y="884097"/>
                </a:lnTo>
                <a:lnTo>
                  <a:pt x="1008888" y="839469"/>
                </a:lnTo>
                <a:lnTo>
                  <a:pt x="1008888" y="0"/>
                </a:lnTo>
                <a:close/>
              </a:path>
            </a:pathLst>
          </a:custGeom>
          <a:solidFill>
            <a:srgbClr val="A0B9E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bg object 22"/>
          <p:cNvSpPr/>
          <p:nvPr/>
        </p:nvSpPr>
        <p:spPr>
          <a:xfrm>
            <a:off x="659130" y="3231642"/>
            <a:ext cx="1009015" cy="1007744"/>
          </a:xfrm>
          <a:custGeom>
            <a:avLst/>
            <a:gdLst/>
            <a:ahLst/>
            <a:cxnLst/>
            <a:rect l="l" t="t" r="r" b="b"/>
            <a:pathLst>
              <a:path w="1009014" h="1007745">
                <a:moveTo>
                  <a:pt x="167894" y="0"/>
                </a:moveTo>
                <a:lnTo>
                  <a:pt x="1008888" y="0"/>
                </a:lnTo>
                <a:lnTo>
                  <a:pt x="1008888" y="839469"/>
                </a:lnTo>
                <a:lnTo>
                  <a:pt x="1002889" y="884097"/>
                </a:lnTo>
                <a:lnTo>
                  <a:pt x="985962" y="924202"/>
                </a:lnTo>
                <a:lnTo>
                  <a:pt x="959707" y="958183"/>
                </a:lnTo>
                <a:lnTo>
                  <a:pt x="925726" y="984438"/>
                </a:lnTo>
                <a:lnTo>
                  <a:pt x="885621" y="1001365"/>
                </a:lnTo>
                <a:lnTo>
                  <a:pt x="840994" y="1007363"/>
                </a:lnTo>
                <a:lnTo>
                  <a:pt x="0" y="1007363"/>
                </a:lnTo>
                <a:lnTo>
                  <a:pt x="0" y="167893"/>
                </a:lnTo>
                <a:lnTo>
                  <a:pt x="5997" y="123266"/>
                </a:lnTo>
                <a:lnTo>
                  <a:pt x="22923" y="83161"/>
                </a:lnTo>
                <a:lnTo>
                  <a:pt x="49175" y="49180"/>
                </a:lnTo>
                <a:lnTo>
                  <a:pt x="83155" y="22925"/>
                </a:lnTo>
                <a:lnTo>
                  <a:pt x="123262" y="5998"/>
                </a:lnTo>
                <a:lnTo>
                  <a:pt x="167894" y="0"/>
                </a:lnTo>
                <a:close/>
              </a:path>
            </a:pathLst>
          </a:custGeom>
          <a:ln w="38100">
            <a:solidFill>
              <a:srgbClr val="281F7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bg object 23"/>
          <p:cNvSpPr/>
          <p:nvPr/>
        </p:nvSpPr>
        <p:spPr>
          <a:xfrm>
            <a:off x="856373" y="3378835"/>
            <a:ext cx="612775" cy="711200"/>
          </a:xfrm>
          <a:custGeom>
            <a:avLst/>
            <a:gdLst/>
            <a:ahLst/>
            <a:cxnLst/>
            <a:rect l="l" t="t" r="r" b="b"/>
            <a:pathLst>
              <a:path w="612775" h="711200">
                <a:moveTo>
                  <a:pt x="290118" y="0"/>
                </a:moveTo>
                <a:lnTo>
                  <a:pt x="269494" y="6858"/>
                </a:lnTo>
                <a:lnTo>
                  <a:pt x="252272" y="23875"/>
                </a:lnTo>
                <a:lnTo>
                  <a:pt x="248767" y="47625"/>
                </a:lnTo>
                <a:lnTo>
                  <a:pt x="246913" y="93345"/>
                </a:lnTo>
                <a:lnTo>
                  <a:pt x="227876" y="139192"/>
                </a:lnTo>
                <a:lnTo>
                  <a:pt x="210604" y="173228"/>
                </a:lnTo>
                <a:lnTo>
                  <a:pt x="186474" y="203835"/>
                </a:lnTo>
                <a:lnTo>
                  <a:pt x="136499" y="260096"/>
                </a:lnTo>
                <a:lnTo>
                  <a:pt x="77914" y="324993"/>
                </a:lnTo>
                <a:lnTo>
                  <a:pt x="33058" y="396367"/>
                </a:lnTo>
                <a:lnTo>
                  <a:pt x="15786" y="430403"/>
                </a:lnTo>
                <a:lnTo>
                  <a:pt x="0" y="537210"/>
                </a:lnTo>
                <a:lnTo>
                  <a:pt x="6819" y="557403"/>
                </a:lnTo>
                <a:lnTo>
                  <a:pt x="23939" y="574167"/>
                </a:lnTo>
                <a:lnTo>
                  <a:pt x="298310" y="707517"/>
                </a:lnTo>
                <a:lnTo>
                  <a:pt x="322338" y="710692"/>
                </a:lnTo>
                <a:lnTo>
                  <a:pt x="342976" y="703707"/>
                </a:lnTo>
                <a:lnTo>
                  <a:pt x="360197" y="686689"/>
                </a:lnTo>
                <a:lnTo>
                  <a:pt x="363140" y="666750"/>
                </a:lnTo>
                <a:lnTo>
                  <a:pt x="319036" y="666750"/>
                </a:lnTo>
                <a:lnTo>
                  <a:pt x="44665" y="533400"/>
                </a:lnTo>
                <a:lnTo>
                  <a:pt x="55181" y="462280"/>
                </a:lnTo>
                <a:lnTo>
                  <a:pt x="79413" y="397764"/>
                </a:lnTo>
                <a:lnTo>
                  <a:pt x="258673" y="179578"/>
                </a:lnTo>
                <a:lnTo>
                  <a:pt x="282905" y="115062"/>
                </a:lnTo>
                <a:lnTo>
                  <a:pt x="293420" y="43942"/>
                </a:lnTo>
                <a:lnTo>
                  <a:pt x="398111" y="43942"/>
                </a:lnTo>
                <a:lnTo>
                  <a:pt x="314159" y="3175"/>
                </a:lnTo>
                <a:lnTo>
                  <a:pt x="290118" y="0"/>
                </a:lnTo>
                <a:close/>
              </a:path>
              <a:path w="612775" h="711200">
                <a:moveTo>
                  <a:pt x="398111" y="43942"/>
                </a:moveTo>
                <a:lnTo>
                  <a:pt x="293420" y="43942"/>
                </a:lnTo>
                <a:lnTo>
                  <a:pt x="567804" y="177165"/>
                </a:lnTo>
                <a:lnTo>
                  <a:pt x="562597" y="212851"/>
                </a:lnTo>
                <a:lnTo>
                  <a:pt x="557263" y="248412"/>
                </a:lnTo>
                <a:lnTo>
                  <a:pt x="545198" y="280670"/>
                </a:lnTo>
                <a:lnTo>
                  <a:pt x="533006" y="312928"/>
                </a:lnTo>
                <a:lnTo>
                  <a:pt x="353796" y="530987"/>
                </a:lnTo>
                <a:lnTo>
                  <a:pt x="329552" y="595503"/>
                </a:lnTo>
                <a:lnTo>
                  <a:pt x="319036" y="666750"/>
                </a:lnTo>
                <a:lnTo>
                  <a:pt x="363140" y="666750"/>
                </a:lnTo>
                <a:lnTo>
                  <a:pt x="363702" y="662940"/>
                </a:lnTo>
                <a:lnTo>
                  <a:pt x="365556" y="617220"/>
                </a:lnTo>
                <a:lnTo>
                  <a:pt x="384581" y="571373"/>
                </a:lnTo>
                <a:lnTo>
                  <a:pt x="401853" y="537464"/>
                </a:lnTo>
                <a:lnTo>
                  <a:pt x="425945" y="506730"/>
                </a:lnTo>
                <a:lnTo>
                  <a:pt x="475983" y="450469"/>
                </a:lnTo>
                <a:lnTo>
                  <a:pt x="534530" y="385699"/>
                </a:lnTo>
                <a:lnTo>
                  <a:pt x="557009" y="350012"/>
                </a:lnTo>
                <a:lnTo>
                  <a:pt x="579361" y="314198"/>
                </a:lnTo>
                <a:lnTo>
                  <a:pt x="596633" y="280289"/>
                </a:lnTo>
                <a:lnTo>
                  <a:pt x="601967" y="244729"/>
                </a:lnTo>
                <a:lnTo>
                  <a:pt x="607174" y="209042"/>
                </a:lnTo>
                <a:lnTo>
                  <a:pt x="612508" y="173482"/>
                </a:lnTo>
                <a:lnTo>
                  <a:pt x="605650" y="153289"/>
                </a:lnTo>
                <a:lnTo>
                  <a:pt x="588505" y="136398"/>
                </a:lnTo>
                <a:lnTo>
                  <a:pt x="398111" y="4394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4" name="bg object 2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124089" y="3862705"/>
            <a:ext cx="75857" cy="132334"/>
          </a:xfrm>
          <a:prstGeom prst="rect">
            <a:avLst/>
          </a:prstGeom>
        </p:spPr>
      </p:pic>
      <p:pic>
        <p:nvPicPr>
          <p:cNvPr id="25" name="bg object 2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075258" y="3474847"/>
            <a:ext cx="182079" cy="344360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8800" b="1" i="0">
                <a:solidFill>
                  <a:srgbClr val="281F76"/>
                </a:solidFill>
                <a:latin typeface="Segoe UI"/>
                <a:cs typeface="Segoe U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1973707" y="3402838"/>
            <a:ext cx="7321550" cy="55352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rgbClr val="281F76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11409933" y="2128773"/>
            <a:ext cx="5532119" cy="6577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0" i="0">
                <a:solidFill>
                  <a:srgbClr val="281F76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15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9401446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9086"/>
            <a:ext cx="16957884" cy="5803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707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rgbClr val="281F76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1894"/>
            <a:ext cx="7200800" cy="583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24" y="9054899"/>
            <a:ext cx="2054024" cy="1025986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0AA0D64-9D05-4FAB-915C-1C4B8E9FA7E4}"/>
              </a:ext>
            </a:extLst>
          </p:cNvPr>
          <p:cNvCxnSpPr/>
          <p:nvPr userDrawn="1"/>
        </p:nvCxnSpPr>
        <p:spPr>
          <a:xfrm>
            <a:off x="9144000" y="1548700"/>
            <a:ext cx="72008" cy="8393769"/>
          </a:xfrm>
          <a:prstGeom prst="line">
            <a:avLst/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Google Shape;13;p3">
            <a:extLst>
              <a:ext uri="{FF2B5EF4-FFF2-40B4-BE49-F238E27FC236}">
                <a16:creationId xmlns:a16="http://schemas.microsoft.com/office/drawing/2014/main" id="{4D4419B1-67D7-4EEE-A517-CC197D7E6D86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9896575" y="1391894"/>
            <a:ext cx="7200800" cy="583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243553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1_Title &amp; Content">
    <p:bg>
      <p:bgPr>
        <a:solidFill>
          <a:srgbClr val="281F76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647056" y="344531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cap="none">
                <a:solidFill>
                  <a:schemeClr val="bg2"/>
                </a:solidFill>
                <a:latin typeface="Arial" panose="020B0604020202020204" pitchFamily="34" charset="0"/>
                <a:ea typeface="Lato Black"/>
                <a:cs typeface="Lato Black"/>
                <a:sym typeface="Lato Black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"/>
          <p:cNvSpPr txBox="1">
            <a:spLocks noGrp="1"/>
          </p:cNvSpPr>
          <p:nvPr>
            <p:ph type="body" idx="2"/>
          </p:nvPr>
        </p:nvSpPr>
        <p:spPr>
          <a:xfrm>
            <a:off x="647056" y="1391894"/>
            <a:ext cx="16921880" cy="5832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00" marR="0" lvl="0" indent="-457200" algn="l" rtl="0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cap="none">
                <a:solidFill>
                  <a:schemeClr val="bg2"/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00" marR="0" lvl="1" indent="-6858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08AF951-5060-42E4-B2F8-03DCF8D107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9024" y="9054899"/>
            <a:ext cx="2054023" cy="1025986"/>
          </a:xfrm>
          <a:prstGeom prst="rect">
            <a:avLst/>
          </a:prstGeom>
        </p:spPr>
      </p:pic>
      <p:pic>
        <p:nvPicPr>
          <p:cNvPr id="14" name="Picture 3">
            <a:extLst>
              <a:ext uri="{FF2B5EF4-FFF2-40B4-BE49-F238E27FC236}">
                <a16:creationId xmlns:a16="http://schemas.microsoft.com/office/drawing/2014/main" id="{CAD0448E-1287-426E-AD15-E5A3AAB01FB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 rot="5400000">
            <a:off x="15409604" y="0"/>
            <a:ext cx="2855698" cy="2855698"/>
          </a:xfrm>
          <a:prstGeom prst="rect">
            <a:avLst/>
          </a:prstGeom>
        </p:spPr>
      </p:pic>
      <p:pic>
        <p:nvPicPr>
          <p:cNvPr id="18" name="Picture 8">
            <a:extLst>
              <a:ext uri="{FF2B5EF4-FFF2-40B4-BE49-F238E27FC236}">
                <a16:creationId xmlns:a16="http://schemas.microsoft.com/office/drawing/2014/main" id="{75749EFD-5497-4272-9F8C-429AD099443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 rot="-5400000">
            <a:off x="-32642" y="7431302"/>
            <a:ext cx="2855698" cy="285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790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1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73.xml"/><Relationship Id="rId4" Type="http://schemas.openxmlformats.org/officeDocument/2006/relationships/slideLayout" Target="../slideLayouts/slideLayout72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8.xml"/><Relationship Id="rId10" Type="http://schemas.openxmlformats.org/officeDocument/2006/relationships/theme" Target="../theme/theme11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heme" Target="../theme/theme12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6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heme" Target="../theme/theme13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5" Type="http://schemas.openxmlformats.org/officeDocument/2006/relationships/slideLayout" Target="../slideLayouts/slideLayout94.xml"/><Relationship Id="rId4" Type="http://schemas.openxmlformats.org/officeDocument/2006/relationships/slideLayout" Target="../slideLayouts/slideLayout9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heme" Target="../theme/theme14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100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6.xml"/><Relationship Id="rId2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104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107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theme" Target="../theme/theme16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113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111.xml"/><Relationship Id="rId6" Type="http://schemas.openxmlformats.org/officeDocument/2006/relationships/theme" Target="../theme/theme17.xml"/><Relationship Id="rId11" Type="http://schemas.openxmlformats.org/officeDocument/2006/relationships/image" Target="../media/image10.png"/><Relationship Id="rId5" Type="http://schemas.openxmlformats.org/officeDocument/2006/relationships/slideLayout" Target="../slideLayouts/slideLayout115.xml"/><Relationship Id="rId10" Type="http://schemas.openxmlformats.org/officeDocument/2006/relationships/image" Target="../media/image9.emf"/><Relationship Id="rId4" Type="http://schemas.openxmlformats.org/officeDocument/2006/relationships/slideLayout" Target="../slideLayouts/slideLayout114.xml"/><Relationship Id="rId9" Type="http://schemas.openxmlformats.org/officeDocument/2006/relationships/oleObject" Target="../embeddings/oleObject2.bin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slideLayout" Target="../slideLayouts/slideLayout128.xml"/><Relationship Id="rId3" Type="http://schemas.openxmlformats.org/officeDocument/2006/relationships/slideLayout" Target="../slideLayouts/slideLayout118.xml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2" Type="http://schemas.openxmlformats.org/officeDocument/2006/relationships/slideLayout" Target="../slideLayouts/slideLayout117.xml"/><Relationship Id="rId16" Type="http://schemas.openxmlformats.org/officeDocument/2006/relationships/theme" Target="../theme/theme18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10" Type="http://schemas.openxmlformats.org/officeDocument/2006/relationships/slideLayout" Target="../slideLayouts/slideLayout125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.xml"/><Relationship Id="rId13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133.xml"/><Relationship Id="rId7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42.xml"/><Relationship Id="rId2" Type="http://schemas.openxmlformats.org/officeDocument/2006/relationships/slideLayout" Target="../slideLayouts/slideLayout132.xml"/><Relationship Id="rId16" Type="http://schemas.openxmlformats.org/officeDocument/2006/relationships/theme" Target="../theme/theme19.xml"/><Relationship Id="rId1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6.xml"/><Relationship Id="rId11" Type="http://schemas.openxmlformats.org/officeDocument/2006/relationships/slideLayout" Target="../slideLayouts/slideLayout141.xml"/><Relationship Id="rId5" Type="http://schemas.openxmlformats.org/officeDocument/2006/relationships/slideLayout" Target="../slideLayouts/slideLayout135.xml"/><Relationship Id="rId15" Type="http://schemas.openxmlformats.org/officeDocument/2006/relationships/slideLayout" Target="../slideLayouts/slideLayout145.xml"/><Relationship Id="rId10" Type="http://schemas.openxmlformats.org/officeDocument/2006/relationships/slideLayout" Target="../slideLayouts/slideLayout140.xml"/><Relationship Id="rId4" Type="http://schemas.openxmlformats.org/officeDocument/2006/relationships/slideLayout" Target="../slideLayouts/slideLayout134.xml"/><Relationship Id="rId9" Type="http://schemas.openxmlformats.org/officeDocument/2006/relationships/slideLayout" Target="../slideLayouts/slideLayout139.xml"/><Relationship Id="rId14" Type="http://schemas.openxmlformats.org/officeDocument/2006/relationships/slideLayout" Target="../slideLayouts/slideLayout14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26.xml"/><Relationship Id="rId15" Type="http://schemas.openxmlformats.org/officeDocument/2006/relationships/image" Target="../media/image10.png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image" Target="../media/image9.emf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3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3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64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heme" Target="../theme/theme9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2F2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F70ED17-1A73-D1B3-FBDC-9F97D1E53C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915900" y="9534525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3CA7B881-7E49-46C8-8493-6F794DC2B39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9D52767C-3E44-FD97-C8C4-9F51BAA186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547688"/>
            <a:ext cx="15773400" cy="19891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04392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701" r:id="rId3"/>
    <p:sldLayoutId id="2147483805" r:id="rId4"/>
    <p:sldLayoutId id="2147483907" r:id="rId5"/>
    <p:sldLayoutId id="2147484109" r:id="rId6"/>
    <p:sldLayoutId id="2147484126" r:id="rId7"/>
  </p:sldLayoutIdLst>
  <p:hf sldNum="0" hdr="0" ftr="0" dt="0"/>
  <p:txStyles>
    <p:titleStyle>
      <a:lvl1pPr algn="l" defTabSz="10287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281F76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57175" indent="-257175" algn="l" defTabSz="1028700" rtl="0" eaLnBrk="1" latinLnBrk="0" hangingPunct="1">
        <a:lnSpc>
          <a:spcPct val="90000"/>
        </a:lnSpc>
        <a:spcBef>
          <a:spcPts val="1125"/>
        </a:spcBef>
        <a:buFont typeface="Arial" panose="020B0604020202020204" pitchFamily="34" charset="0"/>
        <a:buChar char="•"/>
        <a:defRPr sz="3150" kern="1200">
          <a:solidFill>
            <a:schemeClr val="tx1"/>
          </a:solidFill>
          <a:latin typeface="+mn-lt"/>
          <a:ea typeface="+mn-ea"/>
          <a:cs typeface="+mn-cs"/>
        </a:defRPr>
      </a:lvl1pPr>
      <a:lvl2pPr marL="7715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2858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250" kern="1200">
          <a:solidFill>
            <a:schemeClr val="tx1"/>
          </a:solidFill>
          <a:latin typeface="+mn-lt"/>
          <a:ea typeface="+mn-ea"/>
          <a:cs typeface="+mn-cs"/>
        </a:defRPr>
      </a:lvl3pPr>
      <a:lvl4pPr marL="18002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3145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8289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3432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8576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3719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2pPr>
      <a:lvl3pPr marL="10287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5430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717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0861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6004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1148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81F76">
            <a:alpha val="6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2290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01" r:id="rId3"/>
    <p:sldLayoutId id="2147483902" r:id="rId4"/>
    <p:sldLayoutId id="2147483903" r:id="rId5"/>
  </p:sldLayoutIdLst>
  <p:hf sldNum="0" hdr="0" ftr="0" dt="0"/>
  <p:txStyles>
    <p:titleStyle>
      <a:lvl1pPr algn="l" defTabSz="10287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281F76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1028700" rtl="0" eaLnBrk="1" latinLnBrk="0" hangingPunct="1">
        <a:lnSpc>
          <a:spcPct val="90000"/>
        </a:lnSpc>
        <a:spcBef>
          <a:spcPts val="1125"/>
        </a:spcBef>
        <a:buFont typeface="Arial" panose="020B0604020202020204" pitchFamily="34" charset="0"/>
        <a:buChar char="•"/>
        <a:defRPr sz="3150" kern="1200">
          <a:solidFill>
            <a:schemeClr val="tx1"/>
          </a:solidFill>
          <a:latin typeface="+mn-lt"/>
          <a:ea typeface="+mn-ea"/>
          <a:cs typeface="+mn-cs"/>
        </a:defRPr>
      </a:lvl1pPr>
      <a:lvl2pPr marL="7715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2858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250" kern="1200">
          <a:solidFill>
            <a:schemeClr val="tx1"/>
          </a:solidFill>
          <a:latin typeface="+mn-lt"/>
          <a:ea typeface="+mn-ea"/>
          <a:cs typeface="+mn-cs"/>
        </a:defRPr>
      </a:lvl3pPr>
      <a:lvl4pPr marL="18002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3145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8289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3432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8576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3719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2pPr>
      <a:lvl3pPr marL="10287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5430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717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0861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6004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1148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2F2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0A15EC2-3035-8E31-6E3A-CBFA49EC60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915900" y="9534525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484273BE-2472-445C-BCBA-3A6F6BD3A01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7172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5" r:id="rId1"/>
    <p:sldLayoutId id="2147483946" r:id="rId2"/>
    <p:sldLayoutId id="2147483947" r:id="rId3"/>
    <p:sldLayoutId id="2147483948" r:id="rId4"/>
    <p:sldLayoutId id="2147483949" r:id="rId5"/>
    <p:sldLayoutId id="2147483950" r:id="rId6"/>
    <p:sldLayoutId id="2147483951" r:id="rId7"/>
    <p:sldLayoutId id="2147483952" r:id="rId8"/>
    <p:sldLayoutId id="2147483953" r:id="rId9"/>
  </p:sldLayoutIdLst>
  <p:hf hdr="0" ftr="0" dt="0"/>
  <p:txStyles>
    <p:titleStyle>
      <a:lvl1pPr algn="l" defTabSz="10287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281F76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1028700" rtl="0" eaLnBrk="1" latinLnBrk="0" hangingPunct="1">
        <a:lnSpc>
          <a:spcPct val="90000"/>
        </a:lnSpc>
        <a:spcBef>
          <a:spcPts val="1125"/>
        </a:spcBef>
        <a:buFont typeface="Arial" panose="020B0604020202020204" pitchFamily="34" charset="0"/>
        <a:buChar char="•"/>
        <a:defRPr sz="3150" kern="1200">
          <a:solidFill>
            <a:schemeClr val="tx1"/>
          </a:solidFill>
          <a:latin typeface="+mn-lt"/>
          <a:ea typeface="+mn-ea"/>
          <a:cs typeface="+mn-cs"/>
        </a:defRPr>
      </a:lvl1pPr>
      <a:lvl2pPr marL="7715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2858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250" kern="1200">
          <a:solidFill>
            <a:schemeClr val="tx1"/>
          </a:solidFill>
          <a:latin typeface="+mn-lt"/>
          <a:ea typeface="+mn-ea"/>
          <a:cs typeface="+mn-cs"/>
        </a:defRPr>
      </a:lvl3pPr>
      <a:lvl4pPr marL="18002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3145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8289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3432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8576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3719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2pPr>
      <a:lvl3pPr marL="10287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5430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717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0861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6004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1148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81F76">
            <a:alpha val="6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7155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  <p:sldLayoutId id="2147483982" r:id="rId4"/>
    <p:sldLayoutId id="2147483983" r:id="rId5"/>
    <p:sldLayoutId id="2147483984" r:id="rId6"/>
    <p:sldLayoutId id="2147483985" r:id="rId7"/>
  </p:sldLayoutIdLst>
  <p:hf sldNum="0" hdr="0" ftr="0" dt="0"/>
  <p:txStyles>
    <p:titleStyle>
      <a:lvl1pPr algn="l" defTabSz="10287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281F76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1028700" rtl="0" eaLnBrk="1" latinLnBrk="0" hangingPunct="1">
        <a:lnSpc>
          <a:spcPct val="90000"/>
        </a:lnSpc>
        <a:spcBef>
          <a:spcPts val="1125"/>
        </a:spcBef>
        <a:buFont typeface="Arial" panose="020B0604020202020204" pitchFamily="34" charset="0"/>
        <a:buChar char="•"/>
        <a:defRPr sz="3150" kern="1200">
          <a:solidFill>
            <a:schemeClr val="tx1"/>
          </a:solidFill>
          <a:latin typeface="+mn-lt"/>
          <a:ea typeface="+mn-ea"/>
          <a:cs typeface="+mn-cs"/>
        </a:defRPr>
      </a:lvl1pPr>
      <a:lvl2pPr marL="7715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2858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250" kern="1200">
          <a:solidFill>
            <a:schemeClr val="tx1"/>
          </a:solidFill>
          <a:latin typeface="+mn-lt"/>
          <a:ea typeface="+mn-ea"/>
          <a:cs typeface="+mn-cs"/>
        </a:defRPr>
      </a:lvl3pPr>
      <a:lvl4pPr marL="18002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3145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8289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3432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8576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3719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2pPr>
      <a:lvl3pPr marL="10287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5430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717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0861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6004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1148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2F2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4843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7" r:id="rId1"/>
    <p:sldLayoutId id="2147483988" r:id="rId2"/>
    <p:sldLayoutId id="2147483989" r:id="rId3"/>
    <p:sldLayoutId id="2147483990" r:id="rId4"/>
    <p:sldLayoutId id="2147483991" r:id="rId5"/>
    <p:sldLayoutId id="2147483992" r:id="rId6"/>
    <p:sldLayoutId id="2147483993" r:id="rId7"/>
  </p:sldLayoutIdLst>
  <p:hf sldNum="0" hdr="0" ftr="0" dt="0"/>
  <p:txStyles>
    <p:titleStyle>
      <a:lvl1pPr algn="l" defTabSz="10287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281F76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1028700" rtl="0" eaLnBrk="1" latinLnBrk="0" hangingPunct="1">
        <a:lnSpc>
          <a:spcPct val="90000"/>
        </a:lnSpc>
        <a:spcBef>
          <a:spcPts val="1125"/>
        </a:spcBef>
        <a:buFont typeface="Arial" panose="020B0604020202020204" pitchFamily="34" charset="0"/>
        <a:buChar char="•"/>
        <a:defRPr sz="3150" kern="1200">
          <a:solidFill>
            <a:schemeClr val="tx1"/>
          </a:solidFill>
          <a:latin typeface="+mn-lt"/>
          <a:ea typeface="+mn-ea"/>
          <a:cs typeface="+mn-cs"/>
        </a:defRPr>
      </a:lvl1pPr>
      <a:lvl2pPr marL="7715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2858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250" kern="1200">
          <a:solidFill>
            <a:schemeClr val="tx1"/>
          </a:solidFill>
          <a:latin typeface="+mn-lt"/>
          <a:ea typeface="+mn-ea"/>
          <a:cs typeface="+mn-cs"/>
        </a:defRPr>
      </a:lvl3pPr>
      <a:lvl4pPr marL="18002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3145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8289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3432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8576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3719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2pPr>
      <a:lvl3pPr marL="10287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5430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717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0861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6004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1148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81F76">
            <a:alpha val="6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51E3C30-4DC5-3843-031C-01787B6501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915900" y="9534525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AD905886-A2ED-4358-9332-5951AE383A5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4089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44" r:id="rId2"/>
    <p:sldLayoutId id="2147484045" r:id="rId3"/>
    <p:sldLayoutId id="2147484046" r:id="rId4"/>
    <p:sldLayoutId id="2147484047" r:id="rId5"/>
    <p:sldLayoutId id="2147484048" r:id="rId6"/>
    <p:sldLayoutId id="2147484049" r:id="rId7"/>
  </p:sldLayoutIdLst>
  <p:hf sldNum="0" hdr="0" ftr="0" dt="0"/>
  <p:txStyles>
    <p:titleStyle>
      <a:lvl1pPr algn="l" defTabSz="10287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281F76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1028700" rtl="0" eaLnBrk="1" latinLnBrk="0" hangingPunct="1">
        <a:lnSpc>
          <a:spcPct val="90000"/>
        </a:lnSpc>
        <a:spcBef>
          <a:spcPts val="1125"/>
        </a:spcBef>
        <a:buFont typeface="Arial" panose="020B0604020202020204" pitchFamily="34" charset="0"/>
        <a:buChar char="•"/>
        <a:defRPr sz="3150" kern="1200">
          <a:solidFill>
            <a:schemeClr val="tx1"/>
          </a:solidFill>
          <a:latin typeface="+mn-lt"/>
          <a:ea typeface="+mn-ea"/>
          <a:cs typeface="+mn-cs"/>
        </a:defRPr>
      </a:lvl1pPr>
      <a:lvl2pPr marL="7715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2858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250" kern="1200">
          <a:solidFill>
            <a:schemeClr val="tx1"/>
          </a:solidFill>
          <a:latin typeface="+mn-lt"/>
          <a:ea typeface="+mn-ea"/>
          <a:cs typeface="+mn-cs"/>
        </a:defRPr>
      </a:lvl3pPr>
      <a:lvl4pPr marL="18002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3145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8289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3432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8576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3719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2pPr>
      <a:lvl3pPr marL="10287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5430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717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0861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6004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1148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2F2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F70ED17-1A73-D1B3-FBDC-9F97D1E53C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915900" y="9534526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3CA7B881-7E49-46C8-8493-6F794DC2B39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9D52767C-3E44-FD97-C8C4-9F51BAA186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547690"/>
            <a:ext cx="15773400" cy="19891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582282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1" r:id="rId1"/>
    <p:sldLayoutId id="2147484052" r:id="rId2"/>
    <p:sldLayoutId id="2147484053" r:id="rId3"/>
    <p:sldLayoutId id="2147484054" r:id="rId4"/>
    <p:sldLayoutId id="2147484055" r:id="rId5"/>
  </p:sldLayoutIdLst>
  <p:hf sldNum="0" hdr="0" dt="0"/>
  <p:txStyles>
    <p:titleStyle>
      <a:lvl1pPr algn="l" defTabSz="1028751" rtl="0" eaLnBrk="1" latinLnBrk="0" hangingPunct="1">
        <a:lnSpc>
          <a:spcPct val="90000"/>
        </a:lnSpc>
        <a:spcBef>
          <a:spcPct val="0"/>
        </a:spcBef>
        <a:buNone/>
        <a:defRPr sz="2801" b="1" kern="1200">
          <a:solidFill>
            <a:srgbClr val="281F76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57189" indent="-257189" algn="l" defTabSz="1028751" rtl="0" eaLnBrk="1" latinLnBrk="0" hangingPunct="1">
        <a:lnSpc>
          <a:spcPct val="90000"/>
        </a:lnSpc>
        <a:spcBef>
          <a:spcPts val="1125"/>
        </a:spcBef>
        <a:buFont typeface="Arial" panose="020B0604020202020204" pitchFamily="34" charset="0"/>
        <a:buChar char="•"/>
        <a:defRPr sz="3150" kern="1200">
          <a:solidFill>
            <a:schemeClr val="tx1"/>
          </a:solidFill>
          <a:latin typeface="+mn-lt"/>
          <a:ea typeface="+mn-ea"/>
          <a:cs typeface="+mn-cs"/>
        </a:defRPr>
      </a:lvl1pPr>
      <a:lvl2pPr marL="771564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285940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250" kern="1200">
          <a:solidFill>
            <a:schemeClr val="tx1"/>
          </a:solidFill>
          <a:latin typeface="+mn-lt"/>
          <a:ea typeface="+mn-ea"/>
          <a:cs typeface="+mn-cs"/>
        </a:defRPr>
      </a:lvl3pPr>
      <a:lvl4pPr marL="1800315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314691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829066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343442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857819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372194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1pPr>
      <a:lvl2pPr marL="514376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2pPr>
      <a:lvl3pPr marL="1028751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543127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4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71879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086255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600630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115006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81F76">
            <a:alpha val="6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1357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4058" r:id="rId2"/>
  </p:sldLayoutIdLst>
  <p:hf sldNum="0" hdr="0" ftr="0" dt="0"/>
  <p:txStyles>
    <p:titleStyle>
      <a:lvl1pPr algn="l" defTabSz="10287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281F76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1028700" rtl="0" eaLnBrk="1" latinLnBrk="0" hangingPunct="1">
        <a:lnSpc>
          <a:spcPct val="90000"/>
        </a:lnSpc>
        <a:spcBef>
          <a:spcPts val="1125"/>
        </a:spcBef>
        <a:buFont typeface="Arial" panose="020B0604020202020204" pitchFamily="34" charset="0"/>
        <a:buChar char="•"/>
        <a:defRPr sz="3150" kern="1200">
          <a:solidFill>
            <a:schemeClr val="tx1"/>
          </a:solidFill>
          <a:latin typeface="+mn-lt"/>
          <a:ea typeface="+mn-ea"/>
          <a:cs typeface="+mn-cs"/>
        </a:defRPr>
      </a:lvl1pPr>
      <a:lvl2pPr marL="7715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2858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250" kern="1200">
          <a:solidFill>
            <a:schemeClr val="tx1"/>
          </a:solidFill>
          <a:latin typeface="+mn-lt"/>
          <a:ea typeface="+mn-ea"/>
          <a:cs typeface="+mn-cs"/>
        </a:defRPr>
      </a:lvl3pPr>
      <a:lvl4pPr marL="18002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3145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8289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3432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8576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3719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2pPr>
      <a:lvl3pPr marL="10287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5430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717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0861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6004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1148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81F76">
            <a:alpha val="6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56103D2-F2F9-47EF-AFBE-A4B22AD1A4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915541688"/>
              </p:ext>
            </p:extLst>
          </p:nvPr>
        </p:nvGraphicFramePr>
        <p:xfrm>
          <a:off x="1589" y="1589"/>
          <a:ext cx="1589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56103D2-F2F9-47EF-AFBE-A4B22AD1A4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9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Εικόνα 1">
            <a:extLst>
              <a:ext uri="{FF2B5EF4-FFF2-40B4-BE49-F238E27FC236}">
                <a16:creationId xmlns:a16="http://schemas.microsoft.com/office/drawing/2014/main" id="{14A77FCA-3CE2-4861-870E-AD671E54C122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215009" y="9103942"/>
            <a:ext cx="2054531" cy="1030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31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1" r:id="rId1"/>
    <p:sldLayoutId id="2147484062" r:id="rId2"/>
    <p:sldLayoutId id="2147484063" r:id="rId3"/>
    <p:sldLayoutId id="2147484064" r:id="rId4"/>
    <p:sldLayoutId id="2147484065" r:id="rId5"/>
  </p:sldLayoutIdLst>
  <p:hf sldNum="0" hdr="0" ftr="0" dt="0"/>
  <p:txStyles>
    <p:titleStyle>
      <a:lvl1pPr algn="l" defTabSz="1028751" rtl="0" eaLnBrk="1" latinLnBrk="0" hangingPunct="1">
        <a:lnSpc>
          <a:spcPct val="90000"/>
        </a:lnSpc>
        <a:spcBef>
          <a:spcPct val="0"/>
        </a:spcBef>
        <a:buNone/>
        <a:defRPr sz="2801" b="1" kern="1200">
          <a:solidFill>
            <a:srgbClr val="281F76"/>
          </a:solidFill>
          <a:latin typeface="+mj-lt"/>
          <a:ea typeface="+mj-ea"/>
          <a:cs typeface="+mj-cs"/>
        </a:defRPr>
      </a:lvl1pPr>
    </p:titleStyle>
    <p:bodyStyle>
      <a:lvl1pPr marL="257189" indent="-257189" algn="l" defTabSz="1028751" rtl="0" eaLnBrk="1" latinLnBrk="0" hangingPunct="1">
        <a:lnSpc>
          <a:spcPct val="90000"/>
        </a:lnSpc>
        <a:spcBef>
          <a:spcPts val="1125"/>
        </a:spcBef>
        <a:buFont typeface="Arial" panose="020B0604020202020204" pitchFamily="34" charset="0"/>
        <a:buChar char="•"/>
        <a:defRPr sz="3150" kern="1200">
          <a:solidFill>
            <a:schemeClr val="tx1"/>
          </a:solidFill>
          <a:latin typeface="+mn-lt"/>
          <a:ea typeface="+mn-ea"/>
          <a:cs typeface="+mn-cs"/>
        </a:defRPr>
      </a:lvl1pPr>
      <a:lvl2pPr marL="771564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285940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250" kern="1200">
          <a:solidFill>
            <a:schemeClr val="tx1"/>
          </a:solidFill>
          <a:latin typeface="+mn-lt"/>
          <a:ea typeface="+mn-ea"/>
          <a:cs typeface="+mn-cs"/>
        </a:defRPr>
      </a:lvl3pPr>
      <a:lvl4pPr marL="1800315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314691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829066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343442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857819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372194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1pPr>
      <a:lvl2pPr marL="514376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2pPr>
      <a:lvl3pPr marL="1028751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543127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4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71879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086255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600630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115006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346704" y="1447038"/>
            <a:ext cx="11594592" cy="1783080"/>
          </a:xfrm>
          <a:prstGeom prst="rect">
            <a:avLst/>
          </a:prstGeom>
          <a:solidFill>
            <a:srgbClr val="FFFFFF"/>
          </a:solidFill>
          <a:ln w="31750" cap="sq">
            <a:solidFill>
              <a:srgbClr val="404040"/>
            </a:solidFill>
            <a:miter lim="800000"/>
          </a:ln>
        </p:spPr>
        <p:txBody>
          <a:bodyPr vert="horz" lIns="182880" tIns="182880" rIns="182880" bIns="18288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6704" y="3957067"/>
            <a:ext cx="11594592" cy="46529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732144" y="9358224"/>
            <a:ext cx="4130619" cy="4859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75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fld id="{1160EA64-D806-43AC-9DF2-F8C432F32B4C}" type="datetimeFigureOut">
              <a:rPr lang="en-US" dirty="0"/>
              <a:t>3/1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400301" y="9354312"/>
            <a:ext cx="8851784" cy="4800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75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6138383" y="9326880"/>
            <a:ext cx="548640" cy="548640"/>
          </a:xfrm>
          <a:prstGeom prst="ellipse">
            <a:avLst/>
          </a:prstGeom>
          <a:solidFill>
            <a:srgbClr val="1D1D1D">
              <a:alpha val="70000"/>
            </a:srgbClr>
          </a:solidFill>
        </p:spPr>
        <p:txBody>
          <a:bodyPr vert="horz" lIns="18288" tIns="45720" rIns="18288" bIns="45720" rtlCol="0" anchor="ctr">
            <a:noAutofit/>
          </a:bodyPr>
          <a:lstStyle>
            <a:lvl1pPr algn="ctr">
              <a:defRPr sz="1650" spc="0" baseline="0">
                <a:solidFill>
                  <a:srgbClr val="FFFFFF"/>
                </a:solidFill>
              </a:defRPr>
            </a:lvl1pPr>
          </a:lstStyle>
          <a:p>
            <a:fld id="{8A7A6979-0714-4377-B894-6BE4C2D6E202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668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1" r:id="rId1"/>
    <p:sldLayoutId id="2147484092" r:id="rId2"/>
    <p:sldLayoutId id="2147484093" r:id="rId3"/>
    <p:sldLayoutId id="2147484094" r:id="rId4"/>
    <p:sldLayoutId id="2147484095" r:id="rId5"/>
    <p:sldLayoutId id="2147484096" r:id="rId6"/>
    <p:sldLayoutId id="2147484097" r:id="rId7"/>
    <p:sldLayoutId id="2147484098" r:id="rId8"/>
    <p:sldLayoutId id="2147484099" r:id="rId9"/>
    <p:sldLayoutId id="2147484100" r:id="rId10"/>
    <p:sldLayoutId id="2147484101" r:id="rId11"/>
    <p:sldLayoutId id="2147484102" r:id="rId12"/>
    <p:sldLayoutId id="2147484103" r:id="rId13"/>
    <p:sldLayoutId id="2147484104" r:id="rId14"/>
    <p:sldLayoutId id="2147484105" r:id="rId15"/>
  </p:sldLayoutIdLst>
  <p:hf sldNum="0" hdr="0" ftr="0" dt="0"/>
  <p:txStyles>
    <p:titleStyle>
      <a:lvl1pPr algn="ctr" defTabSz="1371600" rtl="0" eaLnBrk="1" latinLnBrk="0" hangingPunct="1">
        <a:lnSpc>
          <a:spcPct val="90000"/>
        </a:lnSpc>
        <a:spcBef>
          <a:spcPct val="0"/>
        </a:spcBef>
        <a:buNone/>
        <a:defRPr sz="4200" kern="1200" cap="all" spc="300" baseline="0">
          <a:solidFill>
            <a:srgbClr val="262626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371600" rtl="0" eaLnBrk="1" latinLnBrk="0" hangingPunct="1">
        <a:lnSpc>
          <a:spcPct val="100000"/>
        </a:lnSpc>
        <a:spcBef>
          <a:spcPts val="1500"/>
        </a:spcBef>
        <a:buClr>
          <a:schemeClr val="accent2"/>
        </a:buClr>
        <a:buFont typeface="Arial" panose="020B0604020202020204" pitchFamily="34" charset="0"/>
        <a:buChar char="•"/>
        <a:defRPr sz="27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685800" indent="-342900" algn="l" defTabSz="1371600" rtl="0" eaLnBrk="1" latinLnBrk="0" hangingPunct="1">
        <a:lnSpc>
          <a:spcPct val="100000"/>
        </a:lnSpc>
        <a:spcBef>
          <a:spcPts val="15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1028700" indent="-342900" algn="l" defTabSz="1371600" rtl="0" eaLnBrk="1" latinLnBrk="0" hangingPunct="1">
        <a:lnSpc>
          <a:spcPct val="100000"/>
        </a:lnSpc>
        <a:spcBef>
          <a:spcPts val="15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1371600" indent="-342900" algn="l" defTabSz="1371600" rtl="0" eaLnBrk="1" latinLnBrk="0" hangingPunct="1">
        <a:lnSpc>
          <a:spcPct val="100000"/>
        </a:lnSpc>
        <a:spcBef>
          <a:spcPts val="15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714500" indent="-342900" algn="l" defTabSz="1371600" rtl="0" eaLnBrk="1" latinLnBrk="0" hangingPunct="1">
        <a:lnSpc>
          <a:spcPct val="100000"/>
        </a:lnSpc>
        <a:spcBef>
          <a:spcPts val="15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969295" indent="-342900" algn="l" defTabSz="1371600" rtl="0" eaLnBrk="1" latinLnBrk="0" hangingPunct="1">
        <a:lnSpc>
          <a:spcPct val="100000"/>
        </a:lnSpc>
        <a:spcBef>
          <a:spcPts val="15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6470" indent="-342900" algn="l" defTabSz="1371600" rtl="0" eaLnBrk="1" latinLnBrk="0" hangingPunct="1">
        <a:lnSpc>
          <a:spcPct val="100000"/>
        </a:lnSpc>
        <a:spcBef>
          <a:spcPts val="15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2486025" indent="-342900" algn="l" defTabSz="1371600" rtl="0" eaLnBrk="1" latinLnBrk="0" hangingPunct="1">
        <a:lnSpc>
          <a:spcPct val="100000"/>
        </a:lnSpc>
        <a:spcBef>
          <a:spcPts val="1500"/>
        </a:spcBef>
        <a:buClr>
          <a:schemeClr val="accent2"/>
        </a:buClr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824163" indent="-342900" algn="l" defTabSz="1371600" rtl="0" eaLnBrk="1" latinLnBrk="0" hangingPunct="1">
        <a:lnSpc>
          <a:spcPct val="100000"/>
        </a:lnSpc>
        <a:spcBef>
          <a:spcPts val="1500"/>
        </a:spcBef>
        <a:buClr>
          <a:schemeClr val="accent2"/>
        </a:buClr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τίτλου 1">
            <a:extLst>
              <a:ext uri="{FF2B5EF4-FFF2-40B4-BE49-F238E27FC236}">
                <a16:creationId xmlns:a16="http://schemas.microsoft.com/office/drawing/2014/main" id="{6A1212A2-5233-5312-68E3-6DF190C1D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547688"/>
            <a:ext cx="15773400" cy="19883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κειμένου 2">
            <a:extLst>
              <a:ext uri="{FF2B5EF4-FFF2-40B4-BE49-F238E27FC236}">
                <a16:creationId xmlns:a16="http://schemas.microsoft.com/office/drawing/2014/main" id="{E3314F24-8425-9EDD-A550-8150D25A15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57300" y="2738438"/>
            <a:ext cx="15773400" cy="65270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id="{46EB91BE-3938-89E2-C929-9A4827322C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B1C25D-7FB8-4D36-9B18-8F55FBC65D4C}" type="datetimeFigureOut">
              <a:rPr lang="el-GR" smtClean="0"/>
              <a:t>15/3/2024</a:t>
            </a:fld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id="{0EA7771C-7575-E928-2AC4-D62B3527F1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l-GR"/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id="{8F18AAD3-93D0-660A-3D26-0CAB7E8863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915900" y="9534526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FD355A-6DCF-4C8F-BD4D-74D9E14487FB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656961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1" r:id="rId1"/>
    <p:sldLayoutId id="2147484112" r:id="rId2"/>
    <p:sldLayoutId id="2147484113" r:id="rId3"/>
    <p:sldLayoutId id="2147484114" r:id="rId4"/>
    <p:sldLayoutId id="2147484115" r:id="rId5"/>
    <p:sldLayoutId id="2147484116" r:id="rId6"/>
    <p:sldLayoutId id="2147484117" r:id="rId7"/>
    <p:sldLayoutId id="2147484118" r:id="rId8"/>
    <p:sldLayoutId id="2147484119" r:id="rId9"/>
    <p:sldLayoutId id="2147484120" r:id="rId10"/>
    <p:sldLayoutId id="2147484121" r:id="rId11"/>
    <p:sldLayoutId id="2147484122" r:id="rId12"/>
    <p:sldLayoutId id="2147484123" r:id="rId13"/>
    <p:sldLayoutId id="2147484124" r:id="rId14"/>
    <p:sldLayoutId id="2147484125" r:id="rId15"/>
  </p:sldLayoutIdLst>
  <mc:AlternateContent xmlns:mc="http://schemas.openxmlformats.org/markup-compatibility/2006" xmlns:p14="http://schemas.microsoft.com/office/powerpoint/2010/main">
    <mc:Choice Requires="p14">
      <p:transition p14:dur="10">
        <p:random/>
      </p:transition>
    </mc:Choice>
    <mc:Fallback xmlns="">
      <p:transition>
        <p:random/>
      </p:transition>
    </mc:Fallback>
  </mc:AlternateContent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6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3716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1pPr>
      <a:lvl2pPr marL="1028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81F76">
            <a:alpha val="6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51E3C30-4DC5-3843-031C-01787B6501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915900" y="9534525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AD905886-A2ED-4358-9332-5951AE383A5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75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</p:sldLayoutIdLst>
  <p:hf sldNum="0" hdr="0" ftr="0" dt="0"/>
  <p:txStyles>
    <p:titleStyle>
      <a:lvl1pPr algn="l" defTabSz="10287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281F76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1028700" rtl="0" eaLnBrk="1" latinLnBrk="0" hangingPunct="1">
        <a:lnSpc>
          <a:spcPct val="90000"/>
        </a:lnSpc>
        <a:spcBef>
          <a:spcPts val="1125"/>
        </a:spcBef>
        <a:buFont typeface="Arial" panose="020B0604020202020204" pitchFamily="34" charset="0"/>
        <a:buChar char="•"/>
        <a:defRPr sz="3150" kern="1200">
          <a:solidFill>
            <a:schemeClr val="tx1"/>
          </a:solidFill>
          <a:latin typeface="+mn-lt"/>
          <a:ea typeface="+mn-ea"/>
          <a:cs typeface="+mn-cs"/>
        </a:defRPr>
      </a:lvl1pPr>
      <a:lvl2pPr marL="7715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2858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250" kern="1200">
          <a:solidFill>
            <a:schemeClr val="tx1"/>
          </a:solidFill>
          <a:latin typeface="+mn-lt"/>
          <a:ea typeface="+mn-ea"/>
          <a:cs typeface="+mn-cs"/>
        </a:defRPr>
      </a:lvl3pPr>
      <a:lvl4pPr marL="18002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3145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8289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3432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8576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3719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2pPr>
      <a:lvl3pPr marL="10287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5430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717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0861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6004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1148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81F76">
            <a:alpha val="6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6988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</p:sldLayoutIdLst>
  <p:hf sldNum="0" hdr="0" ftr="0" dt="0"/>
  <p:txStyles>
    <p:titleStyle>
      <a:lvl1pPr algn="l" defTabSz="10287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281F76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1028700" rtl="0" eaLnBrk="1" latinLnBrk="0" hangingPunct="1">
        <a:lnSpc>
          <a:spcPct val="90000"/>
        </a:lnSpc>
        <a:spcBef>
          <a:spcPts val="1125"/>
        </a:spcBef>
        <a:buFont typeface="Arial" panose="020B0604020202020204" pitchFamily="34" charset="0"/>
        <a:buChar char="•"/>
        <a:defRPr sz="3150" kern="1200">
          <a:solidFill>
            <a:schemeClr val="tx1"/>
          </a:solidFill>
          <a:latin typeface="+mn-lt"/>
          <a:ea typeface="+mn-ea"/>
          <a:cs typeface="+mn-cs"/>
        </a:defRPr>
      </a:lvl1pPr>
      <a:lvl2pPr marL="7715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2858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250" kern="1200">
          <a:solidFill>
            <a:schemeClr val="tx1"/>
          </a:solidFill>
          <a:latin typeface="+mn-lt"/>
          <a:ea typeface="+mn-ea"/>
          <a:cs typeface="+mn-cs"/>
        </a:defRPr>
      </a:lvl3pPr>
      <a:lvl4pPr marL="18002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3145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8289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3432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8576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3719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2pPr>
      <a:lvl3pPr marL="10287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5430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717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0861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6004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1148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81F76">
            <a:alpha val="6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56103D2-F2F9-47EF-AFBE-A4B22AD1A4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915541688"/>
              </p:ext>
            </p:extLst>
          </p:nvPr>
        </p:nvGraphicFramePr>
        <p:xfrm>
          <a:off x="1589" y="1589"/>
          <a:ext cx="1589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3" imgW="473" imgH="473" progId="TCLayout.ActiveDocument.1">
                  <p:embed/>
                </p:oleObj>
              </mc:Choice>
              <mc:Fallback>
                <p:oleObj name="think-cell Slide" r:id="rId13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56103D2-F2F9-47EF-AFBE-A4B22AD1A4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9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Εικόνα 1">
            <a:extLst>
              <a:ext uri="{FF2B5EF4-FFF2-40B4-BE49-F238E27FC236}">
                <a16:creationId xmlns:a16="http://schemas.microsoft.com/office/drawing/2014/main" id="{14A77FCA-3CE2-4861-870E-AD671E54C122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5009" y="9103942"/>
            <a:ext cx="2054531" cy="1030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4493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4106" r:id="rId7"/>
    <p:sldLayoutId id="2147484108" r:id="rId8"/>
    <p:sldLayoutId id="2147484127" r:id="rId9"/>
  </p:sldLayoutIdLst>
  <p:hf sldNum="0" hdr="0" ftr="0" dt="0"/>
  <p:txStyles>
    <p:titleStyle>
      <a:lvl1pPr algn="l" defTabSz="1028751" rtl="0" eaLnBrk="1" latinLnBrk="0" hangingPunct="1">
        <a:lnSpc>
          <a:spcPct val="90000"/>
        </a:lnSpc>
        <a:spcBef>
          <a:spcPct val="0"/>
        </a:spcBef>
        <a:buNone/>
        <a:defRPr sz="2801" b="1" kern="1200">
          <a:solidFill>
            <a:srgbClr val="281F76"/>
          </a:solidFill>
          <a:latin typeface="+mj-lt"/>
          <a:ea typeface="+mj-ea"/>
          <a:cs typeface="+mj-cs"/>
        </a:defRPr>
      </a:lvl1pPr>
    </p:titleStyle>
    <p:bodyStyle>
      <a:lvl1pPr marL="257189" indent="-257189" algn="l" defTabSz="1028751" rtl="0" eaLnBrk="1" latinLnBrk="0" hangingPunct="1">
        <a:lnSpc>
          <a:spcPct val="90000"/>
        </a:lnSpc>
        <a:spcBef>
          <a:spcPts val="1125"/>
        </a:spcBef>
        <a:buFont typeface="Arial" panose="020B0604020202020204" pitchFamily="34" charset="0"/>
        <a:buChar char="•"/>
        <a:defRPr sz="3150" kern="1200">
          <a:solidFill>
            <a:schemeClr val="tx1"/>
          </a:solidFill>
          <a:latin typeface="+mn-lt"/>
          <a:ea typeface="+mn-ea"/>
          <a:cs typeface="+mn-cs"/>
        </a:defRPr>
      </a:lvl1pPr>
      <a:lvl2pPr marL="771564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285940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250" kern="1200">
          <a:solidFill>
            <a:schemeClr val="tx1"/>
          </a:solidFill>
          <a:latin typeface="+mn-lt"/>
          <a:ea typeface="+mn-ea"/>
          <a:cs typeface="+mn-cs"/>
        </a:defRPr>
      </a:lvl3pPr>
      <a:lvl4pPr marL="1800315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314691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829066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343442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857819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372194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1pPr>
      <a:lvl2pPr marL="514376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2pPr>
      <a:lvl3pPr marL="1028751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543127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4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71879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086255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600630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115006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2F2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03844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835" r:id="rId3"/>
    <p:sldLayoutId id="2147483836" r:id="rId4"/>
  </p:sldLayoutIdLst>
  <p:hf hdr="0" ftr="0" dt="0"/>
  <p:txStyles>
    <p:titleStyle>
      <a:lvl1pPr algn="l" defTabSz="1028751" rtl="0" eaLnBrk="1" latinLnBrk="0" hangingPunct="1">
        <a:lnSpc>
          <a:spcPct val="90000"/>
        </a:lnSpc>
        <a:spcBef>
          <a:spcPct val="0"/>
        </a:spcBef>
        <a:buNone/>
        <a:defRPr sz="2801" b="1" kern="1200">
          <a:solidFill>
            <a:srgbClr val="281F76"/>
          </a:solidFill>
          <a:latin typeface="+mj-lt"/>
          <a:ea typeface="+mj-ea"/>
          <a:cs typeface="+mj-cs"/>
        </a:defRPr>
      </a:lvl1pPr>
    </p:titleStyle>
    <p:bodyStyle>
      <a:lvl1pPr marL="257189" indent="-257189" algn="l" defTabSz="1028751" rtl="0" eaLnBrk="1" latinLnBrk="0" hangingPunct="1">
        <a:lnSpc>
          <a:spcPct val="90000"/>
        </a:lnSpc>
        <a:spcBef>
          <a:spcPts val="1125"/>
        </a:spcBef>
        <a:buFont typeface="Arial" panose="020B0604020202020204" pitchFamily="34" charset="0"/>
        <a:buChar char="•"/>
        <a:defRPr sz="3150" kern="1200">
          <a:solidFill>
            <a:schemeClr val="tx1"/>
          </a:solidFill>
          <a:latin typeface="+mn-lt"/>
          <a:ea typeface="+mn-ea"/>
          <a:cs typeface="+mn-cs"/>
        </a:defRPr>
      </a:lvl1pPr>
      <a:lvl2pPr marL="771564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285940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250" kern="1200">
          <a:solidFill>
            <a:schemeClr val="tx1"/>
          </a:solidFill>
          <a:latin typeface="+mn-lt"/>
          <a:ea typeface="+mn-ea"/>
          <a:cs typeface="+mn-cs"/>
        </a:defRPr>
      </a:lvl3pPr>
      <a:lvl4pPr marL="1800315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314691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829066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343442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857819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372194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1pPr>
      <a:lvl2pPr marL="514376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2pPr>
      <a:lvl3pPr marL="1028751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543127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4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71879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086255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600630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115006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81F76">
            <a:alpha val="6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8144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6" r:id="rId9"/>
    <p:sldLayoutId id="2147483847" r:id="rId10"/>
    <p:sldLayoutId id="2147483848" r:id="rId11"/>
    <p:sldLayoutId id="2147483849" r:id="rId12"/>
  </p:sldLayoutIdLst>
  <p:hf sldNum="0" hdr="0" ftr="0" dt="0"/>
  <p:txStyles>
    <p:titleStyle>
      <a:lvl1pPr algn="l" defTabSz="10287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281F76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1028700" rtl="0" eaLnBrk="1" latinLnBrk="0" hangingPunct="1">
        <a:lnSpc>
          <a:spcPct val="90000"/>
        </a:lnSpc>
        <a:spcBef>
          <a:spcPts val="1125"/>
        </a:spcBef>
        <a:buFont typeface="Arial" panose="020B0604020202020204" pitchFamily="34" charset="0"/>
        <a:buChar char="•"/>
        <a:defRPr sz="3150" kern="1200">
          <a:solidFill>
            <a:schemeClr val="tx1"/>
          </a:solidFill>
          <a:latin typeface="+mn-lt"/>
          <a:ea typeface="+mn-ea"/>
          <a:cs typeface="+mn-cs"/>
        </a:defRPr>
      </a:lvl1pPr>
      <a:lvl2pPr marL="7715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2858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250" kern="1200">
          <a:solidFill>
            <a:schemeClr val="tx1"/>
          </a:solidFill>
          <a:latin typeface="+mn-lt"/>
          <a:ea typeface="+mn-ea"/>
          <a:cs typeface="+mn-cs"/>
        </a:defRPr>
      </a:lvl3pPr>
      <a:lvl4pPr marL="18002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3145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8289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3432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8576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3719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2pPr>
      <a:lvl3pPr marL="10287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5430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717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0861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6004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1148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81F76">
            <a:alpha val="6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87523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  <p:sldLayoutId id="2147483859" r:id="rId6"/>
    <p:sldLayoutId id="2147483860" r:id="rId7"/>
    <p:sldLayoutId id="2147483861" r:id="rId8"/>
    <p:sldLayoutId id="2147483862" r:id="rId9"/>
    <p:sldLayoutId id="2147483863" r:id="rId10"/>
    <p:sldLayoutId id="2147483864" r:id="rId11"/>
    <p:sldLayoutId id="2147483865" r:id="rId12"/>
    <p:sldLayoutId id="2147483866" r:id="rId13"/>
    <p:sldLayoutId id="2147483868" r:id="rId14"/>
  </p:sldLayoutIdLst>
  <p:hf sldNum="0" hdr="0" ftr="0" dt="0"/>
  <p:txStyles>
    <p:titleStyle>
      <a:lvl1pPr algn="l" defTabSz="10287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281F76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1028700" rtl="0" eaLnBrk="1" latinLnBrk="0" hangingPunct="1">
        <a:lnSpc>
          <a:spcPct val="90000"/>
        </a:lnSpc>
        <a:spcBef>
          <a:spcPts val="1125"/>
        </a:spcBef>
        <a:buFont typeface="Arial" panose="020B0604020202020204" pitchFamily="34" charset="0"/>
        <a:buChar char="•"/>
        <a:defRPr sz="3150" kern="1200">
          <a:solidFill>
            <a:schemeClr val="tx1"/>
          </a:solidFill>
          <a:latin typeface="+mn-lt"/>
          <a:ea typeface="+mn-ea"/>
          <a:cs typeface="+mn-cs"/>
        </a:defRPr>
      </a:lvl1pPr>
      <a:lvl2pPr marL="7715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2858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250" kern="1200">
          <a:solidFill>
            <a:schemeClr val="tx1"/>
          </a:solidFill>
          <a:latin typeface="+mn-lt"/>
          <a:ea typeface="+mn-ea"/>
          <a:cs typeface="+mn-cs"/>
        </a:defRPr>
      </a:lvl3pPr>
      <a:lvl4pPr marL="18002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3145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8289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3432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8576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3719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2pPr>
      <a:lvl3pPr marL="10287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5430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717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0861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6004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1148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2F2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986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  <p:sldLayoutId id="2147483871" r:id="rId2"/>
    <p:sldLayoutId id="2147483872" r:id="rId3"/>
    <p:sldLayoutId id="2147483873" r:id="rId4"/>
    <p:sldLayoutId id="2147483874" r:id="rId5"/>
    <p:sldLayoutId id="2147483875" r:id="rId6"/>
  </p:sldLayoutIdLst>
  <p:hf sldNum="0" hdr="0" ftr="0" dt="0"/>
  <p:txStyles>
    <p:titleStyle>
      <a:lvl1pPr algn="l" defTabSz="1028751" rtl="0" eaLnBrk="1" latinLnBrk="0" hangingPunct="1">
        <a:lnSpc>
          <a:spcPct val="90000"/>
        </a:lnSpc>
        <a:spcBef>
          <a:spcPct val="0"/>
        </a:spcBef>
        <a:buNone/>
        <a:defRPr sz="2801" b="1" kern="1200">
          <a:solidFill>
            <a:srgbClr val="281F76"/>
          </a:solidFill>
          <a:latin typeface="+mj-lt"/>
          <a:ea typeface="+mj-ea"/>
          <a:cs typeface="+mj-cs"/>
        </a:defRPr>
      </a:lvl1pPr>
    </p:titleStyle>
    <p:bodyStyle>
      <a:lvl1pPr marL="257189" indent="-257189" algn="l" defTabSz="1028751" rtl="0" eaLnBrk="1" latinLnBrk="0" hangingPunct="1">
        <a:lnSpc>
          <a:spcPct val="90000"/>
        </a:lnSpc>
        <a:spcBef>
          <a:spcPts val="1125"/>
        </a:spcBef>
        <a:buFont typeface="Arial" panose="020B0604020202020204" pitchFamily="34" charset="0"/>
        <a:buChar char="•"/>
        <a:defRPr sz="3150" kern="1200">
          <a:solidFill>
            <a:schemeClr val="tx1"/>
          </a:solidFill>
          <a:latin typeface="+mn-lt"/>
          <a:ea typeface="+mn-ea"/>
          <a:cs typeface="+mn-cs"/>
        </a:defRPr>
      </a:lvl1pPr>
      <a:lvl2pPr marL="771564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285940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250" kern="1200">
          <a:solidFill>
            <a:schemeClr val="tx1"/>
          </a:solidFill>
          <a:latin typeface="+mn-lt"/>
          <a:ea typeface="+mn-ea"/>
          <a:cs typeface="+mn-cs"/>
        </a:defRPr>
      </a:lvl3pPr>
      <a:lvl4pPr marL="1800315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314691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829066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343442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857819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372194" indent="-257189" algn="l" defTabSz="1028751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1pPr>
      <a:lvl2pPr marL="514376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2pPr>
      <a:lvl3pPr marL="1028751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543127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4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71879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086255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600630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115006" algn="l" defTabSz="1028751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81F76">
            <a:alpha val="6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3831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</p:sldLayoutIdLst>
  <p:hf sldNum="0" hdr="0" ftr="0" dt="0"/>
  <p:txStyles>
    <p:titleStyle>
      <a:lvl1pPr algn="l" defTabSz="10287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281F76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1028700" rtl="0" eaLnBrk="1" latinLnBrk="0" hangingPunct="1">
        <a:lnSpc>
          <a:spcPct val="90000"/>
        </a:lnSpc>
        <a:spcBef>
          <a:spcPts val="1125"/>
        </a:spcBef>
        <a:buFont typeface="Arial" panose="020B0604020202020204" pitchFamily="34" charset="0"/>
        <a:buChar char="•"/>
        <a:defRPr sz="3150" kern="1200">
          <a:solidFill>
            <a:schemeClr val="tx1"/>
          </a:solidFill>
          <a:latin typeface="+mn-lt"/>
          <a:ea typeface="+mn-ea"/>
          <a:cs typeface="+mn-cs"/>
        </a:defRPr>
      </a:lvl1pPr>
      <a:lvl2pPr marL="7715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2858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250" kern="1200">
          <a:solidFill>
            <a:schemeClr val="tx1"/>
          </a:solidFill>
          <a:latin typeface="+mn-lt"/>
          <a:ea typeface="+mn-ea"/>
          <a:cs typeface="+mn-cs"/>
        </a:defRPr>
      </a:lvl3pPr>
      <a:lvl4pPr marL="18002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3145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8289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3432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85762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371975" indent="-257175" algn="l" defTabSz="102870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2pPr>
      <a:lvl3pPr marL="10287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5430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717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0861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60045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114800" algn="l" defTabSz="102870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3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pendyseis.gr/" TargetMode="External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3.emf"/><Relationship Id="rId4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microsoft.com/office/2007/relationships/hdphoto" Target="../media/hdphoto1.wdp"/><Relationship Id="rId7" Type="http://schemas.openxmlformats.org/officeDocument/2006/relationships/image" Target="../media/image38.sv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7.png"/><Relationship Id="rId5" Type="http://schemas.openxmlformats.org/officeDocument/2006/relationships/image" Target="../media/image36.svg"/><Relationship Id="rId10" Type="http://schemas.openxmlformats.org/officeDocument/2006/relationships/image" Target="../media/image41.png"/><Relationship Id="rId4" Type="http://schemas.openxmlformats.org/officeDocument/2006/relationships/image" Target="../media/image35.png"/><Relationship Id="rId9" Type="http://schemas.openxmlformats.org/officeDocument/2006/relationships/chart" Target="../charts/char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46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8.sv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7.xml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52.jpe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51.png"/><Relationship Id="rId5" Type="http://schemas.openxmlformats.org/officeDocument/2006/relationships/image" Target="../media/image38.svg"/><Relationship Id="rId4" Type="http://schemas.openxmlformats.org/officeDocument/2006/relationships/image" Target="../media/image5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53.jpg"/><Relationship Id="rId1" Type="http://schemas.openxmlformats.org/officeDocument/2006/relationships/slideLayout" Target="../slideLayouts/slideLayout2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8.svg"/><Relationship Id="rId7" Type="http://schemas.openxmlformats.org/officeDocument/2006/relationships/image" Target="../media/image13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1.png"/><Relationship Id="rId5" Type="http://schemas.openxmlformats.org/officeDocument/2006/relationships/image" Target="../media/image20.jpeg"/><Relationship Id="rId4" Type="http://schemas.openxmlformats.org/officeDocument/2006/relationships/image" Target="../media/image19.png"/><Relationship Id="rId9" Type="http://schemas.openxmlformats.org/officeDocument/2006/relationships/image" Target="../media/image23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4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56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3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svg"/><Relationship Id="rId13" Type="http://schemas.openxmlformats.org/officeDocument/2006/relationships/image" Target="../media/image68.png"/><Relationship Id="rId3" Type="http://schemas.microsoft.com/office/2007/relationships/hdphoto" Target="../media/hdphoto3.wdp"/><Relationship Id="rId7" Type="http://schemas.openxmlformats.org/officeDocument/2006/relationships/image" Target="../media/image62.png"/><Relationship Id="rId12" Type="http://schemas.openxmlformats.org/officeDocument/2006/relationships/image" Target="../media/image67.sv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1.svg"/><Relationship Id="rId11" Type="http://schemas.openxmlformats.org/officeDocument/2006/relationships/image" Target="../media/image66.png"/><Relationship Id="rId5" Type="http://schemas.openxmlformats.org/officeDocument/2006/relationships/image" Target="../media/image60.png"/><Relationship Id="rId10" Type="http://schemas.openxmlformats.org/officeDocument/2006/relationships/image" Target="../media/image65.svg"/><Relationship Id="rId4" Type="http://schemas.openxmlformats.org/officeDocument/2006/relationships/image" Target="../media/image59.png"/><Relationship Id="rId9" Type="http://schemas.openxmlformats.org/officeDocument/2006/relationships/image" Target="../media/image64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0.png"/><Relationship Id="rId7" Type="http://schemas.openxmlformats.org/officeDocument/2006/relationships/image" Target="../media/image74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73.png"/><Relationship Id="rId11" Type="http://schemas.openxmlformats.org/officeDocument/2006/relationships/image" Target="../media/image78.png"/><Relationship Id="rId5" Type="http://schemas.openxmlformats.org/officeDocument/2006/relationships/image" Target="../media/image72.png"/><Relationship Id="rId10" Type="http://schemas.openxmlformats.org/officeDocument/2006/relationships/image" Target="../media/image77.svg"/><Relationship Id="rId4" Type="http://schemas.openxmlformats.org/officeDocument/2006/relationships/image" Target="../media/image71.png"/><Relationship Id="rId9" Type="http://schemas.openxmlformats.org/officeDocument/2006/relationships/image" Target="../media/image7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27.xml"/><Relationship Id="rId6" Type="http://schemas.openxmlformats.org/officeDocument/2006/relationships/image" Target="../media/image15.svg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81F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>
            <a:extLst>
              <a:ext uri="{FF2B5EF4-FFF2-40B4-BE49-F238E27FC236}">
                <a16:creationId xmlns:a16="http://schemas.microsoft.com/office/drawing/2014/main" id="{75A4135D-E78B-8755-7D72-1FE7D34105D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 rot="-10800000">
            <a:off x="14818658" y="6812260"/>
            <a:ext cx="3475929" cy="3475929"/>
          </a:xfrm>
          <a:prstGeom prst="rect">
            <a:avLst/>
          </a:prstGeom>
        </p:spPr>
      </p:pic>
      <p:grpSp>
        <p:nvGrpSpPr>
          <p:cNvPr id="5" name="Group 5">
            <a:extLst>
              <a:ext uri="{FF2B5EF4-FFF2-40B4-BE49-F238E27FC236}">
                <a16:creationId xmlns:a16="http://schemas.microsoft.com/office/drawing/2014/main" id="{C0A85951-9AF7-55F1-C98B-F8C9D4A96769}"/>
              </a:ext>
            </a:extLst>
          </p:cNvPr>
          <p:cNvGrpSpPr/>
          <p:nvPr/>
        </p:nvGrpSpPr>
        <p:grpSpPr>
          <a:xfrm>
            <a:off x="936139" y="1570241"/>
            <a:ext cx="12005877" cy="4973724"/>
            <a:chOff x="0" y="0"/>
            <a:chExt cx="16007835" cy="6631632"/>
          </a:xfrm>
        </p:grpSpPr>
        <p:sp>
          <p:nvSpPr>
            <p:cNvPr id="6" name="TextBox 6">
              <a:extLst>
                <a:ext uri="{FF2B5EF4-FFF2-40B4-BE49-F238E27FC236}">
                  <a16:creationId xmlns:a16="http://schemas.microsoft.com/office/drawing/2014/main" id="{06E82F2F-3077-05EC-8ECB-4B9027FC6E68}"/>
                </a:ext>
              </a:extLst>
            </p:cNvPr>
            <p:cNvSpPr txBox="1"/>
            <p:nvPr/>
          </p:nvSpPr>
          <p:spPr>
            <a:xfrm>
              <a:off x="0" y="3981334"/>
              <a:ext cx="16007835" cy="265029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defTabSz="914400">
                <a:lnSpc>
                  <a:spcPts val="15500"/>
                </a:lnSpc>
                <a:defRPr/>
              </a:pPr>
              <a:endParaRPr lang="en-US" sz="155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AutoShape 8">
              <a:extLst>
                <a:ext uri="{FF2B5EF4-FFF2-40B4-BE49-F238E27FC236}">
                  <a16:creationId xmlns:a16="http://schemas.microsoft.com/office/drawing/2014/main" id="{9C3CE79C-34B5-78C9-FE6A-E3994CD46187}"/>
                </a:ext>
              </a:extLst>
            </p:cNvPr>
            <p:cNvSpPr/>
            <p:nvPr/>
          </p:nvSpPr>
          <p:spPr>
            <a:xfrm>
              <a:off x="0" y="1772112"/>
              <a:ext cx="11300452" cy="1427903"/>
            </a:xfrm>
            <a:prstGeom prst="rect">
              <a:avLst/>
            </a:prstGeom>
            <a:noFill/>
          </p:spPr>
          <p:txBody>
            <a:bodyPr/>
            <a:lstStyle/>
            <a:p>
              <a:endParaRPr lang="en-US"/>
            </a:p>
          </p:txBody>
        </p:sp>
        <p:pic>
          <p:nvPicPr>
            <p:cNvPr id="9" name="Picture 10">
              <a:extLst>
                <a:ext uri="{FF2B5EF4-FFF2-40B4-BE49-F238E27FC236}">
                  <a16:creationId xmlns:a16="http://schemas.microsoft.com/office/drawing/2014/main" id="{E5AC7B9F-536B-73E3-8213-F4DA77DB9CA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121" b="121"/>
            <a:stretch>
              <a:fillRect/>
            </a:stretch>
          </p:blipFill>
          <p:spPr>
            <a:xfrm rot="-10800000">
              <a:off x="14053893" y="0"/>
              <a:ext cx="1266170" cy="1266170"/>
            </a:xfrm>
            <a:prstGeom prst="rect">
              <a:avLst/>
            </a:prstGeom>
          </p:spPr>
        </p:pic>
      </p:grpSp>
      <p:pic>
        <p:nvPicPr>
          <p:cNvPr id="10" name="Picture 9" descr="Text&#10;&#10;Description automatically generated with low confidence">
            <a:extLst>
              <a:ext uri="{FF2B5EF4-FFF2-40B4-BE49-F238E27FC236}">
                <a16:creationId xmlns:a16="http://schemas.microsoft.com/office/drawing/2014/main" id="{92BCE686-97C2-7699-256E-FD681766B05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297" y="768457"/>
            <a:ext cx="4265994" cy="213086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6815692-E706-8B1D-A4C3-25EA95FA5B57}"/>
              </a:ext>
            </a:extLst>
          </p:cNvPr>
          <p:cNvSpPr txBox="1"/>
          <p:nvPr/>
        </p:nvSpPr>
        <p:spPr>
          <a:xfrm>
            <a:off x="350044" y="4862442"/>
            <a:ext cx="1758791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5400" b="1" spc="179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λληνική Αναπτυξιακή Τράπεζα</a:t>
            </a:r>
            <a:r>
              <a:rPr lang="en-US" sz="5400" b="1" spc="179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.E. | HDB</a:t>
            </a:r>
            <a:endParaRPr lang="el-GR" sz="5400" b="1" spc="179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l-GR" sz="5400" b="1" spc="179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l-GR" sz="5400" spc="179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Χρηματοδοτικά Εργαλεία για Επιχειρήσεις</a:t>
            </a:r>
            <a:endParaRPr lang="en-US" sz="5400" spc="179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D174EC5-BC2C-DE90-BF18-EEB03D9A50EE}"/>
              </a:ext>
            </a:extLst>
          </p:cNvPr>
          <p:cNvSpPr txBox="1"/>
          <p:nvPr/>
        </p:nvSpPr>
        <p:spPr>
          <a:xfrm>
            <a:off x="8409073" y="9374994"/>
            <a:ext cx="98724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>
                <a:solidFill>
                  <a:schemeClr val="bg2"/>
                </a:solidFill>
                <a:latin typeface="Arial" panose="020B0604020202020204" pitchFamily="34" charset="0"/>
              </a:rPr>
              <a:t>19 Φεβρουαρίου 2024 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F04BC23A-73EA-089C-9EFA-9EC70DAA92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9539192"/>
              </p:ext>
            </p:extLst>
          </p:nvPr>
        </p:nvGraphicFramePr>
        <p:xfrm>
          <a:off x="2846066" y="9176086"/>
          <a:ext cx="1219200" cy="397816"/>
        </p:xfrm>
        <a:graphic>
          <a:graphicData uri="http://schemas.openxmlformats.org/drawingml/2006/table">
            <a:tbl>
              <a:tblPr firstRow="1" firstCol="1" bandRow="1"/>
              <a:tblGrid>
                <a:gridCol w="1219200">
                  <a:extLst>
                    <a:ext uri="{9D8B030D-6E8A-4147-A177-3AD203B41FA5}">
                      <a16:colId xmlns:a16="http://schemas.microsoft.com/office/drawing/2014/main" val="189817065"/>
                    </a:ext>
                  </a:extLst>
                </a:gridCol>
              </a:tblGrid>
              <a:tr h="198908">
                <a:tc>
                  <a:txBody>
                    <a:bodyPr/>
                    <a:lstStyle/>
                    <a:p>
                      <a:endParaRPr lang="en-US" sz="1100">
                        <a:solidFill>
                          <a:srgbClr val="363636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9604183"/>
                  </a:ext>
                </a:extLst>
              </a:tr>
              <a:tr h="198908">
                <a:tc>
                  <a:txBody>
                    <a:bodyPr/>
                    <a:lstStyle/>
                    <a:p>
                      <a:endParaRPr lang="en-US" sz="1100" dirty="0">
                        <a:solidFill>
                          <a:srgbClr val="363636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09754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89537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6CCF24-6CAA-0A76-D3B5-5E1ED1640D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0E4BD4D-D600-078A-90F0-E5E954B6045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15000"/>
          </a:blip>
          <a:stretch>
            <a:fillRect/>
          </a:stretch>
        </p:blipFill>
        <p:spPr>
          <a:xfrm>
            <a:off x="662773" y="1839546"/>
            <a:ext cx="17270680" cy="8011388"/>
          </a:xfrm>
          <a:prstGeom prst="rect">
            <a:avLst/>
          </a:prstGeom>
        </p:spPr>
      </p:pic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E63E6339-A7F6-FD12-734C-937D32155057}"/>
              </a:ext>
            </a:extLst>
          </p:cNvPr>
          <p:cNvSpPr txBox="1">
            <a:spLocks/>
          </p:cNvSpPr>
          <p:nvPr/>
        </p:nvSpPr>
        <p:spPr>
          <a:xfrm>
            <a:off x="662774" y="2748197"/>
            <a:ext cx="10133564" cy="4554135"/>
          </a:xfrm>
          <a:prstGeom prst="rect">
            <a:avLst/>
          </a:prstGeom>
        </p:spPr>
        <p:txBody>
          <a:bodyPr/>
          <a:lstStyle>
            <a:lvl1pPr marL="257175" indent="-257175" algn="l" defTabSz="1028700" rtl="0" eaLnBrk="1" latinLnBrk="0" hangingPunct="1">
              <a:lnSpc>
                <a:spcPct val="90000"/>
              </a:lnSpc>
              <a:spcBef>
                <a:spcPts val="1125"/>
              </a:spcBef>
              <a:buFont typeface="Arial" panose="020B0604020202020204" pitchFamily="34" charset="0"/>
              <a:buChar char="•"/>
              <a:defRPr sz="31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7152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587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022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1457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2892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327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5762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7197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7175" marR="0" lvl="0" indent="-257175" algn="just" defTabSz="1028700" rtl="0" eaLnBrk="1" fontAlgn="auto" latinLnBrk="0" hangingPunct="1">
              <a:lnSpc>
                <a:spcPts val="12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Συνολική χρηματοδότηση στις Μικρομεσαίες Επιχειρήσεις </a:t>
            </a:r>
            <a:r>
              <a:rPr kumimoji="0" lang="el-GR" sz="3600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€67,4 εκ</a:t>
            </a: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</a:p>
          <a:p>
            <a:pPr marL="257175" marR="0" lvl="0" indent="-257175" algn="just" defTabSz="10287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Παρέχει </a:t>
            </a:r>
            <a:r>
              <a:rPr kumimoji="0" lang="el-GR" sz="2600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δάνεια κεφαλαίου κίνησης </a:t>
            </a: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εγγυημένα κατά το </a:t>
            </a:r>
            <a:r>
              <a:rPr kumimoji="0" lang="el-GR" sz="3600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80%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57175" marR="0" lvl="0" indent="-257175" algn="just" defTabSz="10287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l-GR" sz="2600" dirty="0">
                <a:solidFill>
                  <a:srgbClr val="0A091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ΜμΕ που είχαν στο παρελθόν, έχουν ή επιθυμούν</a:t>
            </a:r>
            <a:r>
              <a:rPr lang="en-US" sz="2600" dirty="0">
                <a:solidFill>
                  <a:srgbClr val="0A091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l-GR" sz="2600" dirty="0">
                <a:solidFill>
                  <a:srgbClr val="0A091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να αναλάβουν έργο ή μελέτη δημοσίου συμφέροντος (ΚΑΔ 41, 42, 43, 71.1, 71.2, 72.1)</a:t>
            </a:r>
          </a:p>
          <a:p>
            <a:pPr marL="257175" marR="0" lvl="0" indent="-257175" algn="just" defTabSz="10287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Ύψος Δανείου έως  </a:t>
            </a:r>
            <a:r>
              <a:rPr kumimoji="0" lang="el-GR" sz="3600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€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  <a:r>
              <a:rPr kumimoji="0" lang="el-GR" sz="3600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00.000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l-GR" sz="240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από το 1.1.2024 από €200.000</a:t>
            </a:r>
          </a:p>
          <a:p>
            <a:pPr marL="257175" marR="0" lvl="0" indent="-257175" algn="just" defTabSz="10287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l-GR" sz="2600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Όφελος Επιχείρησης:</a:t>
            </a: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158875" marR="0" lvl="0" indent="-350838" algn="just" defTabSz="10287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l-GR" sz="2600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Μειωμένο </a:t>
            </a: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επιτόκιο (λόγω της εγγύησης της 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HDB</a:t>
            </a: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) </a:t>
            </a:r>
          </a:p>
          <a:p>
            <a:pPr marL="1158875" marR="0" lvl="0" indent="-350838" algn="just" defTabSz="10287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M</a:t>
            </a: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ειωμένες εμπράγματες εξασφαλίσεις (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max </a:t>
            </a:r>
            <a:r>
              <a:rPr lang="el-GR" sz="2600" b="1" dirty="0">
                <a:solidFill>
                  <a:srgbClr val="0A091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0%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kumimoji="0" lang="el-GR" sz="2600" b="0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just" defTabSz="10287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l-GR" sz="2600" b="0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just" defTabSz="10287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l-GR" sz="2600" b="0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just" defTabSz="10287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l-GR" sz="2600" b="0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Θέση κειμένου 6">
            <a:extLst>
              <a:ext uri="{FF2B5EF4-FFF2-40B4-BE49-F238E27FC236}">
                <a16:creationId xmlns:a16="http://schemas.microsoft.com/office/drawing/2014/main" id="{254CF52D-BD09-F917-4986-7DF67A23BCD6}"/>
              </a:ext>
            </a:extLst>
          </p:cNvPr>
          <p:cNvSpPr txBox="1">
            <a:spLocks/>
          </p:cNvSpPr>
          <p:nvPr/>
        </p:nvSpPr>
        <p:spPr>
          <a:xfrm>
            <a:off x="662772" y="7538802"/>
            <a:ext cx="9426036" cy="1493777"/>
          </a:xfrm>
          <a:prstGeom prst="rect">
            <a:avLst/>
          </a:prstGeom>
        </p:spPr>
        <p:txBody>
          <a:bodyPr rtlCol="0"/>
          <a:lstStyle>
            <a:lvl1pPr marL="257175" indent="-257175" algn="l" defTabSz="1028700" rtl="0" eaLnBrk="1" latinLnBrk="0" hangingPunct="1">
              <a:lnSpc>
                <a:spcPct val="90000"/>
              </a:lnSpc>
              <a:spcBef>
                <a:spcPts val="1125"/>
              </a:spcBef>
              <a:buFont typeface="Arial" panose="020B0604020202020204" pitchFamily="34" charset="0"/>
              <a:buChar char="•"/>
              <a:defRPr sz="31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7152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587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022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1457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2892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327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5762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7197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08025" marR="0" lvl="0" indent="-708025" algn="l" defTabSz="1028700" rtl="0" eaLnBrk="1" fontAlgn="auto" latinLnBrk="0" hangingPunct="1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Υποβολή Αίτησης αρχικά μέσω ΠΣΚΕ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www.ependyseis.gr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)        </a:t>
            </a:r>
            <a:r>
              <a:rPr kumimoji="0" lang="el-GR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και στη συνέχεια στο συνεργαζόμενο Τραπεζικό Ίδρυμα</a:t>
            </a:r>
            <a:endParaRPr kumimoji="0" lang="el-GR" sz="2800" b="1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26" name="Picture 2" descr="cidimage001.png@01D61996.BCFB1A50">
            <a:extLst>
              <a:ext uri="{FF2B5EF4-FFF2-40B4-BE49-F238E27FC236}">
                <a16:creationId xmlns:a16="http://schemas.microsoft.com/office/drawing/2014/main" id="{44C4B47B-3259-1DD5-CCF3-5CC30B8289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7320" y="9042930"/>
            <a:ext cx="2344144" cy="1044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object 7">
            <a:extLst>
              <a:ext uri="{FF2B5EF4-FFF2-40B4-BE49-F238E27FC236}">
                <a16:creationId xmlns:a16="http://schemas.microsoft.com/office/drawing/2014/main" id="{89C30324-3F32-3139-EACB-E01A78F763EB}"/>
              </a:ext>
            </a:extLst>
          </p:cNvPr>
          <p:cNvSpPr txBox="1">
            <a:spLocks/>
          </p:cNvSpPr>
          <p:nvPr/>
        </p:nvSpPr>
        <p:spPr>
          <a:xfrm>
            <a:off x="650650" y="545348"/>
            <a:ext cx="10864728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algn="l" defTabSz="10287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281F76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marR="0" lvl="0" indent="0" defTabSz="10287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Lato Black"/>
                <a:cs typeface="Calibri" panose="020F0502020204030204" pitchFamily="34" charset="0"/>
              </a:rPr>
              <a:t>HDB | </a:t>
            </a:r>
            <a:r>
              <a:rPr kumimoji="0" lang="el-GR" sz="3600" b="1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Lato Black"/>
                <a:cs typeface="Calibri" panose="020F0502020204030204" pitchFamily="34" charset="0"/>
              </a:rPr>
              <a:t>ΤΑΜΕΙΟ ΕΓΓΥΟΔΟΣΙΑΣ ΕΑΤ-ΤΜΕΔΕ</a:t>
            </a:r>
          </a:p>
        </p:txBody>
      </p:sp>
      <p:sp>
        <p:nvSpPr>
          <p:cNvPr id="3" name="Θέση κειμένου 6">
            <a:extLst>
              <a:ext uri="{FF2B5EF4-FFF2-40B4-BE49-F238E27FC236}">
                <a16:creationId xmlns:a16="http://schemas.microsoft.com/office/drawing/2014/main" id="{1D965D5A-3CBD-5492-4369-D5A3EE993C89}"/>
              </a:ext>
            </a:extLst>
          </p:cNvPr>
          <p:cNvSpPr txBox="1">
            <a:spLocks/>
          </p:cNvSpPr>
          <p:nvPr/>
        </p:nvSpPr>
        <p:spPr>
          <a:xfrm>
            <a:off x="258494" y="6071253"/>
            <a:ext cx="13159267" cy="2404815"/>
          </a:xfrm>
          <a:prstGeom prst="rect">
            <a:avLst/>
          </a:prstGeom>
        </p:spPr>
        <p:txBody>
          <a:bodyPr rtlCol="0"/>
          <a:lstStyle>
            <a:lvl1pPr marL="257175" indent="-257175" algn="l" defTabSz="1028700" rtl="0" eaLnBrk="1" latinLnBrk="0" hangingPunct="1">
              <a:lnSpc>
                <a:spcPct val="90000"/>
              </a:lnSpc>
              <a:spcBef>
                <a:spcPts val="1125"/>
              </a:spcBef>
              <a:buFont typeface="Arial" panose="020B0604020202020204" pitchFamily="34" charset="0"/>
              <a:buChar char="•"/>
              <a:defRPr sz="31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7152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587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022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1457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2892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327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5762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7197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8700" rtl="0" eaLnBrk="1" fontAlgn="auto" latinLnBrk="0" hangingPunct="1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l-GR" sz="3150" b="1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FEB413F-B8EF-FEE6-11F1-94B7CC01E9F1}"/>
              </a:ext>
            </a:extLst>
          </p:cNvPr>
          <p:cNvSpPr txBox="1"/>
          <p:nvPr/>
        </p:nvSpPr>
        <p:spPr>
          <a:xfrm>
            <a:off x="10319583" y="6420007"/>
            <a:ext cx="3364333" cy="2762295"/>
          </a:xfrm>
          <a:prstGeom prst="rect">
            <a:avLst/>
          </a:prstGeom>
          <a:noFill/>
          <a:ln>
            <a:solidFill>
              <a:schemeClr val="tx1"/>
            </a:solidFill>
            <a:prstDash val="solid"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bg1"/>
                </a:solidFill>
              </a:defRPr>
            </a:lvl1pPr>
          </a:lstStyle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35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marR="0" lvl="0" indent="-457200" algn="just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Τράπεζα Πειραιώς</a:t>
            </a:r>
          </a:p>
          <a:p>
            <a:pPr marL="457200" marR="0" lvl="0" indent="-457200" algn="just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Attica Bank</a:t>
            </a:r>
          </a:p>
          <a:p>
            <a:pPr marL="457200" marR="0" lvl="0" indent="-457200" algn="just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Alpha Bank</a:t>
            </a:r>
          </a:p>
          <a:p>
            <a:pPr marL="457200" marR="0" lvl="0" indent="-457200" algn="just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Optima Bank</a:t>
            </a:r>
          </a:p>
          <a:p>
            <a:pPr marL="457200" marR="0" lvl="0" indent="-457200" algn="just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Eurobank</a:t>
            </a:r>
          </a:p>
          <a:p>
            <a:pPr marL="457200" marR="0" lvl="0" indent="-457200" algn="just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Εθνική Τράπεζα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marR="0" lvl="0" indent="-457200" algn="just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Συν. Τράπεζα Θεσσαλίας</a:t>
            </a:r>
          </a:p>
          <a:p>
            <a:pPr marL="457200" marR="0" lvl="0" indent="-457200" algn="just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Συν. Τράπεζα Καρδίτσας</a:t>
            </a:r>
          </a:p>
        </p:txBody>
      </p:sp>
      <p:sp>
        <p:nvSpPr>
          <p:cNvPr id="15" name="Arrow: Left 14">
            <a:extLst>
              <a:ext uri="{FF2B5EF4-FFF2-40B4-BE49-F238E27FC236}">
                <a16:creationId xmlns:a16="http://schemas.microsoft.com/office/drawing/2014/main" id="{8284ED1D-99C5-76F9-16A2-B07D78F9BAF7}"/>
              </a:ext>
            </a:extLst>
          </p:cNvPr>
          <p:cNvSpPr/>
          <p:nvPr/>
        </p:nvSpPr>
        <p:spPr>
          <a:xfrm rot="10800000">
            <a:off x="8453039" y="7308167"/>
            <a:ext cx="1797866" cy="985975"/>
          </a:xfrm>
          <a:prstGeom prst="leftArrow">
            <a:avLst/>
          </a:prstGeom>
          <a:solidFill>
            <a:schemeClr val="accent5">
              <a:lumMod val="90000"/>
            </a:schemeClr>
          </a:solidFill>
          <a:ln w="63500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F2755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046316B-1722-3297-8A06-269CA130D762}"/>
              </a:ext>
            </a:extLst>
          </p:cNvPr>
          <p:cNvSpPr txBox="1"/>
          <p:nvPr/>
        </p:nvSpPr>
        <p:spPr>
          <a:xfrm>
            <a:off x="8642092" y="5741081"/>
            <a:ext cx="691944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10287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4000" b="0" i="0" u="sng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Διατίθεται έως </a:t>
            </a:r>
            <a:r>
              <a:rPr kumimoji="0" lang="el-GR" sz="4000" b="1" i="0" u="sng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31.12.2024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EC73497-D1D8-FF6C-57EC-EC56EE171902}"/>
              </a:ext>
            </a:extLst>
          </p:cNvPr>
          <p:cNvSpPr txBox="1"/>
          <p:nvPr/>
        </p:nvSpPr>
        <p:spPr>
          <a:xfrm>
            <a:off x="650650" y="1263660"/>
            <a:ext cx="1698670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10287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Η </a:t>
            </a:r>
            <a:r>
              <a:rPr kumimoji="0" lang="el-GR" sz="2800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πρώτη σύμπραξη δημοσίου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l-GR" sz="2800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- ιδιωτικού τομέα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kumimoji="0" lang="el-GR" sz="2800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ΤΜΕΔΕ) </a:t>
            </a: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για την χρηματοδότηση του κλάδου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των μηχανικών- μελετητών- κατασκευαστών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4D01A6B-0589-D878-8DB0-C58BDD349E7C}"/>
              </a:ext>
            </a:extLst>
          </p:cNvPr>
          <p:cNvSpPr txBox="1"/>
          <p:nvPr/>
        </p:nvSpPr>
        <p:spPr>
          <a:xfrm>
            <a:off x="11805558" y="2200890"/>
            <a:ext cx="5819670" cy="304698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Ποιους αφορά?</a:t>
            </a:r>
          </a:p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10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ΜμΕ</a:t>
            </a:r>
            <a:r>
              <a:rPr kumimoji="0" lang="el-GR" sz="165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l-GR" sz="200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με δραστηριότητα:</a:t>
            </a:r>
          </a:p>
          <a:p>
            <a:pPr marL="257175" marR="0" lvl="0" indent="-257175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Κατασκευές κτιρίων</a:t>
            </a:r>
          </a:p>
          <a:p>
            <a:pPr marL="257175" marR="0" lvl="0" indent="-257175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Έργα πολιτικού μηχανικού</a:t>
            </a:r>
          </a:p>
          <a:p>
            <a:pPr marL="257175" marR="0" lvl="0" indent="-257175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Εξειδικευμένες κατασκευαστικές δραστηριότητες</a:t>
            </a:r>
          </a:p>
          <a:p>
            <a:pPr marL="257175" marR="0" lvl="0" indent="-257175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Αρχιτεκτονικές δραστηριότητες και δραστηριότητες μηχανικών· τεχνικές δοκιμές και αναλύσεις</a:t>
            </a:r>
          </a:p>
          <a:p>
            <a:pPr marL="257175" marR="0" lvl="0" indent="-257175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Επιστημονική έρευνα και ανάπτυξη</a:t>
            </a:r>
            <a:endParaRPr lang="en-US" b="1" dirty="0"/>
          </a:p>
        </p:txBody>
      </p:sp>
      <p:pic>
        <p:nvPicPr>
          <p:cNvPr id="4" name="Εικόνα 3">
            <a:extLst>
              <a:ext uri="{FF2B5EF4-FFF2-40B4-BE49-F238E27FC236}">
                <a16:creationId xmlns:a16="http://schemas.microsoft.com/office/drawing/2014/main" id="{3DA5748D-195D-B824-95EE-DA5E796072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45388" y="6572838"/>
            <a:ext cx="3391961" cy="280745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885393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0D9371-8E1E-F47A-9285-05047B4A8D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496EA880-0093-2D2D-4088-09689BFBF4BF}"/>
              </a:ext>
            </a:extLst>
          </p:cNvPr>
          <p:cNvSpPr txBox="1">
            <a:spLocks/>
          </p:cNvSpPr>
          <p:nvPr/>
        </p:nvSpPr>
        <p:spPr>
          <a:xfrm>
            <a:off x="477403" y="1459506"/>
            <a:ext cx="14381597" cy="7471939"/>
          </a:xfrm>
          <a:prstGeom prst="rect">
            <a:avLst/>
          </a:prstGeom>
        </p:spPr>
        <p:txBody>
          <a:bodyPr/>
          <a:lstStyle>
            <a:lvl1pPr marL="257175" indent="-257175" algn="l" defTabSz="1028700" rtl="0" eaLnBrk="1" latinLnBrk="0" hangingPunct="1">
              <a:lnSpc>
                <a:spcPct val="90000"/>
              </a:lnSpc>
              <a:spcBef>
                <a:spcPts val="1125"/>
              </a:spcBef>
              <a:buFont typeface="Arial" panose="020B0604020202020204" pitchFamily="34" charset="0"/>
              <a:buChar char="•"/>
              <a:defRPr sz="31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7152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587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022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1457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2892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327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5762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7197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8700" rtl="0" eaLnBrk="1" fontAlgn="auto" latinLnBrk="0" hangingPunct="1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Σε συνεργασία με το Υπουργείο Ψηφιακής Διακυβέρνησης παρέχονται εγγυημένα κατά το </a:t>
            </a:r>
            <a:r>
              <a:rPr kumimoji="0" lang="el-GR" sz="2800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80% δάνεια κεφαλαίου κίνησης </a:t>
            </a: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και</a:t>
            </a:r>
            <a:r>
              <a:rPr kumimoji="0" lang="el-GR" sz="2800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επενδυτικά </a:t>
            </a: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για Παραγωγούς Οπτικοακουστικών Έργων-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Gaming Industry</a:t>
            </a: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84899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l-GR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(ΚΑΔ 59.11, 59.12, 62.01.21)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57175" marR="0" lvl="0" indent="-257175" algn="l" defTabSz="10287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Συνολική χρηματοδότηση στις επιχειρήσεις </a:t>
            </a:r>
            <a:r>
              <a:rPr kumimoji="0" lang="el-GR" sz="3600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€62,5εκ. 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57175" marR="0" lvl="0" indent="-257175" algn="just" defTabSz="10287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Ύψος Δανείου έως </a:t>
            </a:r>
            <a:r>
              <a:rPr kumimoji="0" lang="el-GR" sz="3600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€900.000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57175" marR="0" lvl="0" indent="-257175" algn="l" defTabSz="10287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l-GR" sz="2600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Όφελος Επιχείρησης: </a:t>
            </a:r>
          </a:p>
          <a:p>
            <a:pPr marL="715963" marR="0" lvl="0" indent="-274638" algn="l" defTabSz="10287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2800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Μειωμένο επιτόκιο </a:t>
            </a: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(λόγω της εγγύησης της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HDB)</a:t>
            </a:r>
          </a:p>
          <a:p>
            <a:pPr marL="715963" marR="0" lvl="0" indent="-274638" algn="l" defTabSz="10287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Για δάνεια </a:t>
            </a:r>
            <a:r>
              <a:rPr kumimoji="0" lang="el-GR" sz="2800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έως €50.000</a:t>
            </a: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, μόνο ενοχικές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εξασφαλίσεις</a:t>
            </a:r>
          </a:p>
          <a:p>
            <a:pPr marL="715963" marR="0" lvl="0" indent="-274638" algn="l" defTabSz="10287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Για δάνεια &gt;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€50.000, έως </a:t>
            </a:r>
            <a:r>
              <a:rPr kumimoji="0" lang="el-GR" sz="2800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50%</a:t>
            </a: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εμπράγματες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74638" marR="0" lvl="0" indent="-274638" algn="l" defTabSz="10287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Συνδυασμός χρηματοδότησης με επενδύσεις που λαμβάνουν κρατική επιχορήγηση (λ.χ. Cash rebate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40% </a:t>
            </a: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από ΕΚΟΜΕ*)</a:t>
            </a:r>
          </a:p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2800" dirty="0">
                <a:solidFill>
                  <a:srgbClr val="0A091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Το δάνειο καλύπτει ενδεικτικά:                                                      </a:t>
            </a:r>
            <a:endParaRPr kumimoji="0" lang="el-GR" sz="2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 pitchFamily="34" charset="0"/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l-GR" sz="2350" dirty="0">
                <a:solidFill>
                  <a:srgbClr val="0A091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Αγορά εξοπλισμού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kumimoji="0" lang="el-GR" sz="235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Κόστη Μισθοδοσίας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l-GR" sz="2350" dirty="0">
                <a:solidFill>
                  <a:srgbClr val="0A091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Πληρωμή λογαριασμών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l-GR" sz="2350" dirty="0">
                <a:solidFill>
                  <a:srgbClr val="0A091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Κόστη μετακινήσεων</a:t>
            </a:r>
            <a:endParaRPr kumimoji="0" lang="el-GR" sz="2350" b="0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endParaRPr kumimoji="0" lang="el-GR" sz="2350" b="0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endParaRPr kumimoji="0" lang="en-US" sz="2350" b="0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10287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57175" marR="0" lvl="0" indent="-257175" algn="l" defTabSz="10287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l-GR" sz="2800" b="0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22E9F50-17FF-D887-2468-0FCD2A06261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500267" y="1376163"/>
            <a:ext cx="2787733" cy="8910837"/>
          </a:xfrm>
          <a:prstGeom prst="rect">
            <a:avLst/>
          </a:prstGeom>
        </p:spPr>
      </p:pic>
      <p:pic>
        <p:nvPicPr>
          <p:cNvPr id="22" name="Picture 3">
            <a:extLst>
              <a:ext uri="{FF2B5EF4-FFF2-40B4-BE49-F238E27FC236}">
                <a16:creationId xmlns:a16="http://schemas.microsoft.com/office/drawing/2014/main" id="{1E9C5E70-A1C4-DB66-C41C-6792EC4A238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5561478" y="1376163"/>
            <a:ext cx="2739969" cy="3155685"/>
          </a:xfrm>
          <a:prstGeom prst="rect">
            <a:avLst/>
          </a:prstGeom>
        </p:spPr>
      </p:pic>
      <p:pic>
        <p:nvPicPr>
          <p:cNvPr id="23" name="Picture 6">
            <a:extLst>
              <a:ext uri="{FF2B5EF4-FFF2-40B4-BE49-F238E27FC236}">
                <a16:creationId xmlns:a16="http://schemas.microsoft.com/office/drawing/2014/main" id="{3C8BAC71-F298-3028-FC02-852EEA0CB00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>
            <a:fillRect/>
          </a:stretch>
        </p:blipFill>
        <p:spPr>
          <a:xfrm>
            <a:off x="15513714" y="1965371"/>
            <a:ext cx="1637496" cy="1637496"/>
          </a:xfrm>
          <a:prstGeom prst="rect">
            <a:avLst/>
          </a:prstGeom>
        </p:spPr>
      </p:pic>
      <p:sp>
        <p:nvSpPr>
          <p:cNvPr id="2" name="object 5">
            <a:extLst>
              <a:ext uri="{FF2B5EF4-FFF2-40B4-BE49-F238E27FC236}">
                <a16:creationId xmlns:a16="http://schemas.microsoft.com/office/drawing/2014/main" id="{BB9B45DD-0651-FF35-0A4A-492381559C42}"/>
              </a:ext>
            </a:extLst>
          </p:cNvPr>
          <p:cNvSpPr txBox="1">
            <a:spLocks/>
          </p:cNvSpPr>
          <p:nvPr/>
        </p:nvSpPr>
        <p:spPr>
          <a:xfrm>
            <a:off x="611874" y="588272"/>
            <a:ext cx="17333194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algn="l" defTabSz="10287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281F76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marR="0" lvl="0" indent="0" algn="l" defTabSz="10287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Lato Black"/>
                <a:cs typeface="Calibri" panose="020F0502020204030204" pitchFamily="34" charset="0"/>
              </a:rPr>
              <a:t>HDB | </a:t>
            </a:r>
            <a:r>
              <a:rPr kumimoji="0" lang="el-GR" sz="3600" b="1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Lato Black"/>
                <a:cs typeface="Calibri" panose="020F0502020204030204" pitchFamily="34" charset="0"/>
              </a:rPr>
              <a:t>ΤΑΜΕΙΟ ΕΓΓΥΟΔΟΣΙΑΣ ΕΠΙΧΕΙΡΗΣΕΩΝ ΠΑΡΑΓΩΓΗΣ ΟΠΤΙΚΟΑΚΟΥΣΤΙΚΩΝ ΕΡΓΩΝ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7CD4429-B653-B74F-C09C-2235B7DD5D07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531560" y="9142127"/>
            <a:ext cx="3767155" cy="92380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0678BE0-2F63-A27D-1BEA-B1783661B067}"/>
              </a:ext>
            </a:extLst>
          </p:cNvPr>
          <p:cNvSpPr txBox="1"/>
          <p:nvPr/>
        </p:nvSpPr>
        <p:spPr>
          <a:xfrm>
            <a:off x="7957561" y="9234934"/>
            <a:ext cx="779887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74638" marR="0" lvl="0" indent="-274638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*</a:t>
            </a: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3768B7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l-GR" sz="2000" b="0" i="1" u="none" strike="noStrike" kern="1200" cap="none" spc="0" normalizeH="0" baseline="0" noProof="0" dirty="0">
                <a:ln>
                  <a:noFill/>
                </a:ln>
                <a:solidFill>
                  <a:srgbClr val="0F2755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Το σύνολο των χορηγούμενων κρατικών ενισχύσεων να μην ξεπερνά αθροιστικά το </a:t>
            </a:r>
            <a:r>
              <a:rPr kumimoji="0" lang="el-GR" sz="2000" b="1" i="1" u="none" strike="noStrike" kern="1200" cap="none" spc="0" normalizeH="0" baseline="0" noProof="0" dirty="0">
                <a:ln>
                  <a:noFill/>
                </a:ln>
                <a:solidFill>
                  <a:srgbClr val="0F2755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%</a:t>
            </a:r>
            <a:r>
              <a:rPr kumimoji="0" lang="el-GR" sz="2000" b="0" i="1" u="none" strike="noStrike" kern="1200" cap="none" spc="0" normalizeH="0" baseline="0" noProof="0" dirty="0">
                <a:ln>
                  <a:noFill/>
                </a:ln>
                <a:solidFill>
                  <a:srgbClr val="0F2755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του συνολικού κόστους παραγωγής</a:t>
            </a:r>
            <a:endParaRPr kumimoji="0" lang="en-US" sz="2000" b="0" i="1" u="none" strike="noStrike" kern="1200" cap="none" spc="0" normalizeH="0" baseline="0" noProof="0" dirty="0">
              <a:ln>
                <a:noFill/>
              </a:ln>
              <a:solidFill>
                <a:srgbClr val="0F2755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aphicFrame>
        <p:nvGraphicFramePr>
          <p:cNvPr id="8" name="Γράφημα 1">
            <a:extLst>
              <a:ext uri="{FF2B5EF4-FFF2-40B4-BE49-F238E27FC236}">
                <a16:creationId xmlns:a16="http://schemas.microsoft.com/office/drawing/2014/main" id="{BB27F51E-68DE-EAF4-36C7-A59F151758F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00023037"/>
              </p:ext>
            </p:extLst>
          </p:nvPr>
        </p:nvGraphicFramePr>
        <p:xfrm>
          <a:off x="10221686" y="2465614"/>
          <a:ext cx="4141791" cy="34978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pic>
        <p:nvPicPr>
          <p:cNvPr id="10" name="Εικόνα 9">
            <a:extLst>
              <a:ext uri="{FF2B5EF4-FFF2-40B4-BE49-F238E27FC236}">
                <a16:creationId xmlns:a16="http://schemas.microsoft.com/office/drawing/2014/main" id="{E6C7544B-D2EE-BA86-2346-9CC7A8CBC1E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926534" y="6368716"/>
            <a:ext cx="7800119" cy="2866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8938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95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4637B08-CBF2-4F4B-6924-13FD4F22F2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Θέση κειμένου 4">
            <a:extLst>
              <a:ext uri="{FF2B5EF4-FFF2-40B4-BE49-F238E27FC236}">
                <a16:creationId xmlns:a16="http://schemas.microsoft.com/office/drawing/2014/main" id="{5CE82828-8669-4186-8A78-1AAE4C8D94A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77800" marR="0" lvl="0" indent="0" algn="l" defTabSz="10287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0" i="0" u="none" strike="noStrike" kern="1200" cap="none">
                <a:solidFill>
                  <a:srgbClr val="281F76"/>
                </a:solidFill>
                <a:latin typeface="+mj-lt"/>
                <a:ea typeface="Lato Black"/>
                <a:cs typeface="Lato Black"/>
                <a:sym typeface="Lato Black"/>
              </a:defRPr>
            </a:lvl1pPr>
            <a:lvl2pPr marL="1828800" marR="0" lvl="1" indent="-685800" algn="l" defTabSz="1028700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200" marR="0" lvl="2" indent="-647700" algn="l" defTabSz="1028700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600" marR="0" lvl="3" indent="-628650" algn="l" defTabSz="1028700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000" marR="0" lvl="4" indent="-628650" algn="l" defTabSz="1028700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400" marR="0" lvl="5" indent="-628650" algn="l" defTabSz="1028700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0800" marR="0" lvl="6" indent="-628650" algn="l" defTabSz="1028700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200" marR="0" lvl="7" indent="-628650" algn="l" defTabSz="1028700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29600" marR="0" lvl="8" indent="-628650" algn="l" defTabSz="1028700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177800" marR="0" lvl="0" indent="0" algn="l" defTabSz="914400" rtl="0" eaLnBrk="1" fontAlgn="auto" latinLnBrk="0" hangingPunct="1">
              <a:lnSpc>
                <a:spcPts val="84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200"/>
              <a:buFont typeface="Arial"/>
              <a:buNone/>
              <a:tabLst/>
              <a:defRPr/>
            </a:pP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HDB | </a:t>
            </a:r>
            <a:r>
              <a:rPr lang="el-GR" b="1" dirty="0">
                <a:latin typeface="Calibri" panose="020F0502020204030204" pitchFamily="34" charset="0"/>
                <a:cs typeface="Calibri" panose="020F0502020204030204" pitchFamily="34" charset="0"/>
              </a:rPr>
              <a:t>Ταμείο Εγγυοδοσίας Καινοτομίας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281F76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Lato Black"/>
            </a:endParaRPr>
          </a:p>
        </p:txBody>
      </p:sp>
      <p:grpSp>
        <p:nvGrpSpPr>
          <p:cNvPr id="6" name="object 7">
            <a:extLst>
              <a:ext uri="{FF2B5EF4-FFF2-40B4-BE49-F238E27FC236}">
                <a16:creationId xmlns:a16="http://schemas.microsoft.com/office/drawing/2014/main" id="{794D3181-C8CE-6816-C0EF-0AF814E7EA00}"/>
              </a:ext>
            </a:extLst>
          </p:cNvPr>
          <p:cNvGrpSpPr/>
          <p:nvPr/>
        </p:nvGrpSpPr>
        <p:grpSpPr>
          <a:xfrm>
            <a:off x="526175" y="2862236"/>
            <a:ext cx="842744" cy="951778"/>
            <a:chOff x="585216" y="3055620"/>
            <a:chExt cx="1045844" cy="1047115"/>
          </a:xfrm>
        </p:grpSpPr>
        <p:sp>
          <p:nvSpPr>
            <p:cNvPr id="7" name="object 8">
              <a:extLst>
                <a:ext uri="{FF2B5EF4-FFF2-40B4-BE49-F238E27FC236}">
                  <a16:creationId xmlns:a16="http://schemas.microsoft.com/office/drawing/2014/main" id="{A4FA42F4-3670-1339-0475-225018D08E6A}"/>
                </a:ext>
              </a:extLst>
            </p:cNvPr>
            <p:cNvSpPr/>
            <p:nvPr/>
          </p:nvSpPr>
          <p:spPr>
            <a:xfrm>
              <a:off x="604266" y="3074670"/>
              <a:ext cx="1007744" cy="1009015"/>
            </a:xfrm>
            <a:custGeom>
              <a:avLst/>
              <a:gdLst/>
              <a:ahLst/>
              <a:cxnLst/>
              <a:rect l="l" t="t" r="r" b="b"/>
              <a:pathLst>
                <a:path w="1007744" h="1009014">
                  <a:moveTo>
                    <a:pt x="1007364" y="0"/>
                  </a:moveTo>
                  <a:lnTo>
                    <a:pt x="167894" y="0"/>
                  </a:lnTo>
                  <a:lnTo>
                    <a:pt x="123262" y="5998"/>
                  </a:lnTo>
                  <a:lnTo>
                    <a:pt x="83155" y="22925"/>
                  </a:lnTo>
                  <a:lnTo>
                    <a:pt x="49175" y="49180"/>
                  </a:lnTo>
                  <a:lnTo>
                    <a:pt x="22923" y="83161"/>
                  </a:lnTo>
                  <a:lnTo>
                    <a:pt x="5997" y="123266"/>
                  </a:lnTo>
                  <a:lnTo>
                    <a:pt x="0" y="167894"/>
                  </a:lnTo>
                  <a:lnTo>
                    <a:pt x="0" y="1008888"/>
                  </a:lnTo>
                  <a:lnTo>
                    <a:pt x="839470" y="1008888"/>
                  </a:lnTo>
                  <a:lnTo>
                    <a:pt x="884097" y="1002889"/>
                  </a:lnTo>
                  <a:lnTo>
                    <a:pt x="924202" y="985962"/>
                  </a:lnTo>
                  <a:lnTo>
                    <a:pt x="958183" y="959707"/>
                  </a:lnTo>
                  <a:lnTo>
                    <a:pt x="984438" y="925726"/>
                  </a:lnTo>
                  <a:lnTo>
                    <a:pt x="1001365" y="885621"/>
                  </a:lnTo>
                  <a:lnTo>
                    <a:pt x="1007364" y="840993"/>
                  </a:lnTo>
                  <a:lnTo>
                    <a:pt x="1007364" y="0"/>
                  </a:lnTo>
                  <a:close/>
                </a:path>
              </a:pathLst>
            </a:custGeom>
            <a:solidFill>
              <a:srgbClr val="A0B9E2"/>
            </a:solidFill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" name="object 9">
              <a:extLst>
                <a:ext uri="{FF2B5EF4-FFF2-40B4-BE49-F238E27FC236}">
                  <a16:creationId xmlns:a16="http://schemas.microsoft.com/office/drawing/2014/main" id="{1556A8A9-22CD-C811-C297-B582E02113E1}"/>
                </a:ext>
              </a:extLst>
            </p:cNvPr>
            <p:cNvSpPr/>
            <p:nvPr/>
          </p:nvSpPr>
          <p:spPr>
            <a:xfrm>
              <a:off x="604266" y="3074670"/>
              <a:ext cx="1007744" cy="1009015"/>
            </a:xfrm>
            <a:custGeom>
              <a:avLst/>
              <a:gdLst/>
              <a:ahLst/>
              <a:cxnLst/>
              <a:rect l="l" t="t" r="r" b="b"/>
              <a:pathLst>
                <a:path w="1007744" h="1009014">
                  <a:moveTo>
                    <a:pt x="167894" y="0"/>
                  </a:moveTo>
                  <a:lnTo>
                    <a:pt x="1007364" y="0"/>
                  </a:lnTo>
                  <a:lnTo>
                    <a:pt x="1007364" y="840993"/>
                  </a:lnTo>
                  <a:lnTo>
                    <a:pt x="1001365" y="885621"/>
                  </a:lnTo>
                  <a:lnTo>
                    <a:pt x="984438" y="925726"/>
                  </a:lnTo>
                  <a:lnTo>
                    <a:pt x="958183" y="959707"/>
                  </a:lnTo>
                  <a:lnTo>
                    <a:pt x="924202" y="985962"/>
                  </a:lnTo>
                  <a:lnTo>
                    <a:pt x="884097" y="1002889"/>
                  </a:lnTo>
                  <a:lnTo>
                    <a:pt x="839470" y="1008888"/>
                  </a:lnTo>
                  <a:lnTo>
                    <a:pt x="0" y="1008888"/>
                  </a:lnTo>
                  <a:lnTo>
                    <a:pt x="0" y="167894"/>
                  </a:lnTo>
                  <a:lnTo>
                    <a:pt x="5997" y="123266"/>
                  </a:lnTo>
                  <a:lnTo>
                    <a:pt x="22923" y="83161"/>
                  </a:lnTo>
                  <a:lnTo>
                    <a:pt x="49175" y="49180"/>
                  </a:lnTo>
                  <a:lnTo>
                    <a:pt x="83155" y="22925"/>
                  </a:lnTo>
                  <a:lnTo>
                    <a:pt x="123262" y="5998"/>
                  </a:lnTo>
                  <a:lnTo>
                    <a:pt x="167894" y="0"/>
                  </a:lnTo>
                  <a:close/>
                </a:path>
              </a:pathLst>
            </a:custGeom>
            <a:ln w="38100">
              <a:solidFill>
                <a:srgbClr val="281F76"/>
              </a:solidFill>
            </a:ln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" name="object 10">
              <a:extLst>
                <a:ext uri="{FF2B5EF4-FFF2-40B4-BE49-F238E27FC236}">
                  <a16:creationId xmlns:a16="http://schemas.microsoft.com/office/drawing/2014/main" id="{C7E58F88-BFF7-2AB6-10A9-8B423BC5C875}"/>
                </a:ext>
              </a:extLst>
            </p:cNvPr>
            <p:cNvSpPr/>
            <p:nvPr/>
          </p:nvSpPr>
          <p:spPr>
            <a:xfrm>
              <a:off x="801281" y="3223006"/>
              <a:ext cx="612775" cy="711200"/>
            </a:xfrm>
            <a:custGeom>
              <a:avLst/>
              <a:gdLst/>
              <a:ahLst/>
              <a:cxnLst/>
              <a:rect l="l" t="t" r="r" b="b"/>
              <a:pathLst>
                <a:path w="612775" h="711200">
                  <a:moveTo>
                    <a:pt x="290106" y="0"/>
                  </a:moveTo>
                  <a:lnTo>
                    <a:pt x="269481" y="6985"/>
                  </a:lnTo>
                  <a:lnTo>
                    <a:pt x="252260" y="24002"/>
                  </a:lnTo>
                  <a:lnTo>
                    <a:pt x="248754" y="47751"/>
                  </a:lnTo>
                  <a:lnTo>
                    <a:pt x="246900" y="93472"/>
                  </a:lnTo>
                  <a:lnTo>
                    <a:pt x="227863" y="139319"/>
                  </a:lnTo>
                  <a:lnTo>
                    <a:pt x="210591" y="173354"/>
                  </a:lnTo>
                  <a:lnTo>
                    <a:pt x="186461" y="203962"/>
                  </a:lnTo>
                  <a:lnTo>
                    <a:pt x="136486" y="260223"/>
                  </a:lnTo>
                  <a:lnTo>
                    <a:pt x="77901" y="324993"/>
                  </a:lnTo>
                  <a:lnTo>
                    <a:pt x="33045" y="396494"/>
                  </a:lnTo>
                  <a:lnTo>
                    <a:pt x="15773" y="430529"/>
                  </a:lnTo>
                  <a:lnTo>
                    <a:pt x="0" y="537210"/>
                  </a:lnTo>
                  <a:lnTo>
                    <a:pt x="6807" y="557529"/>
                  </a:lnTo>
                  <a:lnTo>
                    <a:pt x="23926" y="574294"/>
                  </a:lnTo>
                  <a:lnTo>
                    <a:pt x="298297" y="707644"/>
                  </a:lnTo>
                  <a:lnTo>
                    <a:pt x="322325" y="710819"/>
                  </a:lnTo>
                  <a:lnTo>
                    <a:pt x="342963" y="703834"/>
                  </a:lnTo>
                  <a:lnTo>
                    <a:pt x="360184" y="686816"/>
                  </a:lnTo>
                  <a:lnTo>
                    <a:pt x="363146" y="666750"/>
                  </a:lnTo>
                  <a:lnTo>
                    <a:pt x="319023" y="666750"/>
                  </a:lnTo>
                  <a:lnTo>
                    <a:pt x="44653" y="533526"/>
                  </a:lnTo>
                  <a:lnTo>
                    <a:pt x="55168" y="462279"/>
                  </a:lnTo>
                  <a:lnTo>
                    <a:pt x="79413" y="397764"/>
                  </a:lnTo>
                  <a:lnTo>
                    <a:pt x="258660" y="179704"/>
                  </a:lnTo>
                  <a:lnTo>
                    <a:pt x="282892" y="115189"/>
                  </a:lnTo>
                  <a:lnTo>
                    <a:pt x="293408" y="44069"/>
                  </a:lnTo>
                  <a:lnTo>
                    <a:pt x="398094" y="44069"/>
                  </a:lnTo>
                  <a:lnTo>
                    <a:pt x="314147" y="3301"/>
                  </a:lnTo>
                  <a:lnTo>
                    <a:pt x="290106" y="0"/>
                  </a:lnTo>
                  <a:close/>
                </a:path>
                <a:path w="612775" h="711200">
                  <a:moveTo>
                    <a:pt x="398094" y="44069"/>
                  </a:moveTo>
                  <a:lnTo>
                    <a:pt x="293408" y="44069"/>
                  </a:lnTo>
                  <a:lnTo>
                    <a:pt x="567778" y="177292"/>
                  </a:lnTo>
                  <a:lnTo>
                    <a:pt x="562571" y="212978"/>
                  </a:lnTo>
                  <a:lnTo>
                    <a:pt x="557237" y="248539"/>
                  </a:lnTo>
                  <a:lnTo>
                    <a:pt x="545172" y="280797"/>
                  </a:lnTo>
                  <a:lnTo>
                    <a:pt x="532980" y="313054"/>
                  </a:lnTo>
                  <a:lnTo>
                    <a:pt x="353783" y="531114"/>
                  </a:lnTo>
                  <a:lnTo>
                    <a:pt x="329539" y="595630"/>
                  </a:lnTo>
                  <a:lnTo>
                    <a:pt x="319023" y="666750"/>
                  </a:lnTo>
                  <a:lnTo>
                    <a:pt x="363146" y="666750"/>
                  </a:lnTo>
                  <a:lnTo>
                    <a:pt x="363689" y="663067"/>
                  </a:lnTo>
                  <a:lnTo>
                    <a:pt x="365544" y="617347"/>
                  </a:lnTo>
                  <a:lnTo>
                    <a:pt x="384568" y="571500"/>
                  </a:lnTo>
                  <a:lnTo>
                    <a:pt x="401840" y="537464"/>
                  </a:lnTo>
                  <a:lnTo>
                    <a:pt x="425983" y="506857"/>
                  </a:lnTo>
                  <a:lnTo>
                    <a:pt x="475957" y="450596"/>
                  </a:lnTo>
                  <a:lnTo>
                    <a:pt x="534504" y="385825"/>
                  </a:lnTo>
                  <a:lnTo>
                    <a:pt x="556983" y="350139"/>
                  </a:lnTo>
                  <a:lnTo>
                    <a:pt x="579335" y="314325"/>
                  </a:lnTo>
                  <a:lnTo>
                    <a:pt x="596607" y="280416"/>
                  </a:lnTo>
                  <a:lnTo>
                    <a:pt x="601941" y="244728"/>
                  </a:lnTo>
                  <a:lnTo>
                    <a:pt x="607148" y="209169"/>
                  </a:lnTo>
                  <a:lnTo>
                    <a:pt x="612482" y="173609"/>
                  </a:lnTo>
                  <a:lnTo>
                    <a:pt x="605624" y="153289"/>
                  </a:lnTo>
                  <a:lnTo>
                    <a:pt x="588479" y="136525"/>
                  </a:lnTo>
                  <a:lnTo>
                    <a:pt x="398094" y="4406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0" name="object 11">
              <a:extLst>
                <a:ext uri="{FF2B5EF4-FFF2-40B4-BE49-F238E27FC236}">
                  <a16:creationId xmlns:a16="http://schemas.microsoft.com/office/drawing/2014/main" id="{A49E0D86-C324-86FA-F400-A079A5E6CCA5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068997" y="3706876"/>
              <a:ext cx="75857" cy="132461"/>
            </a:xfrm>
            <a:prstGeom prst="rect">
              <a:avLst/>
            </a:prstGeom>
          </p:spPr>
        </p:pic>
        <p:pic>
          <p:nvPicPr>
            <p:cNvPr id="11" name="object 12">
              <a:extLst>
                <a:ext uri="{FF2B5EF4-FFF2-40B4-BE49-F238E27FC236}">
                  <a16:creationId xmlns:a16="http://schemas.microsoft.com/office/drawing/2014/main" id="{D5BC8F63-7A5C-91F8-FD13-600690F4285C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020165" y="3319145"/>
              <a:ext cx="182067" cy="344312"/>
            </a:xfrm>
            <a:prstGeom prst="rect">
              <a:avLst/>
            </a:prstGeom>
          </p:spPr>
        </p:pic>
      </p:grpSp>
      <p:sp>
        <p:nvSpPr>
          <p:cNvPr id="12" name="object 15">
            <a:extLst>
              <a:ext uri="{FF2B5EF4-FFF2-40B4-BE49-F238E27FC236}">
                <a16:creationId xmlns:a16="http://schemas.microsoft.com/office/drawing/2014/main" id="{2D6ACC00-7CB1-1137-E5D8-D7E3E8095DCC}"/>
              </a:ext>
            </a:extLst>
          </p:cNvPr>
          <p:cNvSpPr txBox="1"/>
          <p:nvPr/>
        </p:nvSpPr>
        <p:spPr>
          <a:xfrm>
            <a:off x="1597470" y="4025503"/>
            <a:ext cx="6395018" cy="1296509"/>
          </a:xfrm>
          <a:prstGeom prst="rect">
            <a:avLst/>
          </a:prstGeom>
        </p:spPr>
        <p:txBody>
          <a:bodyPr vert="horz" wrap="square" lIns="0" tIns="10033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2800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Σκοπός Δανείου</a:t>
            </a:r>
          </a:p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2400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Ενίσχυση α</a:t>
            </a:r>
            <a:r>
              <a:rPr sz="2400" dirty="0" err="1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ντ</a:t>
            </a:r>
            <a:r>
              <a:rPr sz="2400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αγωνιστικότητας </a:t>
            </a:r>
            <a:endParaRPr lang="el-GR" sz="2400" dirty="0">
              <a:solidFill>
                <a:srgbClr val="281F7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el-GR" sz="2400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amp;</a:t>
            </a:r>
            <a:r>
              <a:rPr sz="2400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sz="2400" dirty="0" err="1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εξωστρέφει</a:t>
            </a:r>
            <a:r>
              <a:rPr sz="2400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ας καινοτόμων</a:t>
            </a:r>
            <a:r>
              <a:rPr lang="el-GR" sz="2400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sz="2400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επ</a:t>
            </a:r>
            <a:r>
              <a:rPr sz="2400" dirty="0" err="1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ιχειρήσεων</a:t>
            </a:r>
            <a:endParaRPr sz="2400" dirty="0">
              <a:solidFill>
                <a:srgbClr val="281F7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object 17">
            <a:extLst>
              <a:ext uri="{FF2B5EF4-FFF2-40B4-BE49-F238E27FC236}">
                <a16:creationId xmlns:a16="http://schemas.microsoft.com/office/drawing/2014/main" id="{DAC27A42-6228-D79C-7D61-19C77E19A2E4}"/>
              </a:ext>
            </a:extLst>
          </p:cNvPr>
          <p:cNvSpPr txBox="1"/>
          <p:nvPr/>
        </p:nvSpPr>
        <p:spPr>
          <a:xfrm>
            <a:off x="1618987" y="6456823"/>
            <a:ext cx="7551078" cy="267252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buClr>
                <a:srgbClr val="281F76"/>
              </a:buClr>
              <a:buSzPct val="104166"/>
              <a:tabLst>
                <a:tab pos="354965" algn="l"/>
                <a:tab pos="355600" algn="l"/>
              </a:tabLst>
            </a:pPr>
            <a:r>
              <a:rPr lang="el-GR" sz="2800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Κριτήρια Επιλεξιμότητας (ΜμΕ)</a:t>
            </a:r>
          </a:p>
          <a:p>
            <a:pPr marL="355600" indent="-342900">
              <a:lnSpc>
                <a:spcPct val="100000"/>
              </a:lnSpc>
              <a:spcBef>
                <a:spcPts val="100"/>
              </a:spcBef>
              <a:buClr>
                <a:srgbClr val="281F76"/>
              </a:buClr>
              <a:buSzPct val="104166"/>
              <a:buFont typeface="Arial MT"/>
              <a:buChar char="•"/>
              <a:tabLst>
                <a:tab pos="354965" algn="l"/>
                <a:tab pos="355600" algn="l"/>
              </a:tabLst>
            </a:pPr>
            <a:r>
              <a:rPr sz="2400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rt -ups</a:t>
            </a:r>
          </a:p>
          <a:p>
            <a:pPr marL="355600" marR="5080" indent="-342900">
              <a:lnSpc>
                <a:spcPct val="100000"/>
              </a:lnSpc>
              <a:buClr>
                <a:srgbClr val="281F76"/>
              </a:buClr>
              <a:buSzPct val="104166"/>
              <a:buFont typeface="Arial MT"/>
              <a:buChar char="•"/>
              <a:tabLst>
                <a:tab pos="354965" algn="l"/>
                <a:tab pos="355600" algn="l"/>
              </a:tabLst>
            </a:pPr>
            <a:r>
              <a:rPr lang="el-GR" sz="2400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Εταιρείες </a:t>
            </a:r>
            <a:r>
              <a:rPr sz="2400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“InnovFin” ή εταιρείες «Elevate  Greece»</a:t>
            </a:r>
            <a:endParaRPr lang="el-GR" sz="2400" b="1" dirty="0">
              <a:solidFill>
                <a:srgbClr val="281F7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55600" marR="5080" indent="-342900">
              <a:lnSpc>
                <a:spcPct val="100000"/>
              </a:lnSpc>
              <a:buClr>
                <a:srgbClr val="281F76"/>
              </a:buClr>
              <a:buSzPct val="104166"/>
              <a:buFont typeface="Arial MT"/>
              <a:buChar char="•"/>
              <a:tabLst>
                <a:tab pos="354965" algn="l"/>
                <a:tab pos="355600" algn="l"/>
              </a:tabLst>
            </a:pPr>
            <a:r>
              <a:rPr lang="el-GR" sz="2400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Εταιρείες που έλαβαν ενίσχυση για προγράμματα έρευνας ανάπτυξης  και καινοτομίας</a:t>
            </a:r>
          </a:p>
          <a:p>
            <a:pPr marL="355600" marR="5080" indent="-342900">
              <a:lnSpc>
                <a:spcPct val="100000"/>
              </a:lnSpc>
              <a:buClr>
                <a:srgbClr val="281F76"/>
              </a:buClr>
              <a:buSzPct val="104166"/>
              <a:buFont typeface="Arial MT"/>
              <a:buChar char="•"/>
              <a:tabLst>
                <a:tab pos="354965" algn="l"/>
                <a:tab pos="355600" algn="l"/>
              </a:tabLst>
            </a:pPr>
            <a:r>
              <a:rPr lang="el-GR" sz="2400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Κάθε ΜμΕ που αναπτύσσει μια καινοτόμα δραστηριότητα</a:t>
            </a:r>
            <a:endParaRPr sz="2400" b="1" dirty="0">
              <a:solidFill>
                <a:srgbClr val="281F7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object 18">
            <a:extLst>
              <a:ext uri="{FF2B5EF4-FFF2-40B4-BE49-F238E27FC236}">
                <a16:creationId xmlns:a16="http://schemas.microsoft.com/office/drawing/2014/main" id="{76D7CECC-83BD-315F-A77D-A8D45B037112}"/>
              </a:ext>
            </a:extLst>
          </p:cNvPr>
          <p:cNvSpPr txBox="1"/>
          <p:nvPr/>
        </p:nvSpPr>
        <p:spPr>
          <a:xfrm>
            <a:off x="1597470" y="5633841"/>
            <a:ext cx="6370430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Bef>
                <a:spcPts val="100"/>
              </a:spcBef>
            </a:pPr>
            <a:r>
              <a:rPr sz="2800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Κρατική ενίσχυση </a:t>
            </a:r>
            <a:r>
              <a:rPr sz="2400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=De Minimis</a:t>
            </a:r>
          </a:p>
        </p:txBody>
      </p:sp>
      <p:grpSp>
        <p:nvGrpSpPr>
          <p:cNvPr id="16" name="object 19">
            <a:extLst>
              <a:ext uri="{FF2B5EF4-FFF2-40B4-BE49-F238E27FC236}">
                <a16:creationId xmlns:a16="http://schemas.microsoft.com/office/drawing/2014/main" id="{E022332A-33CA-0885-A085-865E54A997E4}"/>
              </a:ext>
            </a:extLst>
          </p:cNvPr>
          <p:cNvGrpSpPr/>
          <p:nvPr/>
        </p:nvGrpSpPr>
        <p:grpSpPr>
          <a:xfrm>
            <a:off x="536028" y="4178048"/>
            <a:ext cx="797756" cy="887863"/>
            <a:chOff x="621791" y="4634484"/>
            <a:chExt cx="1047115" cy="1045844"/>
          </a:xfrm>
        </p:grpSpPr>
        <p:sp>
          <p:nvSpPr>
            <p:cNvPr id="17" name="object 20">
              <a:extLst>
                <a:ext uri="{FF2B5EF4-FFF2-40B4-BE49-F238E27FC236}">
                  <a16:creationId xmlns:a16="http://schemas.microsoft.com/office/drawing/2014/main" id="{EB8107FE-C452-CDFC-1F97-55141451F3D1}"/>
                </a:ext>
              </a:extLst>
            </p:cNvPr>
            <p:cNvSpPr/>
            <p:nvPr/>
          </p:nvSpPr>
          <p:spPr>
            <a:xfrm>
              <a:off x="640841" y="4653534"/>
              <a:ext cx="1009015" cy="1007744"/>
            </a:xfrm>
            <a:custGeom>
              <a:avLst/>
              <a:gdLst/>
              <a:ahLst/>
              <a:cxnLst/>
              <a:rect l="l" t="t" r="r" b="b"/>
              <a:pathLst>
                <a:path w="1009014" h="1007745">
                  <a:moveTo>
                    <a:pt x="1008888" y="0"/>
                  </a:moveTo>
                  <a:lnTo>
                    <a:pt x="167894" y="0"/>
                  </a:lnTo>
                  <a:lnTo>
                    <a:pt x="123262" y="5998"/>
                  </a:lnTo>
                  <a:lnTo>
                    <a:pt x="83155" y="22925"/>
                  </a:lnTo>
                  <a:lnTo>
                    <a:pt x="49175" y="49180"/>
                  </a:lnTo>
                  <a:lnTo>
                    <a:pt x="22923" y="83161"/>
                  </a:lnTo>
                  <a:lnTo>
                    <a:pt x="5997" y="123266"/>
                  </a:lnTo>
                  <a:lnTo>
                    <a:pt x="0" y="167893"/>
                  </a:lnTo>
                  <a:lnTo>
                    <a:pt x="0" y="1007363"/>
                  </a:lnTo>
                  <a:lnTo>
                    <a:pt x="840994" y="1007363"/>
                  </a:lnTo>
                  <a:lnTo>
                    <a:pt x="885621" y="1001365"/>
                  </a:lnTo>
                  <a:lnTo>
                    <a:pt x="925726" y="984438"/>
                  </a:lnTo>
                  <a:lnTo>
                    <a:pt x="959707" y="958183"/>
                  </a:lnTo>
                  <a:lnTo>
                    <a:pt x="985962" y="924202"/>
                  </a:lnTo>
                  <a:lnTo>
                    <a:pt x="1002889" y="884097"/>
                  </a:lnTo>
                  <a:lnTo>
                    <a:pt x="1008888" y="839469"/>
                  </a:lnTo>
                  <a:lnTo>
                    <a:pt x="1008888" y="0"/>
                  </a:lnTo>
                  <a:close/>
                </a:path>
              </a:pathLst>
            </a:custGeom>
            <a:solidFill>
              <a:srgbClr val="281F76"/>
            </a:solidFill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" name="object 21">
              <a:extLst>
                <a:ext uri="{FF2B5EF4-FFF2-40B4-BE49-F238E27FC236}">
                  <a16:creationId xmlns:a16="http://schemas.microsoft.com/office/drawing/2014/main" id="{7E5871B1-58EA-6537-61FF-8AA1519D8928}"/>
                </a:ext>
              </a:extLst>
            </p:cNvPr>
            <p:cNvSpPr/>
            <p:nvPr/>
          </p:nvSpPr>
          <p:spPr>
            <a:xfrm>
              <a:off x="640841" y="4653534"/>
              <a:ext cx="1009015" cy="1007744"/>
            </a:xfrm>
            <a:custGeom>
              <a:avLst/>
              <a:gdLst/>
              <a:ahLst/>
              <a:cxnLst/>
              <a:rect l="l" t="t" r="r" b="b"/>
              <a:pathLst>
                <a:path w="1009014" h="1007745">
                  <a:moveTo>
                    <a:pt x="167894" y="0"/>
                  </a:moveTo>
                  <a:lnTo>
                    <a:pt x="1008888" y="0"/>
                  </a:lnTo>
                  <a:lnTo>
                    <a:pt x="1008888" y="839469"/>
                  </a:lnTo>
                  <a:lnTo>
                    <a:pt x="1002889" y="884097"/>
                  </a:lnTo>
                  <a:lnTo>
                    <a:pt x="985962" y="924202"/>
                  </a:lnTo>
                  <a:lnTo>
                    <a:pt x="959707" y="958183"/>
                  </a:lnTo>
                  <a:lnTo>
                    <a:pt x="925726" y="984438"/>
                  </a:lnTo>
                  <a:lnTo>
                    <a:pt x="885621" y="1001365"/>
                  </a:lnTo>
                  <a:lnTo>
                    <a:pt x="840994" y="1007363"/>
                  </a:lnTo>
                  <a:lnTo>
                    <a:pt x="0" y="1007363"/>
                  </a:lnTo>
                  <a:lnTo>
                    <a:pt x="0" y="167893"/>
                  </a:lnTo>
                  <a:lnTo>
                    <a:pt x="5997" y="123266"/>
                  </a:lnTo>
                  <a:lnTo>
                    <a:pt x="22923" y="83161"/>
                  </a:lnTo>
                  <a:lnTo>
                    <a:pt x="49175" y="49180"/>
                  </a:lnTo>
                  <a:lnTo>
                    <a:pt x="83155" y="22925"/>
                  </a:lnTo>
                  <a:lnTo>
                    <a:pt x="123262" y="5998"/>
                  </a:lnTo>
                  <a:lnTo>
                    <a:pt x="167894" y="0"/>
                  </a:lnTo>
                  <a:close/>
                </a:path>
              </a:pathLst>
            </a:custGeom>
            <a:ln w="38100">
              <a:solidFill>
                <a:srgbClr val="281F76"/>
              </a:solidFill>
            </a:ln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9" name="object 22">
              <a:extLst>
                <a:ext uri="{FF2B5EF4-FFF2-40B4-BE49-F238E27FC236}">
                  <a16:creationId xmlns:a16="http://schemas.microsoft.com/office/drawing/2014/main" id="{9A4D440B-81C5-6237-1959-5CC6519DCBFD}"/>
                </a:ext>
              </a:extLst>
            </p:cNvPr>
            <p:cNvSpPr/>
            <p:nvPr/>
          </p:nvSpPr>
          <p:spPr>
            <a:xfrm>
              <a:off x="816863" y="4851146"/>
              <a:ext cx="655320" cy="610870"/>
            </a:xfrm>
            <a:custGeom>
              <a:avLst/>
              <a:gdLst/>
              <a:ahLst/>
              <a:cxnLst/>
              <a:rect l="l" t="t" r="r" b="b"/>
              <a:pathLst>
                <a:path w="655319" h="610870">
                  <a:moveTo>
                    <a:pt x="208838" y="327660"/>
                  </a:moveTo>
                  <a:lnTo>
                    <a:pt x="194994" y="327660"/>
                  </a:lnTo>
                  <a:lnTo>
                    <a:pt x="185432" y="330200"/>
                  </a:lnTo>
                  <a:lnTo>
                    <a:pt x="175871" y="331470"/>
                  </a:lnTo>
                  <a:lnTo>
                    <a:pt x="165633" y="334010"/>
                  </a:lnTo>
                  <a:lnTo>
                    <a:pt x="157585" y="337820"/>
                  </a:lnTo>
                  <a:lnTo>
                    <a:pt x="149879" y="342900"/>
                  </a:lnTo>
                  <a:lnTo>
                    <a:pt x="142848" y="346710"/>
                  </a:lnTo>
                  <a:lnTo>
                    <a:pt x="136829" y="353060"/>
                  </a:lnTo>
                  <a:lnTo>
                    <a:pt x="131429" y="358140"/>
                  </a:lnTo>
                  <a:lnTo>
                    <a:pt x="115227" y="381000"/>
                  </a:lnTo>
                  <a:lnTo>
                    <a:pt x="111960" y="389890"/>
                  </a:lnTo>
                  <a:lnTo>
                    <a:pt x="104079" y="405130"/>
                  </a:lnTo>
                  <a:lnTo>
                    <a:pt x="100812" y="414020"/>
                  </a:lnTo>
                  <a:lnTo>
                    <a:pt x="98678" y="421640"/>
                  </a:lnTo>
                  <a:lnTo>
                    <a:pt x="95753" y="439420"/>
                  </a:lnTo>
                  <a:lnTo>
                    <a:pt x="93611" y="449580"/>
                  </a:lnTo>
                  <a:lnTo>
                    <a:pt x="91533" y="459740"/>
                  </a:lnTo>
                  <a:lnTo>
                    <a:pt x="90466" y="468630"/>
                  </a:lnTo>
                  <a:lnTo>
                    <a:pt x="90073" y="477520"/>
                  </a:lnTo>
                  <a:lnTo>
                    <a:pt x="90017" y="485140"/>
                  </a:lnTo>
                  <a:lnTo>
                    <a:pt x="87932" y="495300"/>
                  </a:lnTo>
                  <a:lnTo>
                    <a:pt x="86861" y="505460"/>
                  </a:lnTo>
                  <a:lnTo>
                    <a:pt x="86467" y="513080"/>
                  </a:lnTo>
                  <a:lnTo>
                    <a:pt x="86410" y="521970"/>
                  </a:lnTo>
                  <a:lnTo>
                    <a:pt x="87817" y="542290"/>
                  </a:lnTo>
                  <a:lnTo>
                    <a:pt x="111620" y="586740"/>
                  </a:lnTo>
                  <a:lnTo>
                    <a:pt x="158204" y="609600"/>
                  </a:lnTo>
                  <a:lnTo>
                    <a:pt x="176428" y="610870"/>
                  </a:lnTo>
                  <a:lnTo>
                    <a:pt x="475234" y="610870"/>
                  </a:lnTo>
                  <a:lnTo>
                    <a:pt x="513064" y="604520"/>
                  </a:lnTo>
                  <a:lnTo>
                    <a:pt x="551668" y="574040"/>
                  </a:lnTo>
                  <a:lnTo>
                    <a:pt x="565277" y="521970"/>
                  </a:lnTo>
                  <a:lnTo>
                    <a:pt x="565277" y="485140"/>
                  </a:lnTo>
                  <a:lnTo>
                    <a:pt x="564721" y="477520"/>
                  </a:lnTo>
                  <a:lnTo>
                    <a:pt x="562276" y="459740"/>
                  </a:lnTo>
                  <a:lnTo>
                    <a:pt x="561721" y="449580"/>
                  </a:lnTo>
                  <a:lnTo>
                    <a:pt x="559034" y="439420"/>
                  </a:lnTo>
                  <a:lnTo>
                    <a:pt x="553612" y="421640"/>
                  </a:lnTo>
                  <a:lnTo>
                    <a:pt x="550926" y="414020"/>
                  </a:lnTo>
                  <a:lnTo>
                    <a:pt x="548128" y="405130"/>
                  </a:lnTo>
                  <a:lnTo>
                    <a:pt x="545020" y="397510"/>
                  </a:lnTo>
                  <a:lnTo>
                    <a:pt x="541246" y="389890"/>
                  </a:lnTo>
                  <a:lnTo>
                    <a:pt x="536448" y="381000"/>
                  </a:lnTo>
                  <a:lnTo>
                    <a:pt x="531984" y="374650"/>
                  </a:lnTo>
                  <a:lnTo>
                    <a:pt x="327660" y="374650"/>
                  </a:lnTo>
                  <a:lnTo>
                    <a:pt x="302901" y="372110"/>
                  </a:lnTo>
                  <a:lnTo>
                    <a:pt x="280847" y="367030"/>
                  </a:lnTo>
                  <a:lnTo>
                    <a:pt x="270158" y="363220"/>
                  </a:lnTo>
                  <a:lnTo>
                    <a:pt x="260145" y="359410"/>
                  </a:lnTo>
                  <a:lnTo>
                    <a:pt x="251481" y="355600"/>
                  </a:lnTo>
                  <a:lnTo>
                    <a:pt x="244843" y="353060"/>
                  </a:lnTo>
                  <a:lnTo>
                    <a:pt x="237364" y="346710"/>
                  </a:lnTo>
                  <a:lnTo>
                    <a:pt x="230895" y="342900"/>
                  </a:lnTo>
                  <a:lnTo>
                    <a:pt x="225097" y="337820"/>
                  </a:lnTo>
                  <a:lnTo>
                    <a:pt x="219633" y="334010"/>
                  </a:lnTo>
                  <a:lnTo>
                    <a:pt x="212432" y="331470"/>
                  </a:lnTo>
                  <a:lnTo>
                    <a:pt x="208838" y="327660"/>
                  </a:lnTo>
                  <a:close/>
                </a:path>
                <a:path w="655319" h="610870">
                  <a:moveTo>
                    <a:pt x="458739" y="327660"/>
                  </a:moveTo>
                  <a:lnTo>
                    <a:pt x="446481" y="327660"/>
                  </a:lnTo>
                  <a:lnTo>
                    <a:pt x="442887" y="331470"/>
                  </a:lnTo>
                  <a:lnTo>
                    <a:pt x="435673" y="334010"/>
                  </a:lnTo>
                  <a:lnTo>
                    <a:pt x="428194" y="337820"/>
                  </a:lnTo>
                  <a:lnTo>
                    <a:pt x="421727" y="342900"/>
                  </a:lnTo>
                  <a:lnTo>
                    <a:pt x="415933" y="346710"/>
                  </a:lnTo>
                  <a:lnTo>
                    <a:pt x="410476" y="353060"/>
                  </a:lnTo>
                  <a:lnTo>
                    <a:pt x="402316" y="355600"/>
                  </a:lnTo>
                  <a:lnTo>
                    <a:pt x="393822" y="359410"/>
                  </a:lnTo>
                  <a:lnTo>
                    <a:pt x="384653" y="363220"/>
                  </a:lnTo>
                  <a:lnTo>
                    <a:pt x="374472" y="367030"/>
                  </a:lnTo>
                  <a:lnTo>
                    <a:pt x="361585" y="369570"/>
                  </a:lnTo>
                  <a:lnTo>
                    <a:pt x="349713" y="372110"/>
                  </a:lnTo>
                  <a:lnTo>
                    <a:pt x="327660" y="374650"/>
                  </a:lnTo>
                  <a:lnTo>
                    <a:pt x="531984" y="374650"/>
                  </a:lnTo>
                  <a:lnTo>
                    <a:pt x="520285" y="358140"/>
                  </a:lnTo>
                  <a:lnTo>
                    <a:pt x="514858" y="353060"/>
                  </a:lnTo>
                  <a:lnTo>
                    <a:pt x="508889" y="346710"/>
                  </a:lnTo>
                  <a:lnTo>
                    <a:pt x="501872" y="342900"/>
                  </a:lnTo>
                  <a:lnTo>
                    <a:pt x="494141" y="337820"/>
                  </a:lnTo>
                  <a:lnTo>
                    <a:pt x="486029" y="334010"/>
                  </a:lnTo>
                  <a:lnTo>
                    <a:pt x="477377" y="331470"/>
                  </a:lnTo>
                  <a:lnTo>
                    <a:pt x="468058" y="330200"/>
                  </a:lnTo>
                  <a:lnTo>
                    <a:pt x="458739" y="327660"/>
                  </a:lnTo>
                  <a:close/>
                </a:path>
                <a:path w="655319" h="610870">
                  <a:moveTo>
                    <a:pt x="46812" y="176530"/>
                  </a:moveTo>
                  <a:lnTo>
                    <a:pt x="43205" y="176530"/>
                  </a:lnTo>
                  <a:lnTo>
                    <a:pt x="24303" y="184150"/>
                  </a:lnTo>
                  <a:lnTo>
                    <a:pt x="10801" y="205740"/>
                  </a:lnTo>
                  <a:lnTo>
                    <a:pt x="2700" y="243840"/>
                  </a:lnTo>
                  <a:lnTo>
                    <a:pt x="0" y="294640"/>
                  </a:lnTo>
                  <a:lnTo>
                    <a:pt x="1294" y="307340"/>
                  </a:lnTo>
                  <a:lnTo>
                    <a:pt x="28866" y="341630"/>
                  </a:lnTo>
                  <a:lnTo>
                    <a:pt x="64808" y="349250"/>
                  </a:lnTo>
                  <a:lnTo>
                    <a:pt x="111620" y="349250"/>
                  </a:lnTo>
                  <a:lnTo>
                    <a:pt x="129736" y="330200"/>
                  </a:lnTo>
                  <a:lnTo>
                    <a:pt x="151228" y="316230"/>
                  </a:lnTo>
                  <a:lnTo>
                    <a:pt x="175421" y="308610"/>
                  </a:lnTo>
                  <a:lnTo>
                    <a:pt x="201637" y="306070"/>
                  </a:lnTo>
                  <a:lnTo>
                    <a:pt x="189539" y="285750"/>
                  </a:lnTo>
                  <a:lnTo>
                    <a:pt x="180482" y="264160"/>
                  </a:lnTo>
                  <a:lnTo>
                    <a:pt x="174802" y="241300"/>
                  </a:lnTo>
                  <a:lnTo>
                    <a:pt x="172834" y="219710"/>
                  </a:lnTo>
                  <a:lnTo>
                    <a:pt x="173395" y="214630"/>
                  </a:lnTo>
                  <a:lnTo>
                    <a:pt x="175125" y="205740"/>
                  </a:lnTo>
                  <a:lnTo>
                    <a:pt x="129628" y="205740"/>
                  </a:lnTo>
                  <a:lnTo>
                    <a:pt x="120905" y="204470"/>
                  </a:lnTo>
                  <a:lnTo>
                    <a:pt x="111171" y="203200"/>
                  </a:lnTo>
                  <a:lnTo>
                    <a:pt x="90017" y="198120"/>
                  </a:lnTo>
                  <a:lnTo>
                    <a:pt x="79890" y="193040"/>
                  </a:lnTo>
                  <a:lnTo>
                    <a:pt x="71112" y="189230"/>
                  </a:lnTo>
                  <a:lnTo>
                    <a:pt x="63683" y="186690"/>
                  </a:lnTo>
                  <a:lnTo>
                    <a:pt x="57607" y="184150"/>
                  </a:lnTo>
                  <a:lnTo>
                    <a:pt x="46812" y="176530"/>
                  </a:lnTo>
                  <a:close/>
                </a:path>
                <a:path w="655319" h="610870">
                  <a:moveTo>
                    <a:pt x="327660" y="86360"/>
                  </a:moveTo>
                  <a:lnTo>
                    <a:pt x="276801" y="96520"/>
                  </a:lnTo>
                  <a:lnTo>
                    <a:pt x="234048" y="125730"/>
                  </a:lnTo>
                  <a:lnTo>
                    <a:pt x="204789" y="168910"/>
                  </a:lnTo>
                  <a:lnTo>
                    <a:pt x="194437" y="219710"/>
                  </a:lnTo>
                  <a:lnTo>
                    <a:pt x="197081" y="245110"/>
                  </a:lnTo>
                  <a:lnTo>
                    <a:pt x="217223" y="289560"/>
                  </a:lnTo>
                  <a:lnTo>
                    <a:pt x="254241" y="326390"/>
                  </a:lnTo>
                  <a:lnTo>
                    <a:pt x="301387" y="346710"/>
                  </a:lnTo>
                  <a:lnTo>
                    <a:pt x="327660" y="349250"/>
                  </a:lnTo>
                  <a:lnTo>
                    <a:pt x="353369" y="346710"/>
                  </a:lnTo>
                  <a:lnTo>
                    <a:pt x="398040" y="326390"/>
                  </a:lnTo>
                  <a:lnTo>
                    <a:pt x="436024" y="289560"/>
                  </a:lnTo>
                  <a:lnTo>
                    <a:pt x="455182" y="245110"/>
                  </a:lnTo>
                  <a:lnTo>
                    <a:pt x="457327" y="219710"/>
                  </a:lnTo>
                  <a:lnTo>
                    <a:pt x="455182" y="193040"/>
                  </a:lnTo>
                  <a:lnTo>
                    <a:pt x="436024" y="146050"/>
                  </a:lnTo>
                  <a:lnTo>
                    <a:pt x="398040" y="109220"/>
                  </a:lnTo>
                  <a:lnTo>
                    <a:pt x="353369" y="88900"/>
                  </a:lnTo>
                  <a:lnTo>
                    <a:pt x="327660" y="86360"/>
                  </a:lnTo>
                  <a:close/>
                </a:path>
                <a:path w="655319" h="610870">
                  <a:moveTo>
                    <a:pt x="478917" y="194310"/>
                  </a:moveTo>
                  <a:lnTo>
                    <a:pt x="478917" y="219710"/>
                  </a:lnTo>
                  <a:lnTo>
                    <a:pt x="477448" y="241300"/>
                  </a:lnTo>
                  <a:lnTo>
                    <a:pt x="472598" y="264160"/>
                  </a:lnTo>
                  <a:lnTo>
                    <a:pt x="463700" y="285750"/>
                  </a:lnTo>
                  <a:lnTo>
                    <a:pt x="450088" y="306070"/>
                  </a:lnTo>
                  <a:lnTo>
                    <a:pt x="477893" y="308610"/>
                  </a:lnTo>
                  <a:lnTo>
                    <a:pt x="502316" y="316230"/>
                  </a:lnTo>
                  <a:lnTo>
                    <a:pt x="524025" y="330200"/>
                  </a:lnTo>
                  <a:lnTo>
                    <a:pt x="543687" y="349250"/>
                  </a:lnTo>
                  <a:lnTo>
                    <a:pt x="586867" y="349250"/>
                  </a:lnTo>
                  <a:lnTo>
                    <a:pt x="600279" y="347980"/>
                  </a:lnTo>
                  <a:lnTo>
                    <a:pt x="613013" y="345440"/>
                  </a:lnTo>
                  <a:lnTo>
                    <a:pt x="624389" y="341630"/>
                  </a:lnTo>
                  <a:lnTo>
                    <a:pt x="633730" y="334010"/>
                  </a:lnTo>
                  <a:lnTo>
                    <a:pt x="643157" y="327660"/>
                  </a:lnTo>
                  <a:lnTo>
                    <a:pt x="649906" y="318770"/>
                  </a:lnTo>
                  <a:lnTo>
                    <a:pt x="653964" y="307340"/>
                  </a:lnTo>
                  <a:lnTo>
                    <a:pt x="655320" y="294640"/>
                  </a:lnTo>
                  <a:lnTo>
                    <a:pt x="652627" y="243840"/>
                  </a:lnTo>
                  <a:lnTo>
                    <a:pt x="644540" y="205740"/>
                  </a:lnTo>
                  <a:lnTo>
                    <a:pt x="522097" y="205740"/>
                  </a:lnTo>
                  <a:lnTo>
                    <a:pt x="500507" y="203200"/>
                  </a:lnTo>
                  <a:lnTo>
                    <a:pt x="489700" y="199390"/>
                  </a:lnTo>
                  <a:lnTo>
                    <a:pt x="478917" y="194310"/>
                  </a:lnTo>
                  <a:close/>
                </a:path>
                <a:path w="655319" h="610870">
                  <a:moveTo>
                    <a:pt x="176428" y="194310"/>
                  </a:moveTo>
                  <a:lnTo>
                    <a:pt x="165570" y="199390"/>
                  </a:lnTo>
                  <a:lnTo>
                    <a:pt x="154376" y="203200"/>
                  </a:lnTo>
                  <a:lnTo>
                    <a:pt x="129628" y="205740"/>
                  </a:lnTo>
                  <a:lnTo>
                    <a:pt x="175125" y="205740"/>
                  </a:lnTo>
                  <a:lnTo>
                    <a:pt x="175866" y="201930"/>
                  </a:lnTo>
                  <a:lnTo>
                    <a:pt x="176428" y="194310"/>
                  </a:lnTo>
                  <a:close/>
                </a:path>
                <a:path w="655319" h="610870">
                  <a:moveTo>
                    <a:pt x="612140" y="176530"/>
                  </a:moveTo>
                  <a:lnTo>
                    <a:pt x="604901" y="176530"/>
                  </a:lnTo>
                  <a:lnTo>
                    <a:pt x="597662" y="184150"/>
                  </a:lnTo>
                  <a:lnTo>
                    <a:pt x="589510" y="186690"/>
                  </a:lnTo>
                  <a:lnTo>
                    <a:pt x="581025" y="189230"/>
                  </a:lnTo>
                  <a:lnTo>
                    <a:pt x="571873" y="193040"/>
                  </a:lnTo>
                  <a:lnTo>
                    <a:pt x="561721" y="198120"/>
                  </a:lnTo>
                  <a:lnTo>
                    <a:pt x="552993" y="200660"/>
                  </a:lnTo>
                  <a:lnTo>
                    <a:pt x="543242" y="203200"/>
                  </a:lnTo>
                  <a:lnTo>
                    <a:pt x="522097" y="205740"/>
                  </a:lnTo>
                  <a:lnTo>
                    <a:pt x="644540" y="205740"/>
                  </a:lnTo>
                  <a:lnTo>
                    <a:pt x="631049" y="184150"/>
                  </a:lnTo>
                  <a:lnTo>
                    <a:pt x="612140" y="176530"/>
                  </a:lnTo>
                  <a:close/>
                </a:path>
                <a:path w="655319" h="610870">
                  <a:moveTo>
                    <a:pt x="129628" y="0"/>
                  </a:moveTo>
                  <a:lnTo>
                    <a:pt x="82531" y="15240"/>
                  </a:lnTo>
                  <a:lnTo>
                    <a:pt x="49056" y="54610"/>
                  </a:lnTo>
                  <a:lnTo>
                    <a:pt x="43205" y="86360"/>
                  </a:lnTo>
                  <a:lnTo>
                    <a:pt x="44611" y="105410"/>
                  </a:lnTo>
                  <a:lnTo>
                    <a:pt x="68414" y="151130"/>
                  </a:lnTo>
                  <a:lnTo>
                    <a:pt x="113475" y="173990"/>
                  </a:lnTo>
                  <a:lnTo>
                    <a:pt x="129628" y="176530"/>
                  </a:lnTo>
                  <a:lnTo>
                    <a:pt x="147796" y="173990"/>
                  </a:lnTo>
                  <a:lnTo>
                    <a:pt x="190830" y="151130"/>
                  </a:lnTo>
                  <a:lnTo>
                    <a:pt x="217665" y="105410"/>
                  </a:lnTo>
                  <a:lnTo>
                    <a:pt x="219633" y="86360"/>
                  </a:lnTo>
                  <a:lnTo>
                    <a:pt x="217665" y="71120"/>
                  </a:lnTo>
                  <a:lnTo>
                    <a:pt x="190830" y="25400"/>
                  </a:lnTo>
                  <a:lnTo>
                    <a:pt x="147796" y="2540"/>
                  </a:lnTo>
                  <a:lnTo>
                    <a:pt x="129628" y="0"/>
                  </a:lnTo>
                  <a:close/>
                </a:path>
                <a:path w="655319" h="610870">
                  <a:moveTo>
                    <a:pt x="522097" y="0"/>
                  </a:moveTo>
                  <a:lnTo>
                    <a:pt x="475019" y="15240"/>
                  </a:lnTo>
                  <a:lnTo>
                    <a:pt x="441529" y="54610"/>
                  </a:lnTo>
                  <a:lnTo>
                    <a:pt x="435673" y="86360"/>
                  </a:lnTo>
                  <a:lnTo>
                    <a:pt x="437081" y="105410"/>
                  </a:lnTo>
                  <a:lnTo>
                    <a:pt x="460883" y="151130"/>
                  </a:lnTo>
                  <a:lnTo>
                    <a:pt x="505960" y="173990"/>
                  </a:lnTo>
                  <a:lnTo>
                    <a:pt x="522097" y="176530"/>
                  </a:lnTo>
                  <a:lnTo>
                    <a:pt x="540252" y="173990"/>
                  </a:lnTo>
                  <a:lnTo>
                    <a:pt x="583311" y="151130"/>
                  </a:lnTo>
                  <a:lnTo>
                    <a:pt x="607063" y="105410"/>
                  </a:lnTo>
                  <a:lnTo>
                    <a:pt x="608457" y="86360"/>
                  </a:lnTo>
                  <a:lnTo>
                    <a:pt x="607063" y="71120"/>
                  </a:lnTo>
                  <a:lnTo>
                    <a:pt x="583311" y="25400"/>
                  </a:lnTo>
                  <a:lnTo>
                    <a:pt x="540252" y="2540"/>
                  </a:lnTo>
                  <a:lnTo>
                    <a:pt x="52209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0" name="object 23">
            <a:extLst>
              <a:ext uri="{FF2B5EF4-FFF2-40B4-BE49-F238E27FC236}">
                <a16:creationId xmlns:a16="http://schemas.microsoft.com/office/drawing/2014/main" id="{C9F663D0-37D7-D113-666B-11DF25946CCC}"/>
              </a:ext>
            </a:extLst>
          </p:cNvPr>
          <p:cNvGrpSpPr/>
          <p:nvPr/>
        </p:nvGrpSpPr>
        <p:grpSpPr>
          <a:xfrm>
            <a:off x="571004" y="6732603"/>
            <a:ext cx="711821" cy="787064"/>
            <a:chOff x="640080" y="7898892"/>
            <a:chExt cx="1047115" cy="1045844"/>
          </a:xfrm>
        </p:grpSpPr>
        <p:sp>
          <p:nvSpPr>
            <p:cNvPr id="21" name="object 24">
              <a:extLst>
                <a:ext uri="{FF2B5EF4-FFF2-40B4-BE49-F238E27FC236}">
                  <a16:creationId xmlns:a16="http://schemas.microsoft.com/office/drawing/2014/main" id="{6427E5A6-6BA1-F723-C878-506F9ACB7E5E}"/>
                </a:ext>
              </a:extLst>
            </p:cNvPr>
            <p:cNvSpPr/>
            <p:nvPr/>
          </p:nvSpPr>
          <p:spPr>
            <a:xfrm>
              <a:off x="659130" y="7917942"/>
              <a:ext cx="1009015" cy="1007744"/>
            </a:xfrm>
            <a:custGeom>
              <a:avLst/>
              <a:gdLst/>
              <a:ahLst/>
              <a:cxnLst/>
              <a:rect l="l" t="t" r="r" b="b"/>
              <a:pathLst>
                <a:path w="1009014" h="1007745">
                  <a:moveTo>
                    <a:pt x="1008888" y="0"/>
                  </a:moveTo>
                  <a:lnTo>
                    <a:pt x="167894" y="0"/>
                  </a:lnTo>
                  <a:lnTo>
                    <a:pt x="123262" y="5998"/>
                  </a:lnTo>
                  <a:lnTo>
                    <a:pt x="83155" y="22925"/>
                  </a:lnTo>
                  <a:lnTo>
                    <a:pt x="49175" y="49180"/>
                  </a:lnTo>
                  <a:lnTo>
                    <a:pt x="22923" y="83161"/>
                  </a:lnTo>
                  <a:lnTo>
                    <a:pt x="5997" y="123266"/>
                  </a:lnTo>
                  <a:lnTo>
                    <a:pt x="0" y="167893"/>
                  </a:lnTo>
                  <a:lnTo>
                    <a:pt x="0" y="1007363"/>
                  </a:lnTo>
                  <a:lnTo>
                    <a:pt x="840994" y="1007363"/>
                  </a:lnTo>
                  <a:lnTo>
                    <a:pt x="885621" y="1001365"/>
                  </a:lnTo>
                  <a:lnTo>
                    <a:pt x="925726" y="984438"/>
                  </a:lnTo>
                  <a:lnTo>
                    <a:pt x="959707" y="958183"/>
                  </a:lnTo>
                  <a:lnTo>
                    <a:pt x="985962" y="924202"/>
                  </a:lnTo>
                  <a:lnTo>
                    <a:pt x="1002889" y="884097"/>
                  </a:lnTo>
                  <a:lnTo>
                    <a:pt x="1008888" y="839469"/>
                  </a:lnTo>
                  <a:lnTo>
                    <a:pt x="1008888" y="0"/>
                  </a:lnTo>
                  <a:close/>
                </a:path>
              </a:pathLst>
            </a:custGeom>
            <a:solidFill>
              <a:srgbClr val="3768B7"/>
            </a:solidFill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" name="object 25">
              <a:extLst>
                <a:ext uri="{FF2B5EF4-FFF2-40B4-BE49-F238E27FC236}">
                  <a16:creationId xmlns:a16="http://schemas.microsoft.com/office/drawing/2014/main" id="{5015C28A-18AF-75D4-6D79-9D00935532F2}"/>
                </a:ext>
              </a:extLst>
            </p:cNvPr>
            <p:cNvSpPr/>
            <p:nvPr/>
          </p:nvSpPr>
          <p:spPr>
            <a:xfrm>
              <a:off x="659130" y="7917942"/>
              <a:ext cx="1009015" cy="1007744"/>
            </a:xfrm>
            <a:custGeom>
              <a:avLst/>
              <a:gdLst/>
              <a:ahLst/>
              <a:cxnLst/>
              <a:rect l="l" t="t" r="r" b="b"/>
              <a:pathLst>
                <a:path w="1009014" h="1007745">
                  <a:moveTo>
                    <a:pt x="167894" y="0"/>
                  </a:moveTo>
                  <a:lnTo>
                    <a:pt x="1008888" y="0"/>
                  </a:lnTo>
                  <a:lnTo>
                    <a:pt x="1008888" y="839469"/>
                  </a:lnTo>
                  <a:lnTo>
                    <a:pt x="1002889" y="884097"/>
                  </a:lnTo>
                  <a:lnTo>
                    <a:pt x="985962" y="924202"/>
                  </a:lnTo>
                  <a:lnTo>
                    <a:pt x="959707" y="958183"/>
                  </a:lnTo>
                  <a:lnTo>
                    <a:pt x="925726" y="984438"/>
                  </a:lnTo>
                  <a:lnTo>
                    <a:pt x="885621" y="1001365"/>
                  </a:lnTo>
                  <a:lnTo>
                    <a:pt x="840994" y="1007363"/>
                  </a:lnTo>
                  <a:lnTo>
                    <a:pt x="0" y="1007363"/>
                  </a:lnTo>
                  <a:lnTo>
                    <a:pt x="0" y="167893"/>
                  </a:lnTo>
                  <a:lnTo>
                    <a:pt x="5997" y="123266"/>
                  </a:lnTo>
                  <a:lnTo>
                    <a:pt x="22923" y="83161"/>
                  </a:lnTo>
                  <a:lnTo>
                    <a:pt x="49175" y="49180"/>
                  </a:lnTo>
                  <a:lnTo>
                    <a:pt x="83155" y="22925"/>
                  </a:lnTo>
                  <a:lnTo>
                    <a:pt x="123262" y="5998"/>
                  </a:lnTo>
                  <a:lnTo>
                    <a:pt x="167894" y="0"/>
                  </a:lnTo>
                  <a:close/>
                </a:path>
              </a:pathLst>
            </a:custGeom>
            <a:ln w="38100">
              <a:solidFill>
                <a:srgbClr val="281F76"/>
              </a:solidFill>
            </a:ln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" name="object 26">
              <a:extLst>
                <a:ext uri="{FF2B5EF4-FFF2-40B4-BE49-F238E27FC236}">
                  <a16:creationId xmlns:a16="http://schemas.microsoft.com/office/drawing/2014/main" id="{31E77D98-A43A-FE81-5F0F-16970B1B05B0}"/>
                </a:ext>
              </a:extLst>
            </p:cNvPr>
            <p:cNvSpPr/>
            <p:nvPr/>
          </p:nvSpPr>
          <p:spPr>
            <a:xfrm>
              <a:off x="801624" y="8115300"/>
              <a:ext cx="722630" cy="611505"/>
            </a:xfrm>
            <a:custGeom>
              <a:avLst/>
              <a:gdLst/>
              <a:ahLst/>
              <a:cxnLst/>
              <a:rect l="l" t="t" r="r" b="b"/>
              <a:pathLst>
                <a:path w="722630" h="611504">
                  <a:moveTo>
                    <a:pt x="487680" y="0"/>
                  </a:moveTo>
                  <a:lnTo>
                    <a:pt x="124231" y="0"/>
                  </a:lnTo>
                  <a:lnTo>
                    <a:pt x="100866" y="2520"/>
                  </a:lnTo>
                  <a:lnTo>
                    <a:pt x="57583" y="21324"/>
                  </a:lnTo>
                  <a:lnTo>
                    <a:pt x="21350" y="57588"/>
                  </a:lnTo>
                  <a:lnTo>
                    <a:pt x="2516" y="102693"/>
                  </a:lnTo>
                  <a:lnTo>
                    <a:pt x="0" y="128650"/>
                  </a:lnTo>
                  <a:lnTo>
                    <a:pt x="0" y="487044"/>
                  </a:lnTo>
                  <a:lnTo>
                    <a:pt x="9777" y="535924"/>
                  </a:lnTo>
                  <a:lnTo>
                    <a:pt x="36804" y="574421"/>
                  </a:lnTo>
                  <a:lnTo>
                    <a:pt x="78793" y="603107"/>
                  </a:lnTo>
                  <a:lnTo>
                    <a:pt x="124231" y="611124"/>
                  </a:lnTo>
                  <a:lnTo>
                    <a:pt x="487680" y="611124"/>
                  </a:lnTo>
                  <a:lnTo>
                    <a:pt x="536622" y="603107"/>
                  </a:lnTo>
                  <a:lnTo>
                    <a:pt x="575183" y="574421"/>
                  </a:lnTo>
                  <a:lnTo>
                    <a:pt x="592680" y="556006"/>
                  </a:lnTo>
                  <a:lnTo>
                    <a:pt x="124231" y="556006"/>
                  </a:lnTo>
                  <a:lnTo>
                    <a:pt x="111219" y="555075"/>
                  </a:lnTo>
                  <a:lnTo>
                    <a:pt x="68801" y="526496"/>
                  </a:lnTo>
                  <a:lnTo>
                    <a:pt x="55219" y="487044"/>
                  </a:lnTo>
                  <a:lnTo>
                    <a:pt x="55219" y="128650"/>
                  </a:lnTo>
                  <a:lnTo>
                    <a:pt x="68801" y="88610"/>
                  </a:lnTo>
                  <a:lnTo>
                    <a:pt x="99501" y="61467"/>
                  </a:lnTo>
                  <a:lnTo>
                    <a:pt x="124231" y="55118"/>
                  </a:lnTo>
                  <a:lnTo>
                    <a:pt x="519938" y="55118"/>
                  </a:lnTo>
                  <a:lnTo>
                    <a:pt x="542925" y="36702"/>
                  </a:lnTo>
                  <a:lnTo>
                    <a:pt x="547497" y="32131"/>
                  </a:lnTo>
                  <a:lnTo>
                    <a:pt x="547497" y="18414"/>
                  </a:lnTo>
                  <a:lnTo>
                    <a:pt x="542925" y="13843"/>
                  </a:lnTo>
                  <a:lnTo>
                    <a:pt x="538353" y="13843"/>
                  </a:lnTo>
                  <a:lnTo>
                    <a:pt x="527184" y="7768"/>
                  </a:lnTo>
                  <a:lnTo>
                    <a:pt x="514730" y="3444"/>
                  </a:lnTo>
                  <a:lnTo>
                    <a:pt x="501419" y="859"/>
                  </a:lnTo>
                  <a:lnTo>
                    <a:pt x="487680" y="0"/>
                  </a:lnTo>
                  <a:close/>
                </a:path>
                <a:path w="722630" h="611504">
                  <a:moveTo>
                    <a:pt x="602742" y="335406"/>
                  </a:moveTo>
                  <a:lnTo>
                    <a:pt x="593598" y="335406"/>
                  </a:lnTo>
                  <a:lnTo>
                    <a:pt x="588899" y="339979"/>
                  </a:lnTo>
                  <a:lnTo>
                    <a:pt x="561340" y="367538"/>
                  </a:lnTo>
                  <a:lnTo>
                    <a:pt x="561340" y="372237"/>
                  </a:lnTo>
                  <a:lnTo>
                    <a:pt x="556768" y="372237"/>
                  </a:lnTo>
                  <a:lnTo>
                    <a:pt x="556768" y="487044"/>
                  </a:lnTo>
                  <a:lnTo>
                    <a:pt x="555884" y="500082"/>
                  </a:lnTo>
                  <a:lnTo>
                    <a:pt x="538353" y="537591"/>
                  </a:lnTo>
                  <a:lnTo>
                    <a:pt x="501419" y="555075"/>
                  </a:lnTo>
                  <a:lnTo>
                    <a:pt x="487680" y="556006"/>
                  </a:lnTo>
                  <a:lnTo>
                    <a:pt x="592680" y="556006"/>
                  </a:lnTo>
                  <a:lnTo>
                    <a:pt x="603869" y="535924"/>
                  </a:lnTo>
                  <a:lnTo>
                    <a:pt x="610026" y="513002"/>
                  </a:lnTo>
                  <a:lnTo>
                    <a:pt x="611886" y="487044"/>
                  </a:lnTo>
                  <a:lnTo>
                    <a:pt x="611886" y="339979"/>
                  </a:lnTo>
                  <a:lnTo>
                    <a:pt x="602742" y="335406"/>
                  </a:lnTo>
                  <a:close/>
                </a:path>
                <a:path w="722630" h="611504">
                  <a:moveTo>
                    <a:pt x="207048" y="197612"/>
                  </a:moveTo>
                  <a:lnTo>
                    <a:pt x="197853" y="197612"/>
                  </a:lnTo>
                  <a:lnTo>
                    <a:pt x="190947" y="198397"/>
                  </a:lnTo>
                  <a:lnTo>
                    <a:pt x="124231" y="252730"/>
                  </a:lnTo>
                  <a:lnTo>
                    <a:pt x="115023" y="280288"/>
                  </a:lnTo>
                  <a:lnTo>
                    <a:pt x="115023" y="298704"/>
                  </a:lnTo>
                  <a:lnTo>
                    <a:pt x="124231" y="303275"/>
                  </a:lnTo>
                  <a:lnTo>
                    <a:pt x="308279" y="491617"/>
                  </a:lnTo>
                  <a:lnTo>
                    <a:pt x="315177" y="494994"/>
                  </a:lnTo>
                  <a:lnTo>
                    <a:pt x="322078" y="497967"/>
                  </a:lnTo>
                  <a:lnTo>
                    <a:pt x="328978" y="500082"/>
                  </a:lnTo>
                  <a:lnTo>
                    <a:pt x="335876" y="500888"/>
                  </a:lnTo>
                  <a:lnTo>
                    <a:pt x="345084" y="500888"/>
                  </a:lnTo>
                  <a:lnTo>
                    <a:pt x="354291" y="496188"/>
                  </a:lnTo>
                  <a:lnTo>
                    <a:pt x="529065" y="321691"/>
                  </a:lnTo>
                  <a:lnTo>
                    <a:pt x="335876" y="321691"/>
                  </a:lnTo>
                  <a:lnTo>
                    <a:pt x="220853" y="206756"/>
                  </a:lnTo>
                  <a:lnTo>
                    <a:pt x="211645" y="202183"/>
                  </a:lnTo>
                  <a:lnTo>
                    <a:pt x="207048" y="197612"/>
                  </a:lnTo>
                  <a:close/>
                </a:path>
                <a:path w="722630" h="611504">
                  <a:moveTo>
                    <a:pt x="639572" y="27558"/>
                  </a:moveTo>
                  <a:lnTo>
                    <a:pt x="335876" y="321691"/>
                  </a:lnTo>
                  <a:lnTo>
                    <a:pt x="529065" y="321691"/>
                  </a:lnTo>
                  <a:lnTo>
                    <a:pt x="722376" y="128650"/>
                  </a:lnTo>
                  <a:lnTo>
                    <a:pt x="722344" y="113002"/>
                  </a:lnTo>
                  <a:lnTo>
                    <a:pt x="667131" y="41401"/>
                  </a:lnTo>
                  <a:lnTo>
                    <a:pt x="639572" y="27558"/>
                  </a:lnTo>
                  <a:close/>
                </a:path>
                <a:path w="722630" h="611504">
                  <a:moveTo>
                    <a:pt x="519938" y="55118"/>
                  </a:moveTo>
                  <a:lnTo>
                    <a:pt x="496951" y="55118"/>
                  </a:lnTo>
                  <a:lnTo>
                    <a:pt x="501523" y="59689"/>
                  </a:lnTo>
                  <a:lnTo>
                    <a:pt x="519938" y="59689"/>
                  </a:lnTo>
                  <a:lnTo>
                    <a:pt x="519938" y="5511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4" name="object 27">
            <a:extLst>
              <a:ext uri="{FF2B5EF4-FFF2-40B4-BE49-F238E27FC236}">
                <a16:creationId xmlns:a16="http://schemas.microsoft.com/office/drawing/2014/main" id="{DDFE3DCB-DA9F-9A0E-03FD-64C93827937B}"/>
              </a:ext>
            </a:extLst>
          </p:cNvPr>
          <p:cNvGrpSpPr/>
          <p:nvPr/>
        </p:nvGrpSpPr>
        <p:grpSpPr>
          <a:xfrm>
            <a:off x="536100" y="5407295"/>
            <a:ext cx="786353" cy="823575"/>
            <a:chOff x="624840" y="6326123"/>
            <a:chExt cx="1045844" cy="1047115"/>
          </a:xfrm>
        </p:grpSpPr>
        <p:sp>
          <p:nvSpPr>
            <p:cNvPr id="25" name="object 28">
              <a:extLst>
                <a:ext uri="{FF2B5EF4-FFF2-40B4-BE49-F238E27FC236}">
                  <a16:creationId xmlns:a16="http://schemas.microsoft.com/office/drawing/2014/main" id="{AD247AE7-0E34-BF29-03F2-2E7B912C3195}"/>
                </a:ext>
              </a:extLst>
            </p:cNvPr>
            <p:cNvSpPr/>
            <p:nvPr/>
          </p:nvSpPr>
          <p:spPr>
            <a:xfrm>
              <a:off x="643890" y="6345173"/>
              <a:ext cx="1007744" cy="1009015"/>
            </a:xfrm>
            <a:custGeom>
              <a:avLst/>
              <a:gdLst/>
              <a:ahLst/>
              <a:cxnLst/>
              <a:rect l="l" t="t" r="r" b="b"/>
              <a:pathLst>
                <a:path w="1007744" h="1009015">
                  <a:moveTo>
                    <a:pt x="1007364" y="0"/>
                  </a:moveTo>
                  <a:lnTo>
                    <a:pt x="167894" y="0"/>
                  </a:lnTo>
                  <a:lnTo>
                    <a:pt x="123262" y="5998"/>
                  </a:lnTo>
                  <a:lnTo>
                    <a:pt x="83155" y="22925"/>
                  </a:lnTo>
                  <a:lnTo>
                    <a:pt x="49175" y="49180"/>
                  </a:lnTo>
                  <a:lnTo>
                    <a:pt x="22923" y="83161"/>
                  </a:lnTo>
                  <a:lnTo>
                    <a:pt x="5997" y="123266"/>
                  </a:lnTo>
                  <a:lnTo>
                    <a:pt x="0" y="167893"/>
                  </a:lnTo>
                  <a:lnTo>
                    <a:pt x="0" y="1008888"/>
                  </a:lnTo>
                  <a:lnTo>
                    <a:pt x="839469" y="1008888"/>
                  </a:lnTo>
                  <a:lnTo>
                    <a:pt x="884097" y="1002889"/>
                  </a:lnTo>
                  <a:lnTo>
                    <a:pt x="924202" y="985962"/>
                  </a:lnTo>
                  <a:lnTo>
                    <a:pt x="958183" y="959707"/>
                  </a:lnTo>
                  <a:lnTo>
                    <a:pt x="984438" y="925726"/>
                  </a:lnTo>
                  <a:lnTo>
                    <a:pt x="1001365" y="885621"/>
                  </a:lnTo>
                  <a:lnTo>
                    <a:pt x="1007364" y="840994"/>
                  </a:lnTo>
                  <a:lnTo>
                    <a:pt x="1007364" y="0"/>
                  </a:lnTo>
                  <a:close/>
                </a:path>
              </a:pathLst>
            </a:custGeom>
            <a:solidFill>
              <a:srgbClr val="C9D3E3"/>
            </a:solidFill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6" name="object 29">
              <a:extLst>
                <a:ext uri="{FF2B5EF4-FFF2-40B4-BE49-F238E27FC236}">
                  <a16:creationId xmlns:a16="http://schemas.microsoft.com/office/drawing/2014/main" id="{6C956BF4-CBFC-7B96-F647-33262693DF26}"/>
                </a:ext>
              </a:extLst>
            </p:cNvPr>
            <p:cNvSpPr/>
            <p:nvPr/>
          </p:nvSpPr>
          <p:spPr>
            <a:xfrm>
              <a:off x="643890" y="6345173"/>
              <a:ext cx="1007744" cy="1009015"/>
            </a:xfrm>
            <a:custGeom>
              <a:avLst/>
              <a:gdLst/>
              <a:ahLst/>
              <a:cxnLst/>
              <a:rect l="l" t="t" r="r" b="b"/>
              <a:pathLst>
                <a:path w="1007744" h="1009015">
                  <a:moveTo>
                    <a:pt x="167894" y="0"/>
                  </a:moveTo>
                  <a:lnTo>
                    <a:pt x="1007364" y="0"/>
                  </a:lnTo>
                  <a:lnTo>
                    <a:pt x="1007364" y="840994"/>
                  </a:lnTo>
                  <a:lnTo>
                    <a:pt x="1001365" y="885621"/>
                  </a:lnTo>
                  <a:lnTo>
                    <a:pt x="984438" y="925726"/>
                  </a:lnTo>
                  <a:lnTo>
                    <a:pt x="958183" y="959707"/>
                  </a:lnTo>
                  <a:lnTo>
                    <a:pt x="924202" y="985962"/>
                  </a:lnTo>
                  <a:lnTo>
                    <a:pt x="884097" y="1002889"/>
                  </a:lnTo>
                  <a:lnTo>
                    <a:pt x="839469" y="1008888"/>
                  </a:lnTo>
                  <a:lnTo>
                    <a:pt x="0" y="1008888"/>
                  </a:lnTo>
                  <a:lnTo>
                    <a:pt x="0" y="167893"/>
                  </a:lnTo>
                  <a:lnTo>
                    <a:pt x="5997" y="123266"/>
                  </a:lnTo>
                  <a:lnTo>
                    <a:pt x="22923" y="83161"/>
                  </a:lnTo>
                  <a:lnTo>
                    <a:pt x="49175" y="49180"/>
                  </a:lnTo>
                  <a:lnTo>
                    <a:pt x="83155" y="22925"/>
                  </a:lnTo>
                  <a:lnTo>
                    <a:pt x="123262" y="5998"/>
                  </a:lnTo>
                  <a:lnTo>
                    <a:pt x="167894" y="0"/>
                  </a:lnTo>
                  <a:close/>
                </a:path>
              </a:pathLst>
            </a:custGeom>
            <a:ln w="38100">
              <a:solidFill>
                <a:srgbClr val="281F76"/>
              </a:solidFill>
            </a:ln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7" name="object 30">
              <a:extLst>
                <a:ext uri="{FF2B5EF4-FFF2-40B4-BE49-F238E27FC236}">
                  <a16:creationId xmlns:a16="http://schemas.microsoft.com/office/drawing/2014/main" id="{4703B5FD-41F5-3C17-2ADF-D31997F56F1D}"/>
                </a:ext>
              </a:extLst>
            </p:cNvPr>
            <p:cNvSpPr/>
            <p:nvPr/>
          </p:nvSpPr>
          <p:spPr>
            <a:xfrm>
              <a:off x="743712" y="6614159"/>
              <a:ext cx="806450" cy="467995"/>
            </a:xfrm>
            <a:custGeom>
              <a:avLst/>
              <a:gdLst/>
              <a:ahLst/>
              <a:cxnLst/>
              <a:rect l="l" t="t" r="r" b="b"/>
              <a:pathLst>
                <a:path w="806450" h="467995">
                  <a:moveTo>
                    <a:pt x="229222" y="277876"/>
                  </a:moveTo>
                  <a:lnTo>
                    <a:pt x="226047" y="277876"/>
                  </a:lnTo>
                  <a:lnTo>
                    <a:pt x="226047" y="274701"/>
                  </a:lnTo>
                  <a:lnTo>
                    <a:pt x="187833" y="236347"/>
                  </a:lnTo>
                  <a:lnTo>
                    <a:pt x="178282" y="236347"/>
                  </a:lnTo>
                  <a:lnTo>
                    <a:pt x="178282" y="239522"/>
                  </a:lnTo>
                  <a:lnTo>
                    <a:pt x="76390" y="341757"/>
                  </a:lnTo>
                  <a:lnTo>
                    <a:pt x="35026" y="297053"/>
                  </a:lnTo>
                  <a:lnTo>
                    <a:pt x="28651" y="293878"/>
                  </a:lnTo>
                  <a:lnTo>
                    <a:pt x="25463" y="290703"/>
                  </a:lnTo>
                  <a:lnTo>
                    <a:pt x="15913" y="290703"/>
                  </a:lnTo>
                  <a:lnTo>
                    <a:pt x="9550" y="293878"/>
                  </a:lnTo>
                  <a:lnTo>
                    <a:pt x="3187" y="300228"/>
                  </a:lnTo>
                  <a:lnTo>
                    <a:pt x="0" y="306578"/>
                  </a:lnTo>
                  <a:lnTo>
                    <a:pt x="0" y="450342"/>
                  </a:lnTo>
                  <a:lnTo>
                    <a:pt x="3187" y="456819"/>
                  </a:lnTo>
                  <a:lnTo>
                    <a:pt x="9550" y="463169"/>
                  </a:lnTo>
                  <a:lnTo>
                    <a:pt x="15913" y="466344"/>
                  </a:lnTo>
                  <a:lnTo>
                    <a:pt x="159181" y="466344"/>
                  </a:lnTo>
                  <a:lnTo>
                    <a:pt x="165557" y="463169"/>
                  </a:lnTo>
                  <a:lnTo>
                    <a:pt x="171919" y="456819"/>
                  </a:lnTo>
                  <a:lnTo>
                    <a:pt x="175107" y="450342"/>
                  </a:lnTo>
                  <a:lnTo>
                    <a:pt x="175107" y="440817"/>
                  </a:lnTo>
                  <a:lnTo>
                    <a:pt x="171919" y="434340"/>
                  </a:lnTo>
                  <a:lnTo>
                    <a:pt x="168732" y="431165"/>
                  </a:lnTo>
                  <a:lnTo>
                    <a:pt x="124167" y="389648"/>
                  </a:lnTo>
                  <a:lnTo>
                    <a:pt x="171932" y="341757"/>
                  </a:lnTo>
                  <a:lnTo>
                    <a:pt x="226047" y="287528"/>
                  </a:lnTo>
                  <a:lnTo>
                    <a:pt x="229222" y="284226"/>
                  </a:lnTo>
                  <a:lnTo>
                    <a:pt x="229222" y="277876"/>
                  </a:lnTo>
                  <a:close/>
                </a:path>
                <a:path w="806450" h="467995">
                  <a:moveTo>
                    <a:pt x="464820" y="16002"/>
                  </a:moveTo>
                  <a:lnTo>
                    <a:pt x="461632" y="9525"/>
                  </a:lnTo>
                  <a:lnTo>
                    <a:pt x="455269" y="3175"/>
                  </a:lnTo>
                  <a:lnTo>
                    <a:pt x="448906" y="0"/>
                  </a:lnTo>
                  <a:lnTo>
                    <a:pt x="302450" y="0"/>
                  </a:lnTo>
                  <a:lnTo>
                    <a:pt x="292900" y="9525"/>
                  </a:lnTo>
                  <a:lnTo>
                    <a:pt x="289712" y="16002"/>
                  </a:lnTo>
                  <a:lnTo>
                    <a:pt x="289712" y="25527"/>
                  </a:lnTo>
                  <a:lnTo>
                    <a:pt x="292900" y="28702"/>
                  </a:lnTo>
                  <a:lnTo>
                    <a:pt x="296087" y="35179"/>
                  </a:lnTo>
                  <a:lnTo>
                    <a:pt x="337477" y="76708"/>
                  </a:lnTo>
                  <a:lnTo>
                    <a:pt x="238772" y="178816"/>
                  </a:lnTo>
                  <a:lnTo>
                    <a:pt x="235597" y="178816"/>
                  </a:lnTo>
                  <a:lnTo>
                    <a:pt x="235597" y="188468"/>
                  </a:lnTo>
                  <a:lnTo>
                    <a:pt x="276987" y="229997"/>
                  </a:lnTo>
                  <a:lnTo>
                    <a:pt x="283349" y="229997"/>
                  </a:lnTo>
                  <a:lnTo>
                    <a:pt x="388416" y="124587"/>
                  </a:lnTo>
                  <a:lnTo>
                    <a:pt x="429793" y="169291"/>
                  </a:lnTo>
                  <a:lnTo>
                    <a:pt x="432981" y="172466"/>
                  </a:lnTo>
                  <a:lnTo>
                    <a:pt x="439356" y="175641"/>
                  </a:lnTo>
                  <a:lnTo>
                    <a:pt x="448906" y="175641"/>
                  </a:lnTo>
                  <a:lnTo>
                    <a:pt x="455269" y="172466"/>
                  </a:lnTo>
                  <a:lnTo>
                    <a:pt x="461632" y="166116"/>
                  </a:lnTo>
                  <a:lnTo>
                    <a:pt x="464820" y="159766"/>
                  </a:lnTo>
                  <a:lnTo>
                    <a:pt x="464820" y="124587"/>
                  </a:lnTo>
                  <a:lnTo>
                    <a:pt x="464820" y="16002"/>
                  </a:lnTo>
                  <a:close/>
                </a:path>
                <a:path w="806450" h="467995">
                  <a:moveTo>
                    <a:pt x="575437" y="248539"/>
                  </a:moveTo>
                  <a:lnTo>
                    <a:pt x="565658" y="238760"/>
                  </a:lnTo>
                  <a:lnTo>
                    <a:pt x="559181" y="235458"/>
                  </a:lnTo>
                  <a:lnTo>
                    <a:pt x="412889" y="235458"/>
                  </a:lnTo>
                  <a:lnTo>
                    <a:pt x="406387" y="238760"/>
                  </a:lnTo>
                  <a:lnTo>
                    <a:pt x="403136" y="242062"/>
                  </a:lnTo>
                  <a:lnTo>
                    <a:pt x="399884" y="245237"/>
                  </a:lnTo>
                  <a:lnTo>
                    <a:pt x="396633" y="248539"/>
                  </a:lnTo>
                  <a:lnTo>
                    <a:pt x="396633" y="261620"/>
                  </a:lnTo>
                  <a:lnTo>
                    <a:pt x="448640" y="314071"/>
                  </a:lnTo>
                  <a:lnTo>
                    <a:pt x="344627" y="415544"/>
                  </a:lnTo>
                  <a:lnTo>
                    <a:pt x="344627" y="418719"/>
                  </a:lnTo>
                  <a:lnTo>
                    <a:pt x="341376" y="422021"/>
                  </a:lnTo>
                  <a:lnTo>
                    <a:pt x="341376" y="425323"/>
                  </a:lnTo>
                  <a:lnTo>
                    <a:pt x="344627" y="428625"/>
                  </a:lnTo>
                  <a:lnTo>
                    <a:pt x="344627" y="431800"/>
                  </a:lnTo>
                  <a:lnTo>
                    <a:pt x="380377" y="464566"/>
                  </a:lnTo>
                  <a:lnTo>
                    <a:pt x="383628" y="467868"/>
                  </a:lnTo>
                  <a:lnTo>
                    <a:pt x="393382" y="467868"/>
                  </a:lnTo>
                  <a:lnTo>
                    <a:pt x="393382" y="464566"/>
                  </a:lnTo>
                  <a:lnTo>
                    <a:pt x="497395" y="363093"/>
                  </a:lnTo>
                  <a:lnTo>
                    <a:pt x="539623" y="408940"/>
                  </a:lnTo>
                  <a:lnTo>
                    <a:pt x="546100" y="412242"/>
                  </a:lnTo>
                  <a:lnTo>
                    <a:pt x="565658" y="412242"/>
                  </a:lnTo>
                  <a:lnTo>
                    <a:pt x="568960" y="408940"/>
                  </a:lnTo>
                  <a:lnTo>
                    <a:pt x="572135" y="402463"/>
                  </a:lnTo>
                  <a:lnTo>
                    <a:pt x="575437" y="399173"/>
                  </a:lnTo>
                  <a:lnTo>
                    <a:pt x="575437" y="363093"/>
                  </a:lnTo>
                  <a:lnTo>
                    <a:pt x="575437" y="248539"/>
                  </a:lnTo>
                  <a:close/>
                </a:path>
                <a:path w="806450" h="467995">
                  <a:moveTo>
                    <a:pt x="806196" y="42291"/>
                  </a:moveTo>
                  <a:lnTo>
                    <a:pt x="802894" y="39116"/>
                  </a:lnTo>
                  <a:lnTo>
                    <a:pt x="767207" y="6350"/>
                  </a:lnTo>
                  <a:lnTo>
                    <a:pt x="767207" y="3048"/>
                  </a:lnTo>
                  <a:lnTo>
                    <a:pt x="757428" y="3048"/>
                  </a:lnTo>
                  <a:lnTo>
                    <a:pt x="653415" y="107823"/>
                  </a:lnTo>
                  <a:lnTo>
                    <a:pt x="604647" y="58674"/>
                  </a:lnTo>
                  <a:lnTo>
                    <a:pt x="598170" y="55372"/>
                  </a:lnTo>
                  <a:lnTo>
                    <a:pt x="588391" y="55372"/>
                  </a:lnTo>
                  <a:lnTo>
                    <a:pt x="585216" y="58674"/>
                  </a:lnTo>
                  <a:lnTo>
                    <a:pt x="578612" y="61976"/>
                  </a:lnTo>
                  <a:lnTo>
                    <a:pt x="575437" y="65278"/>
                  </a:lnTo>
                  <a:lnTo>
                    <a:pt x="575437" y="225679"/>
                  </a:lnTo>
                  <a:lnTo>
                    <a:pt x="578612" y="228854"/>
                  </a:lnTo>
                  <a:lnTo>
                    <a:pt x="585216" y="232156"/>
                  </a:lnTo>
                  <a:lnTo>
                    <a:pt x="588391" y="235458"/>
                  </a:lnTo>
                  <a:lnTo>
                    <a:pt x="737997" y="235458"/>
                  </a:lnTo>
                  <a:lnTo>
                    <a:pt x="741172" y="232156"/>
                  </a:lnTo>
                  <a:lnTo>
                    <a:pt x="744474" y="228854"/>
                  </a:lnTo>
                  <a:lnTo>
                    <a:pt x="750951" y="225679"/>
                  </a:lnTo>
                  <a:lnTo>
                    <a:pt x="750951" y="205994"/>
                  </a:lnTo>
                  <a:lnTo>
                    <a:pt x="744474" y="202692"/>
                  </a:lnTo>
                  <a:lnTo>
                    <a:pt x="702183" y="156845"/>
                  </a:lnTo>
                  <a:lnTo>
                    <a:pt x="750836" y="107823"/>
                  </a:lnTo>
                  <a:lnTo>
                    <a:pt x="802894" y="55372"/>
                  </a:lnTo>
                  <a:lnTo>
                    <a:pt x="806196" y="52197"/>
                  </a:lnTo>
                  <a:lnTo>
                    <a:pt x="806196" y="42291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8" name="object 31">
            <a:extLst>
              <a:ext uri="{FF2B5EF4-FFF2-40B4-BE49-F238E27FC236}">
                <a16:creationId xmlns:a16="http://schemas.microsoft.com/office/drawing/2014/main" id="{1EAD4B64-E4E3-D523-E572-B6ABE6291963}"/>
              </a:ext>
            </a:extLst>
          </p:cNvPr>
          <p:cNvGrpSpPr/>
          <p:nvPr/>
        </p:nvGrpSpPr>
        <p:grpSpPr>
          <a:xfrm>
            <a:off x="523997" y="1591903"/>
            <a:ext cx="851217" cy="809625"/>
            <a:chOff x="640080" y="1597152"/>
            <a:chExt cx="1047115" cy="1045844"/>
          </a:xfrm>
        </p:grpSpPr>
        <p:sp>
          <p:nvSpPr>
            <p:cNvPr id="29" name="object 32">
              <a:extLst>
                <a:ext uri="{FF2B5EF4-FFF2-40B4-BE49-F238E27FC236}">
                  <a16:creationId xmlns:a16="http://schemas.microsoft.com/office/drawing/2014/main" id="{0B6194F5-492E-7447-3344-CA56B14ACF61}"/>
                </a:ext>
              </a:extLst>
            </p:cNvPr>
            <p:cNvSpPr/>
            <p:nvPr/>
          </p:nvSpPr>
          <p:spPr>
            <a:xfrm>
              <a:off x="659130" y="1616202"/>
              <a:ext cx="1009015" cy="1007744"/>
            </a:xfrm>
            <a:custGeom>
              <a:avLst/>
              <a:gdLst/>
              <a:ahLst/>
              <a:cxnLst/>
              <a:rect l="l" t="t" r="r" b="b"/>
              <a:pathLst>
                <a:path w="1009014" h="1007744">
                  <a:moveTo>
                    <a:pt x="1008888" y="0"/>
                  </a:moveTo>
                  <a:lnTo>
                    <a:pt x="167894" y="0"/>
                  </a:lnTo>
                  <a:lnTo>
                    <a:pt x="123262" y="5998"/>
                  </a:lnTo>
                  <a:lnTo>
                    <a:pt x="83155" y="22925"/>
                  </a:lnTo>
                  <a:lnTo>
                    <a:pt x="49175" y="49180"/>
                  </a:lnTo>
                  <a:lnTo>
                    <a:pt x="22923" y="83161"/>
                  </a:lnTo>
                  <a:lnTo>
                    <a:pt x="5997" y="123266"/>
                  </a:lnTo>
                  <a:lnTo>
                    <a:pt x="0" y="167894"/>
                  </a:lnTo>
                  <a:lnTo>
                    <a:pt x="0" y="1007364"/>
                  </a:lnTo>
                  <a:lnTo>
                    <a:pt x="840994" y="1007364"/>
                  </a:lnTo>
                  <a:lnTo>
                    <a:pt x="885621" y="1001365"/>
                  </a:lnTo>
                  <a:lnTo>
                    <a:pt x="925726" y="984438"/>
                  </a:lnTo>
                  <a:lnTo>
                    <a:pt x="959707" y="958183"/>
                  </a:lnTo>
                  <a:lnTo>
                    <a:pt x="985962" y="924202"/>
                  </a:lnTo>
                  <a:lnTo>
                    <a:pt x="1002889" y="884097"/>
                  </a:lnTo>
                  <a:lnTo>
                    <a:pt x="1008888" y="839470"/>
                  </a:lnTo>
                  <a:lnTo>
                    <a:pt x="1008888" y="0"/>
                  </a:lnTo>
                  <a:close/>
                </a:path>
              </a:pathLst>
            </a:custGeom>
            <a:solidFill>
              <a:srgbClr val="79799A"/>
            </a:solidFill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0" name="object 33">
              <a:extLst>
                <a:ext uri="{FF2B5EF4-FFF2-40B4-BE49-F238E27FC236}">
                  <a16:creationId xmlns:a16="http://schemas.microsoft.com/office/drawing/2014/main" id="{DB1B497A-0FF4-B859-4F20-61E9C1949C4D}"/>
                </a:ext>
              </a:extLst>
            </p:cNvPr>
            <p:cNvSpPr/>
            <p:nvPr/>
          </p:nvSpPr>
          <p:spPr>
            <a:xfrm>
              <a:off x="659130" y="1616202"/>
              <a:ext cx="1009015" cy="1007744"/>
            </a:xfrm>
            <a:custGeom>
              <a:avLst/>
              <a:gdLst/>
              <a:ahLst/>
              <a:cxnLst/>
              <a:rect l="l" t="t" r="r" b="b"/>
              <a:pathLst>
                <a:path w="1009014" h="1007744">
                  <a:moveTo>
                    <a:pt x="167894" y="0"/>
                  </a:moveTo>
                  <a:lnTo>
                    <a:pt x="1008888" y="0"/>
                  </a:lnTo>
                  <a:lnTo>
                    <a:pt x="1008888" y="839470"/>
                  </a:lnTo>
                  <a:lnTo>
                    <a:pt x="1002889" y="884097"/>
                  </a:lnTo>
                  <a:lnTo>
                    <a:pt x="985962" y="924202"/>
                  </a:lnTo>
                  <a:lnTo>
                    <a:pt x="959707" y="958183"/>
                  </a:lnTo>
                  <a:lnTo>
                    <a:pt x="925726" y="984438"/>
                  </a:lnTo>
                  <a:lnTo>
                    <a:pt x="885621" y="1001365"/>
                  </a:lnTo>
                  <a:lnTo>
                    <a:pt x="840994" y="1007364"/>
                  </a:lnTo>
                  <a:lnTo>
                    <a:pt x="0" y="1007364"/>
                  </a:lnTo>
                  <a:lnTo>
                    <a:pt x="0" y="167894"/>
                  </a:lnTo>
                  <a:lnTo>
                    <a:pt x="5997" y="123266"/>
                  </a:lnTo>
                  <a:lnTo>
                    <a:pt x="22923" y="83161"/>
                  </a:lnTo>
                  <a:lnTo>
                    <a:pt x="49175" y="49180"/>
                  </a:lnTo>
                  <a:lnTo>
                    <a:pt x="83155" y="22925"/>
                  </a:lnTo>
                  <a:lnTo>
                    <a:pt x="123262" y="5998"/>
                  </a:lnTo>
                  <a:lnTo>
                    <a:pt x="167894" y="0"/>
                  </a:lnTo>
                  <a:close/>
                </a:path>
              </a:pathLst>
            </a:custGeom>
            <a:ln w="38100">
              <a:solidFill>
                <a:srgbClr val="281F76"/>
              </a:solidFill>
            </a:ln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31" name="object 34">
              <a:extLst>
                <a:ext uri="{FF2B5EF4-FFF2-40B4-BE49-F238E27FC236}">
                  <a16:creationId xmlns:a16="http://schemas.microsoft.com/office/drawing/2014/main" id="{96B4AA1C-965D-BBB2-A5E7-6FA7B4D38136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196340" y="1876044"/>
              <a:ext cx="204215" cy="204215"/>
            </a:xfrm>
            <a:prstGeom prst="rect">
              <a:avLst/>
            </a:prstGeom>
          </p:spPr>
        </p:pic>
        <p:sp>
          <p:nvSpPr>
            <p:cNvPr id="32" name="object 35">
              <a:extLst>
                <a:ext uri="{FF2B5EF4-FFF2-40B4-BE49-F238E27FC236}">
                  <a16:creationId xmlns:a16="http://schemas.microsoft.com/office/drawing/2014/main" id="{EA72CF06-0BA5-5902-564C-6F7C440C1BF6}"/>
                </a:ext>
              </a:extLst>
            </p:cNvPr>
            <p:cNvSpPr/>
            <p:nvPr/>
          </p:nvSpPr>
          <p:spPr>
            <a:xfrm>
              <a:off x="851916" y="1798319"/>
              <a:ext cx="626745" cy="631190"/>
            </a:xfrm>
            <a:custGeom>
              <a:avLst/>
              <a:gdLst/>
              <a:ahLst/>
              <a:cxnLst/>
              <a:rect l="l" t="t" r="r" b="b"/>
              <a:pathLst>
                <a:path w="626744" h="631189">
                  <a:moveTo>
                    <a:pt x="621792" y="485521"/>
                  </a:moveTo>
                  <a:lnTo>
                    <a:pt x="616966" y="466217"/>
                  </a:lnTo>
                  <a:lnTo>
                    <a:pt x="602361" y="456438"/>
                  </a:lnTo>
                  <a:lnTo>
                    <a:pt x="582930" y="437070"/>
                  </a:lnTo>
                  <a:lnTo>
                    <a:pt x="582930" y="490347"/>
                  </a:lnTo>
                  <a:lnTo>
                    <a:pt x="582930" y="504952"/>
                  </a:lnTo>
                  <a:lnTo>
                    <a:pt x="563499" y="514604"/>
                  </a:lnTo>
                  <a:lnTo>
                    <a:pt x="558673" y="514604"/>
                  </a:lnTo>
                  <a:lnTo>
                    <a:pt x="529463" y="485482"/>
                  </a:lnTo>
                  <a:lnTo>
                    <a:pt x="529463" y="514604"/>
                  </a:lnTo>
                  <a:lnTo>
                    <a:pt x="286600" y="514604"/>
                  </a:lnTo>
                  <a:lnTo>
                    <a:pt x="267169" y="495236"/>
                  </a:lnTo>
                  <a:lnTo>
                    <a:pt x="267169" y="524383"/>
                  </a:lnTo>
                  <a:lnTo>
                    <a:pt x="208876" y="587375"/>
                  </a:lnTo>
                  <a:lnTo>
                    <a:pt x="199174" y="592201"/>
                  </a:lnTo>
                  <a:lnTo>
                    <a:pt x="189445" y="592201"/>
                  </a:lnTo>
                  <a:lnTo>
                    <a:pt x="179730" y="587375"/>
                  </a:lnTo>
                  <a:lnTo>
                    <a:pt x="43713" y="451612"/>
                  </a:lnTo>
                  <a:lnTo>
                    <a:pt x="38862" y="441960"/>
                  </a:lnTo>
                  <a:lnTo>
                    <a:pt x="38862" y="432308"/>
                  </a:lnTo>
                  <a:lnTo>
                    <a:pt x="43713" y="422529"/>
                  </a:lnTo>
                  <a:lnTo>
                    <a:pt x="106870" y="364363"/>
                  </a:lnTo>
                  <a:lnTo>
                    <a:pt x="267169" y="524383"/>
                  </a:lnTo>
                  <a:lnTo>
                    <a:pt x="267169" y="495236"/>
                  </a:lnTo>
                  <a:lnTo>
                    <a:pt x="135940" y="364363"/>
                  </a:lnTo>
                  <a:lnTo>
                    <a:pt x="116586" y="345059"/>
                  </a:lnTo>
                  <a:lnTo>
                    <a:pt x="116586" y="102743"/>
                  </a:lnTo>
                  <a:lnTo>
                    <a:pt x="529463" y="514604"/>
                  </a:lnTo>
                  <a:lnTo>
                    <a:pt x="529463" y="485482"/>
                  </a:lnTo>
                  <a:lnTo>
                    <a:pt x="145732" y="102743"/>
                  </a:lnTo>
                  <a:lnTo>
                    <a:pt x="116586" y="73660"/>
                  </a:lnTo>
                  <a:lnTo>
                    <a:pt x="116586" y="68834"/>
                  </a:lnTo>
                  <a:lnTo>
                    <a:pt x="121437" y="59182"/>
                  </a:lnTo>
                  <a:lnTo>
                    <a:pt x="126301" y="49403"/>
                  </a:lnTo>
                  <a:lnTo>
                    <a:pt x="145732" y="49403"/>
                  </a:lnTo>
                  <a:lnTo>
                    <a:pt x="578104" y="480695"/>
                  </a:lnTo>
                  <a:lnTo>
                    <a:pt x="582930" y="490347"/>
                  </a:lnTo>
                  <a:lnTo>
                    <a:pt x="582930" y="437070"/>
                  </a:lnTo>
                  <a:lnTo>
                    <a:pt x="194233" y="49403"/>
                  </a:lnTo>
                  <a:lnTo>
                    <a:pt x="160299" y="15494"/>
                  </a:lnTo>
                  <a:lnTo>
                    <a:pt x="136017" y="10668"/>
                  </a:lnTo>
                  <a:lnTo>
                    <a:pt x="97155" y="25146"/>
                  </a:lnTo>
                  <a:lnTo>
                    <a:pt x="77724" y="68834"/>
                  </a:lnTo>
                  <a:lnTo>
                    <a:pt x="77724" y="335280"/>
                  </a:lnTo>
                  <a:lnTo>
                    <a:pt x="19431" y="398272"/>
                  </a:lnTo>
                  <a:lnTo>
                    <a:pt x="4851" y="412877"/>
                  </a:lnTo>
                  <a:lnTo>
                    <a:pt x="0" y="437134"/>
                  </a:lnTo>
                  <a:lnTo>
                    <a:pt x="4851" y="461391"/>
                  </a:lnTo>
                  <a:lnTo>
                    <a:pt x="170014" y="626110"/>
                  </a:lnTo>
                  <a:lnTo>
                    <a:pt x="194310" y="630936"/>
                  </a:lnTo>
                  <a:lnTo>
                    <a:pt x="218592" y="626110"/>
                  </a:lnTo>
                  <a:lnTo>
                    <a:pt x="233172" y="611505"/>
                  </a:lnTo>
                  <a:lnTo>
                    <a:pt x="254127" y="592201"/>
                  </a:lnTo>
                  <a:lnTo>
                    <a:pt x="296316" y="553339"/>
                  </a:lnTo>
                  <a:lnTo>
                    <a:pt x="563499" y="553339"/>
                  </a:lnTo>
                  <a:lnTo>
                    <a:pt x="582930" y="548513"/>
                  </a:lnTo>
                  <a:lnTo>
                    <a:pt x="597535" y="543687"/>
                  </a:lnTo>
                  <a:lnTo>
                    <a:pt x="607187" y="534035"/>
                  </a:lnTo>
                  <a:lnTo>
                    <a:pt x="616966" y="519430"/>
                  </a:lnTo>
                  <a:lnTo>
                    <a:pt x="618172" y="514604"/>
                  </a:lnTo>
                  <a:lnTo>
                    <a:pt x="621792" y="500126"/>
                  </a:lnTo>
                  <a:lnTo>
                    <a:pt x="621792" y="485521"/>
                  </a:lnTo>
                  <a:close/>
                </a:path>
                <a:path w="626744" h="631189">
                  <a:moveTo>
                    <a:pt x="626364" y="271653"/>
                  </a:moveTo>
                  <a:lnTo>
                    <a:pt x="621538" y="218313"/>
                  </a:lnTo>
                  <a:lnTo>
                    <a:pt x="606933" y="164973"/>
                  </a:lnTo>
                  <a:lnTo>
                    <a:pt x="548767" y="77597"/>
                  </a:lnTo>
                  <a:lnTo>
                    <a:pt x="461391" y="19431"/>
                  </a:lnTo>
                  <a:lnTo>
                    <a:pt x="408051" y="4826"/>
                  </a:lnTo>
                  <a:lnTo>
                    <a:pt x="354685" y="0"/>
                  </a:lnTo>
                  <a:lnTo>
                    <a:pt x="344982" y="0"/>
                  </a:lnTo>
                  <a:lnTo>
                    <a:pt x="335280" y="9652"/>
                  </a:lnTo>
                  <a:lnTo>
                    <a:pt x="335280" y="29083"/>
                  </a:lnTo>
                  <a:lnTo>
                    <a:pt x="340131" y="33909"/>
                  </a:lnTo>
                  <a:lnTo>
                    <a:pt x="344982" y="38862"/>
                  </a:lnTo>
                  <a:lnTo>
                    <a:pt x="354685" y="38862"/>
                  </a:lnTo>
                  <a:lnTo>
                    <a:pt x="403199" y="43688"/>
                  </a:lnTo>
                  <a:lnTo>
                    <a:pt x="446913" y="58166"/>
                  </a:lnTo>
                  <a:lnTo>
                    <a:pt x="485648" y="77597"/>
                  </a:lnTo>
                  <a:lnTo>
                    <a:pt x="519684" y="106680"/>
                  </a:lnTo>
                  <a:lnTo>
                    <a:pt x="548767" y="140716"/>
                  </a:lnTo>
                  <a:lnTo>
                    <a:pt x="568198" y="179451"/>
                  </a:lnTo>
                  <a:lnTo>
                    <a:pt x="582676" y="223139"/>
                  </a:lnTo>
                  <a:lnTo>
                    <a:pt x="587502" y="271653"/>
                  </a:lnTo>
                  <a:lnTo>
                    <a:pt x="587502" y="281432"/>
                  </a:lnTo>
                  <a:lnTo>
                    <a:pt x="592455" y="286258"/>
                  </a:lnTo>
                  <a:lnTo>
                    <a:pt x="597281" y="291084"/>
                  </a:lnTo>
                  <a:lnTo>
                    <a:pt x="616712" y="291084"/>
                  </a:lnTo>
                  <a:lnTo>
                    <a:pt x="626364" y="281432"/>
                  </a:lnTo>
                  <a:lnTo>
                    <a:pt x="626364" y="2716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33" name="object 36">
            <a:extLst>
              <a:ext uri="{FF2B5EF4-FFF2-40B4-BE49-F238E27FC236}">
                <a16:creationId xmlns:a16="http://schemas.microsoft.com/office/drawing/2014/main" id="{45FA8775-66D9-F163-939B-BC357B90EACD}"/>
              </a:ext>
            </a:extLst>
          </p:cNvPr>
          <p:cNvSpPr txBox="1"/>
          <p:nvPr/>
        </p:nvSpPr>
        <p:spPr>
          <a:xfrm>
            <a:off x="1795658" y="1558091"/>
            <a:ext cx="6354950" cy="11464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2400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Εγγύηση Δανείου </a:t>
            </a:r>
            <a:endParaRPr lang="el-GR" sz="2400" dirty="0">
              <a:solidFill>
                <a:srgbClr val="281F7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2400" dirty="0" err="1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με</a:t>
            </a:r>
            <a:r>
              <a:rPr sz="2400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επ</a:t>
            </a:r>
            <a:r>
              <a:rPr sz="2400" dirty="0" err="1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ιχορήγηση</a:t>
            </a:r>
            <a:r>
              <a:rPr lang="el-GR" sz="2400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sz="2400" dirty="0" err="1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κεφ</a:t>
            </a:r>
            <a:r>
              <a:rPr sz="2400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αλαίου. </a:t>
            </a:r>
            <a:endParaRPr lang="el-GR" sz="2400" dirty="0">
              <a:solidFill>
                <a:srgbClr val="281F7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2400" dirty="0" err="1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Χρόνος</a:t>
            </a:r>
            <a:r>
              <a:rPr sz="2400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διάθεσης: έως 31-12-2025</a:t>
            </a:r>
          </a:p>
        </p:txBody>
      </p:sp>
      <p:sp>
        <p:nvSpPr>
          <p:cNvPr id="34" name="object 43">
            <a:extLst>
              <a:ext uri="{FF2B5EF4-FFF2-40B4-BE49-F238E27FC236}">
                <a16:creationId xmlns:a16="http://schemas.microsoft.com/office/drawing/2014/main" id="{7ECBFC12-EC02-FA78-0C4F-6E40082A03DF}"/>
              </a:ext>
            </a:extLst>
          </p:cNvPr>
          <p:cNvSpPr txBox="1"/>
          <p:nvPr/>
        </p:nvSpPr>
        <p:spPr>
          <a:xfrm>
            <a:off x="1670274" y="2848160"/>
            <a:ext cx="6354951" cy="863057"/>
          </a:xfrm>
          <a:prstGeom prst="rect">
            <a:avLst/>
          </a:prstGeom>
        </p:spPr>
        <p:txBody>
          <a:bodyPr vert="horz" wrap="square" lIns="0" tIns="49530" rIns="0" bIns="0" rtlCol="0">
            <a:spAutoFit/>
          </a:bodyPr>
          <a:lstStyle/>
          <a:p>
            <a:pPr marL="12700" marR="5080">
              <a:spcBef>
                <a:spcPts val="100"/>
              </a:spcBef>
            </a:pPr>
            <a:r>
              <a:rPr sz="2800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Ύψος χαρτοφυλακίου: </a:t>
            </a:r>
            <a:r>
              <a:rPr sz="2400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€140</a:t>
            </a:r>
            <a:r>
              <a:rPr lang="en-US" sz="2400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l-GR" sz="2400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εκ</a:t>
            </a:r>
            <a:r>
              <a:rPr lang="el-GR" sz="2400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sz="2400" dirty="0">
              <a:solidFill>
                <a:srgbClr val="281F7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2700" marR="5080">
              <a:spcBef>
                <a:spcPts val="100"/>
              </a:spcBef>
            </a:pPr>
            <a:r>
              <a:rPr sz="2400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Πόροι Ταμείου: €35 εκ.</a:t>
            </a:r>
          </a:p>
        </p:txBody>
      </p:sp>
      <p:grpSp>
        <p:nvGrpSpPr>
          <p:cNvPr id="35" name="object 4">
            <a:extLst>
              <a:ext uri="{FF2B5EF4-FFF2-40B4-BE49-F238E27FC236}">
                <a16:creationId xmlns:a16="http://schemas.microsoft.com/office/drawing/2014/main" id="{6C78237D-CB63-1C1E-5C01-343EC14F084F}"/>
              </a:ext>
            </a:extLst>
          </p:cNvPr>
          <p:cNvGrpSpPr/>
          <p:nvPr/>
        </p:nvGrpSpPr>
        <p:grpSpPr>
          <a:xfrm>
            <a:off x="9758654" y="3711217"/>
            <a:ext cx="715320" cy="717322"/>
            <a:chOff x="10353289" y="3537965"/>
            <a:chExt cx="899164" cy="901066"/>
          </a:xfrm>
        </p:grpSpPr>
        <p:sp>
          <p:nvSpPr>
            <p:cNvPr id="36" name="object 5">
              <a:extLst>
                <a:ext uri="{FF2B5EF4-FFF2-40B4-BE49-F238E27FC236}">
                  <a16:creationId xmlns:a16="http://schemas.microsoft.com/office/drawing/2014/main" id="{B5E4D636-3748-3D4A-990D-09FF1446FAB7}"/>
                </a:ext>
              </a:extLst>
            </p:cNvPr>
            <p:cNvSpPr/>
            <p:nvPr/>
          </p:nvSpPr>
          <p:spPr>
            <a:xfrm>
              <a:off x="10353289" y="3537966"/>
              <a:ext cx="899160" cy="901065"/>
            </a:xfrm>
            <a:custGeom>
              <a:avLst/>
              <a:gdLst/>
              <a:ahLst/>
              <a:cxnLst/>
              <a:rect l="l" t="t" r="r" b="b"/>
              <a:pathLst>
                <a:path w="899159" h="901064">
                  <a:moveTo>
                    <a:pt x="449579" y="0"/>
                  </a:moveTo>
                  <a:lnTo>
                    <a:pt x="400595" y="2643"/>
                  </a:lnTo>
                  <a:lnTo>
                    <a:pt x="353137" y="10389"/>
                  </a:lnTo>
                  <a:lnTo>
                    <a:pt x="307482" y="22963"/>
                  </a:lnTo>
                  <a:lnTo>
                    <a:pt x="263902" y="40090"/>
                  </a:lnTo>
                  <a:lnTo>
                    <a:pt x="222673" y="61496"/>
                  </a:lnTo>
                  <a:lnTo>
                    <a:pt x="184068" y="86904"/>
                  </a:lnTo>
                  <a:lnTo>
                    <a:pt x="148363" y="116040"/>
                  </a:lnTo>
                  <a:lnTo>
                    <a:pt x="115830" y="148630"/>
                  </a:lnTo>
                  <a:lnTo>
                    <a:pt x="86746" y="184397"/>
                  </a:lnTo>
                  <a:lnTo>
                    <a:pt x="61383" y="223068"/>
                  </a:lnTo>
                  <a:lnTo>
                    <a:pt x="40016" y="264367"/>
                  </a:lnTo>
                  <a:lnTo>
                    <a:pt x="22920" y="308018"/>
                  </a:lnTo>
                  <a:lnTo>
                    <a:pt x="10369" y="353748"/>
                  </a:lnTo>
                  <a:lnTo>
                    <a:pt x="2638" y="401281"/>
                  </a:lnTo>
                  <a:lnTo>
                    <a:pt x="0" y="450341"/>
                  </a:lnTo>
                  <a:lnTo>
                    <a:pt x="2638" y="499402"/>
                  </a:lnTo>
                  <a:lnTo>
                    <a:pt x="10369" y="546935"/>
                  </a:lnTo>
                  <a:lnTo>
                    <a:pt x="22920" y="592665"/>
                  </a:lnTo>
                  <a:lnTo>
                    <a:pt x="40016" y="636316"/>
                  </a:lnTo>
                  <a:lnTo>
                    <a:pt x="61383" y="677615"/>
                  </a:lnTo>
                  <a:lnTo>
                    <a:pt x="86746" y="716286"/>
                  </a:lnTo>
                  <a:lnTo>
                    <a:pt x="115830" y="752053"/>
                  </a:lnTo>
                  <a:lnTo>
                    <a:pt x="148363" y="784643"/>
                  </a:lnTo>
                  <a:lnTo>
                    <a:pt x="184068" y="813779"/>
                  </a:lnTo>
                  <a:lnTo>
                    <a:pt x="222673" y="839187"/>
                  </a:lnTo>
                  <a:lnTo>
                    <a:pt x="263902" y="860593"/>
                  </a:lnTo>
                  <a:lnTo>
                    <a:pt x="307482" y="877720"/>
                  </a:lnTo>
                  <a:lnTo>
                    <a:pt x="353137" y="890294"/>
                  </a:lnTo>
                  <a:lnTo>
                    <a:pt x="400595" y="898040"/>
                  </a:lnTo>
                  <a:lnTo>
                    <a:pt x="449579" y="900683"/>
                  </a:lnTo>
                  <a:lnTo>
                    <a:pt x="498564" y="898040"/>
                  </a:lnTo>
                  <a:lnTo>
                    <a:pt x="546022" y="890294"/>
                  </a:lnTo>
                  <a:lnTo>
                    <a:pt x="591677" y="877720"/>
                  </a:lnTo>
                  <a:lnTo>
                    <a:pt x="635257" y="860593"/>
                  </a:lnTo>
                  <a:lnTo>
                    <a:pt x="676486" y="839187"/>
                  </a:lnTo>
                  <a:lnTo>
                    <a:pt x="715091" y="813779"/>
                  </a:lnTo>
                  <a:lnTo>
                    <a:pt x="750796" y="784643"/>
                  </a:lnTo>
                  <a:lnTo>
                    <a:pt x="783329" y="752053"/>
                  </a:lnTo>
                  <a:lnTo>
                    <a:pt x="812413" y="716286"/>
                  </a:lnTo>
                  <a:lnTo>
                    <a:pt x="837776" y="677615"/>
                  </a:lnTo>
                  <a:lnTo>
                    <a:pt x="859143" y="636316"/>
                  </a:lnTo>
                  <a:lnTo>
                    <a:pt x="876239" y="592665"/>
                  </a:lnTo>
                  <a:lnTo>
                    <a:pt x="888790" y="546935"/>
                  </a:lnTo>
                  <a:lnTo>
                    <a:pt x="896521" y="499402"/>
                  </a:lnTo>
                  <a:lnTo>
                    <a:pt x="899159" y="450341"/>
                  </a:lnTo>
                  <a:lnTo>
                    <a:pt x="896521" y="401281"/>
                  </a:lnTo>
                  <a:lnTo>
                    <a:pt x="888790" y="353748"/>
                  </a:lnTo>
                  <a:lnTo>
                    <a:pt x="876239" y="308018"/>
                  </a:lnTo>
                  <a:lnTo>
                    <a:pt x="859143" y="264367"/>
                  </a:lnTo>
                  <a:lnTo>
                    <a:pt x="837776" y="223068"/>
                  </a:lnTo>
                  <a:lnTo>
                    <a:pt x="812413" y="184397"/>
                  </a:lnTo>
                  <a:lnTo>
                    <a:pt x="783329" y="148630"/>
                  </a:lnTo>
                  <a:lnTo>
                    <a:pt x="750796" y="116040"/>
                  </a:lnTo>
                  <a:lnTo>
                    <a:pt x="715091" y="86904"/>
                  </a:lnTo>
                  <a:lnTo>
                    <a:pt x="676486" y="61496"/>
                  </a:lnTo>
                  <a:lnTo>
                    <a:pt x="635257" y="40090"/>
                  </a:lnTo>
                  <a:lnTo>
                    <a:pt x="591677" y="22963"/>
                  </a:lnTo>
                  <a:lnTo>
                    <a:pt x="546022" y="10389"/>
                  </a:lnTo>
                  <a:lnTo>
                    <a:pt x="498564" y="2643"/>
                  </a:lnTo>
                  <a:lnTo>
                    <a:pt x="449579" y="0"/>
                  </a:lnTo>
                  <a:close/>
                </a:path>
              </a:pathLst>
            </a:custGeom>
            <a:solidFill>
              <a:srgbClr val="233146"/>
            </a:solidFill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7" name="object 6">
              <a:extLst>
                <a:ext uri="{FF2B5EF4-FFF2-40B4-BE49-F238E27FC236}">
                  <a16:creationId xmlns:a16="http://schemas.microsoft.com/office/drawing/2014/main" id="{05FB61CF-2DF8-6FB6-623D-EF1FF08A4732}"/>
                </a:ext>
              </a:extLst>
            </p:cNvPr>
            <p:cNvSpPr/>
            <p:nvPr/>
          </p:nvSpPr>
          <p:spPr>
            <a:xfrm>
              <a:off x="10353293" y="3537965"/>
              <a:ext cx="899160" cy="901065"/>
            </a:xfrm>
            <a:custGeom>
              <a:avLst/>
              <a:gdLst/>
              <a:ahLst/>
              <a:cxnLst/>
              <a:rect l="l" t="t" r="r" b="b"/>
              <a:pathLst>
                <a:path w="899159" h="901064">
                  <a:moveTo>
                    <a:pt x="0" y="450341"/>
                  </a:moveTo>
                  <a:lnTo>
                    <a:pt x="2638" y="401281"/>
                  </a:lnTo>
                  <a:lnTo>
                    <a:pt x="10369" y="353748"/>
                  </a:lnTo>
                  <a:lnTo>
                    <a:pt x="22920" y="308018"/>
                  </a:lnTo>
                  <a:lnTo>
                    <a:pt x="40016" y="264367"/>
                  </a:lnTo>
                  <a:lnTo>
                    <a:pt x="61383" y="223068"/>
                  </a:lnTo>
                  <a:lnTo>
                    <a:pt x="86746" y="184397"/>
                  </a:lnTo>
                  <a:lnTo>
                    <a:pt x="115830" y="148630"/>
                  </a:lnTo>
                  <a:lnTo>
                    <a:pt x="148363" y="116040"/>
                  </a:lnTo>
                  <a:lnTo>
                    <a:pt x="184068" y="86904"/>
                  </a:lnTo>
                  <a:lnTo>
                    <a:pt x="222673" y="61496"/>
                  </a:lnTo>
                  <a:lnTo>
                    <a:pt x="263902" y="40090"/>
                  </a:lnTo>
                  <a:lnTo>
                    <a:pt x="307482" y="22963"/>
                  </a:lnTo>
                  <a:lnTo>
                    <a:pt x="353137" y="10389"/>
                  </a:lnTo>
                  <a:lnTo>
                    <a:pt x="400595" y="2643"/>
                  </a:lnTo>
                  <a:lnTo>
                    <a:pt x="449579" y="0"/>
                  </a:lnTo>
                  <a:lnTo>
                    <a:pt x="498564" y="2643"/>
                  </a:lnTo>
                  <a:lnTo>
                    <a:pt x="546022" y="10389"/>
                  </a:lnTo>
                  <a:lnTo>
                    <a:pt x="591677" y="22963"/>
                  </a:lnTo>
                  <a:lnTo>
                    <a:pt x="635257" y="40090"/>
                  </a:lnTo>
                  <a:lnTo>
                    <a:pt x="676486" y="61496"/>
                  </a:lnTo>
                  <a:lnTo>
                    <a:pt x="715091" y="86904"/>
                  </a:lnTo>
                  <a:lnTo>
                    <a:pt x="750796" y="116040"/>
                  </a:lnTo>
                  <a:lnTo>
                    <a:pt x="783329" y="148630"/>
                  </a:lnTo>
                  <a:lnTo>
                    <a:pt x="812413" y="184397"/>
                  </a:lnTo>
                  <a:lnTo>
                    <a:pt x="837776" y="223068"/>
                  </a:lnTo>
                  <a:lnTo>
                    <a:pt x="859143" y="264367"/>
                  </a:lnTo>
                  <a:lnTo>
                    <a:pt x="876239" y="308018"/>
                  </a:lnTo>
                  <a:lnTo>
                    <a:pt x="888790" y="353748"/>
                  </a:lnTo>
                  <a:lnTo>
                    <a:pt x="896521" y="401281"/>
                  </a:lnTo>
                  <a:lnTo>
                    <a:pt x="899159" y="450341"/>
                  </a:lnTo>
                  <a:lnTo>
                    <a:pt x="896521" y="499402"/>
                  </a:lnTo>
                  <a:lnTo>
                    <a:pt x="888790" y="546935"/>
                  </a:lnTo>
                  <a:lnTo>
                    <a:pt x="876239" y="592665"/>
                  </a:lnTo>
                  <a:lnTo>
                    <a:pt x="859143" y="636316"/>
                  </a:lnTo>
                  <a:lnTo>
                    <a:pt x="837776" y="677615"/>
                  </a:lnTo>
                  <a:lnTo>
                    <a:pt x="812413" y="716286"/>
                  </a:lnTo>
                  <a:lnTo>
                    <a:pt x="783329" y="752053"/>
                  </a:lnTo>
                  <a:lnTo>
                    <a:pt x="750796" y="784643"/>
                  </a:lnTo>
                  <a:lnTo>
                    <a:pt x="715091" y="813779"/>
                  </a:lnTo>
                  <a:lnTo>
                    <a:pt x="676486" y="839187"/>
                  </a:lnTo>
                  <a:lnTo>
                    <a:pt x="635257" y="860593"/>
                  </a:lnTo>
                  <a:lnTo>
                    <a:pt x="591677" y="877720"/>
                  </a:lnTo>
                  <a:lnTo>
                    <a:pt x="546022" y="890294"/>
                  </a:lnTo>
                  <a:lnTo>
                    <a:pt x="498564" y="898040"/>
                  </a:lnTo>
                  <a:lnTo>
                    <a:pt x="449579" y="900683"/>
                  </a:lnTo>
                  <a:lnTo>
                    <a:pt x="400595" y="898040"/>
                  </a:lnTo>
                  <a:lnTo>
                    <a:pt x="353137" y="890294"/>
                  </a:lnTo>
                  <a:lnTo>
                    <a:pt x="307482" y="877720"/>
                  </a:lnTo>
                  <a:lnTo>
                    <a:pt x="263902" y="860593"/>
                  </a:lnTo>
                  <a:lnTo>
                    <a:pt x="222673" y="839187"/>
                  </a:lnTo>
                  <a:lnTo>
                    <a:pt x="184068" y="813779"/>
                  </a:lnTo>
                  <a:lnTo>
                    <a:pt x="148363" y="784643"/>
                  </a:lnTo>
                  <a:lnTo>
                    <a:pt x="115830" y="752053"/>
                  </a:lnTo>
                  <a:lnTo>
                    <a:pt x="86746" y="716286"/>
                  </a:lnTo>
                  <a:lnTo>
                    <a:pt x="61383" y="677615"/>
                  </a:lnTo>
                  <a:lnTo>
                    <a:pt x="40016" y="636316"/>
                  </a:lnTo>
                  <a:lnTo>
                    <a:pt x="22920" y="592665"/>
                  </a:lnTo>
                  <a:lnTo>
                    <a:pt x="10369" y="546935"/>
                  </a:lnTo>
                  <a:lnTo>
                    <a:pt x="2638" y="499402"/>
                  </a:lnTo>
                  <a:lnTo>
                    <a:pt x="0" y="450341"/>
                  </a:lnTo>
                  <a:close/>
                </a:path>
              </a:pathLst>
            </a:custGeom>
            <a:ln w="38100">
              <a:solidFill>
                <a:srgbClr val="281F76"/>
              </a:solidFill>
            </a:ln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38" name="object 37">
            <a:extLst>
              <a:ext uri="{FF2B5EF4-FFF2-40B4-BE49-F238E27FC236}">
                <a16:creationId xmlns:a16="http://schemas.microsoft.com/office/drawing/2014/main" id="{3ABD8AA7-509A-3A3A-5D88-F10B56DCFE13}"/>
              </a:ext>
            </a:extLst>
          </p:cNvPr>
          <p:cNvGrpSpPr/>
          <p:nvPr/>
        </p:nvGrpSpPr>
        <p:grpSpPr>
          <a:xfrm>
            <a:off x="10025325" y="1878043"/>
            <a:ext cx="2156648" cy="427990"/>
            <a:chOff x="10366438" y="1518094"/>
            <a:chExt cx="2621280" cy="427990"/>
          </a:xfrm>
        </p:grpSpPr>
        <p:sp>
          <p:nvSpPr>
            <p:cNvPr id="39" name="object 38">
              <a:extLst>
                <a:ext uri="{FF2B5EF4-FFF2-40B4-BE49-F238E27FC236}">
                  <a16:creationId xmlns:a16="http://schemas.microsoft.com/office/drawing/2014/main" id="{5A27E791-09EE-CA5F-5CD4-D6FF041B7573}"/>
                </a:ext>
              </a:extLst>
            </p:cNvPr>
            <p:cNvSpPr/>
            <p:nvPr/>
          </p:nvSpPr>
          <p:spPr>
            <a:xfrm>
              <a:off x="10380726" y="1532382"/>
              <a:ext cx="2592705" cy="399415"/>
            </a:xfrm>
            <a:custGeom>
              <a:avLst/>
              <a:gdLst/>
              <a:ahLst/>
              <a:cxnLst/>
              <a:rect l="l" t="t" r="r" b="b"/>
              <a:pathLst>
                <a:path w="2592704" h="399414">
                  <a:moveTo>
                    <a:pt x="2392679" y="0"/>
                  </a:moveTo>
                  <a:lnTo>
                    <a:pt x="2392679" y="51943"/>
                  </a:lnTo>
                  <a:lnTo>
                    <a:pt x="199644" y="51943"/>
                  </a:lnTo>
                  <a:lnTo>
                    <a:pt x="199644" y="0"/>
                  </a:lnTo>
                  <a:lnTo>
                    <a:pt x="0" y="199644"/>
                  </a:lnTo>
                  <a:lnTo>
                    <a:pt x="199644" y="399288"/>
                  </a:lnTo>
                  <a:lnTo>
                    <a:pt x="199644" y="347345"/>
                  </a:lnTo>
                  <a:lnTo>
                    <a:pt x="2392679" y="347345"/>
                  </a:lnTo>
                  <a:lnTo>
                    <a:pt x="2392679" y="399288"/>
                  </a:lnTo>
                  <a:lnTo>
                    <a:pt x="2592324" y="199644"/>
                  </a:lnTo>
                  <a:lnTo>
                    <a:pt x="2392679" y="0"/>
                  </a:lnTo>
                  <a:close/>
                </a:path>
              </a:pathLst>
            </a:custGeom>
            <a:solidFill>
              <a:srgbClr val="3768B7"/>
            </a:solidFill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0" name="object 39">
              <a:extLst>
                <a:ext uri="{FF2B5EF4-FFF2-40B4-BE49-F238E27FC236}">
                  <a16:creationId xmlns:a16="http://schemas.microsoft.com/office/drawing/2014/main" id="{C9935AD4-73A3-89EE-118C-524B911C2A09}"/>
                </a:ext>
              </a:extLst>
            </p:cNvPr>
            <p:cNvSpPr/>
            <p:nvPr/>
          </p:nvSpPr>
          <p:spPr>
            <a:xfrm>
              <a:off x="10380726" y="1532382"/>
              <a:ext cx="2592705" cy="399415"/>
            </a:xfrm>
            <a:custGeom>
              <a:avLst/>
              <a:gdLst/>
              <a:ahLst/>
              <a:cxnLst/>
              <a:rect l="l" t="t" r="r" b="b"/>
              <a:pathLst>
                <a:path w="2592704" h="399414">
                  <a:moveTo>
                    <a:pt x="0" y="199644"/>
                  </a:moveTo>
                  <a:lnTo>
                    <a:pt x="199644" y="0"/>
                  </a:lnTo>
                  <a:lnTo>
                    <a:pt x="199644" y="51943"/>
                  </a:lnTo>
                  <a:lnTo>
                    <a:pt x="2392679" y="51943"/>
                  </a:lnTo>
                  <a:lnTo>
                    <a:pt x="2392679" y="0"/>
                  </a:lnTo>
                  <a:lnTo>
                    <a:pt x="2592324" y="199644"/>
                  </a:lnTo>
                  <a:lnTo>
                    <a:pt x="2392679" y="399288"/>
                  </a:lnTo>
                  <a:lnTo>
                    <a:pt x="2392679" y="347345"/>
                  </a:lnTo>
                  <a:lnTo>
                    <a:pt x="199644" y="347345"/>
                  </a:lnTo>
                  <a:lnTo>
                    <a:pt x="199644" y="399288"/>
                  </a:lnTo>
                  <a:lnTo>
                    <a:pt x="0" y="199644"/>
                  </a:lnTo>
                  <a:close/>
                </a:path>
              </a:pathLst>
            </a:custGeom>
            <a:ln w="28575">
              <a:solidFill>
                <a:srgbClr val="281F76"/>
              </a:solidFill>
            </a:ln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41" name="object 40">
            <a:extLst>
              <a:ext uri="{FF2B5EF4-FFF2-40B4-BE49-F238E27FC236}">
                <a16:creationId xmlns:a16="http://schemas.microsoft.com/office/drawing/2014/main" id="{EB77FEF7-0ED4-2CF8-EB91-1AFF9E20CAED}"/>
              </a:ext>
            </a:extLst>
          </p:cNvPr>
          <p:cNvSpPr txBox="1"/>
          <p:nvPr/>
        </p:nvSpPr>
        <p:spPr>
          <a:xfrm>
            <a:off x="10288683" y="1917156"/>
            <a:ext cx="2225612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Περίοδος</a:t>
            </a:r>
            <a:r>
              <a:rPr sz="1800" b="1" spc="-6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sz="1800" b="1" spc="-1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χάριτος</a:t>
            </a:r>
            <a:endParaRPr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object 41">
            <a:extLst>
              <a:ext uri="{FF2B5EF4-FFF2-40B4-BE49-F238E27FC236}">
                <a16:creationId xmlns:a16="http://schemas.microsoft.com/office/drawing/2014/main" id="{96FFB509-F4C1-CD24-85AB-FFB809C863A4}"/>
              </a:ext>
            </a:extLst>
          </p:cNvPr>
          <p:cNvSpPr/>
          <p:nvPr/>
        </p:nvSpPr>
        <p:spPr>
          <a:xfrm>
            <a:off x="11152795" y="1343633"/>
            <a:ext cx="2842260" cy="360045"/>
          </a:xfrm>
          <a:custGeom>
            <a:avLst/>
            <a:gdLst/>
            <a:ahLst/>
            <a:cxnLst/>
            <a:rect l="l" t="t" r="r" b="b"/>
            <a:pathLst>
              <a:path w="2842259" h="360044">
                <a:moveTo>
                  <a:pt x="0" y="59944"/>
                </a:moveTo>
                <a:lnTo>
                  <a:pt x="4704" y="36593"/>
                </a:lnTo>
                <a:lnTo>
                  <a:pt x="17541" y="17541"/>
                </a:lnTo>
                <a:lnTo>
                  <a:pt x="36593" y="4704"/>
                </a:lnTo>
                <a:lnTo>
                  <a:pt x="59944" y="0"/>
                </a:lnTo>
                <a:lnTo>
                  <a:pt x="2782316" y="0"/>
                </a:lnTo>
                <a:lnTo>
                  <a:pt x="2805666" y="4704"/>
                </a:lnTo>
                <a:lnTo>
                  <a:pt x="2824718" y="17541"/>
                </a:lnTo>
                <a:lnTo>
                  <a:pt x="2837555" y="36593"/>
                </a:lnTo>
                <a:lnTo>
                  <a:pt x="2842260" y="59944"/>
                </a:lnTo>
                <a:lnTo>
                  <a:pt x="2842260" y="299720"/>
                </a:lnTo>
                <a:lnTo>
                  <a:pt x="2837555" y="323070"/>
                </a:lnTo>
                <a:lnTo>
                  <a:pt x="2824718" y="342122"/>
                </a:lnTo>
                <a:lnTo>
                  <a:pt x="2805666" y="354959"/>
                </a:lnTo>
                <a:lnTo>
                  <a:pt x="2782316" y="359664"/>
                </a:lnTo>
                <a:lnTo>
                  <a:pt x="59944" y="359664"/>
                </a:lnTo>
                <a:lnTo>
                  <a:pt x="36593" y="354959"/>
                </a:lnTo>
                <a:lnTo>
                  <a:pt x="17541" y="342122"/>
                </a:lnTo>
                <a:lnTo>
                  <a:pt x="4704" y="323070"/>
                </a:lnTo>
                <a:lnTo>
                  <a:pt x="0" y="299720"/>
                </a:lnTo>
                <a:lnTo>
                  <a:pt x="0" y="59944"/>
                </a:lnTo>
                <a:close/>
              </a:path>
            </a:pathLst>
          </a:custGeom>
          <a:ln w="28575">
            <a:solidFill>
              <a:srgbClr val="281F76"/>
            </a:solidFill>
          </a:ln>
        </p:spPr>
        <p:txBody>
          <a:bodyPr wrap="square" lIns="0" tIns="0" rIns="0" bIns="0" rtlCol="0"/>
          <a:lstStyle/>
          <a:p>
            <a:endParaRPr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object 42">
            <a:extLst>
              <a:ext uri="{FF2B5EF4-FFF2-40B4-BE49-F238E27FC236}">
                <a16:creationId xmlns:a16="http://schemas.microsoft.com/office/drawing/2014/main" id="{44AAABD5-FCC6-ABBE-A901-58898C621108}"/>
              </a:ext>
            </a:extLst>
          </p:cNvPr>
          <p:cNvSpPr txBox="1"/>
          <p:nvPr/>
        </p:nvSpPr>
        <p:spPr>
          <a:xfrm>
            <a:off x="11588725" y="1387117"/>
            <a:ext cx="2842259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spc="-10" dirty="0">
                <a:solidFill>
                  <a:srgbClr val="3768B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Συνθήκες</a:t>
            </a:r>
            <a:r>
              <a:rPr sz="2000" b="1" spc="-25" dirty="0">
                <a:solidFill>
                  <a:srgbClr val="3768B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sz="2000" b="1" spc="-5" dirty="0">
                <a:solidFill>
                  <a:srgbClr val="3768B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επίτευξης</a:t>
            </a:r>
            <a:endParaRPr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44" name="object 44">
            <a:extLst>
              <a:ext uri="{FF2B5EF4-FFF2-40B4-BE49-F238E27FC236}">
                <a16:creationId xmlns:a16="http://schemas.microsoft.com/office/drawing/2014/main" id="{DEA6F660-1F19-24C0-6A6F-C0C42984B162}"/>
              </a:ext>
            </a:extLst>
          </p:cNvPr>
          <p:cNvGrpSpPr/>
          <p:nvPr/>
        </p:nvGrpSpPr>
        <p:grpSpPr>
          <a:xfrm>
            <a:off x="9722692" y="4780349"/>
            <a:ext cx="830347" cy="823575"/>
            <a:chOff x="10329670" y="4599813"/>
            <a:chExt cx="899161" cy="899160"/>
          </a:xfrm>
        </p:grpSpPr>
        <p:sp>
          <p:nvSpPr>
            <p:cNvPr id="45" name="object 45">
              <a:extLst>
                <a:ext uri="{FF2B5EF4-FFF2-40B4-BE49-F238E27FC236}">
                  <a16:creationId xmlns:a16="http://schemas.microsoft.com/office/drawing/2014/main" id="{E94AE508-5494-82FE-DC5B-8E79A4F597EF}"/>
                </a:ext>
              </a:extLst>
            </p:cNvPr>
            <p:cNvSpPr/>
            <p:nvPr/>
          </p:nvSpPr>
          <p:spPr>
            <a:xfrm>
              <a:off x="10329670" y="4599813"/>
              <a:ext cx="899160" cy="899160"/>
            </a:xfrm>
            <a:custGeom>
              <a:avLst/>
              <a:gdLst/>
              <a:ahLst/>
              <a:cxnLst/>
              <a:rect l="l" t="t" r="r" b="b"/>
              <a:pathLst>
                <a:path w="899159" h="899160">
                  <a:moveTo>
                    <a:pt x="474952" y="80"/>
                  </a:moveTo>
                  <a:lnTo>
                    <a:pt x="425830" y="0"/>
                  </a:lnTo>
                  <a:lnTo>
                    <a:pt x="377009" y="5216"/>
                  </a:lnTo>
                  <a:lnTo>
                    <a:pt x="329982" y="15441"/>
                  </a:lnTo>
                  <a:lnTo>
                    <a:pt x="285008" y="30386"/>
                  </a:lnTo>
                  <a:lnTo>
                    <a:pt x="242347" y="49763"/>
                  </a:lnTo>
                  <a:lnTo>
                    <a:pt x="202259" y="73283"/>
                  </a:lnTo>
                  <a:lnTo>
                    <a:pt x="165003" y="100659"/>
                  </a:lnTo>
                  <a:lnTo>
                    <a:pt x="130839" y="131601"/>
                  </a:lnTo>
                  <a:lnTo>
                    <a:pt x="100027" y="165822"/>
                  </a:lnTo>
                  <a:lnTo>
                    <a:pt x="72826" y="203033"/>
                  </a:lnTo>
                  <a:lnTo>
                    <a:pt x="49497" y="242946"/>
                  </a:lnTo>
                  <a:lnTo>
                    <a:pt x="30297" y="285272"/>
                  </a:lnTo>
                  <a:lnTo>
                    <a:pt x="15488" y="329724"/>
                  </a:lnTo>
                  <a:lnTo>
                    <a:pt x="5329" y="376013"/>
                  </a:lnTo>
                  <a:lnTo>
                    <a:pt x="80" y="423850"/>
                  </a:lnTo>
                  <a:lnTo>
                    <a:pt x="0" y="472948"/>
                  </a:lnTo>
                  <a:lnTo>
                    <a:pt x="5216" y="521769"/>
                  </a:lnTo>
                  <a:lnTo>
                    <a:pt x="15441" y="568796"/>
                  </a:lnTo>
                  <a:lnTo>
                    <a:pt x="30386" y="613770"/>
                  </a:lnTo>
                  <a:lnTo>
                    <a:pt x="49763" y="656431"/>
                  </a:lnTo>
                  <a:lnTo>
                    <a:pt x="73283" y="696519"/>
                  </a:lnTo>
                  <a:lnTo>
                    <a:pt x="100659" y="733775"/>
                  </a:lnTo>
                  <a:lnTo>
                    <a:pt x="131601" y="767939"/>
                  </a:lnTo>
                  <a:lnTo>
                    <a:pt x="165822" y="798751"/>
                  </a:lnTo>
                  <a:lnTo>
                    <a:pt x="203033" y="825952"/>
                  </a:lnTo>
                  <a:lnTo>
                    <a:pt x="242946" y="849281"/>
                  </a:lnTo>
                  <a:lnTo>
                    <a:pt x="285272" y="868481"/>
                  </a:lnTo>
                  <a:lnTo>
                    <a:pt x="329724" y="883290"/>
                  </a:lnTo>
                  <a:lnTo>
                    <a:pt x="376013" y="893449"/>
                  </a:lnTo>
                  <a:lnTo>
                    <a:pt x="423850" y="898698"/>
                  </a:lnTo>
                  <a:lnTo>
                    <a:pt x="472948" y="898778"/>
                  </a:lnTo>
                  <a:lnTo>
                    <a:pt x="521770" y="893584"/>
                  </a:lnTo>
                  <a:lnTo>
                    <a:pt x="568802" y="883375"/>
                  </a:lnTo>
                  <a:lnTo>
                    <a:pt x="613782" y="868441"/>
                  </a:lnTo>
                  <a:lnTo>
                    <a:pt x="656451" y="849070"/>
                  </a:lnTo>
                  <a:lnTo>
                    <a:pt x="696547" y="825551"/>
                  </a:lnTo>
                  <a:lnTo>
                    <a:pt x="733812" y="798174"/>
                  </a:lnTo>
                  <a:lnTo>
                    <a:pt x="767983" y="767228"/>
                  </a:lnTo>
                  <a:lnTo>
                    <a:pt x="798801" y="733000"/>
                  </a:lnTo>
                  <a:lnTo>
                    <a:pt x="826006" y="695782"/>
                  </a:lnTo>
                  <a:lnTo>
                    <a:pt x="849338" y="655860"/>
                  </a:lnTo>
                  <a:lnTo>
                    <a:pt x="868535" y="613526"/>
                  </a:lnTo>
                  <a:lnTo>
                    <a:pt x="883338" y="569066"/>
                  </a:lnTo>
                  <a:lnTo>
                    <a:pt x="893487" y="522771"/>
                  </a:lnTo>
                  <a:lnTo>
                    <a:pt x="898720" y="474930"/>
                  </a:lnTo>
                  <a:lnTo>
                    <a:pt x="898778" y="425831"/>
                  </a:lnTo>
                  <a:lnTo>
                    <a:pt x="893586" y="377009"/>
                  </a:lnTo>
                  <a:lnTo>
                    <a:pt x="883381" y="329982"/>
                  </a:lnTo>
                  <a:lnTo>
                    <a:pt x="868453" y="285008"/>
                  </a:lnTo>
                  <a:lnTo>
                    <a:pt x="849090" y="242347"/>
                  </a:lnTo>
                  <a:lnTo>
                    <a:pt x="825579" y="202259"/>
                  </a:lnTo>
                  <a:lnTo>
                    <a:pt x="798211" y="165003"/>
                  </a:lnTo>
                  <a:lnTo>
                    <a:pt x="767272" y="130839"/>
                  </a:lnTo>
                  <a:lnTo>
                    <a:pt x="733051" y="100027"/>
                  </a:lnTo>
                  <a:lnTo>
                    <a:pt x="695837" y="72826"/>
                  </a:lnTo>
                  <a:lnTo>
                    <a:pt x="655917" y="49497"/>
                  </a:lnTo>
                  <a:lnTo>
                    <a:pt x="613580" y="30297"/>
                  </a:lnTo>
                  <a:lnTo>
                    <a:pt x="569115" y="15488"/>
                  </a:lnTo>
                  <a:lnTo>
                    <a:pt x="522809" y="5329"/>
                  </a:lnTo>
                  <a:lnTo>
                    <a:pt x="474952" y="80"/>
                  </a:lnTo>
                  <a:close/>
                </a:path>
              </a:pathLst>
            </a:custGeom>
            <a:solidFill>
              <a:srgbClr val="48628E"/>
            </a:solidFill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6" name="object 46">
              <a:extLst>
                <a:ext uri="{FF2B5EF4-FFF2-40B4-BE49-F238E27FC236}">
                  <a16:creationId xmlns:a16="http://schemas.microsoft.com/office/drawing/2014/main" id="{A9AE394B-5E76-EF15-1E2C-33041009E327}"/>
                </a:ext>
              </a:extLst>
            </p:cNvPr>
            <p:cNvSpPr/>
            <p:nvPr/>
          </p:nvSpPr>
          <p:spPr>
            <a:xfrm>
              <a:off x="10329671" y="4599813"/>
              <a:ext cx="899160" cy="899160"/>
            </a:xfrm>
            <a:custGeom>
              <a:avLst/>
              <a:gdLst/>
              <a:ahLst/>
              <a:cxnLst/>
              <a:rect l="l" t="t" r="r" b="b"/>
              <a:pathLst>
                <a:path w="899159" h="899160">
                  <a:moveTo>
                    <a:pt x="0" y="472948"/>
                  </a:moveTo>
                  <a:lnTo>
                    <a:pt x="80" y="423850"/>
                  </a:lnTo>
                  <a:lnTo>
                    <a:pt x="5329" y="376013"/>
                  </a:lnTo>
                  <a:lnTo>
                    <a:pt x="15488" y="329724"/>
                  </a:lnTo>
                  <a:lnTo>
                    <a:pt x="30297" y="285272"/>
                  </a:lnTo>
                  <a:lnTo>
                    <a:pt x="49497" y="242946"/>
                  </a:lnTo>
                  <a:lnTo>
                    <a:pt x="72826" y="203033"/>
                  </a:lnTo>
                  <a:lnTo>
                    <a:pt x="100027" y="165822"/>
                  </a:lnTo>
                  <a:lnTo>
                    <a:pt x="130839" y="131601"/>
                  </a:lnTo>
                  <a:lnTo>
                    <a:pt x="165003" y="100659"/>
                  </a:lnTo>
                  <a:lnTo>
                    <a:pt x="202259" y="73283"/>
                  </a:lnTo>
                  <a:lnTo>
                    <a:pt x="242347" y="49763"/>
                  </a:lnTo>
                  <a:lnTo>
                    <a:pt x="285008" y="30386"/>
                  </a:lnTo>
                  <a:lnTo>
                    <a:pt x="329982" y="15441"/>
                  </a:lnTo>
                  <a:lnTo>
                    <a:pt x="377009" y="5216"/>
                  </a:lnTo>
                  <a:lnTo>
                    <a:pt x="425830" y="0"/>
                  </a:lnTo>
                  <a:lnTo>
                    <a:pt x="474952" y="80"/>
                  </a:lnTo>
                  <a:lnTo>
                    <a:pt x="522809" y="5329"/>
                  </a:lnTo>
                  <a:lnTo>
                    <a:pt x="569115" y="15488"/>
                  </a:lnTo>
                  <a:lnTo>
                    <a:pt x="613580" y="30297"/>
                  </a:lnTo>
                  <a:lnTo>
                    <a:pt x="655917" y="49497"/>
                  </a:lnTo>
                  <a:lnTo>
                    <a:pt x="695837" y="72826"/>
                  </a:lnTo>
                  <a:lnTo>
                    <a:pt x="733051" y="100027"/>
                  </a:lnTo>
                  <a:lnTo>
                    <a:pt x="767272" y="130839"/>
                  </a:lnTo>
                  <a:lnTo>
                    <a:pt x="798211" y="165003"/>
                  </a:lnTo>
                  <a:lnTo>
                    <a:pt x="825579" y="202259"/>
                  </a:lnTo>
                  <a:lnTo>
                    <a:pt x="849090" y="242347"/>
                  </a:lnTo>
                  <a:lnTo>
                    <a:pt x="868453" y="285008"/>
                  </a:lnTo>
                  <a:lnTo>
                    <a:pt x="883381" y="329982"/>
                  </a:lnTo>
                  <a:lnTo>
                    <a:pt x="893586" y="377009"/>
                  </a:lnTo>
                  <a:lnTo>
                    <a:pt x="898778" y="425831"/>
                  </a:lnTo>
                  <a:lnTo>
                    <a:pt x="898720" y="474930"/>
                  </a:lnTo>
                  <a:lnTo>
                    <a:pt x="893487" y="522771"/>
                  </a:lnTo>
                  <a:lnTo>
                    <a:pt x="883338" y="569066"/>
                  </a:lnTo>
                  <a:lnTo>
                    <a:pt x="868535" y="613526"/>
                  </a:lnTo>
                  <a:lnTo>
                    <a:pt x="849338" y="655860"/>
                  </a:lnTo>
                  <a:lnTo>
                    <a:pt x="826006" y="695782"/>
                  </a:lnTo>
                  <a:lnTo>
                    <a:pt x="798801" y="733000"/>
                  </a:lnTo>
                  <a:lnTo>
                    <a:pt x="767983" y="767228"/>
                  </a:lnTo>
                  <a:lnTo>
                    <a:pt x="733812" y="798174"/>
                  </a:lnTo>
                  <a:lnTo>
                    <a:pt x="696547" y="825551"/>
                  </a:lnTo>
                  <a:lnTo>
                    <a:pt x="656451" y="849070"/>
                  </a:lnTo>
                  <a:lnTo>
                    <a:pt x="613782" y="868441"/>
                  </a:lnTo>
                  <a:lnTo>
                    <a:pt x="568802" y="883375"/>
                  </a:lnTo>
                  <a:lnTo>
                    <a:pt x="521770" y="893584"/>
                  </a:lnTo>
                  <a:lnTo>
                    <a:pt x="472948" y="898778"/>
                  </a:lnTo>
                  <a:lnTo>
                    <a:pt x="423850" y="898698"/>
                  </a:lnTo>
                  <a:lnTo>
                    <a:pt x="376013" y="893449"/>
                  </a:lnTo>
                  <a:lnTo>
                    <a:pt x="329724" y="883290"/>
                  </a:lnTo>
                  <a:lnTo>
                    <a:pt x="285272" y="868481"/>
                  </a:lnTo>
                  <a:lnTo>
                    <a:pt x="242946" y="849281"/>
                  </a:lnTo>
                  <a:lnTo>
                    <a:pt x="203033" y="825952"/>
                  </a:lnTo>
                  <a:lnTo>
                    <a:pt x="165822" y="798751"/>
                  </a:lnTo>
                  <a:lnTo>
                    <a:pt x="131601" y="767939"/>
                  </a:lnTo>
                  <a:lnTo>
                    <a:pt x="100659" y="733775"/>
                  </a:lnTo>
                  <a:lnTo>
                    <a:pt x="73283" y="696519"/>
                  </a:lnTo>
                  <a:lnTo>
                    <a:pt x="49763" y="656431"/>
                  </a:lnTo>
                  <a:lnTo>
                    <a:pt x="30386" y="613770"/>
                  </a:lnTo>
                  <a:lnTo>
                    <a:pt x="15441" y="568796"/>
                  </a:lnTo>
                  <a:lnTo>
                    <a:pt x="5216" y="521769"/>
                  </a:lnTo>
                  <a:lnTo>
                    <a:pt x="0" y="472948"/>
                  </a:lnTo>
                  <a:close/>
                </a:path>
              </a:pathLst>
            </a:custGeom>
            <a:ln w="38100">
              <a:solidFill>
                <a:srgbClr val="281F76"/>
              </a:solidFill>
            </a:ln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7" name="object 47">
              <a:extLst>
                <a:ext uri="{FF2B5EF4-FFF2-40B4-BE49-F238E27FC236}">
                  <a16:creationId xmlns:a16="http://schemas.microsoft.com/office/drawing/2014/main" id="{3DF772C9-6112-0383-ABC0-62B9ABA25878}"/>
                </a:ext>
              </a:extLst>
            </p:cNvPr>
            <p:cNvSpPr/>
            <p:nvPr/>
          </p:nvSpPr>
          <p:spPr>
            <a:xfrm>
              <a:off x="10613135" y="4910328"/>
              <a:ext cx="332740" cy="332740"/>
            </a:xfrm>
            <a:custGeom>
              <a:avLst/>
              <a:gdLst/>
              <a:ahLst/>
              <a:cxnLst/>
              <a:rect l="l" t="t" r="r" b="b"/>
              <a:pathLst>
                <a:path w="332740" h="332739">
                  <a:moveTo>
                    <a:pt x="18161" y="207137"/>
                  </a:moveTo>
                  <a:lnTo>
                    <a:pt x="11430" y="207137"/>
                  </a:lnTo>
                  <a:lnTo>
                    <a:pt x="6858" y="209296"/>
                  </a:lnTo>
                  <a:lnTo>
                    <a:pt x="2286" y="213868"/>
                  </a:lnTo>
                  <a:lnTo>
                    <a:pt x="0" y="218439"/>
                  </a:lnTo>
                  <a:lnTo>
                    <a:pt x="0" y="320801"/>
                  </a:lnTo>
                  <a:lnTo>
                    <a:pt x="2286" y="325374"/>
                  </a:lnTo>
                  <a:lnTo>
                    <a:pt x="6858" y="329946"/>
                  </a:lnTo>
                  <a:lnTo>
                    <a:pt x="11430" y="332232"/>
                  </a:lnTo>
                  <a:lnTo>
                    <a:pt x="113792" y="332232"/>
                  </a:lnTo>
                  <a:lnTo>
                    <a:pt x="118364" y="329946"/>
                  </a:lnTo>
                  <a:lnTo>
                    <a:pt x="122936" y="325374"/>
                  </a:lnTo>
                  <a:lnTo>
                    <a:pt x="125095" y="320801"/>
                  </a:lnTo>
                  <a:lnTo>
                    <a:pt x="125095" y="314071"/>
                  </a:lnTo>
                  <a:lnTo>
                    <a:pt x="122936" y="309499"/>
                  </a:lnTo>
                  <a:lnTo>
                    <a:pt x="120650" y="307213"/>
                  </a:lnTo>
                  <a:lnTo>
                    <a:pt x="88773" y="277622"/>
                  </a:lnTo>
                  <a:lnTo>
                    <a:pt x="122936" y="243459"/>
                  </a:lnTo>
                  <a:lnTo>
                    <a:pt x="54610" y="243459"/>
                  </a:lnTo>
                  <a:lnTo>
                    <a:pt x="25019" y="211582"/>
                  </a:lnTo>
                  <a:lnTo>
                    <a:pt x="20447" y="209296"/>
                  </a:lnTo>
                  <a:lnTo>
                    <a:pt x="18161" y="207137"/>
                  </a:lnTo>
                  <a:close/>
                </a:path>
                <a:path w="332740" h="332739">
                  <a:moveTo>
                    <a:pt x="134239" y="168401"/>
                  </a:moveTo>
                  <a:lnTo>
                    <a:pt x="127381" y="168401"/>
                  </a:lnTo>
                  <a:lnTo>
                    <a:pt x="127381" y="170687"/>
                  </a:lnTo>
                  <a:lnTo>
                    <a:pt x="54610" y="243459"/>
                  </a:lnTo>
                  <a:lnTo>
                    <a:pt x="122936" y="243459"/>
                  </a:lnTo>
                  <a:lnTo>
                    <a:pt x="163830" y="202564"/>
                  </a:lnTo>
                  <a:lnTo>
                    <a:pt x="163830" y="197993"/>
                  </a:lnTo>
                  <a:lnTo>
                    <a:pt x="161544" y="197993"/>
                  </a:lnTo>
                  <a:lnTo>
                    <a:pt x="161544" y="195707"/>
                  </a:lnTo>
                  <a:lnTo>
                    <a:pt x="134239" y="168401"/>
                  </a:lnTo>
                  <a:close/>
                </a:path>
                <a:path w="332740" h="332739">
                  <a:moveTo>
                    <a:pt x="320802" y="0"/>
                  </a:moveTo>
                  <a:lnTo>
                    <a:pt x="216154" y="0"/>
                  </a:lnTo>
                  <a:lnTo>
                    <a:pt x="209296" y="6858"/>
                  </a:lnTo>
                  <a:lnTo>
                    <a:pt x="207137" y="11430"/>
                  </a:lnTo>
                  <a:lnTo>
                    <a:pt x="207137" y="18161"/>
                  </a:lnTo>
                  <a:lnTo>
                    <a:pt x="209296" y="20447"/>
                  </a:lnTo>
                  <a:lnTo>
                    <a:pt x="211582" y="25019"/>
                  </a:lnTo>
                  <a:lnTo>
                    <a:pt x="241173" y="54610"/>
                  </a:lnTo>
                  <a:lnTo>
                    <a:pt x="170688" y="127381"/>
                  </a:lnTo>
                  <a:lnTo>
                    <a:pt x="168402" y="127381"/>
                  </a:lnTo>
                  <a:lnTo>
                    <a:pt x="168402" y="134238"/>
                  </a:lnTo>
                  <a:lnTo>
                    <a:pt x="197993" y="163830"/>
                  </a:lnTo>
                  <a:lnTo>
                    <a:pt x="202565" y="163830"/>
                  </a:lnTo>
                  <a:lnTo>
                    <a:pt x="277622" y="88773"/>
                  </a:lnTo>
                  <a:lnTo>
                    <a:pt x="332232" y="88773"/>
                  </a:lnTo>
                  <a:lnTo>
                    <a:pt x="332232" y="11430"/>
                  </a:lnTo>
                  <a:lnTo>
                    <a:pt x="329946" y="6858"/>
                  </a:lnTo>
                  <a:lnTo>
                    <a:pt x="325374" y="2286"/>
                  </a:lnTo>
                  <a:lnTo>
                    <a:pt x="320802" y="0"/>
                  </a:lnTo>
                  <a:close/>
                </a:path>
                <a:path w="332740" h="332739">
                  <a:moveTo>
                    <a:pt x="332232" y="88773"/>
                  </a:moveTo>
                  <a:lnTo>
                    <a:pt x="277622" y="88773"/>
                  </a:lnTo>
                  <a:lnTo>
                    <a:pt x="307213" y="120650"/>
                  </a:lnTo>
                  <a:lnTo>
                    <a:pt x="309499" y="122936"/>
                  </a:lnTo>
                  <a:lnTo>
                    <a:pt x="314071" y="125095"/>
                  </a:lnTo>
                  <a:lnTo>
                    <a:pt x="320802" y="125095"/>
                  </a:lnTo>
                  <a:lnTo>
                    <a:pt x="325374" y="122936"/>
                  </a:lnTo>
                  <a:lnTo>
                    <a:pt x="329946" y="118363"/>
                  </a:lnTo>
                  <a:lnTo>
                    <a:pt x="332232" y="113792"/>
                  </a:lnTo>
                  <a:lnTo>
                    <a:pt x="332232" y="8877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48" name="object 48">
            <a:extLst>
              <a:ext uri="{FF2B5EF4-FFF2-40B4-BE49-F238E27FC236}">
                <a16:creationId xmlns:a16="http://schemas.microsoft.com/office/drawing/2014/main" id="{EDB002A3-52E2-B9AB-1E2C-A36866C16D7A}"/>
              </a:ext>
            </a:extLst>
          </p:cNvPr>
          <p:cNvSpPr txBox="1"/>
          <p:nvPr/>
        </p:nvSpPr>
        <p:spPr>
          <a:xfrm>
            <a:off x="10636104" y="4877950"/>
            <a:ext cx="5131435" cy="801501"/>
          </a:xfrm>
          <a:prstGeom prst="rect">
            <a:avLst/>
          </a:prstGeom>
        </p:spPr>
        <p:txBody>
          <a:bodyPr vert="horz" wrap="square" lIns="0" tIns="4953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Ύψος εγγύησης </a:t>
            </a:r>
            <a:r>
              <a:rPr sz="2400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80%</a:t>
            </a:r>
          </a:p>
          <a:p>
            <a:pPr marL="12700">
              <a:spcBef>
                <a:spcPts val="100"/>
              </a:spcBef>
            </a:pPr>
            <a:r>
              <a:rPr sz="2400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P χαρτοφυλακίου: 30%</a:t>
            </a:r>
          </a:p>
        </p:txBody>
      </p:sp>
      <p:grpSp>
        <p:nvGrpSpPr>
          <p:cNvPr id="49" name="object 49">
            <a:extLst>
              <a:ext uri="{FF2B5EF4-FFF2-40B4-BE49-F238E27FC236}">
                <a16:creationId xmlns:a16="http://schemas.microsoft.com/office/drawing/2014/main" id="{CE710831-841E-446D-1247-8A828852E65A}"/>
              </a:ext>
            </a:extLst>
          </p:cNvPr>
          <p:cNvGrpSpPr/>
          <p:nvPr/>
        </p:nvGrpSpPr>
        <p:grpSpPr>
          <a:xfrm>
            <a:off x="9674139" y="5790428"/>
            <a:ext cx="822487" cy="887652"/>
            <a:chOff x="10309937" y="5703393"/>
            <a:chExt cx="938530" cy="938530"/>
          </a:xfrm>
        </p:grpSpPr>
        <p:sp>
          <p:nvSpPr>
            <p:cNvPr id="50" name="object 50">
              <a:extLst>
                <a:ext uri="{FF2B5EF4-FFF2-40B4-BE49-F238E27FC236}">
                  <a16:creationId xmlns:a16="http://schemas.microsoft.com/office/drawing/2014/main" id="{DFE2ACAB-30FC-C6ED-FF9E-CA675261E2DE}"/>
                </a:ext>
              </a:extLst>
            </p:cNvPr>
            <p:cNvSpPr/>
            <p:nvPr/>
          </p:nvSpPr>
          <p:spPr>
            <a:xfrm>
              <a:off x="10328987" y="5722443"/>
              <a:ext cx="900430" cy="900430"/>
            </a:xfrm>
            <a:custGeom>
              <a:avLst/>
              <a:gdLst/>
              <a:ahLst/>
              <a:cxnLst/>
              <a:rect l="l" t="t" r="r" b="b"/>
              <a:pathLst>
                <a:path w="900429" h="900429">
                  <a:moveTo>
                    <a:pt x="448889" y="0"/>
                  </a:moveTo>
                  <a:lnTo>
                    <a:pt x="401568" y="2645"/>
                  </a:lnTo>
                  <a:lnTo>
                    <a:pt x="354074" y="10436"/>
                  </a:lnTo>
                  <a:lnTo>
                    <a:pt x="306754" y="23544"/>
                  </a:lnTo>
                  <a:lnTo>
                    <a:pt x="261117" y="41657"/>
                  </a:lnTo>
                  <a:lnTo>
                    <a:pt x="218555" y="64117"/>
                  </a:lnTo>
                  <a:lnTo>
                    <a:pt x="179240" y="90575"/>
                  </a:lnTo>
                  <a:lnTo>
                    <a:pt x="143345" y="120684"/>
                  </a:lnTo>
                  <a:lnTo>
                    <a:pt x="111043" y="154096"/>
                  </a:lnTo>
                  <a:lnTo>
                    <a:pt x="82505" y="190463"/>
                  </a:lnTo>
                  <a:lnTo>
                    <a:pt x="57904" y="229438"/>
                  </a:lnTo>
                  <a:lnTo>
                    <a:pt x="37414" y="270673"/>
                  </a:lnTo>
                  <a:lnTo>
                    <a:pt x="21205" y="313821"/>
                  </a:lnTo>
                  <a:lnTo>
                    <a:pt x="9452" y="358533"/>
                  </a:lnTo>
                  <a:lnTo>
                    <a:pt x="2326" y="404462"/>
                  </a:lnTo>
                  <a:lnTo>
                    <a:pt x="0" y="451260"/>
                  </a:lnTo>
                  <a:lnTo>
                    <a:pt x="2645" y="498580"/>
                  </a:lnTo>
                  <a:lnTo>
                    <a:pt x="10436" y="546073"/>
                  </a:lnTo>
                  <a:lnTo>
                    <a:pt x="23544" y="593393"/>
                  </a:lnTo>
                  <a:lnTo>
                    <a:pt x="41657" y="639032"/>
                  </a:lnTo>
                  <a:lnTo>
                    <a:pt x="64117" y="681598"/>
                  </a:lnTo>
                  <a:lnTo>
                    <a:pt x="90575" y="720920"/>
                  </a:lnTo>
                  <a:lnTo>
                    <a:pt x="120684" y="756822"/>
                  </a:lnTo>
                  <a:lnTo>
                    <a:pt x="154096" y="789133"/>
                  </a:lnTo>
                  <a:lnTo>
                    <a:pt x="190463" y="817679"/>
                  </a:lnTo>
                  <a:lnTo>
                    <a:pt x="229438" y="842287"/>
                  </a:lnTo>
                  <a:lnTo>
                    <a:pt x="270673" y="862784"/>
                  </a:lnTo>
                  <a:lnTo>
                    <a:pt x="313821" y="878997"/>
                  </a:lnTo>
                  <a:lnTo>
                    <a:pt x="358533" y="890752"/>
                  </a:lnTo>
                  <a:lnTo>
                    <a:pt x="404462" y="897876"/>
                  </a:lnTo>
                  <a:lnTo>
                    <a:pt x="451260" y="900197"/>
                  </a:lnTo>
                  <a:lnTo>
                    <a:pt x="498580" y="897540"/>
                  </a:lnTo>
                  <a:lnTo>
                    <a:pt x="546073" y="889733"/>
                  </a:lnTo>
                  <a:lnTo>
                    <a:pt x="593393" y="876603"/>
                  </a:lnTo>
                  <a:lnTo>
                    <a:pt x="639032" y="858490"/>
                  </a:lnTo>
                  <a:lnTo>
                    <a:pt x="681599" y="836031"/>
                  </a:lnTo>
                  <a:lnTo>
                    <a:pt x="720921" y="809573"/>
                  </a:lnTo>
                  <a:lnTo>
                    <a:pt x="756825" y="779464"/>
                  </a:lnTo>
                  <a:lnTo>
                    <a:pt x="789138" y="746052"/>
                  </a:lnTo>
                  <a:lnTo>
                    <a:pt x="817687" y="709685"/>
                  </a:lnTo>
                  <a:lnTo>
                    <a:pt x="842300" y="670710"/>
                  </a:lnTo>
                  <a:lnTo>
                    <a:pt x="862804" y="629474"/>
                  </a:lnTo>
                  <a:lnTo>
                    <a:pt x="879024" y="586327"/>
                  </a:lnTo>
                  <a:lnTo>
                    <a:pt x="890790" y="541615"/>
                  </a:lnTo>
                  <a:lnTo>
                    <a:pt x="897926" y="495686"/>
                  </a:lnTo>
                  <a:lnTo>
                    <a:pt x="900262" y="448888"/>
                  </a:lnTo>
                  <a:lnTo>
                    <a:pt x="897623" y="401568"/>
                  </a:lnTo>
                  <a:lnTo>
                    <a:pt x="889837" y="354074"/>
                  </a:lnTo>
                  <a:lnTo>
                    <a:pt x="876730" y="306754"/>
                  </a:lnTo>
                  <a:lnTo>
                    <a:pt x="858593" y="261117"/>
                  </a:lnTo>
                  <a:lnTo>
                    <a:pt x="836113" y="218555"/>
                  </a:lnTo>
                  <a:lnTo>
                    <a:pt x="809638" y="179240"/>
                  </a:lnTo>
                  <a:lnTo>
                    <a:pt x="779514" y="143345"/>
                  </a:lnTo>
                  <a:lnTo>
                    <a:pt x="746090" y="111043"/>
                  </a:lnTo>
                  <a:lnTo>
                    <a:pt x="709712" y="82505"/>
                  </a:lnTo>
                  <a:lnTo>
                    <a:pt x="670729" y="57904"/>
                  </a:lnTo>
                  <a:lnTo>
                    <a:pt x="629487" y="37414"/>
                  </a:lnTo>
                  <a:lnTo>
                    <a:pt x="586335" y="21205"/>
                  </a:lnTo>
                  <a:lnTo>
                    <a:pt x="541620" y="9452"/>
                  </a:lnTo>
                  <a:lnTo>
                    <a:pt x="495688" y="2326"/>
                  </a:lnTo>
                  <a:lnTo>
                    <a:pt x="448889" y="0"/>
                  </a:lnTo>
                  <a:close/>
                </a:path>
              </a:pathLst>
            </a:custGeom>
            <a:solidFill>
              <a:srgbClr val="839AC0"/>
            </a:solidFill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1" name="object 51">
              <a:extLst>
                <a:ext uri="{FF2B5EF4-FFF2-40B4-BE49-F238E27FC236}">
                  <a16:creationId xmlns:a16="http://schemas.microsoft.com/office/drawing/2014/main" id="{2576FE36-F988-9763-7B98-AA6FC5D4D8B2}"/>
                </a:ext>
              </a:extLst>
            </p:cNvPr>
            <p:cNvSpPr/>
            <p:nvPr/>
          </p:nvSpPr>
          <p:spPr>
            <a:xfrm>
              <a:off x="10328987" y="5722443"/>
              <a:ext cx="900430" cy="900430"/>
            </a:xfrm>
            <a:custGeom>
              <a:avLst/>
              <a:gdLst/>
              <a:ahLst/>
              <a:cxnLst/>
              <a:rect l="l" t="t" r="r" b="b"/>
              <a:pathLst>
                <a:path w="900429" h="900429">
                  <a:moveTo>
                    <a:pt x="23544" y="593393"/>
                  </a:moveTo>
                  <a:lnTo>
                    <a:pt x="10436" y="546073"/>
                  </a:lnTo>
                  <a:lnTo>
                    <a:pt x="2645" y="498580"/>
                  </a:lnTo>
                  <a:lnTo>
                    <a:pt x="0" y="451260"/>
                  </a:lnTo>
                  <a:lnTo>
                    <a:pt x="2326" y="404462"/>
                  </a:lnTo>
                  <a:lnTo>
                    <a:pt x="9452" y="358533"/>
                  </a:lnTo>
                  <a:lnTo>
                    <a:pt x="21205" y="313821"/>
                  </a:lnTo>
                  <a:lnTo>
                    <a:pt x="37414" y="270673"/>
                  </a:lnTo>
                  <a:lnTo>
                    <a:pt x="57904" y="229438"/>
                  </a:lnTo>
                  <a:lnTo>
                    <a:pt x="82505" y="190463"/>
                  </a:lnTo>
                  <a:lnTo>
                    <a:pt x="111043" y="154096"/>
                  </a:lnTo>
                  <a:lnTo>
                    <a:pt x="143345" y="120684"/>
                  </a:lnTo>
                  <a:lnTo>
                    <a:pt x="179240" y="90575"/>
                  </a:lnTo>
                  <a:lnTo>
                    <a:pt x="218555" y="64117"/>
                  </a:lnTo>
                  <a:lnTo>
                    <a:pt x="261117" y="41657"/>
                  </a:lnTo>
                  <a:lnTo>
                    <a:pt x="306754" y="23544"/>
                  </a:lnTo>
                  <a:lnTo>
                    <a:pt x="354074" y="10436"/>
                  </a:lnTo>
                  <a:lnTo>
                    <a:pt x="401568" y="2645"/>
                  </a:lnTo>
                  <a:lnTo>
                    <a:pt x="448889" y="0"/>
                  </a:lnTo>
                  <a:lnTo>
                    <a:pt x="495688" y="2326"/>
                  </a:lnTo>
                  <a:lnTo>
                    <a:pt x="541620" y="9452"/>
                  </a:lnTo>
                  <a:lnTo>
                    <a:pt x="586335" y="21205"/>
                  </a:lnTo>
                  <a:lnTo>
                    <a:pt x="629487" y="37414"/>
                  </a:lnTo>
                  <a:lnTo>
                    <a:pt x="670729" y="57904"/>
                  </a:lnTo>
                  <a:lnTo>
                    <a:pt x="709712" y="82505"/>
                  </a:lnTo>
                  <a:lnTo>
                    <a:pt x="746090" y="111043"/>
                  </a:lnTo>
                  <a:lnTo>
                    <a:pt x="779514" y="143345"/>
                  </a:lnTo>
                  <a:lnTo>
                    <a:pt x="809638" y="179240"/>
                  </a:lnTo>
                  <a:lnTo>
                    <a:pt x="836113" y="218555"/>
                  </a:lnTo>
                  <a:lnTo>
                    <a:pt x="858593" y="261117"/>
                  </a:lnTo>
                  <a:lnTo>
                    <a:pt x="876730" y="306754"/>
                  </a:lnTo>
                  <a:lnTo>
                    <a:pt x="889837" y="354074"/>
                  </a:lnTo>
                  <a:lnTo>
                    <a:pt x="897623" y="401568"/>
                  </a:lnTo>
                  <a:lnTo>
                    <a:pt x="900262" y="448888"/>
                  </a:lnTo>
                  <a:lnTo>
                    <a:pt x="897926" y="495686"/>
                  </a:lnTo>
                  <a:lnTo>
                    <a:pt x="890790" y="541615"/>
                  </a:lnTo>
                  <a:lnTo>
                    <a:pt x="879024" y="586327"/>
                  </a:lnTo>
                  <a:lnTo>
                    <a:pt x="862804" y="629474"/>
                  </a:lnTo>
                  <a:lnTo>
                    <a:pt x="842300" y="670710"/>
                  </a:lnTo>
                  <a:lnTo>
                    <a:pt x="817687" y="709685"/>
                  </a:lnTo>
                  <a:lnTo>
                    <a:pt x="789138" y="746052"/>
                  </a:lnTo>
                  <a:lnTo>
                    <a:pt x="756825" y="779464"/>
                  </a:lnTo>
                  <a:lnTo>
                    <a:pt x="720921" y="809573"/>
                  </a:lnTo>
                  <a:lnTo>
                    <a:pt x="681599" y="836031"/>
                  </a:lnTo>
                  <a:lnTo>
                    <a:pt x="639032" y="858490"/>
                  </a:lnTo>
                  <a:lnTo>
                    <a:pt x="593393" y="876603"/>
                  </a:lnTo>
                  <a:lnTo>
                    <a:pt x="546073" y="889733"/>
                  </a:lnTo>
                  <a:lnTo>
                    <a:pt x="498580" y="897540"/>
                  </a:lnTo>
                  <a:lnTo>
                    <a:pt x="451260" y="900197"/>
                  </a:lnTo>
                  <a:lnTo>
                    <a:pt x="404462" y="897876"/>
                  </a:lnTo>
                  <a:lnTo>
                    <a:pt x="358533" y="890752"/>
                  </a:lnTo>
                  <a:lnTo>
                    <a:pt x="313821" y="878997"/>
                  </a:lnTo>
                  <a:lnTo>
                    <a:pt x="270673" y="862784"/>
                  </a:lnTo>
                  <a:lnTo>
                    <a:pt x="229438" y="842287"/>
                  </a:lnTo>
                  <a:lnTo>
                    <a:pt x="190463" y="817679"/>
                  </a:lnTo>
                  <a:lnTo>
                    <a:pt x="154096" y="789133"/>
                  </a:lnTo>
                  <a:lnTo>
                    <a:pt x="120684" y="756822"/>
                  </a:lnTo>
                  <a:lnTo>
                    <a:pt x="90575" y="720920"/>
                  </a:lnTo>
                  <a:lnTo>
                    <a:pt x="64117" y="681598"/>
                  </a:lnTo>
                  <a:lnTo>
                    <a:pt x="41657" y="639032"/>
                  </a:lnTo>
                  <a:lnTo>
                    <a:pt x="23544" y="593393"/>
                  </a:lnTo>
                  <a:close/>
                </a:path>
              </a:pathLst>
            </a:custGeom>
            <a:ln w="38100">
              <a:solidFill>
                <a:srgbClr val="281F76"/>
              </a:solidFill>
            </a:ln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2" name="object 52">
              <a:extLst>
                <a:ext uri="{FF2B5EF4-FFF2-40B4-BE49-F238E27FC236}">
                  <a16:creationId xmlns:a16="http://schemas.microsoft.com/office/drawing/2014/main" id="{46386F72-0E12-F1E2-3F43-1D0FBD372FEF}"/>
                </a:ext>
              </a:extLst>
            </p:cNvPr>
            <p:cNvSpPr/>
            <p:nvPr/>
          </p:nvSpPr>
          <p:spPr>
            <a:xfrm>
              <a:off x="10495788" y="5876543"/>
              <a:ext cx="567055" cy="593090"/>
            </a:xfrm>
            <a:custGeom>
              <a:avLst/>
              <a:gdLst/>
              <a:ahLst/>
              <a:cxnLst/>
              <a:rect l="l" t="t" r="r" b="b"/>
              <a:pathLst>
                <a:path w="567054" h="593089">
                  <a:moveTo>
                    <a:pt x="176784" y="202057"/>
                  </a:moveTo>
                  <a:lnTo>
                    <a:pt x="172339" y="179832"/>
                  </a:lnTo>
                  <a:lnTo>
                    <a:pt x="167894" y="162052"/>
                  </a:lnTo>
                  <a:lnTo>
                    <a:pt x="157988" y="148717"/>
                  </a:lnTo>
                  <a:lnTo>
                    <a:pt x="154686" y="144272"/>
                  </a:lnTo>
                  <a:lnTo>
                    <a:pt x="141478" y="130937"/>
                  </a:lnTo>
                  <a:lnTo>
                    <a:pt x="141478" y="202057"/>
                  </a:lnTo>
                  <a:lnTo>
                    <a:pt x="137033" y="215392"/>
                  </a:lnTo>
                  <a:lnTo>
                    <a:pt x="137033" y="219837"/>
                  </a:lnTo>
                  <a:lnTo>
                    <a:pt x="132588" y="233172"/>
                  </a:lnTo>
                  <a:lnTo>
                    <a:pt x="119380" y="246380"/>
                  </a:lnTo>
                  <a:lnTo>
                    <a:pt x="106045" y="250825"/>
                  </a:lnTo>
                  <a:lnTo>
                    <a:pt x="106045" y="290830"/>
                  </a:lnTo>
                  <a:lnTo>
                    <a:pt x="106045" y="548386"/>
                  </a:lnTo>
                  <a:lnTo>
                    <a:pt x="101600" y="552831"/>
                  </a:lnTo>
                  <a:lnTo>
                    <a:pt x="97282" y="557276"/>
                  </a:lnTo>
                  <a:lnTo>
                    <a:pt x="79502" y="557276"/>
                  </a:lnTo>
                  <a:lnTo>
                    <a:pt x="75184" y="552831"/>
                  </a:lnTo>
                  <a:lnTo>
                    <a:pt x="70739" y="548386"/>
                  </a:lnTo>
                  <a:lnTo>
                    <a:pt x="70739" y="290830"/>
                  </a:lnTo>
                  <a:lnTo>
                    <a:pt x="106045" y="290830"/>
                  </a:lnTo>
                  <a:lnTo>
                    <a:pt x="106045" y="250825"/>
                  </a:lnTo>
                  <a:lnTo>
                    <a:pt x="88392" y="255270"/>
                  </a:lnTo>
                  <a:lnTo>
                    <a:pt x="70739" y="250825"/>
                  </a:lnTo>
                  <a:lnTo>
                    <a:pt x="57404" y="246380"/>
                  </a:lnTo>
                  <a:lnTo>
                    <a:pt x="44196" y="233172"/>
                  </a:lnTo>
                  <a:lnTo>
                    <a:pt x="39751" y="219837"/>
                  </a:lnTo>
                  <a:lnTo>
                    <a:pt x="39751" y="215392"/>
                  </a:lnTo>
                  <a:lnTo>
                    <a:pt x="35306" y="202057"/>
                  </a:lnTo>
                  <a:lnTo>
                    <a:pt x="39751" y="188722"/>
                  </a:lnTo>
                  <a:lnTo>
                    <a:pt x="39751" y="184277"/>
                  </a:lnTo>
                  <a:lnTo>
                    <a:pt x="44196" y="170942"/>
                  </a:lnTo>
                  <a:lnTo>
                    <a:pt x="57404" y="157607"/>
                  </a:lnTo>
                  <a:lnTo>
                    <a:pt x="70739" y="153162"/>
                  </a:lnTo>
                  <a:lnTo>
                    <a:pt x="88392" y="148717"/>
                  </a:lnTo>
                  <a:lnTo>
                    <a:pt x="106045" y="153162"/>
                  </a:lnTo>
                  <a:lnTo>
                    <a:pt x="119380" y="157607"/>
                  </a:lnTo>
                  <a:lnTo>
                    <a:pt x="132588" y="170942"/>
                  </a:lnTo>
                  <a:lnTo>
                    <a:pt x="137033" y="184277"/>
                  </a:lnTo>
                  <a:lnTo>
                    <a:pt x="137033" y="188722"/>
                  </a:lnTo>
                  <a:lnTo>
                    <a:pt x="141478" y="202057"/>
                  </a:lnTo>
                  <a:lnTo>
                    <a:pt x="141478" y="130937"/>
                  </a:lnTo>
                  <a:lnTo>
                    <a:pt x="141478" y="113157"/>
                  </a:lnTo>
                  <a:lnTo>
                    <a:pt x="141478" y="77724"/>
                  </a:lnTo>
                  <a:lnTo>
                    <a:pt x="137922" y="59944"/>
                  </a:lnTo>
                  <a:lnTo>
                    <a:pt x="137033" y="55499"/>
                  </a:lnTo>
                  <a:lnTo>
                    <a:pt x="110490" y="28829"/>
                  </a:lnTo>
                  <a:lnTo>
                    <a:pt x="106045" y="27940"/>
                  </a:lnTo>
                  <a:lnTo>
                    <a:pt x="106045" y="68834"/>
                  </a:lnTo>
                  <a:lnTo>
                    <a:pt x="106045" y="113157"/>
                  </a:lnTo>
                  <a:lnTo>
                    <a:pt x="70739" y="113157"/>
                  </a:lnTo>
                  <a:lnTo>
                    <a:pt x="70739" y="68834"/>
                  </a:lnTo>
                  <a:lnTo>
                    <a:pt x="75184" y="64389"/>
                  </a:lnTo>
                  <a:lnTo>
                    <a:pt x="79502" y="59944"/>
                  </a:lnTo>
                  <a:lnTo>
                    <a:pt x="97282" y="59944"/>
                  </a:lnTo>
                  <a:lnTo>
                    <a:pt x="101600" y="64389"/>
                  </a:lnTo>
                  <a:lnTo>
                    <a:pt x="106045" y="68834"/>
                  </a:lnTo>
                  <a:lnTo>
                    <a:pt x="106045" y="27940"/>
                  </a:lnTo>
                  <a:lnTo>
                    <a:pt x="88392" y="24384"/>
                  </a:lnTo>
                  <a:lnTo>
                    <a:pt x="66294" y="28829"/>
                  </a:lnTo>
                  <a:lnTo>
                    <a:pt x="39751" y="55499"/>
                  </a:lnTo>
                  <a:lnTo>
                    <a:pt x="35306" y="77724"/>
                  </a:lnTo>
                  <a:lnTo>
                    <a:pt x="35306" y="130937"/>
                  </a:lnTo>
                  <a:lnTo>
                    <a:pt x="22098" y="144272"/>
                  </a:lnTo>
                  <a:lnTo>
                    <a:pt x="8890" y="162052"/>
                  </a:lnTo>
                  <a:lnTo>
                    <a:pt x="4445" y="179832"/>
                  </a:lnTo>
                  <a:lnTo>
                    <a:pt x="0" y="202057"/>
                  </a:lnTo>
                  <a:lnTo>
                    <a:pt x="4445" y="224282"/>
                  </a:lnTo>
                  <a:lnTo>
                    <a:pt x="8890" y="241935"/>
                  </a:lnTo>
                  <a:lnTo>
                    <a:pt x="22098" y="259715"/>
                  </a:lnTo>
                  <a:lnTo>
                    <a:pt x="35306" y="273050"/>
                  </a:lnTo>
                  <a:lnTo>
                    <a:pt x="35306" y="539496"/>
                  </a:lnTo>
                  <a:lnTo>
                    <a:pt x="39751" y="561721"/>
                  </a:lnTo>
                  <a:lnTo>
                    <a:pt x="66294" y="588391"/>
                  </a:lnTo>
                  <a:lnTo>
                    <a:pt x="88392" y="592836"/>
                  </a:lnTo>
                  <a:lnTo>
                    <a:pt x="110490" y="588391"/>
                  </a:lnTo>
                  <a:lnTo>
                    <a:pt x="137033" y="561721"/>
                  </a:lnTo>
                  <a:lnTo>
                    <a:pt x="137922" y="557276"/>
                  </a:lnTo>
                  <a:lnTo>
                    <a:pt x="141478" y="539496"/>
                  </a:lnTo>
                  <a:lnTo>
                    <a:pt x="141478" y="290830"/>
                  </a:lnTo>
                  <a:lnTo>
                    <a:pt x="141478" y="273050"/>
                  </a:lnTo>
                  <a:lnTo>
                    <a:pt x="154686" y="259715"/>
                  </a:lnTo>
                  <a:lnTo>
                    <a:pt x="157988" y="255270"/>
                  </a:lnTo>
                  <a:lnTo>
                    <a:pt x="167894" y="241935"/>
                  </a:lnTo>
                  <a:lnTo>
                    <a:pt x="172339" y="224282"/>
                  </a:lnTo>
                  <a:lnTo>
                    <a:pt x="176784" y="202057"/>
                  </a:lnTo>
                  <a:close/>
                </a:path>
                <a:path w="567054" h="593089">
                  <a:moveTo>
                    <a:pt x="371856" y="402971"/>
                  </a:moveTo>
                  <a:lnTo>
                    <a:pt x="367411" y="380746"/>
                  </a:lnTo>
                  <a:lnTo>
                    <a:pt x="362966" y="363093"/>
                  </a:lnTo>
                  <a:lnTo>
                    <a:pt x="353060" y="349758"/>
                  </a:lnTo>
                  <a:lnTo>
                    <a:pt x="349758" y="345313"/>
                  </a:lnTo>
                  <a:lnTo>
                    <a:pt x="336550" y="331978"/>
                  </a:lnTo>
                  <a:lnTo>
                    <a:pt x="336550" y="402971"/>
                  </a:lnTo>
                  <a:lnTo>
                    <a:pt x="332105" y="416306"/>
                  </a:lnTo>
                  <a:lnTo>
                    <a:pt x="332105" y="420751"/>
                  </a:lnTo>
                  <a:lnTo>
                    <a:pt x="327660" y="434086"/>
                  </a:lnTo>
                  <a:lnTo>
                    <a:pt x="314452" y="447421"/>
                  </a:lnTo>
                  <a:lnTo>
                    <a:pt x="301117" y="451866"/>
                  </a:lnTo>
                  <a:lnTo>
                    <a:pt x="301117" y="491871"/>
                  </a:lnTo>
                  <a:lnTo>
                    <a:pt x="301117" y="536194"/>
                  </a:lnTo>
                  <a:lnTo>
                    <a:pt x="296672" y="540639"/>
                  </a:lnTo>
                  <a:lnTo>
                    <a:pt x="292354" y="545084"/>
                  </a:lnTo>
                  <a:lnTo>
                    <a:pt x="274574" y="545084"/>
                  </a:lnTo>
                  <a:lnTo>
                    <a:pt x="270256" y="540639"/>
                  </a:lnTo>
                  <a:lnTo>
                    <a:pt x="265811" y="536194"/>
                  </a:lnTo>
                  <a:lnTo>
                    <a:pt x="265811" y="491871"/>
                  </a:lnTo>
                  <a:lnTo>
                    <a:pt x="301117" y="491871"/>
                  </a:lnTo>
                  <a:lnTo>
                    <a:pt x="301117" y="451866"/>
                  </a:lnTo>
                  <a:lnTo>
                    <a:pt x="283464" y="456311"/>
                  </a:lnTo>
                  <a:lnTo>
                    <a:pt x="265811" y="451866"/>
                  </a:lnTo>
                  <a:lnTo>
                    <a:pt x="252476" y="447421"/>
                  </a:lnTo>
                  <a:lnTo>
                    <a:pt x="239268" y="434086"/>
                  </a:lnTo>
                  <a:lnTo>
                    <a:pt x="234823" y="420751"/>
                  </a:lnTo>
                  <a:lnTo>
                    <a:pt x="234823" y="416306"/>
                  </a:lnTo>
                  <a:lnTo>
                    <a:pt x="230378" y="402971"/>
                  </a:lnTo>
                  <a:lnTo>
                    <a:pt x="234823" y="389636"/>
                  </a:lnTo>
                  <a:lnTo>
                    <a:pt x="234823" y="385191"/>
                  </a:lnTo>
                  <a:lnTo>
                    <a:pt x="239268" y="371856"/>
                  </a:lnTo>
                  <a:lnTo>
                    <a:pt x="252476" y="358648"/>
                  </a:lnTo>
                  <a:lnTo>
                    <a:pt x="265811" y="354203"/>
                  </a:lnTo>
                  <a:lnTo>
                    <a:pt x="283464" y="349758"/>
                  </a:lnTo>
                  <a:lnTo>
                    <a:pt x="301117" y="354203"/>
                  </a:lnTo>
                  <a:lnTo>
                    <a:pt x="314452" y="358648"/>
                  </a:lnTo>
                  <a:lnTo>
                    <a:pt x="327660" y="371856"/>
                  </a:lnTo>
                  <a:lnTo>
                    <a:pt x="332105" y="385191"/>
                  </a:lnTo>
                  <a:lnTo>
                    <a:pt x="332105" y="389636"/>
                  </a:lnTo>
                  <a:lnTo>
                    <a:pt x="336550" y="402971"/>
                  </a:lnTo>
                  <a:lnTo>
                    <a:pt x="336550" y="331978"/>
                  </a:lnTo>
                  <a:lnTo>
                    <a:pt x="336550" y="314198"/>
                  </a:lnTo>
                  <a:lnTo>
                    <a:pt x="336550" y="65532"/>
                  </a:lnTo>
                  <a:lnTo>
                    <a:pt x="332994" y="47752"/>
                  </a:lnTo>
                  <a:lnTo>
                    <a:pt x="332105" y="43307"/>
                  </a:lnTo>
                  <a:lnTo>
                    <a:pt x="305562" y="16637"/>
                  </a:lnTo>
                  <a:lnTo>
                    <a:pt x="301117" y="15748"/>
                  </a:lnTo>
                  <a:lnTo>
                    <a:pt x="301117" y="56642"/>
                  </a:lnTo>
                  <a:lnTo>
                    <a:pt x="301117" y="314198"/>
                  </a:lnTo>
                  <a:lnTo>
                    <a:pt x="265811" y="314198"/>
                  </a:lnTo>
                  <a:lnTo>
                    <a:pt x="265811" y="56642"/>
                  </a:lnTo>
                  <a:lnTo>
                    <a:pt x="270256" y="52197"/>
                  </a:lnTo>
                  <a:lnTo>
                    <a:pt x="274574" y="47752"/>
                  </a:lnTo>
                  <a:lnTo>
                    <a:pt x="292354" y="47752"/>
                  </a:lnTo>
                  <a:lnTo>
                    <a:pt x="296672" y="52197"/>
                  </a:lnTo>
                  <a:lnTo>
                    <a:pt x="301117" y="56642"/>
                  </a:lnTo>
                  <a:lnTo>
                    <a:pt x="301117" y="15748"/>
                  </a:lnTo>
                  <a:lnTo>
                    <a:pt x="283464" y="12192"/>
                  </a:lnTo>
                  <a:lnTo>
                    <a:pt x="261366" y="16637"/>
                  </a:lnTo>
                  <a:lnTo>
                    <a:pt x="234823" y="43307"/>
                  </a:lnTo>
                  <a:lnTo>
                    <a:pt x="230378" y="65532"/>
                  </a:lnTo>
                  <a:lnTo>
                    <a:pt x="230378" y="331978"/>
                  </a:lnTo>
                  <a:lnTo>
                    <a:pt x="217170" y="345313"/>
                  </a:lnTo>
                  <a:lnTo>
                    <a:pt x="203962" y="363093"/>
                  </a:lnTo>
                  <a:lnTo>
                    <a:pt x="199517" y="380746"/>
                  </a:lnTo>
                  <a:lnTo>
                    <a:pt x="195072" y="402971"/>
                  </a:lnTo>
                  <a:lnTo>
                    <a:pt x="199517" y="425196"/>
                  </a:lnTo>
                  <a:lnTo>
                    <a:pt x="203962" y="442976"/>
                  </a:lnTo>
                  <a:lnTo>
                    <a:pt x="217170" y="460756"/>
                  </a:lnTo>
                  <a:lnTo>
                    <a:pt x="230378" y="474091"/>
                  </a:lnTo>
                  <a:lnTo>
                    <a:pt x="230378" y="527304"/>
                  </a:lnTo>
                  <a:lnTo>
                    <a:pt x="234823" y="549529"/>
                  </a:lnTo>
                  <a:lnTo>
                    <a:pt x="261366" y="576199"/>
                  </a:lnTo>
                  <a:lnTo>
                    <a:pt x="283464" y="580644"/>
                  </a:lnTo>
                  <a:lnTo>
                    <a:pt x="305562" y="576199"/>
                  </a:lnTo>
                  <a:lnTo>
                    <a:pt x="332105" y="549529"/>
                  </a:lnTo>
                  <a:lnTo>
                    <a:pt x="332994" y="545084"/>
                  </a:lnTo>
                  <a:lnTo>
                    <a:pt x="336550" y="527304"/>
                  </a:lnTo>
                  <a:lnTo>
                    <a:pt x="336550" y="491871"/>
                  </a:lnTo>
                  <a:lnTo>
                    <a:pt x="336550" y="474091"/>
                  </a:lnTo>
                  <a:lnTo>
                    <a:pt x="349758" y="460756"/>
                  </a:lnTo>
                  <a:lnTo>
                    <a:pt x="353060" y="456311"/>
                  </a:lnTo>
                  <a:lnTo>
                    <a:pt x="362966" y="442976"/>
                  </a:lnTo>
                  <a:lnTo>
                    <a:pt x="367411" y="425196"/>
                  </a:lnTo>
                  <a:lnTo>
                    <a:pt x="371856" y="402971"/>
                  </a:lnTo>
                  <a:close/>
                </a:path>
                <a:path w="567054" h="593089">
                  <a:moveTo>
                    <a:pt x="566928" y="177673"/>
                  </a:moveTo>
                  <a:lnTo>
                    <a:pt x="562483" y="155448"/>
                  </a:lnTo>
                  <a:lnTo>
                    <a:pt x="558038" y="137668"/>
                  </a:lnTo>
                  <a:lnTo>
                    <a:pt x="548132" y="124333"/>
                  </a:lnTo>
                  <a:lnTo>
                    <a:pt x="544830" y="119888"/>
                  </a:lnTo>
                  <a:lnTo>
                    <a:pt x="531622" y="106553"/>
                  </a:lnTo>
                  <a:lnTo>
                    <a:pt x="531622" y="177673"/>
                  </a:lnTo>
                  <a:lnTo>
                    <a:pt x="527177" y="191008"/>
                  </a:lnTo>
                  <a:lnTo>
                    <a:pt x="527177" y="195453"/>
                  </a:lnTo>
                  <a:lnTo>
                    <a:pt x="522732" y="208788"/>
                  </a:lnTo>
                  <a:lnTo>
                    <a:pt x="509524" y="221996"/>
                  </a:lnTo>
                  <a:lnTo>
                    <a:pt x="496189" y="226441"/>
                  </a:lnTo>
                  <a:lnTo>
                    <a:pt x="496189" y="266446"/>
                  </a:lnTo>
                  <a:lnTo>
                    <a:pt x="496189" y="524002"/>
                  </a:lnTo>
                  <a:lnTo>
                    <a:pt x="491744" y="528447"/>
                  </a:lnTo>
                  <a:lnTo>
                    <a:pt x="487426" y="532892"/>
                  </a:lnTo>
                  <a:lnTo>
                    <a:pt x="469646" y="532892"/>
                  </a:lnTo>
                  <a:lnTo>
                    <a:pt x="465328" y="528447"/>
                  </a:lnTo>
                  <a:lnTo>
                    <a:pt x="460883" y="524002"/>
                  </a:lnTo>
                  <a:lnTo>
                    <a:pt x="460883" y="266446"/>
                  </a:lnTo>
                  <a:lnTo>
                    <a:pt x="496189" y="266446"/>
                  </a:lnTo>
                  <a:lnTo>
                    <a:pt x="496189" y="226441"/>
                  </a:lnTo>
                  <a:lnTo>
                    <a:pt x="478536" y="230886"/>
                  </a:lnTo>
                  <a:lnTo>
                    <a:pt x="460883" y="226441"/>
                  </a:lnTo>
                  <a:lnTo>
                    <a:pt x="447548" y="221996"/>
                  </a:lnTo>
                  <a:lnTo>
                    <a:pt x="434340" y="208788"/>
                  </a:lnTo>
                  <a:lnTo>
                    <a:pt x="429895" y="195453"/>
                  </a:lnTo>
                  <a:lnTo>
                    <a:pt x="429895" y="191008"/>
                  </a:lnTo>
                  <a:lnTo>
                    <a:pt x="425450" y="177673"/>
                  </a:lnTo>
                  <a:lnTo>
                    <a:pt x="429895" y="164338"/>
                  </a:lnTo>
                  <a:lnTo>
                    <a:pt x="429895" y="159893"/>
                  </a:lnTo>
                  <a:lnTo>
                    <a:pt x="434340" y="146558"/>
                  </a:lnTo>
                  <a:lnTo>
                    <a:pt x="447548" y="133223"/>
                  </a:lnTo>
                  <a:lnTo>
                    <a:pt x="460883" y="128778"/>
                  </a:lnTo>
                  <a:lnTo>
                    <a:pt x="478536" y="124333"/>
                  </a:lnTo>
                  <a:lnTo>
                    <a:pt x="496189" y="128778"/>
                  </a:lnTo>
                  <a:lnTo>
                    <a:pt x="509524" y="133223"/>
                  </a:lnTo>
                  <a:lnTo>
                    <a:pt x="522732" y="146558"/>
                  </a:lnTo>
                  <a:lnTo>
                    <a:pt x="527177" y="159893"/>
                  </a:lnTo>
                  <a:lnTo>
                    <a:pt x="527177" y="164338"/>
                  </a:lnTo>
                  <a:lnTo>
                    <a:pt x="531622" y="177673"/>
                  </a:lnTo>
                  <a:lnTo>
                    <a:pt x="531622" y="106553"/>
                  </a:lnTo>
                  <a:lnTo>
                    <a:pt x="531622" y="88773"/>
                  </a:lnTo>
                  <a:lnTo>
                    <a:pt x="531622" y="53340"/>
                  </a:lnTo>
                  <a:lnTo>
                    <a:pt x="528066" y="35560"/>
                  </a:lnTo>
                  <a:lnTo>
                    <a:pt x="527177" y="31115"/>
                  </a:lnTo>
                  <a:lnTo>
                    <a:pt x="500634" y="4445"/>
                  </a:lnTo>
                  <a:lnTo>
                    <a:pt x="496189" y="3556"/>
                  </a:lnTo>
                  <a:lnTo>
                    <a:pt x="496189" y="44450"/>
                  </a:lnTo>
                  <a:lnTo>
                    <a:pt x="496189" y="88773"/>
                  </a:lnTo>
                  <a:lnTo>
                    <a:pt x="460883" y="88773"/>
                  </a:lnTo>
                  <a:lnTo>
                    <a:pt x="460883" y="44450"/>
                  </a:lnTo>
                  <a:lnTo>
                    <a:pt x="465328" y="40005"/>
                  </a:lnTo>
                  <a:lnTo>
                    <a:pt x="469646" y="35560"/>
                  </a:lnTo>
                  <a:lnTo>
                    <a:pt x="487426" y="35560"/>
                  </a:lnTo>
                  <a:lnTo>
                    <a:pt x="491744" y="40005"/>
                  </a:lnTo>
                  <a:lnTo>
                    <a:pt x="496189" y="44450"/>
                  </a:lnTo>
                  <a:lnTo>
                    <a:pt x="496189" y="3556"/>
                  </a:lnTo>
                  <a:lnTo>
                    <a:pt x="478536" y="0"/>
                  </a:lnTo>
                  <a:lnTo>
                    <a:pt x="456438" y="4445"/>
                  </a:lnTo>
                  <a:lnTo>
                    <a:pt x="429895" y="31115"/>
                  </a:lnTo>
                  <a:lnTo>
                    <a:pt x="425450" y="53340"/>
                  </a:lnTo>
                  <a:lnTo>
                    <a:pt x="425450" y="106553"/>
                  </a:lnTo>
                  <a:lnTo>
                    <a:pt x="412242" y="119888"/>
                  </a:lnTo>
                  <a:lnTo>
                    <a:pt x="399034" y="137668"/>
                  </a:lnTo>
                  <a:lnTo>
                    <a:pt x="394589" y="155448"/>
                  </a:lnTo>
                  <a:lnTo>
                    <a:pt x="390144" y="177673"/>
                  </a:lnTo>
                  <a:lnTo>
                    <a:pt x="394589" y="199898"/>
                  </a:lnTo>
                  <a:lnTo>
                    <a:pt x="399034" y="217551"/>
                  </a:lnTo>
                  <a:lnTo>
                    <a:pt x="412242" y="235331"/>
                  </a:lnTo>
                  <a:lnTo>
                    <a:pt x="425450" y="248666"/>
                  </a:lnTo>
                  <a:lnTo>
                    <a:pt x="425450" y="515112"/>
                  </a:lnTo>
                  <a:lnTo>
                    <a:pt x="429895" y="537337"/>
                  </a:lnTo>
                  <a:lnTo>
                    <a:pt x="456438" y="564007"/>
                  </a:lnTo>
                  <a:lnTo>
                    <a:pt x="478536" y="568452"/>
                  </a:lnTo>
                  <a:lnTo>
                    <a:pt x="500634" y="564007"/>
                  </a:lnTo>
                  <a:lnTo>
                    <a:pt x="527177" y="537337"/>
                  </a:lnTo>
                  <a:lnTo>
                    <a:pt x="528066" y="532892"/>
                  </a:lnTo>
                  <a:lnTo>
                    <a:pt x="531622" y="515112"/>
                  </a:lnTo>
                  <a:lnTo>
                    <a:pt x="531622" y="266446"/>
                  </a:lnTo>
                  <a:lnTo>
                    <a:pt x="531622" y="248666"/>
                  </a:lnTo>
                  <a:lnTo>
                    <a:pt x="544830" y="235331"/>
                  </a:lnTo>
                  <a:lnTo>
                    <a:pt x="548132" y="230886"/>
                  </a:lnTo>
                  <a:lnTo>
                    <a:pt x="558038" y="217551"/>
                  </a:lnTo>
                  <a:lnTo>
                    <a:pt x="562483" y="199898"/>
                  </a:lnTo>
                  <a:lnTo>
                    <a:pt x="566928" y="17767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53" name="object 53">
            <a:extLst>
              <a:ext uri="{FF2B5EF4-FFF2-40B4-BE49-F238E27FC236}">
                <a16:creationId xmlns:a16="http://schemas.microsoft.com/office/drawing/2014/main" id="{6B25270F-99F4-72AE-A4C1-79DA52FE4226}"/>
              </a:ext>
            </a:extLst>
          </p:cNvPr>
          <p:cNvGrpSpPr/>
          <p:nvPr/>
        </p:nvGrpSpPr>
        <p:grpSpPr>
          <a:xfrm>
            <a:off x="9679737" y="6951417"/>
            <a:ext cx="905720" cy="940523"/>
            <a:chOff x="10324874" y="6913449"/>
            <a:chExt cx="938530" cy="938530"/>
          </a:xfrm>
        </p:grpSpPr>
        <p:sp>
          <p:nvSpPr>
            <p:cNvPr id="54" name="object 54">
              <a:extLst>
                <a:ext uri="{FF2B5EF4-FFF2-40B4-BE49-F238E27FC236}">
                  <a16:creationId xmlns:a16="http://schemas.microsoft.com/office/drawing/2014/main" id="{93F0C8E1-22F8-9C51-B960-6D76636D9A24}"/>
                </a:ext>
              </a:extLst>
            </p:cNvPr>
            <p:cNvSpPr/>
            <p:nvPr/>
          </p:nvSpPr>
          <p:spPr>
            <a:xfrm>
              <a:off x="10343924" y="6932499"/>
              <a:ext cx="900430" cy="900430"/>
            </a:xfrm>
            <a:custGeom>
              <a:avLst/>
              <a:gdLst/>
              <a:ahLst/>
              <a:cxnLst/>
              <a:rect l="l" t="t" r="r" b="b"/>
              <a:pathLst>
                <a:path w="900429" h="900429">
                  <a:moveTo>
                    <a:pt x="448936" y="0"/>
                  </a:moveTo>
                  <a:lnTo>
                    <a:pt x="401617" y="2645"/>
                  </a:lnTo>
                  <a:lnTo>
                    <a:pt x="354123" y="10436"/>
                  </a:lnTo>
                  <a:lnTo>
                    <a:pt x="306803" y="23544"/>
                  </a:lnTo>
                  <a:lnTo>
                    <a:pt x="261164" y="41681"/>
                  </a:lnTo>
                  <a:lnTo>
                    <a:pt x="218598" y="64161"/>
                  </a:lnTo>
                  <a:lnTo>
                    <a:pt x="179277" y="90637"/>
                  </a:lnTo>
                  <a:lnTo>
                    <a:pt x="143374" y="120761"/>
                  </a:lnTo>
                  <a:lnTo>
                    <a:pt x="111063" y="154185"/>
                  </a:lnTo>
                  <a:lnTo>
                    <a:pt x="82517" y="190562"/>
                  </a:lnTo>
                  <a:lnTo>
                    <a:pt x="57909" y="229546"/>
                  </a:lnTo>
                  <a:lnTo>
                    <a:pt x="37412" y="270787"/>
                  </a:lnTo>
                  <a:lnTo>
                    <a:pt x="21199" y="313939"/>
                  </a:lnTo>
                  <a:lnTo>
                    <a:pt x="9444" y="358655"/>
                  </a:lnTo>
                  <a:lnTo>
                    <a:pt x="2320" y="404586"/>
                  </a:lnTo>
                  <a:lnTo>
                    <a:pt x="0" y="451386"/>
                  </a:lnTo>
                  <a:lnTo>
                    <a:pt x="2656" y="498706"/>
                  </a:lnTo>
                  <a:lnTo>
                    <a:pt x="10463" y="546200"/>
                  </a:lnTo>
                  <a:lnTo>
                    <a:pt x="23593" y="593520"/>
                  </a:lnTo>
                  <a:lnTo>
                    <a:pt x="41706" y="639157"/>
                  </a:lnTo>
                  <a:lnTo>
                    <a:pt x="64166" y="681720"/>
                  </a:lnTo>
                  <a:lnTo>
                    <a:pt x="90624" y="721034"/>
                  </a:lnTo>
                  <a:lnTo>
                    <a:pt x="120732" y="756929"/>
                  </a:lnTo>
                  <a:lnTo>
                    <a:pt x="154144" y="789232"/>
                  </a:lnTo>
                  <a:lnTo>
                    <a:pt x="190512" y="817770"/>
                  </a:lnTo>
                  <a:lnTo>
                    <a:pt x="229487" y="842370"/>
                  </a:lnTo>
                  <a:lnTo>
                    <a:pt x="270722" y="862861"/>
                  </a:lnTo>
                  <a:lnTo>
                    <a:pt x="313869" y="879069"/>
                  </a:lnTo>
                  <a:lnTo>
                    <a:pt x="358581" y="890823"/>
                  </a:lnTo>
                  <a:lnTo>
                    <a:pt x="404510" y="897949"/>
                  </a:lnTo>
                  <a:lnTo>
                    <a:pt x="451309" y="900275"/>
                  </a:lnTo>
                  <a:lnTo>
                    <a:pt x="498629" y="897629"/>
                  </a:lnTo>
                  <a:lnTo>
                    <a:pt x="546122" y="889838"/>
                  </a:lnTo>
                  <a:lnTo>
                    <a:pt x="593442" y="876730"/>
                  </a:lnTo>
                  <a:lnTo>
                    <a:pt x="639079" y="858593"/>
                  </a:lnTo>
                  <a:lnTo>
                    <a:pt x="681641" y="836113"/>
                  </a:lnTo>
                  <a:lnTo>
                    <a:pt x="720956" y="809638"/>
                  </a:lnTo>
                  <a:lnTo>
                    <a:pt x="756851" y="779514"/>
                  </a:lnTo>
                  <a:lnTo>
                    <a:pt x="789154" y="746090"/>
                  </a:lnTo>
                  <a:lnTo>
                    <a:pt x="817692" y="709712"/>
                  </a:lnTo>
                  <a:lnTo>
                    <a:pt x="842292" y="670729"/>
                  </a:lnTo>
                  <a:lnTo>
                    <a:pt x="862783" y="629487"/>
                  </a:lnTo>
                  <a:lnTo>
                    <a:pt x="878991" y="586335"/>
                  </a:lnTo>
                  <a:lnTo>
                    <a:pt x="890744" y="541620"/>
                  </a:lnTo>
                  <a:lnTo>
                    <a:pt x="897870" y="495688"/>
                  </a:lnTo>
                  <a:lnTo>
                    <a:pt x="900197" y="448889"/>
                  </a:lnTo>
                  <a:lnTo>
                    <a:pt x="897551" y="401568"/>
                  </a:lnTo>
                  <a:lnTo>
                    <a:pt x="889760" y="354074"/>
                  </a:lnTo>
                  <a:lnTo>
                    <a:pt x="876652" y="306754"/>
                  </a:lnTo>
                  <a:lnTo>
                    <a:pt x="858539" y="261117"/>
                  </a:lnTo>
                  <a:lnTo>
                    <a:pt x="836079" y="218555"/>
                  </a:lnTo>
                  <a:lnTo>
                    <a:pt x="809621" y="179240"/>
                  </a:lnTo>
                  <a:lnTo>
                    <a:pt x="779513" y="143345"/>
                  </a:lnTo>
                  <a:lnTo>
                    <a:pt x="746101" y="111043"/>
                  </a:lnTo>
                  <a:lnTo>
                    <a:pt x="709733" y="82505"/>
                  </a:lnTo>
                  <a:lnTo>
                    <a:pt x="670758" y="57904"/>
                  </a:lnTo>
                  <a:lnTo>
                    <a:pt x="629523" y="37414"/>
                  </a:lnTo>
                  <a:lnTo>
                    <a:pt x="586376" y="21205"/>
                  </a:lnTo>
                  <a:lnTo>
                    <a:pt x="541664" y="9452"/>
                  </a:lnTo>
                  <a:lnTo>
                    <a:pt x="495735" y="2326"/>
                  </a:lnTo>
                  <a:lnTo>
                    <a:pt x="448936" y="0"/>
                  </a:lnTo>
                  <a:close/>
                </a:path>
              </a:pathLst>
            </a:custGeom>
            <a:solidFill>
              <a:srgbClr val="2B5291"/>
            </a:solidFill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5" name="object 55">
              <a:extLst>
                <a:ext uri="{FF2B5EF4-FFF2-40B4-BE49-F238E27FC236}">
                  <a16:creationId xmlns:a16="http://schemas.microsoft.com/office/drawing/2014/main" id="{99F891E1-ADCE-8133-3CAF-DB28F9B9850C}"/>
                </a:ext>
              </a:extLst>
            </p:cNvPr>
            <p:cNvSpPr/>
            <p:nvPr/>
          </p:nvSpPr>
          <p:spPr>
            <a:xfrm>
              <a:off x="10343924" y="6932499"/>
              <a:ext cx="900430" cy="900430"/>
            </a:xfrm>
            <a:custGeom>
              <a:avLst/>
              <a:gdLst/>
              <a:ahLst/>
              <a:cxnLst/>
              <a:rect l="l" t="t" r="r" b="b"/>
              <a:pathLst>
                <a:path w="900429" h="900429">
                  <a:moveTo>
                    <a:pt x="23593" y="593520"/>
                  </a:moveTo>
                  <a:lnTo>
                    <a:pt x="10463" y="546200"/>
                  </a:lnTo>
                  <a:lnTo>
                    <a:pt x="2656" y="498706"/>
                  </a:lnTo>
                  <a:lnTo>
                    <a:pt x="0" y="451386"/>
                  </a:lnTo>
                  <a:lnTo>
                    <a:pt x="2320" y="404586"/>
                  </a:lnTo>
                  <a:lnTo>
                    <a:pt x="9444" y="358655"/>
                  </a:lnTo>
                  <a:lnTo>
                    <a:pt x="21199" y="313939"/>
                  </a:lnTo>
                  <a:lnTo>
                    <a:pt x="37412" y="270787"/>
                  </a:lnTo>
                  <a:lnTo>
                    <a:pt x="57909" y="229546"/>
                  </a:lnTo>
                  <a:lnTo>
                    <a:pt x="82517" y="190562"/>
                  </a:lnTo>
                  <a:lnTo>
                    <a:pt x="111063" y="154185"/>
                  </a:lnTo>
                  <a:lnTo>
                    <a:pt x="143374" y="120761"/>
                  </a:lnTo>
                  <a:lnTo>
                    <a:pt x="179277" y="90637"/>
                  </a:lnTo>
                  <a:lnTo>
                    <a:pt x="218598" y="64161"/>
                  </a:lnTo>
                  <a:lnTo>
                    <a:pt x="261164" y="41681"/>
                  </a:lnTo>
                  <a:lnTo>
                    <a:pt x="306803" y="23544"/>
                  </a:lnTo>
                  <a:lnTo>
                    <a:pt x="354123" y="10436"/>
                  </a:lnTo>
                  <a:lnTo>
                    <a:pt x="401617" y="2645"/>
                  </a:lnTo>
                  <a:lnTo>
                    <a:pt x="448936" y="0"/>
                  </a:lnTo>
                  <a:lnTo>
                    <a:pt x="495735" y="2326"/>
                  </a:lnTo>
                  <a:lnTo>
                    <a:pt x="541664" y="9452"/>
                  </a:lnTo>
                  <a:lnTo>
                    <a:pt x="586376" y="21205"/>
                  </a:lnTo>
                  <a:lnTo>
                    <a:pt x="629523" y="37414"/>
                  </a:lnTo>
                  <a:lnTo>
                    <a:pt x="670758" y="57904"/>
                  </a:lnTo>
                  <a:lnTo>
                    <a:pt x="709733" y="82505"/>
                  </a:lnTo>
                  <a:lnTo>
                    <a:pt x="746101" y="111043"/>
                  </a:lnTo>
                  <a:lnTo>
                    <a:pt x="779513" y="143345"/>
                  </a:lnTo>
                  <a:lnTo>
                    <a:pt x="809621" y="179240"/>
                  </a:lnTo>
                  <a:lnTo>
                    <a:pt x="836079" y="218555"/>
                  </a:lnTo>
                  <a:lnTo>
                    <a:pt x="858539" y="261117"/>
                  </a:lnTo>
                  <a:lnTo>
                    <a:pt x="876652" y="306754"/>
                  </a:lnTo>
                  <a:lnTo>
                    <a:pt x="889760" y="354074"/>
                  </a:lnTo>
                  <a:lnTo>
                    <a:pt x="897551" y="401568"/>
                  </a:lnTo>
                  <a:lnTo>
                    <a:pt x="900197" y="448889"/>
                  </a:lnTo>
                  <a:lnTo>
                    <a:pt x="897870" y="495688"/>
                  </a:lnTo>
                  <a:lnTo>
                    <a:pt x="890744" y="541620"/>
                  </a:lnTo>
                  <a:lnTo>
                    <a:pt x="878991" y="586335"/>
                  </a:lnTo>
                  <a:lnTo>
                    <a:pt x="862783" y="629487"/>
                  </a:lnTo>
                  <a:lnTo>
                    <a:pt x="842292" y="670729"/>
                  </a:lnTo>
                  <a:lnTo>
                    <a:pt x="817692" y="709712"/>
                  </a:lnTo>
                  <a:lnTo>
                    <a:pt x="789154" y="746090"/>
                  </a:lnTo>
                  <a:lnTo>
                    <a:pt x="756851" y="779514"/>
                  </a:lnTo>
                  <a:lnTo>
                    <a:pt x="720956" y="809638"/>
                  </a:lnTo>
                  <a:lnTo>
                    <a:pt x="681641" y="836113"/>
                  </a:lnTo>
                  <a:lnTo>
                    <a:pt x="639079" y="858593"/>
                  </a:lnTo>
                  <a:lnTo>
                    <a:pt x="593442" y="876730"/>
                  </a:lnTo>
                  <a:lnTo>
                    <a:pt x="546122" y="889838"/>
                  </a:lnTo>
                  <a:lnTo>
                    <a:pt x="498629" y="897629"/>
                  </a:lnTo>
                  <a:lnTo>
                    <a:pt x="451309" y="900275"/>
                  </a:lnTo>
                  <a:lnTo>
                    <a:pt x="404510" y="897949"/>
                  </a:lnTo>
                  <a:lnTo>
                    <a:pt x="358581" y="890823"/>
                  </a:lnTo>
                  <a:lnTo>
                    <a:pt x="313869" y="879069"/>
                  </a:lnTo>
                  <a:lnTo>
                    <a:pt x="270722" y="862861"/>
                  </a:lnTo>
                  <a:lnTo>
                    <a:pt x="229487" y="842370"/>
                  </a:lnTo>
                  <a:lnTo>
                    <a:pt x="190512" y="817770"/>
                  </a:lnTo>
                  <a:lnTo>
                    <a:pt x="154144" y="789232"/>
                  </a:lnTo>
                  <a:lnTo>
                    <a:pt x="120732" y="756929"/>
                  </a:lnTo>
                  <a:lnTo>
                    <a:pt x="90624" y="721034"/>
                  </a:lnTo>
                  <a:lnTo>
                    <a:pt x="64166" y="681720"/>
                  </a:lnTo>
                  <a:lnTo>
                    <a:pt x="41706" y="639157"/>
                  </a:lnTo>
                  <a:lnTo>
                    <a:pt x="23593" y="593520"/>
                  </a:lnTo>
                  <a:close/>
                </a:path>
              </a:pathLst>
            </a:custGeom>
            <a:ln w="38100">
              <a:solidFill>
                <a:srgbClr val="281F76"/>
              </a:solidFill>
            </a:ln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6" name="object 56">
              <a:extLst>
                <a:ext uri="{FF2B5EF4-FFF2-40B4-BE49-F238E27FC236}">
                  <a16:creationId xmlns:a16="http://schemas.microsoft.com/office/drawing/2014/main" id="{60BAB81A-C890-5371-1062-2A2FD44AE8BD}"/>
                </a:ext>
              </a:extLst>
            </p:cNvPr>
            <p:cNvSpPr/>
            <p:nvPr/>
          </p:nvSpPr>
          <p:spPr>
            <a:xfrm>
              <a:off x="10545847" y="7133971"/>
              <a:ext cx="511809" cy="513715"/>
            </a:xfrm>
            <a:custGeom>
              <a:avLst/>
              <a:gdLst/>
              <a:ahLst/>
              <a:cxnLst/>
              <a:rect l="l" t="t" r="r" b="b"/>
              <a:pathLst>
                <a:path w="511809" h="513715">
                  <a:moveTo>
                    <a:pt x="54080" y="132460"/>
                  </a:moveTo>
                  <a:lnTo>
                    <a:pt x="33379" y="139445"/>
                  </a:lnTo>
                  <a:lnTo>
                    <a:pt x="16394" y="149284"/>
                  </a:lnTo>
                  <a:lnTo>
                    <a:pt x="4947" y="164337"/>
                  </a:lnTo>
                  <a:lnTo>
                    <a:pt x="0" y="182629"/>
                  </a:lnTo>
                  <a:lnTo>
                    <a:pt x="2518" y="202183"/>
                  </a:lnTo>
                  <a:lnTo>
                    <a:pt x="95609" y="479297"/>
                  </a:lnTo>
                  <a:lnTo>
                    <a:pt x="105425" y="496468"/>
                  </a:lnTo>
                  <a:lnTo>
                    <a:pt x="120421" y="508079"/>
                  </a:lnTo>
                  <a:lnTo>
                    <a:pt x="138632" y="513141"/>
                  </a:lnTo>
                  <a:lnTo>
                    <a:pt x="158093" y="510666"/>
                  </a:lnTo>
                  <a:lnTo>
                    <a:pt x="298014" y="463676"/>
                  </a:lnTo>
                  <a:lnTo>
                    <a:pt x="142345" y="463676"/>
                  </a:lnTo>
                  <a:lnTo>
                    <a:pt x="80242" y="278891"/>
                  </a:lnTo>
                  <a:lnTo>
                    <a:pt x="375966" y="179577"/>
                  </a:lnTo>
                  <a:lnTo>
                    <a:pt x="69955" y="179577"/>
                  </a:lnTo>
                  <a:lnTo>
                    <a:pt x="54080" y="132460"/>
                  </a:lnTo>
                  <a:close/>
                </a:path>
                <a:path w="511809" h="513715">
                  <a:moveTo>
                    <a:pt x="452165" y="170814"/>
                  </a:moveTo>
                  <a:lnTo>
                    <a:pt x="402060" y="170814"/>
                  </a:lnTo>
                  <a:lnTo>
                    <a:pt x="464163" y="355472"/>
                  </a:lnTo>
                  <a:lnTo>
                    <a:pt x="142345" y="463676"/>
                  </a:lnTo>
                  <a:lnTo>
                    <a:pt x="298014" y="463676"/>
                  </a:lnTo>
                  <a:lnTo>
                    <a:pt x="479911" y="402589"/>
                  </a:lnTo>
                  <a:lnTo>
                    <a:pt x="495940" y="393116"/>
                  </a:lnTo>
                  <a:lnTo>
                    <a:pt x="506898" y="378237"/>
                  </a:lnTo>
                  <a:lnTo>
                    <a:pt x="511665" y="359977"/>
                  </a:lnTo>
                  <a:lnTo>
                    <a:pt x="509121" y="340359"/>
                  </a:lnTo>
                  <a:lnTo>
                    <a:pt x="452165" y="170814"/>
                  </a:lnTo>
                  <a:close/>
                </a:path>
                <a:path w="511809" h="513715">
                  <a:moveTo>
                    <a:pt x="260074" y="63372"/>
                  </a:moveTo>
                  <a:lnTo>
                    <a:pt x="126851" y="108076"/>
                  </a:lnTo>
                  <a:lnTo>
                    <a:pt x="142599" y="155193"/>
                  </a:lnTo>
                  <a:lnTo>
                    <a:pt x="69955" y="179577"/>
                  </a:lnTo>
                  <a:lnTo>
                    <a:pt x="375966" y="179577"/>
                  </a:lnTo>
                  <a:lnTo>
                    <a:pt x="402060" y="170814"/>
                  </a:lnTo>
                  <a:lnTo>
                    <a:pt x="452165" y="170814"/>
                  </a:lnTo>
                  <a:lnTo>
                    <a:pt x="431858" y="110362"/>
                  </a:lnTo>
                  <a:lnTo>
                    <a:pt x="275822" y="110362"/>
                  </a:lnTo>
                  <a:lnTo>
                    <a:pt x="260074" y="63372"/>
                  </a:lnTo>
                  <a:close/>
                </a:path>
                <a:path w="511809" h="513715">
                  <a:moveTo>
                    <a:pt x="90783" y="69722"/>
                  </a:moveTo>
                  <a:lnTo>
                    <a:pt x="59668" y="80263"/>
                  </a:lnTo>
                  <a:lnTo>
                    <a:pt x="86084" y="158622"/>
                  </a:lnTo>
                  <a:lnTo>
                    <a:pt x="117199" y="148208"/>
                  </a:lnTo>
                  <a:lnTo>
                    <a:pt x="90783" y="69722"/>
                  </a:lnTo>
                  <a:close/>
                </a:path>
                <a:path w="511809" h="513715">
                  <a:moveTo>
                    <a:pt x="373685" y="29241"/>
                  </a:moveTo>
                  <a:lnTo>
                    <a:pt x="355197" y="31368"/>
                  </a:lnTo>
                  <a:lnTo>
                    <a:pt x="334369" y="38353"/>
                  </a:lnTo>
                  <a:lnTo>
                    <a:pt x="350244" y="85343"/>
                  </a:lnTo>
                  <a:lnTo>
                    <a:pt x="275822" y="110362"/>
                  </a:lnTo>
                  <a:lnTo>
                    <a:pt x="431858" y="110362"/>
                  </a:lnTo>
                  <a:lnTo>
                    <a:pt x="416030" y="63245"/>
                  </a:lnTo>
                  <a:lnTo>
                    <a:pt x="406185" y="46085"/>
                  </a:lnTo>
                  <a:lnTo>
                    <a:pt x="391376" y="34448"/>
                  </a:lnTo>
                  <a:lnTo>
                    <a:pt x="373685" y="29241"/>
                  </a:lnTo>
                  <a:close/>
                </a:path>
                <a:path w="511809" h="513715">
                  <a:moveTo>
                    <a:pt x="298428" y="0"/>
                  </a:moveTo>
                  <a:lnTo>
                    <a:pt x="265535" y="11048"/>
                  </a:lnTo>
                  <a:lnTo>
                    <a:pt x="291951" y="89407"/>
                  </a:lnTo>
                  <a:lnTo>
                    <a:pt x="324844" y="78358"/>
                  </a:lnTo>
                  <a:lnTo>
                    <a:pt x="298428" y="0"/>
                  </a:lnTo>
                  <a:close/>
                </a:path>
              </a:pathLst>
            </a:custGeom>
            <a:solidFill>
              <a:srgbClr val="2B5291"/>
            </a:solidFill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7" name="object 57">
              <a:extLst>
                <a:ext uri="{FF2B5EF4-FFF2-40B4-BE49-F238E27FC236}">
                  <a16:creationId xmlns:a16="http://schemas.microsoft.com/office/drawing/2014/main" id="{ED0D0F59-C16F-A51E-6218-545505AA9527}"/>
                </a:ext>
              </a:extLst>
            </p:cNvPr>
            <p:cNvSpPr/>
            <p:nvPr/>
          </p:nvSpPr>
          <p:spPr>
            <a:xfrm>
              <a:off x="10559795" y="7149084"/>
              <a:ext cx="467995" cy="467995"/>
            </a:xfrm>
            <a:custGeom>
              <a:avLst/>
              <a:gdLst/>
              <a:ahLst/>
              <a:cxnLst/>
              <a:rect l="l" t="t" r="r" b="b"/>
              <a:pathLst>
                <a:path w="467995" h="467995">
                  <a:moveTo>
                    <a:pt x="63246" y="464693"/>
                  </a:moveTo>
                  <a:lnTo>
                    <a:pt x="5460" y="464693"/>
                  </a:lnTo>
                  <a:lnTo>
                    <a:pt x="8254" y="467868"/>
                  </a:lnTo>
                  <a:lnTo>
                    <a:pt x="63246" y="467868"/>
                  </a:lnTo>
                  <a:lnTo>
                    <a:pt x="63246" y="464693"/>
                  </a:lnTo>
                  <a:close/>
                </a:path>
                <a:path w="467995" h="467995">
                  <a:moveTo>
                    <a:pt x="66039" y="390906"/>
                  </a:moveTo>
                  <a:lnTo>
                    <a:pt x="2794" y="390906"/>
                  </a:lnTo>
                  <a:lnTo>
                    <a:pt x="2794" y="394208"/>
                  </a:lnTo>
                  <a:lnTo>
                    <a:pt x="0" y="397383"/>
                  </a:lnTo>
                  <a:lnTo>
                    <a:pt x="0" y="458216"/>
                  </a:lnTo>
                  <a:lnTo>
                    <a:pt x="2794" y="461518"/>
                  </a:lnTo>
                  <a:lnTo>
                    <a:pt x="2794" y="464693"/>
                  </a:lnTo>
                  <a:lnTo>
                    <a:pt x="66039" y="464693"/>
                  </a:lnTo>
                  <a:lnTo>
                    <a:pt x="66039" y="461518"/>
                  </a:lnTo>
                  <a:lnTo>
                    <a:pt x="68833" y="458216"/>
                  </a:lnTo>
                  <a:lnTo>
                    <a:pt x="68833" y="397383"/>
                  </a:lnTo>
                  <a:lnTo>
                    <a:pt x="66039" y="394208"/>
                  </a:lnTo>
                  <a:lnTo>
                    <a:pt x="66039" y="390906"/>
                  </a:lnTo>
                  <a:close/>
                </a:path>
                <a:path w="467995" h="467995">
                  <a:moveTo>
                    <a:pt x="63246" y="387731"/>
                  </a:moveTo>
                  <a:lnTo>
                    <a:pt x="8254" y="387731"/>
                  </a:lnTo>
                  <a:lnTo>
                    <a:pt x="5460" y="390906"/>
                  </a:lnTo>
                  <a:lnTo>
                    <a:pt x="63246" y="390906"/>
                  </a:lnTo>
                  <a:lnTo>
                    <a:pt x="63246" y="387731"/>
                  </a:lnTo>
                  <a:close/>
                </a:path>
                <a:path w="467995" h="467995">
                  <a:moveTo>
                    <a:pt x="162432" y="349250"/>
                  </a:moveTo>
                  <a:lnTo>
                    <a:pt x="107314" y="349250"/>
                  </a:lnTo>
                  <a:lnTo>
                    <a:pt x="101853" y="355727"/>
                  </a:lnTo>
                  <a:lnTo>
                    <a:pt x="101853" y="461518"/>
                  </a:lnTo>
                  <a:lnTo>
                    <a:pt x="104521" y="464693"/>
                  </a:lnTo>
                  <a:lnTo>
                    <a:pt x="107314" y="467868"/>
                  </a:lnTo>
                  <a:lnTo>
                    <a:pt x="162432" y="467868"/>
                  </a:lnTo>
                  <a:lnTo>
                    <a:pt x="165100" y="464693"/>
                  </a:lnTo>
                  <a:lnTo>
                    <a:pt x="167894" y="461518"/>
                  </a:lnTo>
                  <a:lnTo>
                    <a:pt x="167894" y="355727"/>
                  </a:lnTo>
                  <a:lnTo>
                    <a:pt x="165100" y="352552"/>
                  </a:lnTo>
                  <a:lnTo>
                    <a:pt x="162432" y="349250"/>
                  </a:lnTo>
                  <a:close/>
                </a:path>
                <a:path w="467995" h="467995">
                  <a:moveTo>
                    <a:pt x="266953" y="275590"/>
                  </a:moveTo>
                  <a:lnTo>
                    <a:pt x="200913" y="275590"/>
                  </a:lnTo>
                  <a:lnTo>
                    <a:pt x="200913" y="461518"/>
                  </a:lnTo>
                  <a:lnTo>
                    <a:pt x="203707" y="464693"/>
                  </a:lnTo>
                  <a:lnTo>
                    <a:pt x="206375" y="464693"/>
                  </a:lnTo>
                  <a:lnTo>
                    <a:pt x="206375" y="467868"/>
                  </a:lnTo>
                  <a:lnTo>
                    <a:pt x="261493" y="467868"/>
                  </a:lnTo>
                  <a:lnTo>
                    <a:pt x="264159" y="464693"/>
                  </a:lnTo>
                  <a:lnTo>
                    <a:pt x="266953" y="461518"/>
                  </a:lnTo>
                  <a:lnTo>
                    <a:pt x="266953" y="275590"/>
                  </a:lnTo>
                  <a:close/>
                </a:path>
                <a:path w="467995" h="467995">
                  <a:moveTo>
                    <a:pt x="264159" y="272415"/>
                  </a:moveTo>
                  <a:lnTo>
                    <a:pt x="206375" y="272415"/>
                  </a:lnTo>
                  <a:lnTo>
                    <a:pt x="203707" y="275590"/>
                  </a:lnTo>
                  <a:lnTo>
                    <a:pt x="264159" y="275590"/>
                  </a:lnTo>
                  <a:lnTo>
                    <a:pt x="264159" y="272415"/>
                  </a:lnTo>
                  <a:close/>
                </a:path>
                <a:path w="467995" h="467995">
                  <a:moveTo>
                    <a:pt x="363347" y="464693"/>
                  </a:moveTo>
                  <a:lnTo>
                    <a:pt x="305434" y="464693"/>
                  </a:lnTo>
                  <a:lnTo>
                    <a:pt x="308228" y="467868"/>
                  </a:lnTo>
                  <a:lnTo>
                    <a:pt x="360552" y="467868"/>
                  </a:lnTo>
                  <a:lnTo>
                    <a:pt x="363347" y="464693"/>
                  </a:lnTo>
                  <a:close/>
                </a:path>
                <a:path w="467995" h="467995">
                  <a:moveTo>
                    <a:pt x="363347" y="156972"/>
                  </a:moveTo>
                  <a:lnTo>
                    <a:pt x="305434" y="156972"/>
                  </a:lnTo>
                  <a:lnTo>
                    <a:pt x="302768" y="160274"/>
                  </a:lnTo>
                  <a:lnTo>
                    <a:pt x="299974" y="163449"/>
                  </a:lnTo>
                  <a:lnTo>
                    <a:pt x="299974" y="458216"/>
                  </a:lnTo>
                  <a:lnTo>
                    <a:pt x="302768" y="461518"/>
                  </a:lnTo>
                  <a:lnTo>
                    <a:pt x="302768" y="464693"/>
                  </a:lnTo>
                  <a:lnTo>
                    <a:pt x="366013" y="464693"/>
                  </a:lnTo>
                  <a:lnTo>
                    <a:pt x="366013" y="461518"/>
                  </a:lnTo>
                  <a:lnTo>
                    <a:pt x="368807" y="458216"/>
                  </a:lnTo>
                  <a:lnTo>
                    <a:pt x="368807" y="163449"/>
                  </a:lnTo>
                  <a:lnTo>
                    <a:pt x="366013" y="160274"/>
                  </a:lnTo>
                  <a:lnTo>
                    <a:pt x="363347" y="156972"/>
                  </a:lnTo>
                  <a:close/>
                </a:path>
                <a:path w="467995" h="467995">
                  <a:moveTo>
                    <a:pt x="462406" y="0"/>
                  </a:moveTo>
                  <a:lnTo>
                    <a:pt x="407288" y="0"/>
                  </a:lnTo>
                  <a:lnTo>
                    <a:pt x="404622" y="3175"/>
                  </a:lnTo>
                  <a:lnTo>
                    <a:pt x="401827" y="6350"/>
                  </a:lnTo>
                  <a:lnTo>
                    <a:pt x="401827" y="461518"/>
                  </a:lnTo>
                  <a:lnTo>
                    <a:pt x="404622" y="464693"/>
                  </a:lnTo>
                  <a:lnTo>
                    <a:pt x="407288" y="467868"/>
                  </a:lnTo>
                  <a:lnTo>
                    <a:pt x="462406" y="467868"/>
                  </a:lnTo>
                  <a:lnTo>
                    <a:pt x="462406" y="464693"/>
                  </a:lnTo>
                  <a:lnTo>
                    <a:pt x="465074" y="464693"/>
                  </a:lnTo>
                  <a:lnTo>
                    <a:pt x="467868" y="461518"/>
                  </a:lnTo>
                  <a:lnTo>
                    <a:pt x="467868" y="6350"/>
                  </a:lnTo>
                  <a:lnTo>
                    <a:pt x="465074" y="3175"/>
                  </a:lnTo>
                  <a:lnTo>
                    <a:pt x="462406" y="3175"/>
                  </a:lnTo>
                  <a:lnTo>
                    <a:pt x="46240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58" name="object 59">
            <a:extLst>
              <a:ext uri="{FF2B5EF4-FFF2-40B4-BE49-F238E27FC236}">
                <a16:creationId xmlns:a16="http://schemas.microsoft.com/office/drawing/2014/main" id="{CA9225F6-6080-5C27-4439-FFE477AAF245}"/>
              </a:ext>
            </a:extLst>
          </p:cNvPr>
          <p:cNvGrpSpPr/>
          <p:nvPr/>
        </p:nvGrpSpPr>
        <p:grpSpPr>
          <a:xfrm>
            <a:off x="13331966" y="7069363"/>
            <a:ext cx="1727200" cy="609600"/>
            <a:chOff x="11404092" y="7155180"/>
            <a:chExt cx="1727200" cy="609600"/>
          </a:xfrm>
        </p:grpSpPr>
        <p:sp>
          <p:nvSpPr>
            <p:cNvPr id="59" name="object 60">
              <a:extLst>
                <a:ext uri="{FF2B5EF4-FFF2-40B4-BE49-F238E27FC236}">
                  <a16:creationId xmlns:a16="http://schemas.microsoft.com/office/drawing/2014/main" id="{ACEE91AB-EC0B-1F8D-777E-3EEEAB5CB819}"/>
                </a:ext>
              </a:extLst>
            </p:cNvPr>
            <p:cNvSpPr/>
            <p:nvPr/>
          </p:nvSpPr>
          <p:spPr>
            <a:xfrm>
              <a:off x="11423142" y="7174230"/>
              <a:ext cx="1689100" cy="571500"/>
            </a:xfrm>
            <a:custGeom>
              <a:avLst/>
              <a:gdLst/>
              <a:ahLst/>
              <a:cxnLst/>
              <a:rect l="l" t="t" r="r" b="b"/>
              <a:pathLst>
                <a:path w="1689100" h="571500">
                  <a:moveTo>
                    <a:pt x="1593342" y="0"/>
                  </a:moveTo>
                  <a:lnTo>
                    <a:pt x="95250" y="0"/>
                  </a:lnTo>
                  <a:lnTo>
                    <a:pt x="58185" y="7489"/>
                  </a:lnTo>
                  <a:lnTo>
                    <a:pt x="27908" y="27908"/>
                  </a:lnTo>
                  <a:lnTo>
                    <a:pt x="7489" y="58185"/>
                  </a:lnTo>
                  <a:lnTo>
                    <a:pt x="0" y="95250"/>
                  </a:lnTo>
                  <a:lnTo>
                    <a:pt x="0" y="476250"/>
                  </a:lnTo>
                  <a:lnTo>
                    <a:pt x="7489" y="513314"/>
                  </a:lnTo>
                  <a:lnTo>
                    <a:pt x="27908" y="543591"/>
                  </a:lnTo>
                  <a:lnTo>
                    <a:pt x="58185" y="564010"/>
                  </a:lnTo>
                  <a:lnTo>
                    <a:pt x="95250" y="571500"/>
                  </a:lnTo>
                  <a:lnTo>
                    <a:pt x="1593342" y="571500"/>
                  </a:lnTo>
                  <a:lnTo>
                    <a:pt x="1630406" y="564010"/>
                  </a:lnTo>
                  <a:lnTo>
                    <a:pt x="1660683" y="543591"/>
                  </a:lnTo>
                  <a:lnTo>
                    <a:pt x="1681102" y="513314"/>
                  </a:lnTo>
                  <a:lnTo>
                    <a:pt x="1688592" y="476250"/>
                  </a:lnTo>
                  <a:lnTo>
                    <a:pt x="1688592" y="95250"/>
                  </a:lnTo>
                  <a:lnTo>
                    <a:pt x="1681102" y="58185"/>
                  </a:lnTo>
                  <a:lnTo>
                    <a:pt x="1660683" y="27908"/>
                  </a:lnTo>
                  <a:lnTo>
                    <a:pt x="1630406" y="7489"/>
                  </a:lnTo>
                  <a:lnTo>
                    <a:pt x="1593342" y="0"/>
                  </a:lnTo>
                  <a:close/>
                </a:path>
              </a:pathLst>
            </a:custGeom>
            <a:solidFill>
              <a:srgbClr val="281F76"/>
            </a:solidFill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0" name="object 61">
              <a:extLst>
                <a:ext uri="{FF2B5EF4-FFF2-40B4-BE49-F238E27FC236}">
                  <a16:creationId xmlns:a16="http://schemas.microsoft.com/office/drawing/2014/main" id="{1C0388A4-DF4F-57C7-B145-8BB996A93C0F}"/>
                </a:ext>
              </a:extLst>
            </p:cNvPr>
            <p:cNvSpPr/>
            <p:nvPr/>
          </p:nvSpPr>
          <p:spPr>
            <a:xfrm>
              <a:off x="11423142" y="7174230"/>
              <a:ext cx="1689100" cy="571500"/>
            </a:xfrm>
            <a:custGeom>
              <a:avLst/>
              <a:gdLst/>
              <a:ahLst/>
              <a:cxnLst/>
              <a:rect l="l" t="t" r="r" b="b"/>
              <a:pathLst>
                <a:path w="1689100" h="571500">
                  <a:moveTo>
                    <a:pt x="0" y="95250"/>
                  </a:moveTo>
                  <a:lnTo>
                    <a:pt x="7489" y="58185"/>
                  </a:lnTo>
                  <a:lnTo>
                    <a:pt x="27908" y="27908"/>
                  </a:lnTo>
                  <a:lnTo>
                    <a:pt x="58185" y="7489"/>
                  </a:lnTo>
                  <a:lnTo>
                    <a:pt x="95250" y="0"/>
                  </a:lnTo>
                  <a:lnTo>
                    <a:pt x="1593342" y="0"/>
                  </a:lnTo>
                  <a:lnTo>
                    <a:pt x="1630406" y="7489"/>
                  </a:lnTo>
                  <a:lnTo>
                    <a:pt x="1660683" y="27908"/>
                  </a:lnTo>
                  <a:lnTo>
                    <a:pt x="1681102" y="58185"/>
                  </a:lnTo>
                  <a:lnTo>
                    <a:pt x="1688592" y="95250"/>
                  </a:lnTo>
                  <a:lnTo>
                    <a:pt x="1688592" y="476250"/>
                  </a:lnTo>
                  <a:lnTo>
                    <a:pt x="1681102" y="513314"/>
                  </a:lnTo>
                  <a:lnTo>
                    <a:pt x="1660683" y="543591"/>
                  </a:lnTo>
                  <a:lnTo>
                    <a:pt x="1630406" y="564010"/>
                  </a:lnTo>
                  <a:lnTo>
                    <a:pt x="1593342" y="571500"/>
                  </a:lnTo>
                  <a:lnTo>
                    <a:pt x="95250" y="571500"/>
                  </a:lnTo>
                  <a:lnTo>
                    <a:pt x="58185" y="564010"/>
                  </a:lnTo>
                  <a:lnTo>
                    <a:pt x="27908" y="543591"/>
                  </a:lnTo>
                  <a:lnTo>
                    <a:pt x="7489" y="513314"/>
                  </a:lnTo>
                  <a:lnTo>
                    <a:pt x="0" y="476250"/>
                  </a:lnTo>
                  <a:lnTo>
                    <a:pt x="0" y="95250"/>
                  </a:lnTo>
                  <a:close/>
                </a:path>
              </a:pathLst>
            </a:custGeom>
            <a:ln w="38100">
              <a:solidFill>
                <a:srgbClr val="281F76"/>
              </a:solidFill>
            </a:ln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62" name="object 63">
            <a:extLst>
              <a:ext uri="{FF2B5EF4-FFF2-40B4-BE49-F238E27FC236}">
                <a16:creationId xmlns:a16="http://schemas.microsoft.com/office/drawing/2014/main" id="{D480A698-7062-974B-07D8-2FFF798ECDE1}"/>
              </a:ext>
            </a:extLst>
          </p:cNvPr>
          <p:cNvGrpSpPr/>
          <p:nvPr/>
        </p:nvGrpSpPr>
        <p:grpSpPr>
          <a:xfrm>
            <a:off x="10950590" y="7106956"/>
            <a:ext cx="1384300" cy="629920"/>
            <a:chOff x="14060423" y="7176516"/>
            <a:chExt cx="1384300" cy="629920"/>
          </a:xfrm>
        </p:grpSpPr>
        <p:sp>
          <p:nvSpPr>
            <p:cNvPr id="63" name="object 64">
              <a:extLst>
                <a:ext uri="{FF2B5EF4-FFF2-40B4-BE49-F238E27FC236}">
                  <a16:creationId xmlns:a16="http://schemas.microsoft.com/office/drawing/2014/main" id="{A311C9A8-8C0C-44A4-8327-6DDD88E017FD}"/>
                </a:ext>
              </a:extLst>
            </p:cNvPr>
            <p:cNvSpPr/>
            <p:nvPr/>
          </p:nvSpPr>
          <p:spPr>
            <a:xfrm>
              <a:off x="14079473" y="7195566"/>
              <a:ext cx="1346200" cy="591820"/>
            </a:xfrm>
            <a:custGeom>
              <a:avLst/>
              <a:gdLst/>
              <a:ahLst/>
              <a:cxnLst/>
              <a:rect l="l" t="t" r="r" b="b"/>
              <a:pathLst>
                <a:path w="1346200" h="591820">
                  <a:moveTo>
                    <a:pt x="1247140" y="0"/>
                  </a:moveTo>
                  <a:lnTo>
                    <a:pt x="98552" y="0"/>
                  </a:lnTo>
                  <a:lnTo>
                    <a:pt x="60168" y="7737"/>
                  </a:lnTo>
                  <a:lnTo>
                    <a:pt x="28844" y="28844"/>
                  </a:lnTo>
                  <a:lnTo>
                    <a:pt x="7737" y="60168"/>
                  </a:lnTo>
                  <a:lnTo>
                    <a:pt x="0" y="98551"/>
                  </a:lnTo>
                  <a:lnTo>
                    <a:pt x="0" y="492759"/>
                  </a:lnTo>
                  <a:lnTo>
                    <a:pt x="7737" y="531143"/>
                  </a:lnTo>
                  <a:lnTo>
                    <a:pt x="28844" y="562467"/>
                  </a:lnTo>
                  <a:lnTo>
                    <a:pt x="60168" y="583574"/>
                  </a:lnTo>
                  <a:lnTo>
                    <a:pt x="98552" y="591311"/>
                  </a:lnTo>
                  <a:lnTo>
                    <a:pt x="1247140" y="591311"/>
                  </a:lnTo>
                  <a:lnTo>
                    <a:pt x="1285523" y="583574"/>
                  </a:lnTo>
                  <a:lnTo>
                    <a:pt x="1316847" y="562467"/>
                  </a:lnTo>
                  <a:lnTo>
                    <a:pt x="1337954" y="531143"/>
                  </a:lnTo>
                  <a:lnTo>
                    <a:pt x="1345692" y="492759"/>
                  </a:lnTo>
                  <a:lnTo>
                    <a:pt x="1345692" y="98551"/>
                  </a:lnTo>
                  <a:lnTo>
                    <a:pt x="1337954" y="60168"/>
                  </a:lnTo>
                  <a:lnTo>
                    <a:pt x="1316847" y="28844"/>
                  </a:lnTo>
                  <a:lnTo>
                    <a:pt x="1285523" y="7737"/>
                  </a:lnTo>
                  <a:lnTo>
                    <a:pt x="1247140" y="0"/>
                  </a:lnTo>
                  <a:close/>
                </a:path>
              </a:pathLst>
            </a:custGeom>
            <a:solidFill>
              <a:srgbClr val="281F76"/>
            </a:solidFill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4" name="object 65">
              <a:extLst>
                <a:ext uri="{FF2B5EF4-FFF2-40B4-BE49-F238E27FC236}">
                  <a16:creationId xmlns:a16="http://schemas.microsoft.com/office/drawing/2014/main" id="{32526AFB-A05A-2F8C-B0A8-FE46AD2F825B}"/>
                </a:ext>
              </a:extLst>
            </p:cNvPr>
            <p:cNvSpPr/>
            <p:nvPr/>
          </p:nvSpPr>
          <p:spPr>
            <a:xfrm>
              <a:off x="14079473" y="7195566"/>
              <a:ext cx="1346200" cy="591820"/>
            </a:xfrm>
            <a:custGeom>
              <a:avLst/>
              <a:gdLst/>
              <a:ahLst/>
              <a:cxnLst/>
              <a:rect l="l" t="t" r="r" b="b"/>
              <a:pathLst>
                <a:path w="1346200" h="591820">
                  <a:moveTo>
                    <a:pt x="0" y="98551"/>
                  </a:moveTo>
                  <a:lnTo>
                    <a:pt x="7737" y="60168"/>
                  </a:lnTo>
                  <a:lnTo>
                    <a:pt x="28844" y="28844"/>
                  </a:lnTo>
                  <a:lnTo>
                    <a:pt x="60168" y="7737"/>
                  </a:lnTo>
                  <a:lnTo>
                    <a:pt x="98552" y="0"/>
                  </a:lnTo>
                  <a:lnTo>
                    <a:pt x="1247140" y="0"/>
                  </a:lnTo>
                  <a:lnTo>
                    <a:pt x="1285523" y="7737"/>
                  </a:lnTo>
                  <a:lnTo>
                    <a:pt x="1316847" y="28844"/>
                  </a:lnTo>
                  <a:lnTo>
                    <a:pt x="1337954" y="60168"/>
                  </a:lnTo>
                  <a:lnTo>
                    <a:pt x="1345692" y="98551"/>
                  </a:lnTo>
                  <a:lnTo>
                    <a:pt x="1345692" y="492759"/>
                  </a:lnTo>
                  <a:lnTo>
                    <a:pt x="1337954" y="531143"/>
                  </a:lnTo>
                  <a:lnTo>
                    <a:pt x="1316847" y="562467"/>
                  </a:lnTo>
                  <a:lnTo>
                    <a:pt x="1285523" y="583574"/>
                  </a:lnTo>
                  <a:lnTo>
                    <a:pt x="1247140" y="591311"/>
                  </a:lnTo>
                  <a:lnTo>
                    <a:pt x="98552" y="591311"/>
                  </a:lnTo>
                  <a:lnTo>
                    <a:pt x="60168" y="583574"/>
                  </a:lnTo>
                  <a:lnTo>
                    <a:pt x="28844" y="562467"/>
                  </a:lnTo>
                  <a:lnTo>
                    <a:pt x="7737" y="531143"/>
                  </a:lnTo>
                  <a:lnTo>
                    <a:pt x="0" y="492759"/>
                  </a:lnTo>
                  <a:lnTo>
                    <a:pt x="0" y="98551"/>
                  </a:lnTo>
                  <a:close/>
                </a:path>
              </a:pathLst>
            </a:custGeom>
            <a:ln w="38100">
              <a:solidFill>
                <a:srgbClr val="281F76"/>
              </a:solidFill>
            </a:ln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65" name="object 66">
            <a:extLst>
              <a:ext uri="{FF2B5EF4-FFF2-40B4-BE49-F238E27FC236}">
                <a16:creationId xmlns:a16="http://schemas.microsoft.com/office/drawing/2014/main" id="{0C2F567C-F759-4A2E-D84D-30C7512221F8}"/>
              </a:ext>
            </a:extLst>
          </p:cNvPr>
          <p:cNvSpPr txBox="1"/>
          <p:nvPr/>
        </p:nvSpPr>
        <p:spPr>
          <a:xfrm>
            <a:off x="13472279" y="7113304"/>
            <a:ext cx="1018540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2000" b="1" spc="-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Κριτήρια</a:t>
            </a:r>
            <a:endParaRPr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lnSpc>
                <a:spcPct val="100000"/>
              </a:lnSpc>
            </a:pPr>
            <a:r>
              <a:rPr sz="2000" b="1" spc="-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G</a:t>
            </a:r>
            <a:endParaRPr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6" name="object 67">
            <a:extLst>
              <a:ext uri="{FF2B5EF4-FFF2-40B4-BE49-F238E27FC236}">
                <a16:creationId xmlns:a16="http://schemas.microsoft.com/office/drawing/2014/main" id="{D55FD6E3-D529-4191-CEF2-D092CA6C1EEC}"/>
              </a:ext>
            </a:extLst>
          </p:cNvPr>
          <p:cNvSpPr/>
          <p:nvPr/>
        </p:nvSpPr>
        <p:spPr>
          <a:xfrm>
            <a:off x="12533431" y="7125562"/>
            <a:ext cx="536575" cy="538480"/>
          </a:xfrm>
          <a:custGeom>
            <a:avLst/>
            <a:gdLst/>
            <a:ahLst/>
            <a:cxnLst/>
            <a:rect l="l" t="t" r="r" b="b"/>
            <a:pathLst>
              <a:path w="536575" h="538479">
                <a:moveTo>
                  <a:pt x="0" y="268986"/>
                </a:moveTo>
                <a:lnTo>
                  <a:pt x="4323" y="220626"/>
                </a:lnTo>
                <a:lnTo>
                  <a:pt x="16786" y="175114"/>
                </a:lnTo>
                <a:lnTo>
                  <a:pt x="36632" y="133208"/>
                </a:lnTo>
                <a:lnTo>
                  <a:pt x="63100" y="95668"/>
                </a:lnTo>
                <a:lnTo>
                  <a:pt x="95432" y="63251"/>
                </a:lnTo>
                <a:lnTo>
                  <a:pt x="132870" y="36717"/>
                </a:lnTo>
                <a:lnTo>
                  <a:pt x="174653" y="16824"/>
                </a:lnTo>
                <a:lnTo>
                  <a:pt x="220024" y="4332"/>
                </a:lnTo>
                <a:lnTo>
                  <a:pt x="268224" y="0"/>
                </a:lnTo>
                <a:lnTo>
                  <a:pt x="316423" y="4332"/>
                </a:lnTo>
                <a:lnTo>
                  <a:pt x="361794" y="16824"/>
                </a:lnTo>
                <a:lnTo>
                  <a:pt x="403577" y="36717"/>
                </a:lnTo>
                <a:lnTo>
                  <a:pt x="441015" y="63251"/>
                </a:lnTo>
                <a:lnTo>
                  <a:pt x="473347" y="95668"/>
                </a:lnTo>
                <a:lnTo>
                  <a:pt x="499815" y="133208"/>
                </a:lnTo>
                <a:lnTo>
                  <a:pt x="519661" y="175114"/>
                </a:lnTo>
                <a:lnTo>
                  <a:pt x="532124" y="220626"/>
                </a:lnTo>
                <a:lnTo>
                  <a:pt x="536448" y="268986"/>
                </a:lnTo>
                <a:lnTo>
                  <a:pt x="532124" y="317345"/>
                </a:lnTo>
                <a:lnTo>
                  <a:pt x="519661" y="362857"/>
                </a:lnTo>
                <a:lnTo>
                  <a:pt x="499815" y="404763"/>
                </a:lnTo>
                <a:lnTo>
                  <a:pt x="473347" y="442303"/>
                </a:lnTo>
                <a:lnTo>
                  <a:pt x="441015" y="474720"/>
                </a:lnTo>
                <a:lnTo>
                  <a:pt x="403577" y="501254"/>
                </a:lnTo>
                <a:lnTo>
                  <a:pt x="361794" y="521147"/>
                </a:lnTo>
                <a:lnTo>
                  <a:pt x="316423" y="533639"/>
                </a:lnTo>
                <a:lnTo>
                  <a:pt x="268224" y="537972"/>
                </a:lnTo>
                <a:lnTo>
                  <a:pt x="220024" y="533639"/>
                </a:lnTo>
                <a:lnTo>
                  <a:pt x="174653" y="521147"/>
                </a:lnTo>
                <a:lnTo>
                  <a:pt x="132870" y="501254"/>
                </a:lnTo>
                <a:lnTo>
                  <a:pt x="95432" y="474720"/>
                </a:lnTo>
                <a:lnTo>
                  <a:pt x="63100" y="442303"/>
                </a:lnTo>
                <a:lnTo>
                  <a:pt x="36632" y="404763"/>
                </a:lnTo>
                <a:lnTo>
                  <a:pt x="16786" y="362857"/>
                </a:lnTo>
                <a:lnTo>
                  <a:pt x="4323" y="317345"/>
                </a:lnTo>
                <a:lnTo>
                  <a:pt x="0" y="268986"/>
                </a:lnTo>
                <a:close/>
              </a:path>
            </a:pathLst>
          </a:custGeom>
          <a:ln w="38100">
            <a:solidFill>
              <a:srgbClr val="281F76"/>
            </a:solidFill>
          </a:ln>
        </p:spPr>
        <p:txBody>
          <a:bodyPr wrap="square" lIns="0" tIns="0" rIns="0" bIns="0" rtlCol="0"/>
          <a:lstStyle/>
          <a:p>
            <a:endParaRPr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7" name="object 68">
            <a:extLst>
              <a:ext uri="{FF2B5EF4-FFF2-40B4-BE49-F238E27FC236}">
                <a16:creationId xmlns:a16="http://schemas.microsoft.com/office/drawing/2014/main" id="{2F936026-3679-57B8-C644-4E9998766971}"/>
              </a:ext>
            </a:extLst>
          </p:cNvPr>
          <p:cNvSpPr txBox="1"/>
          <p:nvPr/>
        </p:nvSpPr>
        <p:spPr>
          <a:xfrm>
            <a:off x="12718407" y="7254731"/>
            <a:ext cx="19812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5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amp;</a:t>
            </a:r>
            <a:endParaRPr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8" name="object 69">
            <a:extLst>
              <a:ext uri="{FF2B5EF4-FFF2-40B4-BE49-F238E27FC236}">
                <a16:creationId xmlns:a16="http://schemas.microsoft.com/office/drawing/2014/main" id="{0DA0703A-7D74-76B5-11AC-A84803214F17}"/>
              </a:ext>
            </a:extLst>
          </p:cNvPr>
          <p:cNvSpPr txBox="1"/>
          <p:nvPr/>
        </p:nvSpPr>
        <p:spPr>
          <a:xfrm>
            <a:off x="10721584" y="8436971"/>
            <a:ext cx="5164075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Διάρκεια δανείου</a:t>
            </a:r>
            <a:r>
              <a:rPr sz="2400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έως 10 έτη</a:t>
            </a:r>
          </a:p>
        </p:txBody>
      </p:sp>
      <p:grpSp>
        <p:nvGrpSpPr>
          <p:cNvPr id="69" name="object 70">
            <a:extLst>
              <a:ext uri="{FF2B5EF4-FFF2-40B4-BE49-F238E27FC236}">
                <a16:creationId xmlns:a16="http://schemas.microsoft.com/office/drawing/2014/main" id="{361D0209-9863-810D-37E3-6FBFE7DDBEBA}"/>
              </a:ext>
            </a:extLst>
          </p:cNvPr>
          <p:cNvGrpSpPr/>
          <p:nvPr/>
        </p:nvGrpSpPr>
        <p:grpSpPr>
          <a:xfrm>
            <a:off x="9701724" y="8209644"/>
            <a:ext cx="868952" cy="893857"/>
            <a:chOff x="10309937" y="8037919"/>
            <a:chExt cx="938530" cy="938530"/>
          </a:xfrm>
        </p:grpSpPr>
        <p:sp>
          <p:nvSpPr>
            <p:cNvPr id="70" name="object 71">
              <a:extLst>
                <a:ext uri="{FF2B5EF4-FFF2-40B4-BE49-F238E27FC236}">
                  <a16:creationId xmlns:a16="http://schemas.microsoft.com/office/drawing/2014/main" id="{086D1A28-0823-E5C7-9F61-0AE95C4C8754}"/>
                </a:ext>
              </a:extLst>
            </p:cNvPr>
            <p:cNvSpPr/>
            <p:nvPr/>
          </p:nvSpPr>
          <p:spPr>
            <a:xfrm>
              <a:off x="10328987" y="8056969"/>
              <a:ext cx="900430" cy="900430"/>
            </a:xfrm>
            <a:custGeom>
              <a:avLst/>
              <a:gdLst/>
              <a:ahLst/>
              <a:cxnLst/>
              <a:rect l="l" t="t" r="r" b="b"/>
              <a:pathLst>
                <a:path w="900429" h="900429">
                  <a:moveTo>
                    <a:pt x="448889" y="0"/>
                  </a:moveTo>
                  <a:lnTo>
                    <a:pt x="401568" y="2639"/>
                  </a:lnTo>
                  <a:lnTo>
                    <a:pt x="354074" y="10426"/>
                  </a:lnTo>
                  <a:lnTo>
                    <a:pt x="306754" y="23532"/>
                  </a:lnTo>
                  <a:lnTo>
                    <a:pt x="261117" y="41669"/>
                  </a:lnTo>
                  <a:lnTo>
                    <a:pt x="218555" y="64149"/>
                  </a:lnTo>
                  <a:lnTo>
                    <a:pt x="179240" y="90625"/>
                  </a:lnTo>
                  <a:lnTo>
                    <a:pt x="143345" y="120748"/>
                  </a:lnTo>
                  <a:lnTo>
                    <a:pt x="111043" y="154173"/>
                  </a:lnTo>
                  <a:lnTo>
                    <a:pt x="82505" y="190550"/>
                  </a:lnTo>
                  <a:lnTo>
                    <a:pt x="57904" y="229534"/>
                  </a:lnTo>
                  <a:lnTo>
                    <a:pt x="37414" y="270775"/>
                  </a:lnTo>
                  <a:lnTo>
                    <a:pt x="21205" y="313927"/>
                  </a:lnTo>
                  <a:lnTo>
                    <a:pt x="9452" y="358643"/>
                  </a:lnTo>
                  <a:lnTo>
                    <a:pt x="2326" y="404574"/>
                  </a:lnTo>
                  <a:lnTo>
                    <a:pt x="0" y="451374"/>
                  </a:lnTo>
                  <a:lnTo>
                    <a:pt x="2645" y="498694"/>
                  </a:lnTo>
                  <a:lnTo>
                    <a:pt x="10436" y="546188"/>
                  </a:lnTo>
                  <a:lnTo>
                    <a:pt x="23544" y="593508"/>
                  </a:lnTo>
                  <a:lnTo>
                    <a:pt x="41657" y="639145"/>
                  </a:lnTo>
                  <a:lnTo>
                    <a:pt x="64117" y="681707"/>
                  </a:lnTo>
                  <a:lnTo>
                    <a:pt x="90575" y="721022"/>
                  </a:lnTo>
                  <a:lnTo>
                    <a:pt x="120684" y="756917"/>
                  </a:lnTo>
                  <a:lnTo>
                    <a:pt x="154096" y="789220"/>
                  </a:lnTo>
                  <a:lnTo>
                    <a:pt x="190463" y="817758"/>
                  </a:lnTo>
                  <a:lnTo>
                    <a:pt x="229438" y="842358"/>
                  </a:lnTo>
                  <a:lnTo>
                    <a:pt x="270673" y="862849"/>
                  </a:lnTo>
                  <a:lnTo>
                    <a:pt x="313821" y="879057"/>
                  </a:lnTo>
                  <a:lnTo>
                    <a:pt x="358533" y="890810"/>
                  </a:lnTo>
                  <a:lnTo>
                    <a:pt x="404462" y="897937"/>
                  </a:lnTo>
                  <a:lnTo>
                    <a:pt x="451260" y="900263"/>
                  </a:lnTo>
                  <a:lnTo>
                    <a:pt x="498580" y="897617"/>
                  </a:lnTo>
                  <a:lnTo>
                    <a:pt x="546073" y="889826"/>
                  </a:lnTo>
                  <a:lnTo>
                    <a:pt x="593393" y="876718"/>
                  </a:lnTo>
                  <a:lnTo>
                    <a:pt x="639032" y="858603"/>
                  </a:lnTo>
                  <a:lnTo>
                    <a:pt x="681599" y="836139"/>
                  </a:lnTo>
                  <a:lnTo>
                    <a:pt x="720921" y="809674"/>
                  </a:lnTo>
                  <a:lnTo>
                    <a:pt x="756825" y="779556"/>
                  </a:lnTo>
                  <a:lnTo>
                    <a:pt x="789138" y="746134"/>
                  </a:lnTo>
                  <a:lnTo>
                    <a:pt x="817687" y="709755"/>
                  </a:lnTo>
                  <a:lnTo>
                    <a:pt x="842300" y="670767"/>
                  </a:lnTo>
                  <a:lnTo>
                    <a:pt x="862804" y="629519"/>
                  </a:lnTo>
                  <a:lnTo>
                    <a:pt x="879024" y="586360"/>
                  </a:lnTo>
                  <a:lnTo>
                    <a:pt x="890790" y="541636"/>
                  </a:lnTo>
                  <a:lnTo>
                    <a:pt x="897926" y="495696"/>
                  </a:lnTo>
                  <a:lnTo>
                    <a:pt x="900262" y="448889"/>
                  </a:lnTo>
                  <a:lnTo>
                    <a:pt x="897623" y="401562"/>
                  </a:lnTo>
                  <a:lnTo>
                    <a:pt x="889837" y="354064"/>
                  </a:lnTo>
                  <a:lnTo>
                    <a:pt x="876730" y="306742"/>
                  </a:lnTo>
                  <a:lnTo>
                    <a:pt x="858593" y="261127"/>
                  </a:lnTo>
                  <a:lnTo>
                    <a:pt x="836113" y="218581"/>
                  </a:lnTo>
                  <a:lnTo>
                    <a:pt x="809638" y="179277"/>
                  </a:lnTo>
                  <a:lnTo>
                    <a:pt x="779514" y="143388"/>
                  </a:lnTo>
                  <a:lnTo>
                    <a:pt x="746090" y="111087"/>
                  </a:lnTo>
                  <a:lnTo>
                    <a:pt x="709712" y="82547"/>
                  </a:lnTo>
                  <a:lnTo>
                    <a:pt x="670729" y="57943"/>
                  </a:lnTo>
                  <a:lnTo>
                    <a:pt x="629487" y="37446"/>
                  </a:lnTo>
                  <a:lnTo>
                    <a:pt x="586335" y="21230"/>
                  </a:lnTo>
                  <a:lnTo>
                    <a:pt x="541620" y="9468"/>
                  </a:lnTo>
                  <a:lnTo>
                    <a:pt x="495688" y="2334"/>
                  </a:lnTo>
                  <a:lnTo>
                    <a:pt x="448889" y="0"/>
                  </a:lnTo>
                  <a:close/>
                </a:path>
              </a:pathLst>
            </a:custGeom>
            <a:solidFill>
              <a:srgbClr val="3768B7"/>
            </a:solidFill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1" name="object 72">
              <a:extLst>
                <a:ext uri="{FF2B5EF4-FFF2-40B4-BE49-F238E27FC236}">
                  <a16:creationId xmlns:a16="http://schemas.microsoft.com/office/drawing/2014/main" id="{7A0CC1D9-0205-0CB5-5FAC-2944E385D97D}"/>
                </a:ext>
              </a:extLst>
            </p:cNvPr>
            <p:cNvSpPr/>
            <p:nvPr/>
          </p:nvSpPr>
          <p:spPr>
            <a:xfrm>
              <a:off x="10328987" y="8056969"/>
              <a:ext cx="900430" cy="900430"/>
            </a:xfrm>
            <a:custGeom>
              <a:avLst/>
              <a:gdLst/>
              <a:ahLst/>
              <a:cxnLst/>
              <a:rect l="l" t="t" r="r" b="b"/>
              <a:pathLst>
                <a:path w="900429" h="900429">
                  <a:moveTo>
                    <a:pt x="23544" y="593508"/>
                  </a:moveTo>
                  <a:lnTo>
                    <a:pt x="10436" y="546188"/>
                  </a:lnTo>
                  <a:lnTo>
                    <a:pt x="2645" y="498694"/>
                  </a:lnTo>
                  <a:lnTo>
                    <a:pt x="0" y="451374"/>
                  </a:lnTo>
                  <a:lnTo>
                    <a:pt x="2326" y="404574"/>
                  </a:lnTo>
                  <a:lnTo>
                    <a:pt x="9452" y="358643"/>
                  </a:lnTo>
                  <a:lnTo>
                    <a:pt x="21205" y="313927"/>
                  </a:lnTo>
                  <a:lnTo>
                    <a:pt x="37414" y="270775"/>
                  </a:lnTo>
                  <a:lnTo>
                    <a:pt x="57904" y="229534"/>
                  </a:lnTo>
                  <a:lnTo>
                    <a:pt x="82505" y="190550"/>
                  </a:lnTo>
                  <a:lnTo>
                    <a:pt x="111043" y="154173"/>
                  </a:lnTo>
                  <a:lnTo>
                    <a:pt x="143345" y="120748"/>
                  </a:lnTo>
                  <a:lnTo>
                    <a:pt x="179240" y="90625"/>
                  </a:lnTo>
                  <a:lnTo>
                    <a:pt x="218555" y="64149"/>
                  </a:lnTo>
                  <a:lnTo>
                    <a:pt x="261117" y="41669"/>
                  </a:lnTo>
                  <a:lnTo>
                    <a:pt x="306754" y="23532"/>
                  </a:lnTo>
                  <a:lnTo>
                    <a:pt x="354074" y="10426"/>
                  </a:lnTo>
                  <a:lnTo>
                    <a:pt x="401568" y="2639"/>
                  </a:lnTo>
                  <a:lnTo>
                    <a:pt x="448889" y="0"/>
                  </a:lnTo>
                  <a:lnTo>
                    <a:pt x="495688" y="2334"/>
                  </a:lnTo>
                  <a:lnTo>
                    <a:pt x="541620" y="9468"/>
                  </a:lnTo>
                  <a:lnTo>
                    <a:pt x="586335" y="21230"/>
                  </a:lnTo>
                  <a:lnTo>
                    <a:pt x="629487" y="37446"/>
                  </a:lnTo>
                  <a:lnTo>
                    <a:pt x="670729" y="57943"/>
                  </a:lnTo>
                  <a:lnTo>
                    <a:pt x="709712" y="82547"/>
                  </a:lnTo>
                  <a:lnTo>
                    <a:pt x="746090" y="111087"/>
                  </a:lnTo>
                  <a:lnTo>
                    <a:pt x="779514" y="143388"/>
                  </a:lnTo>
                  <a:lnTo>
                    <a:pt x="809638" y="179277"/>
                  </a:lnTo>
                  <a:lnTo>
                    <a:pt x="836113" y="218581"/>
                  </a:lnTo>
                  <a:lnTo>
                    <a:pt x="858593" y="261127"/>
                  </a:lnTo>
                  <a:lnTo>
                    <a:pt x="876730" y="306742"/>
                  </a:lnTo>
                  <a:lnTo>
                    <a:pt x="889837" y="354064"/>
                  </a:lnTo>
                  <a:lnTo>
                    <a:pt x="897623" y="401562"/>
                  </a:lnTo>
                  <a:lnTo>
                    <a:pt x="900262" y="448889"/>
                  </a:lnTo>
                  <a:lnTo>
                    <a:pt x="897926" y="495696"/>
                  </a:lnTo>
                  <a:lnTo>
                    <a:pt x="890790" y="541636"/>
                  </a:lnTo>
                  <a:lnTo>
                    <a:pt x="879024" y="586360"/>
                  </a:lnTo>
                  <a:lnTo>
                    <a:pt x="862804" y="629519"/>
                  </a:lnTo>
                  <a:lnTo>
                    <a:pt x="842300" y="670767"/>
                  </a:lnTo>
                  <a:lnTo>
                    <a:pt x="817687" y="709755"/>
                  </a:lnTo>
                  <a:lnTo>
                    <a:pt x="789138" y="746134"/>
                  </a:lnTo>
                  <a:lnTo>
                    <a:pt x="756825" y="779556"/>
                  </a:lnTo>
                  <a:lnTo>
                    <a:pt x="720921" y="809674"/>
                  </a:lnTo>
                  <a:lnTo>
                    <a:pt x="681599" y="836139"/>
                  </a:lnTo>
                  <a:lnTo>
                    <a:pt x="639032" y="858603"/>
                  </a:lnTo>
                  <a:lnTo>
                    <a:pt x="593393" y="876718"/>
                  </a:lnTo>
                  <a:lnTo>
                    <a:pt x="546073" y="889826"/>
                  </a:lnTo>
                  <a:lnTo>
                    <a:pt x="498580" y="897617"/>
                  </a:lnTo>
                  <a:lnTo>
                    <a:pt x="451260" y="900263"/>
                  </a:lnTo>
                  <a:lnTo>
                    <a:pt x="404462" y="897937"/>
                  </a:lnTo>
                  <a:lnTo>
                    <a:pt x="358533" y="890810"/>
                  </a:lnTo>
                  <a:lnTo>
                    <a:pt x="313821" y="879057"/>
                  </a:lnTo>
                  <a:lnTo>
                    <a:pt x="270673" y="862849"/>
                  </a:lnTo>
                  <a:lnTo>
                    <a:pt x="229438" y="842358"/>
                  </a:lnTo>
                  <a:lnTo>
                    <a:pt x="190463" y="817758"/>
                  </a:lnTo>
                  <a:lnTo>
                    <a:pt x="154096" y="789220"/>
                  </a:lnTo>
                  <a:lnTo>
                    <a:pt x="120684" y="756917"/>
                  </a:lnTo>
                  <a:lnTo>
                    <a:pt x="90575" y="721022"/>
                  </a:lnTo>
                  <a:lnTo>
                    <a:pt x="64117" y="681707"/>
                  </a:lnTo>
                  <a:lnTo>
                    <a:pt x="41657" y="639145"/>
                  </a:lnTo>
                  <a:lnTo>
                    <a:pt x="23544" y="593508"/>
                  </a:lnTo>
                  <a:close/>
                </a:path>
              </a:pathLst>
            </a:custGeom>
            <a:ln w="38100">
              <a:solidFill>
                <a:srgbClr val="281F76"/>
              </a:solidFill>
            </a:ln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2" name="object 73">
              <a:extLst>
                <a:ext uri="{FF2B5EF4-FFF2-40B4-BE49-F238E27FC236}">
                  <a16:creationId xmlns:a16="http://schemas.microsoft.com/office/drawing/2014/main" id="{FF7CD1F6-993B-6601-C54A-64960FE27B67}"/>
                </a:ext>
              </a:extLst>
            </p:cNvPr>
            <p:cNvSpPr/>
            <p:nvPr/>
          </p:nvSpPr>
          <p:spPr>
            <a:xfrm>
              <a:off x="10511028" y="8237220"/>
              <a:ext cx="536575" cy="539750"/>
            </a:xfrm>
            <a:custGeom>
              <a:avLst/>
              <a:gdLst/>
              <a:ahLst/>
              <a:cxnLst/>
              <a:rect l="l" t="t" r="r" b="b"/>
              <a:pathLst>
                <a:path w="536575" h="539750">
                  <a:moveTo>
                    <a:pt x="87502" y="58673"/>
                  </a:moveTo>
                  <a:lnTo>
                    <a:pt x="60578" y="58673"/>
                  </a:lnTo>
                  <a:lnTo>
                    <a:pt x="36915" y="63430"/>
                  </a:lnTo>
                  <a:lnTo>
                    <a:pt x="17668" y="76438"/>
                  </a:lnTo>
                  <a:lnTo>
                    <a:pt x="4732" y="95803"/>
                  </a:lnTo>
                  <a:lnTo>
                    <a:pt x="0" y="119633"/>
                  </a:lnTo>
                  <a:lnTo>
                    <a:pt x="0" y="478535"/>
                  </a:lnTo>
                  <a:lnTo>
                    <a:pt x="4732" y="502366"/>
                  </a:lnTo>
                  <a:lnTo>
                    <a:pt x="17668" y="521731"/>
                  </a:lnTo>
                  <a:lnTo>
                    <a:pt x="36915" y="534739"/>
                  </a:lnTo>
                  <a:lnTo>
                    <a:pt x="60578" y="539495"/>
                  </a:lnTo>
                  <a:lnTo>
                    <a:pt x="478027" y="539495"/>
                  </a:lnTo>
                  <a:lnTo>
                    <a:pt x="500443" y="534739"/>
                  </a:lnTo>
                  <a:lnTo>
                    <a:pt x="519049" y="521731"/>
                  </a:lnTo>
                  <a:lnTo>
                    <a:pt x="531749" y="502366"/>
                  </a:lnTo>
                  <a:lnTo>
                    <a:pt x="536448" y="478535"/>
                  </a:lnTo>
                  <a:lnTo>
                    <a:pt x="60578" y="478535"/>
                  </a:lnTo>
                  <a:lnTo>
                    <a:pt x="60578" y="239267"/>
                  </a:lnTo>
                  <a:lnTo>
                    <a:pt x="536448" y="239267"/>
                  </a:lnTo>
                  <a:lnTo>
                    <a:pt x="536448" y="119633"/>
                  </a:lnTo>
                  <a:lnTo>
                    <a:pt x="87502" y="119633"/>
                  </a:lnTo>
                  <a:lnTo>
                    <a:pt x="87502" y="58673"/>
                  </a:lnTo>
                  <a:close/>
                </a:path>
                <a:path w="536575" h="539750">
                  <a:moveTo>
                    <a:pt x="536448" y="239267"/>
                  </a:moveTo>
                  <a:lnTo>
                    <a:pt x="478027" y="239267"/>
                  </a:lnTo>
                  <a:lnTo>
                    <a:pt x="478027" y="478535"/>
                  </a:lnTo>
                  <a:lnTo>
                    <a:pt x="536448" y="478535"/>
                  </a:lnTo>
                  <a:lnTo>
                    <a:pt x="536448" y="239267"/>
                  </a:lnTo>
                  <a:close/>
                </a:path>
                <a:path w="536575" h="539750">
                  <a:moveTo>
                    <a:pt x="354583" y="58673"/>
                  </a:moveTo>
                  <a:lnTo>
                    <a:pt x="181864" y="58673"/>
                  </a:lnTo>
                  <a:lnTo>
                    <a:pt x="181864" y="119633"/>
                  </a:lnTo>
                  <a:lnTo>
                    <a:pt x="354583" y="119633"/>
                  </a:lnTo>
                  <a:lnTo>
                    <a:pt x="354583" y="58673"/>
                  </a:lnTo>
                  <a:close/>
                </a:path>
                <a:path w="536575" h="539750">
                  <a:moveTo>
                    <a:pt x="478027" y="58673"/>
                  </a:moveTo>
                  <a:lnTo>
                    <a:pt x="451103" y="58673"/>
                  </a:lnTo>
                  <a:lnTo>
                    <a:pt x="451103" y="119633"/>
                  </a:lnTo>
                  <a:lnTo>
                    <a:pt x="536448" y="119633"/>
                  </a:lnTo>
                  <a:lnTo>
                    <a:pt x="531749" y="95803"/>
                  </a:lnTo>
                  <a:lnTo>
                    <a:pt x="519049" y="76438"/>
                  </a:lnTo>
                  <a:lnTo>
                    <a:pt x="500443" y="63430"/>
                  </a:lnTo>
                  <a:lnTo>
                    <a:pt x="478027" y="58673"/>
                  </a:lnTo>
                  <a:close/>
                </a:path>
                <a:path w="536575" h="539750">
                  <a:moveTo>
                    <a:pt x="154813" y="0"/>
                  </a:moveTo>
                  <a:lnTo>
                    <a:pt x="114426" y="0"/>
                  </a:lnTo>
                  <a:lnTo>
                    <a:pt x="114426" y="101599"/>
                  </a:lnTo>
                  <a:lnTo>
                    <a:pt x="154813" y="101599"/>
                  </a:lnTo>
                  <a:lnTo>
                    <a:pt x="154813" y="0"/>
                  </a:lnTo>
                  <a:close/>
                </a:path>
                <a:path w="536575" h="539750">
                  <a:moveTo>
                    <a:pt x="424179" y="0"/>
                  </a:moveTo>
                  <a:lnTo>
                    <a:pt x="381635" y="0"/>
                  </a:lnTo>
                  <a:lnTo>
                    <a:pt x="381635" y="101599"/>
                  </a:lnTo>
                  <a:lnTo>
                    <a:pt x="424179" y="101599"/>
                  </a:lnTo>
                  <a:lnTo>
                    <a:pt x="42417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73" name="object 74">
            <a:extLst>
              <a:ext uri="{FF2B5EF4-FFF2-40B4-BE49-F238E27FC236}">
                <a16:creationId xmlns:a16="http://schemas.microsoft.com/office/drawing/2014/main" id="{5DE28167-7CD1-8700-0A3C-F25A4465046B}"/>
              </a:ext>
            </a:extLst>
          </p:cNvPr>
          <p:cNvSpPr txBox="1"/>
          <p:nvPr/>
        </p:nvSpPr>
        <p:spPr>
          <a:xfrm>
            <a:off x="10785971" y="9563725"/>
            <a:ext cx="4507996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Περίοδος χάριτος </a:t>
            </a:r>
            <a:r>
              <a:rPr sz="2400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maximum 3 έτη</a:t>
            </a:r>
          </a:p>
        </p:txBody>
      </p:sp>
      <p:pic>
        <p:nvPicPr>
          <p:cNvPr id="74" name="object 75">
            <a:extLst>
              <a:ext uri="{FF2B5EF4-FFF2-40B4-BE49-F238E27FC236}">
                <a16:creationId xmlns:a16="http://schemas.microsoft.com/office/drawing/2014/main" id="{7E4656B7-774F-D1AA-9073-792BAA7DB3F9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9784227" y="9344059"/>
            <a:ext cx="799659" cy="787612"/>
          </a:xfrm>
          <a:prstGeom prst="rect">
            <a:avLst/>
          </a:prstGeom>
        </p:spPr>
      </p:pic>
      <p:grpSp>
        <p:nvGrpSpPr>
          <p:cNvPr id="75" name="object 76">
            <a:extLst>
              <a:ext uri="{FF2B5EF4-FFF2-40B4-BE49-F238E27FC236}">
                <a16:creationId xmlns:a16="http://schemas.microsoft.com/office/drawing/2014/main" id="{50A2B156-EBE7-45EA-FAA8-B657AE420B72}"/>
              </a:ext>
            </a:extLst>
          </p:cNvPr>
          <p:cNvGrpSpPr/>
          <p:nvPr/>
        </p:nvGrpSpPr>
        <p:grpSpPr>
          <a:xfrm>
            <a:off x="10036551" y="2331963"/>
            <a:ext cx="5394008" cy="818648"/>
            <a:chOff x="10292333" y="2084832"/>
            <a:chExt cx="6865292" cy="818648"/>
          </a:xfrm>
        </p:grpSpPr>
        <p:sp>
          <p:nvSpPr>
            <p:cNvPr id="76" name="object 77">
              <a:extLst>
                <a:ext uri="{FF2B5EF4-FFF2-40B4-BE49-F238E27FC236}">
                  <a16:creationId xmlns:a16="http://schemas.microsoft.com/office/drawing/2014/main" id="{EFB3ABC1-0C22-561E-1CCF-58AEA77B9B86}"/>
                </a:ext>
              </a:extLst>
            </p:cNvPr>
            <p:cNvSpPr/>
            <p:nvPr/>
          </p:nvSpPr>
          <p:spPr>
            <a:xfrm>
              <a:off x="10292333" y="2085594"/>
              <a:ext cx="6840220" cy="809625"/>
            </a:xfrm>
            <a:custGeom>
              <a:avLst/>
              <a:gdLst/>
              <a:ahLst/>
              <a:cxnLst/>
              <a:rect l="l" t="t" r="r" b="b"/>
              <a:pathLst>
                <a:path w="6840219" h="809625">
                  <a:moveTo>
                    <a:pt x="6704837" y="0"/>
                  </a:moveTo>
                  <a:lnTo>
                    <a:pt x="134874" y="0"/>
                  </a:lnTo>
                  <a:lnTo>
                    <a:pt x="92220" y="6870"/>
                  </a:lnTo>
                  <a:lnTo>
                    <a:pt x="55193" y="26005"/>
                  </a:lnTo>
                  <a:lnTo>
                    <a:pt x="26005" y="55193"/>
                  </a:lnTo>
                  <a:lnTo>
                    <a:pt x="6870" y="92220"/>
                  </a:lnTo>
                  <a:lnTo>
                    <a:pt x="0" y="134874"/>
                  </a:lnTo>
                  <a:lnTo>
                    <a:pt x="0" y="674370"/>
                  </a:lnTo>
                  <a:lnTo>
                    <a:pt x="6870" y="717023"/>
                  </a:lnTo>
                  <a:lnTo>
                    <a:pt x="26005" y="754050"/>
                  </a:lnTo>
                  <a:lnTo>
                    <a:pt x="55193" y="783238"/>
                  </a:lnTo>
                  <a:lnTo>
                    <a:pt x="92220" y="802373"/>
                  </a:lnTo>
                  <a:lnTo>
                    <a:pt x="134874" y="809244"/>
                  </a:lnTo>
                  <a:lnTo>
                    <a:pt x="6704837" y="809244"/>
                  </a:lnTo>
                  <a:lnTo>
                    <a:pt x="6747442" y="802373"/>
                  </a:lnTo>
                  <a:lnTo>
                    <a:pt x="6784463" y="783238"/>
                  </a:lnTo>
                  <a:lnTo>
                    <a:pt x="6813669" y="754050"/>
                  </a:lnTo>
                  <a:lnTo>
                    <a:pt x="6832829" y="717023"/>
                  </a:lnTo>
                  <a:lnTo>
                    <a:pt x="6839712" y="674370"/>
                  </a:lnTo>
                  <a:lnTo>
                    <a:pt x="6839712" y="134874"/>
                  </a:lnTo>
                  <a:lnTo>
                    <a:pt x="6832829" y="92220"/>
                  </a:lnTo>
                  <a:lnTo>
                    <a:pt x="6813669" y="55193"/>
                  </a:lnTo>
                  <a:lnTo>
                    <a:pt x="6784463" y="26005"/>
                  </a:lnTo>
                  <a:lnTo>
                    <a:pt x="6747442" y="6870"/>
                  </a:lnTo>
                  <a:lnTo>
                    <a:pt x="6704837" y="0"/>
                  </a:lnTo>
                  <a:close/>
                </a:path>
              </a:pathLst>
            </a:custGeom>
            <a:solidFill>
              <a:srgbClr val="A0B9E2"/>
            </a:solidFill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7" name="object 78">
              <a:extLst>
                <a:ext uri="{FF2B5EF4-FFF2-40B4-BE49-F238E27FC236}">
                  <a16:creationId xmlns:a16="http://schemas.microsoft.com/office/drawing/2014/main" id="{B514DD87-1D5F-1317-A011-35401CCB05A0}"/>
                </a:ext>
              </a:extLst>
            </p:cNvPr>
            <p:cNvSpPr/>
            <p:nvPr/>
          </p:nvSpPr>
          <p:spPr>
            <a:xfrm>
              <a:off x="10292333" y="2085594"/>
              <a:ext cx="6840220" cy="809625"/>
            </a:xfrm>
            <a:custGeom>
              <a:avLst/>
              <a:gdLst/>
              <a:ahLst/>
              <a:cxnLst/>
              <a:rect l="l" t="t" r="r" b="b"/>
              <a:pathLst>
                <a:path w="6840219" h="809625">
                  <a:moveTo>
                    <a:pt x="0" y="134874"/>
                  </a:moveTo>
                  <a:lnTo>
                    <a:pt x="6870" y="92220"/>
                  </a:lnTo>
                  <a:lnTo>
                    <a:pt x="26005" y="55193"/>
                  </a:lnTo>
                  <a:lnTo>
                    <a:pt x="55193" y="26005"/>
                  </a:lnTo>
                  <a:lnTo>
                    <a:pt x="92220" y="6870"/>
                  </a:lnTo>
                  <a:lnTo>
                    <a:pt x="134874" y="0"/>
                  </a:lnTo>
                  <a:lnTo>
                    <a:pt x="6704837" y="0"/>
                  </a:lnTo>
                  <a:lnTo>
                    <a:pt x="6747442" y="6870"/>
                  </a:lnTo>
                  <a:lnTo>
                    <a:pt x="6784463" y="26005"/>
                  </a:lnTo>
                  <a:lnTo>
                    <a:pt x="6813669" y="55193"/>
                  </a:lnTo>
                  <a:lnTo>
                    <a:pt x="6832829" y="92220"/>
                  </a:lnTo>
                  <a:lnTo>
                    <a:pt x="6839712" y="134874"/>
                  </a:lnTo>
                  <a:lnTo>
                    <a:pt x="6839712" y="674370"/>
                  </a:lnTo>
                  <a:lnTo>
                    <a:pt x="6832829" y="717023"/>
                  </a:lnTo>
                  <a:lnTo>
                    <a:pt x="6813669" y="754050"/>
                  </a:lnTo>
                  <a:lnTo>
                    <a:pt x="6784463" y="783238"/>
                  </a:lnTo>
                  <a:lnTo>
                    <a:pt x="6747442" y="802373"/>
                  </a:lnTo>
                  <a:lnTo>
                    <a:pt x="6704837" y="809244"/>
                  </a:lnTo>
                  <a:lnTo>
                    <a:pt x="134874" y="809244"/>
                  </a:lnTo>
                  <a:lnTo>
                    <a:pt x="92220" y="802373"/>
                  </a:lnTo>
                  <a:lnTo>
                    <a:pt x="55193" y="783238"/>
                  </a:lnTo>
                  <a:lnTo>
                    <a:pt x="26005" y="754050"/>
                  </a:lnTo>
                  <a:lnTo>
                    <a:pt x="6870" y="717023"/>
                  </a:lnTo>
                  <a:lnTo>
                    <a:pt x="0" y="674370"/>
                  </a:lnTo>
                  <a:lnTo>
                    <a:pt x="0" y="134874"/>
                  </a:lnTo>
                  <a:close/>
                </a:path>
              </a:pathLst>
            </a:custGeom>
            <a:ln w="28574">
              <a:solidFill>
                <a:srgbClr val="281F76"/>
              </a:solidFill>
            </a:ln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8" name="object 79">
              <a:extLst>
                <a:ext uri="{FF2B5EF4-FFF2-40B4-BE49-F238E27FC236}">
                  <a16:creationId xmlns:a16="http://schemas.microsoft.com/office/drawing/2014/main" id="{806FDA2A-5CD3-7950-DD4D-4753AA8B6B48}"/>
                </a:ext>
              </a:extLst>
            </p:cNvPr>
            <p:cNvSpPr/>
            <p:nvPr/>
          </p:nvSpPr>
          <p:spPr>
            <a:xfrm>
              <a:off x="12771118" y="2084832"/>
              <a:ext cx="4386507" cy="818648"/>
            </a:xfrm>
            <a:custGeom>
              <a:avLst/>
              <a:gdLst/>
              <a:ahLst/>
              <a:cxnLst/>
              <a:rect l="l" t="t" r="r" b="b"/>
              <a:pathLst>
                <a:path w="1801494" h="809625">
                  <a:moveTo>
                    <a:pt x="1666493" y="0"/>
                  </a:moveTo>
                  <a:lnTo>
                    <a:pt x="134874" y="0"/>
                  </a:lnTo>
                  <a:lnTo>
                    <a:pt x="92220" y="6870"/>
                  </a:lnTo>
                  <a:lnTo>
                    <a:pt x="55193" y="26005"/>
                  </a:lnTo>
                  <a:lnTo>
                    <a:pt x="26005" y="55193"/>
                  </a:lnTo>
                  <a:lnTo>
                    <a:pt x="6870" y="92220"/>
                  </a:lnTo>
                  <a:lnTo>
                    <a:pt x="0" y="134874"/>
                  </a:lnTo>
                  <a:lnTo>
                    <a:pt x="0" y="674370"/>
                  </a:lnTo>
                  <a:lnTo>
                    <a:pt x="6870" y="717023"/>
                  </a:lnTo>
                  <a:lnTo>
                    <a:pt x="26005" y="754050"/>
                  </a:lnTo>
                  <a:lnTo>
                    <a:pt x="55193" y="783238"/>
                  </a:lnTo>
                  <a:lnTo>
                    <a:pt x="92220" y="802373"/>
                  </a:lnTo>
                  <a:lnTo>
                    <a:pt x="134874" y="809244"/>
                  </a:lnTo>
                  <a:lnTo>
                    <a:pt x="1666493" y="809244"/>
                  </a:lnTo>
                  <a:lnTo>
                    <a:pt x="1709147" y="802373"/>
                  </a:lnTo>
                  <a:lnTo>
                    <a:pt x="1746174" y="783238"/>
                  </a:lnTo>
                  <a:lnTo>
                    <a:pt x="1775362" y="754050"/>
                  </a:lnTo>
                  <a:lnTo>
                    <a:pt x="1794497" y="717023"/>
                  </a:lnTo>
                  <a:lnTo>
                    <a:pt x="1801368" y="674370"/>
                  </a:lnTo>
                  <a:lnTo>
                    <a:pt x="1801368" y="134874"/>
                  </a:lnTo>
                  <a:lnTo>
                    <a:pt x="1794497" y="92220"/>
                  </a:lnTo>
                  <a:lnTo>
                    <a:pt x="1775362" y="55193"/>
                  </a:lnTo>
                  <a:lnTo>
                    <a:pt x="1746174" y="26005"/>
                  </a:lnTo>
                  <a:lnTo>
                    <a:pt x="1709147" y="6870"/>
                  </a:lnTo>
                  <a:lnTo>
                    <a:pt x="1666493" y="0"/>
                  </a:lnTo>
                  <a:close/>
                </a:path>
              </a:pathLst>
            </a:custGeom>
            <a:solidFill>
              <a:srgbClr val="3768B7"/>
            </a:solidFill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79" name="object 80">
            <a:extLst>
              <a:ext uri="{FF2B5EF4-FFF2-40B4-BE49-F238E27FC236}">
                <a16:creationId xmlns:a16="http://schemas.microsoft.com/office/drawing/2014/main" id="{281C4C46-E735-550C-89C6-733D5A691E67}"/>
              </a:ext>
            </a:extLst>
          </p:cNvPr>
          <p:cNvSpPr txBox="1"/>
          <p:nvPr/>
        </p:nvSpPr>
        <p:spPr>
          <a:xfrm>
            <a:off x="11741945" y="2440769"/>
            <a:ext cx="3668914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2384" marR="5080" indent="-20320" algn="ctr">
              <a:lnSpc>
                <a:spcPct val="100000"/>
              </a:lnSpc>
              <a:spcBef>
                <a:spcPts val="100"/>
              </a:spcBef>
            </a:pPr>
            <a:r>
              <a:rPr sz="20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Απ</a:t>
            </a:r>
            <a:r>
              <a:rPr sz="2000" b="1" spc="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ο</a:t>
            </a:r>
            <a:r>
              <a:rPr sz="20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μείωση  </a:t>
            </a:r>
            <a:r>
              <a:rPr sz="2000" b="1" spc="-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κεφαλαίου</a:t>
            </a:r>
            <a:endParaRPr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80" name="object 81">
            <a:extLst>
              <a:ext uri="{FF2B5EF4-FFF2-40B4-BE49-F238E27FC236}">
                <a16:creationId xmlns:a16="http://schemas.microsoft.com/office/drawing/2014/main" id="{D59B0942-359C-3460-7C3E-AB29326F1660}"/>
              </a:ext>
            </a:extLst>
          </p:cNvPr>
          <p:cNvGrpSpPr/>
          <p:nvPr/>
        </p:nvGrpSpPr>
        <p:grpSpPr>
          <a:xfrm>
            <a:off x="10067429" y="3218092"/>
            <a:ext cx="5374309" cy="450850"/>
            <a:chOff x="10293286" y="2949130"/>
            <a:chExt cx="6868795" cy="450850"/>
          </a:xfrm>
        </p:grpSpPr>
        <p:sp>
          <p:nvSpPr>
            <p:cNvPr id="81" name="object 82">
              <a:extLst>
                <a:ext uri="{FF2B5EF4-FFF2-40B4-BE49-F238E27FC236}">
                  <a16:creationId xmlns:a16="http://schemas.microsoft.com/office/drawing/2014/main" id="{186090A9-3099-606C-58DF-DFD2FA2689B3}"/>
                </a:ext>
              </a:extLst>
            </p:cNvPr>
            <p:cNvSpPr/>
            <p:nvPr/>
          </p:nvSpPr>
          <p:spPr>
            <a:xfrm>
              <a:off x="10307573" y="2963417"/>
              <a:ext cx="6840220" cy="422275"/>
            </a:xfrm>
            <a:custGeom>
              <a:avLst/>
              <a:gdLst/>
              <a:ahLst/>
              <a:cxnLst/>
              <a:rect l="l" t="t" r="r" b="b"/>
              <a:pathLst>
                <a:path w="6840219" h="422275">
                  <a:moveTo>
                    <a:pt x="6628637" y="0"/>
                  </a:moveTo>
                  <a:lnTo>
                    <a:pt x="6628637" y="54863"/>
                  </a:lnTo>
                  <a:lnTo>
                    <a:pt x="211074" y="54863"/>
                  </a:lnTo>
                  <a:lnTo>
                    <a:pt x="211074" y="0"/>
                  </a:lnTo>
                  <a:lnTo>
                    <a:pt x="0" y="211074"/>
                  </a:lnTo>
                  <a:lnTo>
                    <a:pt x="211074" y="422148"/>
                  </a:lnTo>
                  <a:lnTo>
                    <a:pt x="211074" y="367283"/>
                  </a:lnTo>
                  <a:lnTo>
                    <a:pt x="6628637" y="367283"/>
                  </a:lnTo>
                  <a:lnTo>
                    <a:pt x="6628637" y="422148"/>
                  </a:lnTo>
                  <a:lnTo>
                    <a:pt x="6839712" y="211074"/>
                  </a:lnTo>
                  <a:lnTo>
                    <a:pt x="6628637" y="0"/>
                  </a:lnTo>
                  <a:close/>
                </a:path>
              </a:pathLst>
            </a:custGeom>
            <a:solidFill>
              <a:srgbClr val="3768B7"/>
            </a:solidFill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2" name="object 83">
              <a:extLst>
                <a:ext uri="{FF2B5EF4-FFF2-40B4-BE49-F238E27FC236}">
                  <a16:creationId xmlns:a16="http://schemas.microsoft.com/office/drawing/2014/main" id="{7B78CE16-68D3-4904-D6FB-24F097172449}"/>
                </a:ext>
              </a:extLst>
            </p:cNvPr>
            <p:cNvSpPr/>
            <p:nvPr/>
          </p:nvSpPr>
          <p:spPr>
            <a:xfrm>
              <a:off x="10307573" y="2963417"/>
              <a:ext cx="6840220" cy="422275"/>
            </a:xfrm>
            <a:custGeom>
              <a:avLst/>
              <a:gdLst/>
              <a:ahLst/>
              <a:cxnLst/>
              <a:rect l="l" t="t" r="r" b="b"/>
              <a:pathLst>
                <a:path w="6840219" h="422275">
                  <a:moveTo>
                    <a:pt x="0" y="211074"/>
                  </a:moveTo>
                  <a:lnTo>
                    <a:pt x="211074" y="0"/>
                  </a:lnTo>
                  <a:lnTo>
                    <a:pt x="211074" y="54863"/>
                  </a:lnTo>
                  <a:lnTo>
                    <a:pt x="6628637" y="54863"/>
                  </a:lnTo>
                  <a:lnTo>
                    <a:pt x="6628637" y="0"/>
                  </a:lnTo>
                  <a:lnTo>
                    <a:pt x="6839712" y="211074"/>
                  </a:lnTo>
                  <a:lnTo>
                    <a:pt x="6628637" y="422148"/>
                  </a:lnTo>
                  <a:lnTo>
                    <a:pt x="6628637" y="367283"/>
                  </a:lnTo>
                  <a:lnTo>
                    <a:pt x="211074" y="367283"/>
                  </a:lnTo>
                  <a:lnTo>
                    <a:pt x="211074" y="422148"/>
                  </a:lnTo>
                  <a:lnTo>
                    <a:pt x="0" y="211074"/>
                  </a:lnTo>
                  <a:close/>
                </a:path>
              </a:pathLst>
            </a:custGeom>
            <a:ln w="28574">
              <a:solidFill>
                <a:srgbClr val="281F76"/>
              </a:solidFill>
            </a:ln>
          </p:spPr>
          <p:txBody>
            <a:bodyPr wrap="square" lIns="0" tIns="0" rIns="0" bIns="0" rtlCol="0"/>
            <a:lstStyle/>
            <a:p>
              <a:endParaRPr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83" name="object 84">
            <a:extLst>
              <a:ext uri="{FF2B5EF4-FFF2-40B4-BE49-F238E27FC236}">
                <a16:creationId xmlns:a16="http://schemas.microsoft.com/office/drawing/2014/main" id="{401BDE52-9F34-0B61-754B-8E9639BE3064}"/>
              </a:ext>
            </a:extLst>
          </p:cNvPr>
          <p:cNvSpPr txBox="1"/>
          <p:nvPr/>
        </p:nvSpPr>
        <p:spPr>
          <a:xfrm>
            <a:off x="11656845" y="3292101"/>
            <a:ext cx="2746340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spc="-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Διάρκεια</a:t>
            </a:r>
            <a:r>
              <a:rPr sz="2000" b="1" spc="-8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sz="20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δανείου</a:t>
            </a:r>
            <a:endParaRPr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4" name="object 85">
            <a:extLst>
              <a:ext uri="{FF2B5EF4-FFF2-40B4-BE49-F238E27FC236}">
                <a16:creationId xmlns:a16="http://schemas.microsoft.com/office/drawing/2014/main" id="{E30918AB-B7D4-7F87-CCC2-A88D0290E6A9}"/>
              </a:ext>
            </a:extLst>
          </p:cNvPr>
          <p:cNvSpPr/>
          <p:nvPr/>
        </p:nvSpPr>
        <p:spPr>
          <a:xfrm>
            <a:off x="12621040" y="3724100"/>
            <a:ext cx="478403" cy="764520"/>
          </a:xfrm>
          <a:custGeom>
            <a:avLst/>
            <a:gdLst/>
            <a:ahLst/>
            <a:cxnLst/>
            <a:rect l="l" t="t" r="r" b="b"/>
            <a:pathLst>
              <a:path w="518795" h="898525">
                <a:moveTo>
                  <a:pt x="199008" y="0"/>
                </a:moveTo>
                <a:lnTo>
                  <a:pt x="180847" y="6096"/>
                </a:lnTo>
                <a:lnTo>
                  <a:pt x="174116" y="15748"/>
                </a:lnTo>
                <a:lnTo>
                  <a:pt x="167258" y="25400"/>
                </a:lnTo>
                <a:lnTo>
                  <a:pt x="167004" y="54736"/>
                </a:lnTo>
                <a:lnTo>
                  <a:pt x="171068" y="112140"/>
                </a:lnTo>
                <a:lnTo>
                  <a:pt x="159384" y="167385"/>
                </a:lnTo>
                <a:lnTo>
                  <a:pt x="147827" y="207899"/>
                </a:lnTo>
                <a:lnTo>
                  <a:pt x="129412" y="243458"/>
                </a:lnTo>
                <a:lnTo>
                  <a:pt x="90550" y="307847"/>
                </a:lnTo>
                <a:lnTo>
                  <a:pt x="44830" y="381888"/>
                </a:lnTo>
                <a:lnTo>
                  <a:pt x="12572" y="466089"/>
                </a:lnTo>
                <a:lnTo>
                  <a:pt x="888" y="506729"/>
                </a:lnTo>
                <a:lnTo>
                  <a:pt x="626" y="551814"/>
                </a:lnTo>
                <a:lnTo>
                  <a:pt x="253" y="594867"/>
                </a:lnTo>
                <a:lnTo>
                  <a:pt x="0" y="639063"/>
                </a:lnTo>
                <a:lnTo>
                  <a:pt x="26796" y="688720"/>
                </a:lnTo>
                <a:lnTo>
                  <a:pt x="296799" y="891412"/>
                </a:lnTo>
                <a:lnTo>
                  <a:pt x="319277" y="898524"/>
                </a:lnTo>
                <a:lnTo>
                  <a:pt x="337438" y="892428"/>
                </a:lnTo>
                <a:lnTo>
                  <a:pt x="351154" y="873124"/>
                </a:lnTo>
                <a:lnTo>
                  <a:pt x="351408" y="843660"/>
                </a:lnTo>
                <a:lnTo>
                  <a:pt x="351334" y="842644"/>
                </a:lnTo>
                <a:lnTo>
                  <a:pt x="310641" y="842644"/>
                </a:lnTo>
                <a:lnTo>
                  <a:pt x="40766" y="639952"/>
                </a:lnTo>
                <a:lnTo>
                  <a:pt x="41275" y="551814"/>
                </a:lnTo>
                <a:lnTo>
                  <a:pt x="55499" y="473709"/>
                </a:lnTo>
                <a:lnTo>
                  <a:pt x="124275" y="347725"/>
                </a:lnTo>
                <a:lnTo>
                  <a:pt x="192912" y="222123"/>
                </a:lnTo>
                <a:lnTo>
                  <a:pt x="200025" y="183006"/>
                </a:lnTo>
                <a:lnTo>
                  <a:pt x="207009" y="144017"/>
                </a:lnTo>
                <a:lnTo>
                  <a:pt x="207390" y="99949"/>
                </a:lnTo>
                <a:lnTo>
                  <a:pt x="207644" y="55752"/>
                </a:lnTo>
                <a:lnTo>
                  <a:pt x="286408" y="55752"/>
                </a:lnTo>
                <a:lnTo>
                  <a:pt x="221614" y="7111"/>
                </a:lnTo>
                <a:lnTo>
                  <a:pt x="199008" y="0"/>
                </a:lnTo>
                <a:close/>
              </a:path>
              <a:path w="518795" h="898525">
                <a:moveTo>
                  <a:pt x="286408" y="55752"/>
                </a:moveTo>
                <a:lnTo>
                  <a:pt x="207644" y="55752"/>
                </a:lnTo>
                <a:lnTo>
                  <a:pt x="477646" y="258444"/>
                </a:lnTo>
                <a:lnTo>
                  <a:pt x="477392" y="302640"/>
                </a:lnTo>
                <a:lnTo>
                  <a:pt x="477011" y="346709"/>
                </a:lnTo>
                <a:lnTo>
                  <a:pt x="469900" y="385698"/>
                </a:lnTo>
                <a:lnTo>
                  <a:pt x="462914" y="424814"/>
                </a:lnTo>
                <a:lnTo>
                  <a:pt x="325374" y="676401"/>
                </a:lnTo>
                <a:lnTo>
                  <a:pt x="318388" y="715390"/>
                </a:lnTo>
                <a:lnTo>
                  <a:pt x="311276" y="754506"/>
                </a:lnTo>
                <a:lnTo>
                  <a:pt x="311022" y="798575"/>
                </a:lnTo>
                <a:lnTo>
                  <a:pt x="310641" y="842644"/>
                </a:lnTo>
                <a:lnTo>
                  <a:pt x="351334" y="842644"/>
                </a:lnTo>
                <a:lnTo>
                  <a:pt x="347217" y="786383"/>
                </a:lnTo>
                <a:lnTo>
                  <a:pt x="358901" y="731138"/>
                </a:lnTo>
                <a:lnTo>
                  <a:pt x="370585" y="690498"/>
                </a:lnTo>
                <a:lnTo>
                  <a:pt x="388874" y="655065"/>
                </a:lnTo>
                <a:lnTo>
                  <a:pt x="427735" y="590676"/>
                </a:lnTo>
                <a:lnTo>
                  <a:pt x="473582" y="516508"/>
                </a:lnTo>
                <a:lnTo>
                  <a:pt x="505840" y="432434"/>
                </a:lnTo>
                <a:lnTo>
                  <a:pt x="517397" y="391794"/>
                </a:lnTo>
                <a:lnTo>
                  <a:pt x="517784" y="346709"/>
                </a:lnTo>
                <a:lnTo>
                  <a:pt x="518286" y="259460"/>
                </a:lnTo>
                <a:lnTo>
                  <a:pt x="509524" y="233044"/>
                </a:lnTo>
                <a:lnTo>
                  <a:pt x="491616" y="209803"/>
                </a:lnTo>
                <a:lnTo>
                  <a:pt x="286408" y="5575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5" name="object 86">
            <a:extLst>
              <a:ext uri="{FF2B5EF4-FFF2-40B4-BE49-F238E27FC236}">
                <a16:creationId xmlns:a16="http://schemas.microsoft.com/office/drawing/2014/main" id="{B32D1CF5-BD7B-3225-1346-4925E5A9D4DA}"/>
              </a:ext>
            </a:extLst>
          </p:cNvPr>
          <p:cNvSpPr txBox="1"/>
          <p:nvPr/>
        </p:nvSpPr>
        <p:spPr>
          <a:xfrm>
            <a:off x="10636104" y="3764766"/>
            <a:ext cx="4952236" cy="94897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ximum ποσό δανεισμού</a:t>
            </a:r>
            <a:r>
              <a:rPr sz="2400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€400 </a:t>
            </a:r>
            <a:r>
              <a:rPr lang="el-GR" sz="2400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χ</a:t>
            </a:r>
            <a:r>
              <a:rPr sz="2400" dirty="0" err="1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ιλ</a:t>
            </a:r>
            <a:endParaRPr lang="en-US" sz="2400" dirty="0">
              <a:solidFill>
                <a:srgbClr val="281F7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800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ximum </a:t>
            </a:r>
            <a:r>
              <a:rPr lang="el-GR" sz="1800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εξασφαλίσεις </a:t>
            </a:r>
            <a:r>
              <a:rPr lang="en-US" sz="1800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20% </a:t>
            </a:r>
            <a:r>
              <a:rPr lang="el-GR" sz="1800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του δανειακού κεφαλαίου</a:t>
            </a:r>
            <a:endParaRPr sz="1800" dirty="0">
              <a:solidFill>
                <a:srgbClr val="281F7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6" name="object 58">
            <a:extLst>
              <a:ext uri="{FF2B5EF4-FFF2-40B4-BE49-F238E27FC236}">
                <a16:creationId xmlns:a16="http://schemas.microsoft.com/office/drawing/2014/main" id="{8C4CB2E6-A579-388C-CF76-7A4D60515875}"/>
              </a:ext>
            </a:extLst>
          </p:cNvPr>
          <p:cNvSpPr txBox="1"/>
          <p:nvPr/>
        </p:nvSpPr>
        <p:spPr>
          <a:xfrm>
            <a:off x="10567073" y="5835189"/>
            <a:ext cx="5598213" cy="827150"/>
          </a:xfrm>
          <a:prstGeom prst="rect">
            <a:avLst/>
          </a:prstGeom>
        </p:spPr>
        <p:txBody>
          <a:bodyPr vert="horz" wrap="square" lIns="0" tIns="495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90"/>
              </a:spcBef>
            </a:pPr>
            <a:r>
              <a:rPr sz="2400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Ποσοστό επιχορήγησης κεφαλαίου </a:t>
            </a:r>
            <a:r>
              <a:rPr sz="2400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12700">
              <a:lnSpc>
                <a:spcPct val="100000"/>
              </a:lnSpc>
              <a:spcBef>
                <a:spcPts val="295"/>
              </a:spcBef>
            </a:pPr>
            <a:r>
              <a:rPr sz="2400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5 % + 5 % = 20 % με συνθήκες επίτευξης</a:t>
            </a:r>
          </a:p>
        </p:txBody>
      </p:sp>
      <p:sp>
        <p:nvSpPr>
          <p:cNvPr id="4" name="object 62">
            <a:extLst>
              <a:ext uri="{FF2B5EF4-FFF2-40B4-BE49-F238E27FC236}">
                <a16:creationId xmlns:a16="http://schemas.microsoft.com/office/drawing/2014/main" id="{53E13763-D47E-BD16-9A35-9A6433730E57}"/>
              </a:ext>
            </a:extLst>
          </p:cNvPr>
          <p:cNvSpPr txBox="1"/>
          <p:nvPr/>
        </p:nvSpPr>
        <p:spPr>
          <a:xfrm>
            <a:off x="10931150" y="7076151"/>
            <a:ext cx="1371600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2000" b="1" spc="-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Κριτήρια</a:t>
            </a:r>
            <a:endParaRPr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lnSpc>
                <a:spcPct val="100000"/>
              </a:lnSpc>
              <a:spcBef>
                <a:spcPts val="45"/>
              </a:spcBef>
            </a:pPr>
            <a:r>
              <a:rPr sz="2000" b="1" spc="-1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καινοτομίας</a:t>
            </a:r>
            <a:endParaRPr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9" name="object 85">
            <a:extLst>
              <a:ext uri="{FF2B5EF4-FFF2-40B4-BE49-F238E27FC236}">
                <a16:creationId xmlns:a16="http://schemas.microsoft.com/office/drawing/2014/main" id="{0BA80D35-8FB0-9560-0E70-DEC75364DD58}"/>
              </a:ext>
            </a:extLst>
          </p:cNvPr>
          <p:cNvSpPr/>
          <p:nvPr/>
        </p:nvSpPr>
        <p:spPr>
          <a:xfrm>
            <a:off x="9906300" y="3718461"/>
            <a:ext cx="478403" cy="764520"/>
          </a:xfrm>
          <a:custGeom>
            <a:avLst/>
            <a:gdLst/>
            <a:ahLst/>
            <a:cxnLst/>
            <a:rect l="l" t="t" r="r" b="b"/>
            <a:pathLst>
              <a:path w="518795" h="898525">
                <a:moveTo>
                  <a:pt x="199008" y="0"/>
                </a:moveTo>
                <a:lnTo>
                  <a:pt x="180847" y="6096"/>
                </a:lnTo>
                <a:lnTo>
                  <a:pt x="174116" y="15748"/>
                </a:lnTo>
                <a:lnTo>
                  <a:pt x="167258" y="25400"/>
                </a:lnTo>
                <a:lnTo>
                  <a:pt x="167004" y="54736"/>
                </a:lnTo>
                <a:lnTo>
                  <a:pt x="171068" y="112140"/>
                </a:lnTo>
                <a:lnTo>
                  <a:pt x="159384" y="167385"/>
                </a:lnTo>
                <a:lnTo>
                  <a:pt x="147827" y="207899"/>
                </a:lnTo>
                <a:lnTo>
                  <a:pt x="129412" y="243458"/>
                </a:lnTo>
                <a:lnTo>
                  <a:pt x="90550" y="307847"/>
                </a:lnTo>
                <a:lnTo>
                  <a:pt x="44830" y="381888"/>
                </a:lnTo>
                <a:lnTo>
                  <a:pt x="12572" y="466089"/>
                </a:lnTo>
                <a:lnTo>
                  <a:pt x="888" y="506729"/>
                </a:lnTo>
                <a:lnTo>
                  <a:pt x="626" y="551814"/>
                </a:lnTo>
                <a:lnTo>
                  <a:pt x="253" y="594867"/>
                </a:lnTo>
                <a:lnTo>
                  <a:pt x="0" y="639063"/>
                </a:lnTo>
                <a:lnTo>
                  <a:pt x="26796" y="688720"/>
                </a:lnTo>
                <a:lnTo>
                  <a:pt x="296799" y="891412"/>
                </a:lnTo>
                <a:lnTo>
                  <a:pt x="319277" y="898524"/>
                </a:lnTo>
                <a:lnTo>
                  <a:pt x="337438" y="892428"/>
                </a:lnTo>
                <a:lnTo>
                  <a:pt x="351154" y="873124"/>
                </a:lnTo>
                <a:lnTo>
                  <a:pt x="351408" y="843660"/>
                </a:lnTo>
                <a:lnTo>
                  <a:pt x="351334" y="842644"/>
                </a:lnTo>
                <a:lnTo>
                  <a:pt x="310641" y="842644"/>
                </a:lnTo>
                <a:lnTo>
                  <a:pt x="40766" y="639952"/>
                </a:lnTo>
                <a:lnTo>
                  <a:pt x="41275" y="551814"/>
                </a:lnTo>
                <a:lnTo>
                  <a:pt x="55499" y="473709"/>
                </a:lnTo>
                <a:lnTo>
                  <a:pt x="124275" y="347725"/>
                </a:lnTo>
                <a:lnTo>
                  <a:pt x="192912" y="222123"/>
                </a:lnTo>
                <a:lnTo>
                  <a:pt x="200025" y="183006"/>
                </a:lnTo>
                <a:lnTo>
                  <a:pt x="207009" y="144017"/>
                </a:lnTo>
                <a:lnTo>
                  <a:pt x="207390" y="99949"/>
                </a:lnTo>
                <a:lnTo>
                  <a:pt x="207644" y="55752"/>
                </a:lnTo>
                <a:lnTo>
                  <a:pt x="286408" y="55752"/>
                </a:lnTo>
                <a:lnTo>
                  <a:pt x="221614" y="7111"/>
                </a:lnTo>
                <a:lnTo>
                  <a:pt x="199008" y="0"/>
                </a:lnTo>
                <a:close/>
              </a:path>
              <a:path w="518795" h="898525">
                <a:moveTo>
                  <a:pt x="286408" y="55752"/>
                </a:moveTo>
                <a:lnTo>
                  <a:pt x="207644" y="55752"/>
                </a:lnTo>
                <a:lnTo>
                  <a:pt x="477646" y="258444"/>
                </a:lnTo>
                <a:lnTo>
                  <a:pt x="477392" y="302640"/>
                </a:lnTo>
                <a:lnTo>
                  <a:pt x="477011" y="346709"/>
                </a:lnTo>
                <a:lnTo>
                  <a:pt x="469900" y="385698"/>
                </a:lnTo>
                <a:lnTo>
                  <a:pt x="462914" y="424814"/>
                </a:lnTo>
                <a:lnTo>
                  <a:pt x="325374" y="676401"/>
                </a:lnTo>
                <a:lnTo>
                  <a:pt x="318388" y="715390"/>
                </a:lnTo>
                <a:lnTo>
                  <a:pt x="311276" y="754506"/>
                </a:lnTo>
                <a:lnTo>
                  <a:pt x="311022" y="798575"/>
                </a:lnTo>
                <a:lnTo>
                  <a:pt x="310641" y="842644"/>
                </a:lnTo>
                <a:lnTo>
                  <a:pt x="351334" y="842644"/>
                </a:lnTo>
                <a:lnTo>
                  <a:pt x="347217" y="786383"/>
                </a:lnTo>
                <a:lnTo>
                  <a:pt x="358901" y="731138"/>
                </a:lnTo>
                <a:lnTo>
                  <a:pt x="370585" y="690498"/>
                </a:lnTo>
                <a:lnTo>
                  <a:pt x="388874" y="655065"/>
                </a:lnTo>
                <a:lnTo>
                  <a:pt x="427735" y="590676"/>
                </a:lnTo>
                <a:lnTo>
                  <a:pt x="473582" y="516508"/>
                </a:lnTo>
                <a:lnTo>
                  <a:pt x="505840" y="432434"/>
                </a:lnTo>
                <a:lnTo>
                  <a:pt x="517397" y="391794"/>
                </a:lnTo>
                <a:lnTo>
                  <a:pt x="517784" y="346709"/>
                </a:lnTo>
                <a:lnTo>
                  <a:pt x="518286" y="259460"/>
                </a:lnTo>
                <a:lnTo>
                  <a:pt x="509524" y="233044"/>
                </a:lnTo>
                <a:lnTo>
                  <a:pt x="491616" y="209803"/>
                </a:lnTo>
                <a:lnTo>
                  <a:pt x="286408" y="5575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Εικόνα 1">
            <a:extLst>
              <a:ext uri="{FF2B5EF4-FFF2-40B4-BE49-F238E27FC236}">
                <a16:creationId xmlns:a16="http://schemas.microsoft.com/office/drawing/2014/main" id="{61790836-003F-1B46-4F84-B903E2C8370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32457" y="7704528"/>
            <a:ext cx="2782052" cy="20502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71285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61ACE1-3B5F-F485-0279-0D25C3A628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 Placeholder 1">
            <a:extLst>
              <a:ext uri="{FF2B5EF4-FFF2-40B4-BE49-F238E27FC236}">
                <a16:creationId xmlns:a16="http://schemas.microsoft.com/office/drawing/2014/main" id="{EB8EC8B3-C2DC-D261-0B96-85497E3205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3600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  <a:sym typeface="Lato Black"/>
              </a:rPr>
              <a:t>HDB| Development Law Financial Instrument Guarantee Fund (DeLFI GF) </a:t>
            </a:r>
          </a:p>
        </p:txBody>
      </p:sp>
      <p:sp>
        <p:nvSpPr>
          <p:cNvPr id="4" name="Θέση κειμένου 3">
            <a:extLst>
              <a:ext uri="{FF2B5EF4-FFF2-40B4-BE49-F238E27FC236}">
                <a16:creationId xmlns:a16="http://schemas.microsoft.com/office/drawing/2014/main" id="{397AF331-84E9-CCC4-4807-FF8DBDD1D697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kumimoji="0" lang="en-US" sz="3600" b="1" i="0" u="none" strike="noStrike" kern="1200" cap="none" spc="0" normalizeH="0" baseline="0" noProof="0" dirty="0" err="1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DeLFI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 </a:t>
            </a:r>
            <a:r>
              <a:rPr kumimoji="0" lang="el-GR" sz="3600" b="1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&amp; Νέος </a:t>
            </a:r>
            <a:r>
              <a:rPr kumimoji="0" lang="el-GR" sz="3600" b="1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Lato Black"/>
                <a:cs typeface="Calibri" panose="020F0502020204030204" pitchFamily="34" charset="0"/>
              </a:rPr>
              <a:t>Α.Ν. 4887/22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B7440FB-E8D6-8C99-E05C-5C4AE40E4DA1}"/>
              </a:ext>
            </a:extLst>
          </p:cNvPr>
          <p:cNvSpPr/>
          <p:nvPr/>
        </p:nvSpPr>
        <p:spPr>
          <a:xfrm>
            <a:off x="127490" y="3982378"/>
            <a:ext cx="5293080" cy="1756066"/>
          </a:xfrm>
          <a:prstGeom prst="rect">
            <a:avLst/>
          </a:prstGeom>
          <a:solidFill>
            <a:schemeClr val="accent3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2563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Εγκεκριμένη αίτηση για κάποιο καθεστώς του Νέου Α.Ν.</a:t>
            </a:r>
            <a:endParaRPr kumimoji="0" lang="en-US" sz="2700" b="0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2FAF011-4366-43B6-27D3-A5C2025C4431}"/>
              </a:ext>
            </a:extLst>
          </p:cNvPr>
          <p:cNvSpPr/>
          <p:nvPr/>
        </p:nvSpPr>
        <p:spPr>
          <a:xfrm>
            <a:off x="136343" y="5918002"/>
            <a:ext cx="5293080" cy="3180780"/>
          </a:xfrm>
          <a:prstGeom prst="rect">
            <a:avLst/>
          </a:prstGeom>
          <a:solidFill>
            <a:schemeClr val="accent3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2563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Η ενίσχυση από το Δάνειο και τον Α.Ν. δεν πρέπει να ξεπερνά την προβλεπόμενη μέγιστη κρατική ενίσχυση που προβλέπεται από το αντίστοιχο πλαίσιο (ΓΑΚ)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8072176-05A8-B4C6-A6D1-9B868D20DDB9}"/>
              </a:ext>
            </a:extLst>
          </p:cNvPr>
          <p:cNvSpPr/>
          <p:nvPr/>
        </p:nvSpPr>
        <p:spPr>
          <a:xfrm>
            <a:off x="5586412" y="3982378"/>
            <a:ext cx="5293080" cy="2515979"/>
          </a:xfrm>
          <a:prstGeom prst="rect">
            <a:avLst/>
          </a:prstGeom>
          <a:solidFill>
            <a:schemeClr val="accent3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2075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Το ύψος του Δανείου συμπίπτει απαραίτητα με τον προϋπολογισμό επένδυσης  υπαγμένου σε καθεστώς του Νέου Α.Ν.</a:t>
            </a:r>
            <a:endParaRPr kumimoji="0" lang="en-US" sz="2700" b="0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57FC035-BC34-EFFC-0F71-DEC8E2119522}"/>
              </a:ext>
            </a:extLst>
          </p:cNvPr>
          <p:cNvSpPr txBox="1"/>
          <p:nvPr/>
        </p:nvSpPr>
        <p:spPr>
          <a:xfrm>
            <a:off x="12266796" y="1580047"/>
            <a:ext cx="52930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3600" b="1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Χρηματοδοτικό Σχήμα</a:t>
            </a:r>
            <a:endParaRPr kumimoji="0" lang="el-GR" sz="3600" b="1" i="0" u="none" strike="noStrike" kern="1200" cap="none" spc="0" normalizeH="0" baseline="0" noProof="0" dirty="0">
              <a:ln>
                <a:noFill/>
              </a:ln>
              <a:solidFill>
                <a:srgbClr val="281F76"/>
              </a:solidFill>
              <a:effectLst/>
              <a:uLnTx/>
              <a:uFillTx/>
              <a:latin typeface="Calibri" panose="020F0502020204030204" pitchFamily="34" charset="0"/>
              <a:ea typeface="Lato Black"/>
              <a:cs typeface="Calibri" panose="020F050202020403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2438325-60AB-883C-D7F7-73BD2C4847F2}"/>
              </a:ext>
            </a:extLst>
          </p:cNvPr>
          <p:cNvSpPr/>
          <p:nvPr/>
        </p:nvSpPr>
        <p:spPr>
          <a:xfrm>
            <a:off x="6631820" y="1422245"/>
            <a:ext cx="5293080" cy="583229"/>
          </a:xfrm>
          <a:prstGeom prst="rect">
            <a:avLst/>
          </a:prstGeom>
          <a:solidFill>
            <a:schemeClr val="accent3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13 Καθεστώτα Νέου Α.Ν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D787B123-824F-2D28-70ED-C578F8AEC0AD}"/>
              </a:ext>
            </a:extLst>
          </p:cNvPr>
          <p:cNvGrpSpPr/>
          <p:nvPr/>
        </p:nvGrpSpPr>
        <p:grpSpPr>
          <a:xfrm>
            <a:off x="11410812" y="2561156"/>
            <a:ext cx="6473770" cy="5592243"/>
            <a:chOff x="10899826" y="2063617"/>
            <a:chExt cx="6473770" cy="5592243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2F6C7D92-B6DB-6C7E-7F67-47BE2B2E2F70}"/>
                </a:ext>
              </a:extLst>
            </p:cNvPr>
            <p:cNvGrpSpPr/>
            <p:nvPr/>
          </p:nvGrpSpPr>
          <p:grpSpPr>
            <a:xfrm>
              <a:off x="10899826" y="2063617"/>
              <a:ext cx="6473770" cy="5592243"/>
              <a:chOff x="10906601" y="2391239"/>
              <a:chExt cx="6212867" cy="5251242"/>
            </a:xfrm>
          </p:grpSpPr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30595855-441C-81CE-FE11-B387AAF58A1B}"/>
                  </a:ext>
                </a:extLst>
              </p:cNvPr>
              <p:cNvGrpSpPr/>
              <p:nvPr/>
            </p:nvGrpSpPr>
            <p:grpSpPr>
              <a:xfrm rot="10800000">
                <a:off x="10937201" y="2391239"/>
                <a:ext cx="6182267" cy="5251242"/>
                <a:chOff x="9219797" y="5751283"/>
                <a:chExt cx="4781157" cy="4002333"/>
              </a:xfrm>
            </p:grpSpPr>
            <p:sp>
              <p:nvSpPr>
                <p:cNvPr id="39" name="Freeform: Shape 38">
                  <a:extLst>
                    <a:ext uri="{FF2B5EF4-FFF2-40B4-BE49-F238E27FC236}">
                      <a16:creationId xmlns:a16="http://schemas.microsoft.com/office/drawing/2014/main" id="{8B9EA335-1EE2-CEA4-5DEB-FEC74F28AF6A}"/>
                    </a:ext>
                  </a:extLst>
                </p:cNvPr>
                <p:cNvSpPr/>
                <p:nvPr/>
              </p:nvSpPr>
              <p:spPr>
                <a:xfrm>
                  <a:off x="10407143" y="7446819"/>
                  <a:ext cx="2306830" cy="2306797"/>
                </a:xfrm>
                <a:custGeom>
                  <a:avLst/>
                  <a:gdLst>
                    <a:gd name="connsiteX0" fmla="*/ 0 w 2306830"/>
                    <a:gd name="connsiteY0" fmla="*/ 1153399 h 2306797"/>
                    <a:gd name="connsiteX1" fmla="*/ 1153415 w 2306830"/>
                    <a:gd name="connsiteY1" fmla="*/ 0 h 2306797"/>
                    <a:gd name="connsiteX2" fmla="*/ 2306830 w 2306830"/>
                    <a:gd name="connsiteY2" fmla="*/ 1153399 h 2306797"/>
                    <a:gd name="connsiteX3" fmla="*/ 1153415 w 2306830"/>
                    <a:gd name="connsiteY3" fmla="*/ 2306798 h 2306797"/>
                    <a:gd name="connsiteX4" fmla="*/ 0 w 2306830"/>
                    <a:gd name="connsiteY4" fmla="*/ 1153399 h 23067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06830" h="2306797">
                      <a:moveTo>
                        <a:pt x="0" y="1153399"/>
                      </a:moveTo>
                      <a:cubicBezTo>
                        <a:pt x="0" y="516394"/>
                        <a:pt x="516401" y="0"/>
                        <a:pt x="1153415" y="0"/>
                      </a:cubicBezTo>
                      <a:cubicBezTo>
                        <a:pt x="1790429" y="0"/>
                        <a:pt x="2306830" y="516394"/>
                        <a:pt x="2306830" y="1153399"/>
                      </a:cubicBezTo>
                      <a:cubicBezTo>
                        <a:pt x="2306830" y="1790404"/>
                        <a:pt x="1790429" y="2306798"/>
                        <a:pt x="1153415" y="2306798"/>
                      </a:cubicBezTo>
                      <a:cubicBezTo>
                        <a:pt x="516401" y="2306798"/>
                        <a:pt x="0" y="1790404"/>
                        <a:pt x="0" y="1153399"/>
                      </a:cubicBezTo>
                      <a:close/>
                    </a:path>
                  </a:pathLst>
                </a:custGeom>
                <a:solidFill>
                  <a:schemeClr val="bg2">
                    <a:lumMod val="85000"/>
                  </a:schemeClr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2">
                    <a:shade val="80000"/>
                    <a:alpha val="50000"/>
                    <a:hueOff val="-136934"/>
                    <a:satOff val="-32399"/>
                    <a:lumOff val="35489"/>
                    <a:alphaOff val="0"/>
                  </a:schemeClr>
                </a:fillRef>
                <a:effectRef idx="0">
                  <a:schemeClr val="accent2">
                    <a:shade val="80000"/>
                    <a:alpha val="50000"/>
                    <a:hueOff val="-136934"/>
                    <a:satOff val="-32399"/>
                    <a:lumOff val="35489"/>
                    <a:alphaOff val="0"/>
                  </a:schemeClr>
                </a:effectRef>
                <a:fontRef idx="minor">
                  <a:schemeClr val="tx1"/>
                </a:fontRef>
              </p:style>
              <p:txBody>
                <a:bodyPr spcFirstLastPara="0" vert="horz" wrap="square" lIns="501657" tIns="501653" rIns="501657" bIns="501653" numCol="1" spcCol="1270" anchor="ctr" anchorCtr="0">
                  <a:noAutofit/>
                </a:bodyPr>
                <a:lstStyle/>
                <a:p>
                  <a:pPr marL="0" marR="0" lvl="0" indent="0" algn="ctr" defTabSz="1911350" rtl="0" eaLnBrk="1" fontAlgn="auto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3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40" name="Freeform: Shape 39">
                  <a:extLst>
                    <a:ext uri="{FF2B5EF4-FFF2-40B4-BE49-F238E27FC236}">
                      <a16:creationId xmlns:a16="http://schemas.microsoft.com/office/drawing/2014/main" id="{57AA8CF6-833C-81AC-A2B9-F842D768BEB2}"/>
                    </a:ext>
                  </a:extLst>
                </p:cNvPr>
                <p:cNvSpPr/>
                <p:nvPr/>
              </p:nvSpPr>
              <p:spPr>
                <a:xfrm>
                  <a:off x="11582254" y="5751283"/>
                  <a:ext cx="2418700" cy="2467095"/>
                </a:xfrm>
                <a:custGeom>
                  <a:avLst/>
                  <a:gdLst>
                    <a:gd name="connsiteX0" fmla="*/ 0 w 2306830"/>
                    <a:gd name="connsiteY0" fmla="*/ 1153399 h 2306797"/>
                    <a:gd name="connsiteX1" fmla="*/ 1153415 w 2306830"/>
                    <a:gd name="connsiteY1" fmla="*/ 0 h 2306797"/>
                    <a:gd name="connsiteX2" fmla="*/ 2306830 w 2306830"/>
                    <a:gd name="connsiteY2" fmla="*/ 1153399 h 2306797"/>
                    <a:gd name="connsiteX3" fmla="*/ 1153415 w 2306830"/>
                    <a:gd name="connsiteY3" fmla="*/ 2306798 h 2306797"/>
                    <a:gd name="connsiteX4" fmla="*/ 0 w 2306830"/>
                    <a:gd name="connsiteY4" fmla="*/ 1153399 h 23067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06830" h="2306797">
                      <a:moveTo>
                        <a:pt x="0" y="1153399"/>
                      </a:moveTo>
                      <a:cubicBezTo>
                        <a:pt x="0" y="516394"/>
                        <a:pt x="516401" y="0"/>
                        <a:pt x="1153415" y="0"/>
                      </a:cubicBezTo>
                      <a:cubicBezTo>
                        <a:pt x="1790429" y="0"/>
                        <a:pt x="2306830" y="516394"/>
                        <a:pt x="2306830" y="1153399"/>
                      </a:cubicBezTo>
                      <a:cubicBezTo>
                        <a:pt x="2306830" y="1790404"/>
                        <a:pt x="1790429" y="2306798"/>
                        <a:pt x="1153415" y="2306798"/>
                      </a:cubicBezTo>
                      <a:cubicBezTo>
                        <a:pt x="516401" y="2306798"/>
                        <a:pt x="0" y="1790404"/>
                        <a:pt x="0" y="1153399"/>
                      </a:cubicBezTo>
                      <a:close/>
                    </a:path>
                  </a:pathLst>
                </a:custGeom>
                <a:solidFill>
                  <a:schemeClr val="bg2">
                    <a:lumMod val="75000"/>
                  </a:schemeClr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2">
                    <a:shade val="80000"/>
                    <a:alpha val="50000"/>
                    <a:hueOff val="-136934"/>
                    <a:satOff val="-32399"/>
                    <a:lumOff val="35489"/>
                    <a:alphaOff val="0"/>
                  </a:schemeClr>
                </a:fillRef>
                <a:effectRef idx="0">
                  <a:schemeClr val="accent2">
                    <a:shade val="80000"/>
                    <a:alpha val="50000"/>
                    <a:hueOff val="-136934"/>
                    <a:satOff val="-32399"/>
                    <a:lumOff val="35489"/>
                    <a:alphaOff val="0"/>
                  </a:schemeClr>
                </a:effectRef>
                <a:fontRef idx="minor">
                  <a:schemeClr val="tx1"/>
                </a:fontRef>
              </p:style>
              <p:txBody>
                <a:bodyPr spcFirstLastPara="0" vert="horz" wrap="square" lIns="501657" tIns="501653" rIns="501657" bIns="501653" numCol="1" spcCol="1270" anchor="ctr" anchorCtr="0">
                  <a:noAutofit/>
                </a:bodyPr>
                <a:lstStyle/>
                <a:p>
                  <a:pPr marL="0" marR="0" lvl="0" indent="0" algn="ctr" defTabSz="1911350" rtl="0" eaLnBrk="1" fontAlgn="auto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3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9" name="Freeform: Shape 28">
                  <a:extLst>
                    <a:ext uri="{FF2B5EF4-FFF2-40B4-BE49-F238E27FC236}">
                      <a16:creationId xmlns:a16="http://schemas.microsoft.com/office/drawing/2014/main" id="{EE19873C-F7BC-5082-108E-BDD688B05656}"/>
                    </a:ext>
                  </a:extLst>
                </p:cNvPr>
                <p:cNvSpPr/>
                <p:nvPr/>
              </p:nvSpPr>
              <p:spPr>
                <a:xfrm>
                  <a:off x="9219797" y="5751284"/>
                  <a:ext cx="2306830" cy="2463828"/>
                </a:xfrm>
                <a:custGeom>
                  <a:avLst/>
                  <a:gdLst>
                    <a:gd name="connsiteX0" fmla="*/ 0 w 2306830"/>
                    <a:gd name="connsiteY0" fmla="*/ 1153399 h 2306797"/>
                    <a:gd name="connsiteX1" fmla="*/ 1153415 w 2306830"/>
                    <a:gd name="connsiteY1" fmla="*/ 0 h 2306797"/>
                    <a:gd name="connsiteX2" fmla="*/ 2306830 w 2306830"/>
                    <a:gd name="connsiteY2" fmla="*/ 1153399 h 2306797"/>
                    <a:gd name="connsiteX3" fmla="*/ 1153415 w 2306830"/>
                    <a:gd name="connsiteY3" fmla="*/ 2306798 h 2306797"/>
                    <a:gd name="connsiteX4" fmla="*/ 0 w 2306830"/>
                    <a:gd name="connsiteY4" fmla="*/ 1153399 h 23067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06830" h="2306797">
                      <a:moveTo>
                        <a:pt x="0" y="1153399"/>
                      </a:moveTo>
                      <a:cubicBezTo>
                        <a:pt x="0" y="516394"/>
                        <a:pt x="516401" y="0"/>
                        <a:pt x="1153415" y="0"/>
                      </a:cubicBezTo>
                      <a:cubicBezTo>
                        <a:pt x="1790429" y="0"/>
                        <a:pt x="2306830" y="516394"/>
                        <a:pt x="2306830" y="1153399"/>
                      </a:cubicBezTo>
                      <a:cubicBezTo>
                        <a:pt x="2306830" y="1790404"/>
                        <a:pt x="1790429" y="2306798"/>
                        <a:pt x="1153415" y="2306798"/>
                      </a:cubicBezTo>
                      <a:cubicBezTo>
                        <a:pt x="516401" y="2306798"/>
                        <a:pt x="0" y="1790404"/>
                        <a:pt x="0" y="1153399"/>
                      </a:cubicBezTo>
                      <a:close/>
                    </a:path>
                  </a:pathLst>
                </a:custGeom>
                <a:solidFill>
                  <a:schemeClr val="bg2">
                    <a:lumMod val="85000"/>
                  </a:schemeClr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2">
                    <a:shade val="80000"/>
                    <a:alpha val="5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2">
                    <a:shade val="80000"/>
                    <a:alpha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/>
                </a:fontRef>
              </p:style>
              <p:txBody>
                <a:bodyPr spcFirstLastPara="0" vert="horz" wrap="square" lIns="501657" tIns="501653" rIns="501657" bIns="501653" numCol="1" spcCol="1270" anchor="ctr" anchorCtr="0">
                  <a:noAutofit/>
                </a:bodyPr>
                <a:lstStyle/>
                <a:p>
                  <a:pPr marL="0" marR="0" lvl="0" indent="0" algn="ctr" defTabSz="1911350" rtl="0" eaLnBrk="1" fontAlgn="auto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3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90D6FFC7-6E51-B0D7-5542-2A5059533CD1}"/>
                  </a:ext>
                </a:extLst>
              </p:cNvPr>
              <p:cNvSpPr txBox="1"/>
              <p:nvPr/>
            </p:nvSpPr>
            <p:spPr>
              <a:xfrm>
                <a:off x="12977109" y="3163593"/>
                <a:ext cx="2249808" cy="10115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13716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43444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100%</a:t>
                </a:r>
                <a:endParaRPr kumimoji="0" lang="el-GR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343444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marL="0" marR="0" lvl="0" indent="0" algn="ctr" defTabSz="13716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l-GR" sz="3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43444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Επένδυση </a:t>
                </a: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82BE44D6-B568-F892-91B9-AB540E222145}"/>
                  </a:ext>
                </a:extLst>
              </p:cNvPr>
              <p:cNvSpPr txBox="1"/>
              <p:nvPr/>
            </p:nvSpPr>
            <p:spPr>
              <a:xfrm>
                <a:off x="10906601" y="5118131"/>
                <a:ext cx="3240604" cy="250390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84455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l-GR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43444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Έως 75% ενισχυόμενη επένδυση:</a:t>
                </a:r>
              </a:p>
              <a:p>
                <a:pPr marL="0" marR="0" lvl="0" indent="0" algn="ctr" defTabSz="84455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l-GR" sz="18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43444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(</a:t>
                </a:r>
                <a:r>
                  <a:rPr kumimoji="0" lang="en-US" sz="18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43444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i)</a:t>
                </a:r>
                <a:r>
                  <a:rPr kumimoji="0" lang="el-GR" sz="18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43444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Βραχυπρόθεσμα δάνεια (1-5 έτη) </a:t>
                </a:r>
              </a:p>
              <a:p>
                <a:pPr marL="0" marR="0" lvl="0" indent="0" algn="ctr" defTabSz="84455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l-GR" sz="18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43444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(</a:t>
                </a:r>
                <a:r>
                  <a:rPr kumimoji="0" lang="en-US" sz="18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43444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ii</a:t>
                </a:r>
                <a:r>
                  <a:rPr kumimoji="0" lang="el-GR" sz="18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43444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) Μεσο-μακροπρόθεσμα δάνεια (έως 10 έτη)</a:t>
                </a:r>
                <a:endParaRPr kumimoji="0" lang="en-US" sz="1850" b="0" i="0" u="none" strike="noStrike" kern="1200" cap="none" spc="0" normalizeH="0" baseline="0" noProof="0" dirty="0">
                  <a:ln>
                    <a:noFill/>
                  </a:ln>
                  <a:solidFill>
                    <a:srgbClr val="343444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marL="0" marR="0" lvl="0" indent="0" algn="ctr" defTabSz="84455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43444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(iii) </a:t>
                </a:r>
                <a:r>
                  <a:rPr kumimoji="0" lang="el-GR" sz="18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43444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Επιδότηση ΥΠΑΝ </a:t>
                </a:r>
              </a:p>
              <a:p>
                <a:pPr marL="0" marR="0" lvl="0" indent="0" algn="ctr" defTabSz="84455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l-GR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43444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343444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568974DE-FDC7-F081-7995-FE9B4D9DA65D}"/>
                  </a:ext>
                </a:extLst>
              </p:cNvPr>
              <p:cNvSpPr txBox="1"/>
              <p:nvPr/>
            </p:nvSpPr>
            <p:spPr>
              <a:xfrm>
                <a:off x="14399093" y="4929309"/>
                <a:ext cx="2499086" cy="23929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84455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l-GR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43444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Έως 25% Ίδια Συμμετοχή</a:t>
                </a:r>
              </a:p>
              <a:p>
                <a:pPr marL="0" marR="0" lvl="0" indent="0" algn="ctr" defTabSz="84455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l-GR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43444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Χωρίς να περιλαμβάνει ενίσχυση οποιασδήποτε μορφής</a:t>
                </a:r>
              </a:p>
            </p:txBody>
          </p:sp>
        </p:grpSp>
        <p:pic>
          <p:nvPicPr>
            <p:cNvPr id="59" name="Graphic 58" descr="Line arrow: Counter-clockwise curve outline">
              <a:extLst>
                <a:ext uri="{FF2B5EF4-FFF2-40B4-BE49-F238E27FC236}">
                  <a16:creationId xmlns:a16="http://schemas.microsoft.com/office/drawing/2014/main" id="{4F8531C3-55CE-DB26-3AC2-0418FAEAC7A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13262521">
              <a:off x="11760840" y="3325979"/>
              <a:ext cx="914400" cy="914400"/>
            </a:xfrm>
            <a:prstGeom prst="rect">
              <a:avLst/>
            </a:prstGeom>
          </p:spPr>
        </p:pic>
        <p:pic>
          <p:nvPicPr>
            <p:cNvPr id="60" name="Graphic 59" descr="Line arrow: Counter-clockwise curve outline">
              <a:extLst>
                <a:ext uri="{FF2B5EF4-FFF2-40B4-BE49-F238E27FC236}">
                  <a16:creationId xmlns:a16="http://schemas.microsoft.com/office/drawing/2014/main" id="{58E73EBB-067B-3D6F-5D37-6163A77D77E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8362889" flipH="1">
              <a:off x="15678355" y="3325630"/>
              <a:ext cx="914400" cy="914400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C2F97705-5057-D0BA-0280-B29C63421A24}"/>
              </a:ext>
            </a:extLst>
          </p:cNvPr>
          <p:cNvSpPr txBox="1"/>
          <p:nvPr/>
        </p:nvSpPr>
        <p:spPr>
          <a:xfrm>
            <a:off x="11924900" y="8365645"/>
            <a:ext cx="5809609" cy="1015663"/>
          </a:xfrm>
          <a:prstGeom prst="rect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81F76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Key Message</a:t>
            </a:r>
            <a:endParaRPr kumimoji="0" lang="el-GR" sz="2400" b="1" i="0" u="none" strike="noStrike" kern="1200" cap="none" spc="0" normalizeH="0" baseline="0" noProof="0" dirty="0">
              <a:ln>
                <a:noFill/>
              </a:ln>
              <a:solidFill>
                <a:srgbClr val="281F76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1" u="none" strike="noStrike" kern="1200" cap="none" spc="0" normalizeH="0" baseline="0" noProof="0" dirty="0">
                <a:ln>
                  <a:noFill/>
                </a:ln>
                <a:solidFill>
                  <a:srgbClr val="281F76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25%</a:t>
            </a:r>
            <a:r>
              <a:rPr kumimoji="0" lang="el-GR" sz="2000" b="0" i="1" u="none" strike="noStrike" kern="1200" cap="none" spc="0" normalizeH="0" baseline="0" noProof="0" dirty="0">
                <a:ln>
                  <a:noFill/>
                </a:ln>
                <a:solidFill>
                  <a:srgbClr val="281F76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του επενδυτικού σχεδίου δεν πρέπει να περιέχει κανένα στοιχείο ενίσχυσης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BE6C938-303C-048D-E408-03A8EE58681C}"/>
              </a:ext>
            </a:extLst>
          </p:cNvPr>
          <p:cNvSpPr/>
          <p:nvPr/>
        </p:nvSpPr>
        <p:spPr>
          <a:xfrm>
            <a:off x="5572776" y="6716799"/>
            <a:ext cx="5293080" cy="2359123"/>
          </a:xfrm>
          <a:prstGeom prst="rect">
            <a:avLst/>
          </a:prstGeom>
          <a:solidFill>
            <a:schemeClr val="accent3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2075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Μέγιστη ενίσχυση έως </a:t>
            </a:r>
            <a:r>
              <a:rPr kumimoji="0" lang="el-GR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75% </a:t>
            </a: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της επένδυσης (βάσει ορίων Χάρτη Περιφερειακών Ενισχύσεων και περιοχών ΣΔΑΜ)</a:t>
            </a:r>
            <a:endParaRPr kumimoji="0" lang="en-US" sz="2700" b="0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6E83359-A6BB-33F7-B500-F29A1AEECBF2}"/>
              </a:ext>
            </a:extLst>
          </p:cNvPr>
          <p:cNvSpPr txBox="1"/>
          <p:nvPr/>
        </p:nvSpPr>
        <p:spPr>
          <a:xfrm>
            <a:off x="539292" y="2227643"/>
            <a:ext cx="1138560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l-GR" sz="2400" kern="1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Έναρξη Ταμείου στην πλατφόρμα </a:t>
            </a:r>
            <a:r>
              <a:rPr lang="en-US" sz="2400" kern="1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YC</a:t>
            </a:r>
            <a:r>
              <a:rPr lang="el-GR" sz="2400" kern="1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2400" kern="1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l-GR" sz="3600" b="1" kern="1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8-8-2023 </a:t>
            </a:r>
          </a:p>
        </p:txBody>
      </p:sp>
    </p:spTree>
    <p:extLst>
      <p:ext uri="{BB962C8B-B14F-4D97-AF65-F5344CB8AC3E}">
        <p14:creationId xmlns:p14="http://schemas.microsoft.com/office/powerpoint/2010/main" val="19581556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3806E5-33F3-4245-C166-5C21E33A2C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Rectangle 110">
            <a:extLst>
              <a:ext uri="{FF2B5EF4-FFF2-40B4-BE49-F238E27FC236}">
                <a16:creationId xmlns:a16="http://schemas.microsoft.com/office/drawing/2014/main" id="{300A857C-A06A-9E2B-AEA7-EF4E9ACFEFCB}"/>
              </a:ext>
            </a:extLst>
          </p:cNvPr>
          <p:cNvSpPr/>
          <p:nvPr/>
        </p:nvSpPr>
        <p:spPr>
          <a:xfrm>
            <a:off x="6539491" y="2058014"/>
            <a:ext cx="5864725" cy="6850026"/>
          </a:xfrm>
          <a:prstGeom prst="rect">
            <a:avLst/>
          </a:prstGeom>
          <a:solidFill>
            <a:schemeClr val="bg2">
              <a:lumMod val="8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FE1F1E25-6AC1-35AA-8873-C5397D934F68}"/>
              </a:ext>
            </a:extLst>
          </p:cNvPr>
          <p:cNvSpPr/>
          <p:nvPr/>
        </p:nvSpPr>
        <p:spPr>
          <a:xfrm>
            <a:off x="79014" y="2081684"/>
            <a:ext cx="6157668" cy="6850026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just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-85725" algn="l"/>
              </a:tabLst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sp>
        <p:nvSpPr>
          <p:cNvPr id="38" name="Text Placeholder 1">
            <a:extLst>
              <a:ext uri="{FF2B5EF4-FFF2-40B4-BE49-F238E27FC236}">
                <a16:creationId xmlns:a16="http://schemas.microsoft.com/office/drawing/2014/main" id="{C778CCA6-BBD8-4369-D5B8-0B3398F701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3600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  <a:sym typeface="Lato Black"/>
              </a:rPr>
              <a:t>HDB| Development Law Financial Instrument Guarantee Fund (</a:t>
            </a:r>
            <a:r>
              <a:rPr lang="en-US" sz="3600" b="1" dirty="0" err="1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  <a:sym typeface="Lato Black"/>
              </a:rPr>
              <a:t>DeLFI</a:t>
            </a:r>
            <a:r>
              <a:rPr lang="en-US" sz="3600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  <a:sym typeface="Lato Black"/>
              </a:rPr>
              <a:t> GF) </a:t>
            </a:r>
            <a:endParaRPr 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0EA40AC3-9F4F-750D-3E14-37A2773B83FA}"/>
              </a:ext>
            </a:extLst>
          </p:cNvPr>
          <p:cNvGrpSpPr/>
          <p:nvPr/>
        </p:nvGrpSpPr>
        <p:grpSpPr>
          <a:xfrm>
            <a:off x="914974" y="1389497"/>
            <a:ext cx="4083423" cy="680022"/>
            <a:chOff x="4132730" y="1969072"/>
            <a:chExt cx="3626222" cy="680022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5EF1A9D7-2C1B-D088-573E-ACA4F1F87816}"/>
                </a:ext>
              </a:extLst>
            </p:cNvPr>
            <p:cNvSpPr/>
            <p:nvPr/>
          </p:nvSpPr>
          <p:spPr>
            <a:xfrm>
              <a:off x="4132730" y="1969072"/>
              <a:ext cx="3626222" cy="680022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2" name="AutoShape 10">
              <a:extLst>
                <a:ext uri="{FF2B5EF4-FFF2-40B4-BE49-F238E27FC236}">
                  <a16:creationId xmlns:a16="http://schemas.microsoft.com/office/drawing/2014/main" id="{3F7B5DA3-FA09-C125-D063-34B300ABB690}"/>
                </a:ext>
              </a:extLst>
            </p:cNvPr>
            <p:cNvSpPr/>
            <p:nvPr/>
          </p:nvSpPr>
          <p:spPr>
            <a:xfrm>
              <a:off x="4531659" y="2043054"/>
              <a:ext cx="2944905" cy="606040"/>
            </a:xfrm>
            <a:prstGeom prst="rect">
              <a:avLst/>
            </a:prstGeom>
            <a:solidFill>
              <a:srgbClr val="85ACD8"/>
            </a:solidFill>
          </p:spPr>
          <p:txBody>
            <a:bodyPr/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A091B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Στόχος</a:t>
              </a:r>
              <a:endPara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9B2CCDAB-CDA0-3103-BB7B-1947EAF35498}"/>
              </a:ext>
            </a:extLst>
          </p:cNvPr>
          <p:cNvGrpSpPr/>
          <p:nvPr/>
        </p:nvGrpSpPr>
        <p:grpSpPr>
          <a:xfrm>
            <a:off x="7251925" y="1377992"/>
            <a:ext cx="4083423" cy="680022"/>
            <a:chOff x="4132730" y="1969072"/>
            <a:chExt cx="3626222" cy="680022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D202BE41-D044-9A1E-9696-818CD8B4B3A7}"/>
                </a:ext>
              </a:extLst>
            </p:cNvPr>
            <p:cNvSpPr/>
            <p:nvPr/>
          </p:nvSpPr>
          <p:spPr>
            <a:xfrm>
              <a:off x="4132730" y="1969072"/>
              <a:ext cx="3626222" cy="680022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7" name="AutoShape 10">
              <a:extLst>
                <a:ext uri="{FF2B5EF4-FFF2-40B4-BE49-F238E27FC236}">
                  <a16:creationId xmlns:a16="http://schemas.microsoft.com/office/drawing/2014/main" id="{F8D6EBEF-4EC8-CAA6-63F6-B850AF11849D}"/>
                </a:ext>
              </a:extLst>
            </p:cNvPr>
            <p:cNvSpPr/>
            <p:nvPr/>
          </p:nvSpPr>
          <p:spPr>
            <a:xfrm>
              <a:off x="4531659" y="2043054"/>
              <a:ext cx="2944905" cy="606040"/>
            </a:xfrm>
            <a:prstGeom prst="rect">
              <a:avLst/>
            </a:prstGeom>
            <a:solidFill>
              <a:srgbClr val="85ACD8"/>
            </a:solidFill>
          </p:spPr>
          <p:txBody>
            <a:bodyPr/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281F76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Χαρακτηριστικά</a:t>
              </a:r>
              <a:endPara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281F76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A3FBA103-6EFF-0251-99FA-FD11FB7C82DD}"/>
              </a:ext>
            </a:extLst>
          </p:cNvPr>
          <p:cNvGrpSpPr/>
          <p:nvPr/>
        </p:nvGrpSpPr>
        <p:grpSpPr>
          <a:xfrm>
            <a:off x="13588876" y="1377992"/>
            <a:ext cx="4083423" cy="680022"/>
            <a:chOff x="4132730" y="1969072"/>
            <a:chExt cx="3626222" cy="680022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3CF1350F-4169-3F21-C8C8-D94F0A95DA9E}"/>
                </a:ext>
              </a:extLst>
            </p:cNvPr>
            <p:cNvSpPr/>
            <p:nvPr/>
          </p:nvSpPr>
          <p:spPr>
            <a:xfrm>
              <a:off x="4132730" y="1969072"/>
              <a:ext cx="3626222" cy="680022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0" name="AutoShape 10">
              <a:extLst>
                <a:ext uri="{FF2B5EF4-FFF2-40B4-BE49-F238E27FC236}">
                  <a16:creationId xmlns:a16="http://schemas.microsoft.com/office/drawing/2014/main" id="{C3458E85-429F-00EF-3460-9DEC48E2AF5F}"/>
                </a:ext>
              </a:extLst>
            </p:cNvPr>
            <p:cNvSpPr/>
            <p:nvPr/>
          </p:nvSpPr>
          <p:spPr>
            <a:xfrm>
              <a:off x="4531659" y="2043054"/>
              <a:ext cx="2944905" cy="606040"/>
            </a:xfrm>
            <a:prstGeom prst="rect">
              <a:avLst/>
            </a:prstGeom>
            <a:solidFill>
              <a:srgbClr val="85ACD8"/>
            </a:solidFill>
          </p:spPr>
          <p:txBody>
            <a:bodyPr/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281F76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Βασικά Οφέλη</a:t>
              </a:r>
              <a:endPara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281F76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B1F91AD5-E349-8BED-66E9-A4B94D9ADDAB}"/>
              </a:ext>
            </a:extLst>
          </p:cNvPr>
          <p:cNvSpPr txBox="1"/>
          <p:nvPr/>
        </p:nvSpPr>
        <p:spPr>
          <a:xfrm>
            <a:off x="65380" y="2240388"/>
            <a:ext cx="6347514" cy="67556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1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Χρηματοδότηση Επενδύσεων</a:t>
            </a:r>
          </a:p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Η κάλυψη της χρηματοδότησης επενδυτικών έργων ΜΜΕ, τα οποία έχουν εγκριθεί στο πλαίσιο των 13 Καθεστώτων του Νέου Αναπτυξιακού Νόμου 4887/2022. </a:t>
            </a:r>
          </a:p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Πιο συγκεκριμένα, οι ευνοϊκές χρηματοδοτήσεις, με την εγγύηση της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H.D.B. </a:t>
            </a: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Θα αφορούν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342900" marR="0" lvl="0" indent="-342900" algn="l" defTabSz="13716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Το μέρος της Ιδιωτικής Συμμετοχής του Χρηματοδοτικού Σχήματος του Επενδυτικού Σχεδίου (Μ/Μ Δάνειο)</a:t>
            </a:r>
          </a:p>
          <a:p>
            <a:pPr marL="342900" marR="0" lvl="0" indent="-342900" algn="l" defTabSz="13716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Το μέρος της Επιχορήγησης (Βραχ/μο Δάνειο), για παροχή ρευστότητας </a:t>
            </a:r>
            <a:r>
              <a:rPr kumimoji="0" lang="el-GR" sz="2400" b="1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έναντι αυτής</a:t>
            </a: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ώστε να ολοκληρωθεί συντομότερα και αρτιότερα το Επενδυτικό Σχέδιο</a:t>
            </a:r>
          </a:p>
          <a:p>
            <a:pPr marL="342900" marR="0" lvl="0" indent="-342900" algn="l" defTabSz="13716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Αφορά κάθε δαπάνη που περιλαμβάνεται στο  εγκεκριμένο επενδυτικό σχέδιο.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FADCF3AE-68C3-0A60-44B4-A4E239B21963}"/>
              </a:ext>
            </a:extLst>
          </p:cNvPr>
          <p:cNvSpPr txBox="1"/>
          <p:nvPr/>
        </p:nvSpPr>
        <p:spPr>
          <a:xfrm>
            <a:off x="6598163" y="1998342"/>
            <a:ext cx="5806053" cy="71096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3716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1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Σκοπός</a:t>
            </a:r>
          </a:p>
          <a:p>
            <a:pPr marL="0" marR="0" lvl="0" indent="0" algn="l" defTabSz="13716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Εγγύηση </a:t>
            </a:r>
            <a:r>
              <a:rPr kumimoji="0" lang="el-GR" sz="2400" b="1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80%</a:t>
            </a: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για Επενδυτικά Δάνεια</a:t>
            </a:r>
          </a:p>
          <a:p>
            <a:pPr marL="0" marR="0" lvl="0" indent="0" algn="l" defTabSz="13716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Cap Guarantee Rate 25%</a:t>
            </a:r>
          </a:p>
          <a:p>
            <a:pPr marL="0" marR="0" lvl="0" indent="0" algn="l" defTabSz="13716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400" b="0" i="0" u="none" strike="noStrike" kern="1200" cap="none" spc="0" normalizeH="0" baseline="0" noProof="0" dirty="0">
              <a:ln>
                <a:noFill/>
              </a:ln>
              <a:solidFill>
                <a:srgbClr val="021342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13716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1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Ύψος Δανείων </a:t>
            </a:r>
          </a:p>
          <a:p>
            <a:pPr marL="0" marR="0" lvl="0" indent="0" algn="l" defTabSz="13716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Συνολικά και τα δύο δάνεια ανέρχονται σε: €50χιλ έως €10 εκ. 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21342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13716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400" b="0" i="0" u="none" strike="noStrike" kern="1200" cap="none" spc="0" normalizeH="0" baseline="0" noProof="0" dirty="0">
              <a:ln>
                <a:noFill/>
              </a:ln>
              <a:solidFill>
                <a:srgbClr val="021342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13716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1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Διάρκεια Δανείων</a:t>
            </a:r>
          </a:p>
          <a:p>
            <a:pPr marL="0" marR="0" lvl="0" indent="-342900" algn="l" defTabSz="13716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1 έως 10 έτη, Μ/Μ Δάνειο έναντι της Ι.Σ.</a:t>
            </a:r>
          </a:p>
          <a:p>
            <a:pPr marL="342900" marR="0" lvl="0" indent="-342900" algn="l" defTabSz="13716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1 έως 5 έτη ( Βραχ/μο Δάνειο έναντι επιχορήγησης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– </a:t>
            </a:r>
            <a:r>
              <a:rPr lang="en-US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ullet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payment</a:t>
            </a: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21342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R="0" lvl="0" algn="l" defTabSz="13716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l-GR" sz="2400" b="0" i="0" u="none" strike="noStrike" kern="1200" cap="none" spc="0" normalizeH="0" baseline="0" noProof="0" dirty="0">
              <a:ln>
                <a:noFill/>
              </a:ln>
              <a:solidFill>
                <a:srgbClr val="021342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13716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1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Περίοδος Χάριτος</a:t>
            </a:r>
          </a:p>
          <a:p>
            <a:pPr marL="0" marR="0" lvl="0" indent="0" algn="l" defTabSz="13716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Έως 36 μήνες</a:t>
            </a:r>
          </a:p>
          <a:p>
            <a:pPr marL="0" marR="0" lvl="0" indent="0" algn="l" defTabSz="13716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400" b="1" dirty="0">
              <a:solidFill>
                <a:srgbClr val="0213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13716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2400" b="1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Προϋποθέσεις επιλεξιμότητας</a:t>
            </a:r>
          </a:p>
          <a:p>
            <a:pPr marL="342900" marR="0" lvl="0" indent="-342900" algn="l" defTabSz="13716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Έναρξη εργασιών μετά την αίτηση στο </a:t>
            </a:r>
            <a:r>
              <a:rPr lang="en-US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YC</a:t>
            </a:r>
            <a:endParaRPr lang="el-GR" sz="2400" dirty="0">
              <a:solidFill>
                <a:srgbClr val="0213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 algn="l" defTabSz="13716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Λήψη απόφασης υπαγωγής</a:t>
            </a:r>
            <a:endParaRPr lang="en-US" sz="2400" dirty="0">
              <a:solidFill>
                <a:srgbClr val="0213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3A3E68CA-074C-265C-831F-A30A43A48CCC}"/>
              </a:ext>
            </a:extLst>
          </p:cNvPr>
          <p:cNvSpPr txBox="1"/>
          <p:nvPr/>
        </p:nvSpPr>
        <p:spPr>
          <a:xfrm>
            <a:off x="12707025" y="2058014"/>
            <a:ext cx="5364000" cy="6740307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400" b="0" i="0" u="none" strike="noStrike" kern="1200" cap="none" spc="0" normalizeH="0" baseline="0" noProof="0" dirty="0">
              <a:ln>
                <a:noFill/>
              </a:ln>
              <a:solidFill>
                <a:srgbClr val="021342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marR="0" lvl="0" indent="-457200" algn="just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Μειωμένο Επιτόκιο λόγω της εγγύησης που παρέχεται από την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H.D.B., </a:t>
            </a: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για την όλη τη διάρκεια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του δανείου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Οι συνεργαζόμενοι ΕΧΟ υπέβαλαν εύρος περιθωρίου επιτοκίου</a:t>
            </a:r>
            <a:endParaRPr kumimoji="0" lang="el-GR" sz="2400" b="0" i="0" u="none" strike="noStrike" kern="1200" cap="none" spc="0" normalizeH="0" baseline="0" noProof="0" dirty="0">
              <a:ln>
                <a:noFill/>
              </a:ln>
              <a:solidFill>
                <a:srgbClr val="021342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Με </a:t>
            </a:r>
            <a:r>
              <a:rPr kumimoji="0" lang="el-GR" sz="2400" b="1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ανώτατο περιθώριο </a:t>
            </a: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επιτοκίου που θα καθοριστεί κατά την επιλογή των Τραπεζών από την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HDB</a:t>
            </a: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400" b="0" i="0" u="none" strike="noStrike" kern="1200" cap="none" spc="0" normalizeH="0" baseline="0" noProof="0" dirty="0">
              <a:ln>
                <a:noFill/>
              </a:ln>
              <a:solidFill>
                <a:srgbClr val="021342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Με</a:t>
            </a:r>
            <a:r>
              <a:rPr kumimoji="0" lang="el-GR" sz="2400" b="1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μειωμένες εξασφαλίσεις έως 40% το μέγιστο ή καθόλου εμπράγματες εξασφαλίσεις για τα βραχυπρόθεσμα δάνεια λόγω</a:t>
            </a: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της εγγύησης της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H.D.B.</a:t>
            </a:r>
          </a:p>
          <a:p>
            <a:pPr marL="342900" marR="0" lvl="0" indent="-34290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21342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02134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Ευέλικτοι τρόποι αποπληρωμής της χρηματοδότησης</a:t>
            </a:r>
          </a:p>
        </p:txBody>
      </p:sp>
    </p:spTree>
    <p:extLst>
      <p:ext uri="{BB962C8B-B14F-4D97-AF65-F5344CB8AC3E}">
        <p14:creationId xmlns:p14="http://schemas.microsoft.com/office/powerpoint/2010/main" val="13920552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3" name="Google Shape;1253;p92"/>
          <p:cNvCxnSpPr/>
          <p:nvPr/>
        </p:nvCxnSpPr>
        <p:spPr>
          <a:xfrm>
            <a:off x="1122866" y="-1311276"/>
            <a:ext cx="0" cy="0"/>
          </a:xfrm>
          <a:prstGeom prst="straightConnector1">
            <a:avLst/>
          </a:prstGeom>
          <a:noFill/>
          <a:ln>
            <a:noFill/>
          </a:ln>
        </p:spPr>
      </p:cxnSp>
      <p:cxnSp>
        <p:nvCxnSpPr>
          <p:cNvPr id="1254" name="Google Shape;1254;p92"/>
          <p:cNvCxnSpPr/>
          <p:nvPr/>
        </p:nvCxnSpPr>
        <p:spPr>
          <a:xfrm>
            <a:off x="1122866" y="-1311276"/>
            <a:ext cx="0" cy="0"/>
          </a:xfrm>
          <a:prstGeom prst="straightConnector1">
            <a:avLst/>
          </a:prstGeom>
          <a:noFill/>
          <a:ln>
            <a:noFill/>
          </a:ln>
        </p:spPr>
      </p:cxnSp>
      <p:sp>
        <p:nvSpPr>
          <p:cNvPr id="1255" name="Google Shape;1255;p92"/>
          <p:cNvSpPr/>
          <p:nvPr/>
        </p:nvSpPr>
        <p:spPr>
          <a:xfrm>
            <a:off x="7361907" y="12267"/>
            <a:ext cx="10923712" cy="1028953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54569" y="0"/>
                </a:moveTo>
                <a:lnTo>
                  <a:pt x="75779" y="0"/>
                </a:lnTo>
                <a:lnTo>
                  <a:pt x="103675" y="0"/>
                </a:lnTo>
                <a:lnTo>
                  <a:pt x="104195" y="0"/>
                </a:lnTo>
                <a:lnTo>
                  <a:pt x="116872" y="0"/>
                </a:lnTo>
                <a:lnTo>
                  <a:pt x="119999" y="0"/>
                </a:lnTo>
                <a:lnTo>
                  <a:pt x="119999" y="120000"/>
                </a:lnTo>
                <a:lnTo>
                  <a:pt x="116872" y="120000"/>
                </a:lnTo>
                <a:lnTo>
                  <a:pt x="104195" y="120000"/>
                </a:lnTo>
                <a:lnTo>
                  <a:pt x="103675" y="120000"/>
                </a:lnTo>
                <a:lnTo>
                  <a:pt x="75779" y="120000"/>
                </a:lnTo>
                <a:lnTo>
                  <a:pt x="0" y="120000"/>
                </a:lnTo>
                <a:close/>
              </a:path>
            </a:pathLst>
          </a:custGeom>
          <a:solidFill>
            <a:schemeClr val="accent2">
              <a:alpha val="78431"/>
            </a:schemeClr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Tx/>
              <a:buNone/>
              <a:tabLst/>
              <a:defRPr/>
            </a:pPr>
            <a:endParaRPr kumimoji="0" sz="2700" b="0" i="0" u="none" strike="noStrike" kern="1200" cap="none" spc="0" normalizeH="0" baseline="0" noProof="0">
              <a:ln>
                <a:noFill/>
              </a:ln>
              <a:solidFill>
                <a:srgbClr val="343444"/>
              </a:solidFill>
              <a:effectLst/>
              <a:uLnTx/>
              <a:uFillTx/>
              <a:latin typeface="Calibri" panose="020F0502020204030204" pitchFamily="34" charset="0"/>
              <a:ea typeface="Lato Light"/>
              <a:cs typeface="Calibri" panose="020F0502020204030204" pitchFamily="34" charset="0"/>
              <a:sym typeface="Lato Light"/>
            </a:endParaRPr>
          </a:p>
        </p:txBody>
      </p:sp>
      <p:cxnSp>
        <p:nvCxnSpPr>
          <p:cNvPr id="1258" name="Google Shape;1258;p92"/>
          <p:cNvCxnSpPr/>
          <p:nvPr/>
        </p:nvCxnSpPr>
        <p:spPr>
          <a:xfrm>
            <a:off x="13272864" y="9600698"/>
            <a:ext cx="5045045" cy="0"/>
          </a:xfrm>
          <a:prstGeom prst="straightConnector1">
            <a:avLst/>
          </a:prstGeom>
          <a:noFill/>
          <a:ln w="38100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259" name="Google Shape;1259;p92"/>
          <p:cNvCxnSpPr/>
          <p:nvPr/>
        </p:nvCxnSpPr>
        <p:spPr>
          <a:xfrm>
            <a:off x="9964352" y="6126653"/>
            <a:ext cx="8321267" cy="0"/>
          </a:xfrm>
          <a:prstGeom prst="straightConnector1">
            <a:avLst/>
          </a:prstGeom>
          <a:noFill/>
          <a:ln w="38100" cap="flat" cmpd="sng">
            <a:solidFill>
              <a:schemeClr val="bg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" name="Google Shape;1256;p92">
            <a:extLst>
              <a:ext uri="{FF2B5EF4-FFF2-40B4-BE49-F238E27FC236}">
                <a16:creationId xmlns:a16="http://schemas.microsoft.com/office/drawing/2014/main" id="{2754C4E4-7B11-439E-A20D-43C1102A5F9C}"/>
              </a:ext>
            </a:extLst>
          </p:cNvPr>
          <p:cNvSpPr txBox="1"/>
          <p:nvPr/>
        </p:nvSpPr>
        <p:spPr>
          <a:xfrm>
            <a:off x="7135036" y="7018618"/>
            <a:ext cx="10923713" cy="11956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r" defTabSz="1371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500"/>
              <a:buFontTx/>
              <a:buNone/>
              <a:tabLst/>
              <a:defRPr/>
            </a:pPr>
            <a:r>
              <a:rPr lang="en-US" sz="6000" b="1" dirty="0">
                <a:solidFill>
                  <a:schemeClr val="bg2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Risk Sharing </a:t>
            </a:r>
          </a:p>
          <a:p>
            <a:pPr marL="0" marR="0" lvl="0" indent="0" algn="r" defTabSz="1371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500"/>
              <a:buFontTx/>
              <a:buNone/>
              <a:tabLst/>
              <a:defRPr/>
            </a:pPr>
            <a:r>
              <a:rPr lang="el-GR" sz="4400" b="1" dirty="0">
                <a:solidFill>
                  <a:schemeClr val="bg2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Συγχρηματοδότηση Δανείων</a:t>
            </a:r>
            <a:endParaRPr sz="4400" b="1" dirty="0">
              <a:solidFill>
                <a:schemeClr val="bg2"/>
              </a:solidFill>
              <a:latin typeface="Calibri" panose="020F0502020204030204" pitchFamily="34" charset="0"/>
              <a:ea typeface="Lato Black"/>
              <a:cs typeface="Calibri" panose="020F0502020204030204" pitchFamily="34" charset="0"/>
              <a:sym typeface="Lato Black"/>
            </a:endParaRPr>
          </a:p>
        </p:txBody>
      </p:sp>
    </p:spTree>
    <p:extLst>
      <p:ext uri="{BB962C8B-B14F-4D97-AF65-F5344CB8AC3E}">
        <p14:creationId xmlns:p14="http://schemas.microsoft.com/office/powerpoint/2010/main" val="26960237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34">
            <a:extLst>
              <a:ext uri="{FF2B5EF4-FFF2-40B4-BE49-F238E27FC236}">
                <a16:creationId xmlns:a16="http://schemas.microsoft.com/office/drawing/2014/main" id="{9A1D8E2B-2379-2998-956D-27A5D59526A2}"/>
              </a:ext>
            </a:extLst>
          </p:cNvPr>
          <p:cNvSpPr txBox="1"/>
          <p:nvPr/>
        </p:nvSpPr>
        <p:spPr>
          <a:xfrm>
            <a:off x="569090" y="1354068"/>
            <a:ext cx="17556915" cy="74174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371600" rtl="0" eaLnBrk="1" fontAlgn="auto" latinLnBrk="0" hangingPunct="1">
              <a:buClrTx/>
              <a:buSzTx/>
              <a:buFontTx/>
              <a:buNone/>
              <a:tabLst/>
              <a:defRPr/>
            </a:pPr>
            <a:r>
              <a:rPr kumimoji="0" lang="el-GR" sz="3000" b="0" i="0" u="none" strike="noStrike" kern="1200" cap="none" spc="0" normalizeH="0" baseline="0" noProof="0" dirty="0">
                <a:ln>
                  <a:noFill/>
                </a:ln>
                <a:solidFill>
                  <a:srgbClr val="272733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Το Ταμείο υλοποιείται σε συνεργασία με </a:t>
            </a:r>
            <a:r>
              <a:rPr kumimoji="0" lang="el-GR" sz="3000" b="1" i="0" u="none" strike="noStrike" kern="1200" cap="none" spc="0" normalizeH="0" baseline="0" noProof="0" dirty="0">
                <a:ln>
                  <a:noFill/>
                </a:ln>
                <a:solidFill>
                  <a:srgbClr val="272733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το Υπουργείο Αγροτικής Ανάπτυξης και Τροφίμων </a:t>
            </a:r>
            <a:r>
              <a:rPr kumimoji="0" lang="el-GR" sz="3000" b="0" i="0" u="none" strike="noStrike" kern="1200" cap="none" spc="0" normalizeH="0" baseline="0" noProof="0" dirty="0">
                <a:ln>
                  <a:noFill/>
                </a:ln>
                <a:solidFill>
                  <a:srgbClr val="272733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με σκοπό τη στήριξη των ΜΜΕ που δραστηριοποιούνται στον </a:t>
            </a:r>
            <a:r>
              <a:rPr kumimoji="0" lang="el-GR" sz="3000" b="1" i="0" u="none" strike="noStrike" kern="1200" cap="none" spc="0" normalizeH="0" baseline="0" noProof="0" dirty="0">
                <a:ln>
                  <a:noFill/>
                </a:ln>
                <a:solidFill>
                  <a:srgbClr val="272733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αγροτικό</a:t>
            </a:r>
            <a:r>
              <a:rPr kumimoji="0" lang="el-GR" sz="3000" b="0" i="0" u="none" strike="noStrike" kern="1200" cap="none" spc="0" normalizeH="0" baseline="0" noProof="0" dirty="0">
                <a:ln>
                  <a:noFill/>
                </a:ln>
                <a:solidFill>
                  <a:srgbClr val="272733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και </a:t>
            </a:r>
            <a:r>
              <a:rPr kumimoji="0" lang="el-GR" sz="3000" b="1" i="0" u="none" strike="noStrike" kern="1200" cap="none" spc="0" normalizeH="0" baseline="0" noProof="0" dirty="0">
                <a:ln>
                  <a:noFill/>
                </a:ln>
                <a:solidFill>
                  <a:srgbClr val="272733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μεταποιητικό κλάδο</a:t>
            </a:r>
            <a:r>
              <a:rPr kumimoji="0" lang="el-GR" sz="3000" b="0" i="0" u="none" strike="noStrike" kern="1200" cap="none" spc="0" normalizeH="0" baseline="0" noProof="0" dirty="0">
                <a:ln>
                  <a:noFill/>
                </a:ln>
                <a:solidFill>
                  <a:srgbClr val="272733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1371600" rtl="0" eaLnBrk="1" fontAlgn="auto" latinLnBrk="0" hangingPunct="1"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0" dirty="0">
              <a:ln>
                <a:noFill/>
              </a:ln>
              <a:solidFill>
                <a:srgbClr val="272733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marR="0" lvl="0" indent="-457200" algn="l" defTabSz="1371600" rtl="0" eaLnBrk="1" fontAlgn="auto" latinLnBrk="0" hangingPunct="1">
              <a:lnSpc>
                <a:spcPts val="3600"/>
              </a:lnSpc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l-GR" sz="2800" b="1" i="0" u="none" strike="noStrike" kern="1200" cap="none" spc="0" normalizeH="0" baseline="0" noProof="0" dirty="0">
                <a:ln>
                  <a:noFill/>
                </a:ln>
                <a:solidFill>
                  <a:srgbClr val="272733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Παρέχει </a:t>
            </a:r>
            <a:r>
              <a:rPr lang="el-GR" sz="2800" b="1" dirty="0">
                <a:solidFill>
                  <a:srgbClr val="2727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δάνεια Επενδυτικού </a:t>
            </a:r>
            <a:r>
              <a:rPr kumimoji="0" lang="el-GR" sz="28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Σκοπού με δυνατότητα λήψης κεφ. κίνησης </a:t>
            </a:r>
            <a:endParaRPr kumimoji="0" lang="el-GR" sz="2800" b="1" i="0" u="none" strike="noStrike" kern="1200" cap="none" spc="0" normalizeH="0" baseline="0" noProof="0" dirty="0">
              <a:ln>
                <a:noFill/>
              </a:ln>
              <a:solidFill>
                <a:srgbClr val="272733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lnSpc>
                <a:spcPts val="3600"/>
              </a:lnSpc>
              <a:buFont typeface="Wingdings" panose="05000000000000000000" pitchFamily="2" charset="2"/>
              <a:buChar char="§"/>
              <a:defRPr/>
            </a:pPr>
            <a:r>
              <a:rPr lang="el-GR" sz="2800" b="1" dirty="0">
                <a:solidFill>
                  <a:srgbClr val="0A091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Σε κάθε δάνειο συμμετέχουν: 50% ΕΑΤ (ΑΤΟΚΑ) - 50% Τράπεζες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0F2755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indent="-457200">
              <a:lnSpc>
                <a:spcPts val="3600"/>
              </a:lnSpc>
              <a:buFont typeface="Wingdings" panose="05000000000000000000" pitchFamily="2" charset="2"/>
              <a:buChar char="§"/>
              <a:defRPr/>
            </a:pPr>
            <a:r>
              <a:rPr lang="el-GR" sz="2800" b="1" dirty="0">
                <a:solidFill>
                  <a:srgbClr val="0A091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Όφελος Επιχείρησης: 100% </a:t>
            </a:r>
            <a:r>
              <a:rPr lang="el-GR" sz="2800" dirty="0">
                <a:solidFill>
                  <a:srgbClr val="0A091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Επιδότηση Επιτοκίου για τα </a:t>
            </a:r>
            <a:r>
              <a:rPr lang="el-GR" sz="2800" b="1" dirty="0">
                <a:solidFill>
                  <a:srgbClr val="0A091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 πρώτα έτη </a:t>
            </a:r>
            <a:r>
              <a:rPr lang="el-GR" sz="2800" dirty="0">
                <a:solidFill>
                  <a:srgbClr val="0A091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+ Μειωμένο επιτόκιο κατά </a:t>
            </a:r>
            <a:r>
              <a:rPr lang="en-US" sz="2800" b="1" dirty="0">
                <a:solidFill>
                  <a:srgbClr val="0A091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  <a:r>
              <a:rPr lang="el-GR" sz="2800" b="1" dirty="0">
                <a:solidFill>
                  <a:srgbClr val="0A091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%</a:t>
            </a:r>
            <a:r>
              <a:rPr lang="el-GR" sz="2800" dirty="0">
                <a:solidFill>
                  <a:srgbClr val="0A091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για τα </a:t>
            </a:r>
            <a:r>
              <a:rPr lang="el-GR" sz="2800" b="1" dirty="0">
                <a:solidFill>
                  <a:srgbClr val="2727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υπόλοιπα έτη λόγω συμμετοχής της </a:t>
            </a:r>
            <a:r>
              <a:rPr lang="en-US" sz="2800" b="1" dirty="0">
                <a:solidFill>
                  <a:srgbClr val="2727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DB.</a:t>
            </a:r>
            <a:endParaRPr lang="el-GR" sz="2800" b="1" dirty="0">
              <a:solidFill>
                <a:srgbClr val="27273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marR="0" lvl="0" indent="-285750" fontAlgn="auto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l-GR" sz="2800" b="1" dirty="0">
                <a:solidFill>
                  <a:srgbClr val="2727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Εξασφαλίσεις: μόνο προσωπικές εγγυήσεις  </a:t>
            </a:r>
          </a:p>
          <a:p>
            <a:pPr marL="285750" indent="-285750">
              <a:lnSpc>
                <a:spcPts val="3600"/>
              </a:lnSpc>
              <a:buFont typeface="Wingdings" panose="05000000000000000000" pitchFamily="2" charset="2"/>
              <a:buChar char="§"/>
              <a:defRPr/>
            </a:pPr>
            <a:r>
              <a:rPr lang="el-GR" sz="2800" b="1" dirty="0">
                <a:solidFill>
                  <a:srgbClr val="2727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Δημόσια δαπάνη: € 61,5 εκ.</a:t>
            </a:r>
            <a:r>
              <a:rPr lang="el-GR" sz="2800" b="1" dirty="0">
                <a:solidFill>
                  <a:srgbClr val="272733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en-US" sz="2800" b="1" dirty="0">
                <a:solidFill>
                  <a:srgbClr val="272733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(</a:t>
            </a:r>
            <a:r>
              <a:rPr lang="el-GR" sz="2800" b="1" dirty="0">
                <a:solidFill>
                  <a:srgbClr val="272733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αρχική €21,5 εκ. + νέα €40 εκ.)</a:t>
            </a:r>
          </a:p>
          <a:p>
            <a:pPr marL="285750" indent="-285750">
              <a:lnSpc>
                <a:spcPts val="3600"/>
              </a:lnSpc>
              <a:buFont typeface="Wingdings" panose="05000000000000000000" pitchFamily="2" charset="2"/>
              <a:buChar char="§"/>
              <a:defRPr/>
            </a:pPr>
            <a:r>
              <a:rPr lang="el-GR" sz="2800" b="1" dirty="0">
                <a:solidFill>
                  <a:srgbClr val="2727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Χαρτοφυλάκιο Δανείων €168,5 εκ. </a:t>
            </a:r>
          </a:p>
          <a:p>
            <a:pPr marL="285750" indent="-285750">
              <a:lnSpc>
                <a:spcPts val="3600"/>
              </a:lnSpc>
              <a:buFont typeface="Wingdings" panose="05000000000000000000" pitchFamily="2" charset="2"/>
              <a:buChar char="§"/>
              <a:defRPr/>
            </a:pPr>
            <a:r>
              <a:rPr lang="el-GR" sz="2800" b="1" dirty="0">
                <a:solidFill>
                  <a:srgbClr val="272733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Ε</a:t>
            </a:r>
            <a:r>
              <a:rPr lang="el-GR" sz="2800" b="1" dirty="0">
                <a:solidFill>
                  <a:srgbClr val="2727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πιχορήγηση </a:t>
            </a:r>
            <a:r>
              <a:rPr lang="en-US" sz="2800" b="1" dirty="0">
                <a:solidFill>
                  <a:srgbClr val="2727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ntoring: </a:t>
            </a:r>
            <a:r>
              <a:rPr lang="el-GR" sz="2800" b="1" dirty="0">
                <a:solidFill>
                  <a:srgbClr val="2727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Έως €300 ανά επιχείρηση. </a:t>
            </a:r>
          </a:p>
          <a:p>
            <a:pPr marL="285750" marR="0" lvl="0" indent="-285750" fontAlgn="auto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l-GR" sz="2800" b="1" dirty="0">
                <a:solidFill>
                  <a:srgbClr val="2727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Λήξη Περιόδου Επιλεξιμότητας: 31.12.2025</a:t>
            </a:r>
          </a:p>
          <a:p>
            <a:pPr marL="457200" marR="0" lvl="0" indent="-457200" fontAlgn="auto">
              <a:lnSpc>
                <a:spcPct val="150000"/>
              </a:lnSpc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lang="el-GR" sz="2800" b="1" dirty="0">
              <a:solidFill>
                <a:srgbClr val="27273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marR="0" lvl="0" indent="-457200" algn="l" defTabSz="1371600" rtl="0" eaLnBrk="1" fontAlgn="auto" latinLnBrk="0" hangingPunct="1">
              <a:lnSpc>
                <a:spcPct val="150000"/>
              </a:lnSpc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l-GR" sz="2800" b="0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3200" b="1" i="0" u="none" strike="noStrike" kern="1200" cap="none" spc="0" normalizeH="0" baseline="0" noProof="0" dirty="0">
              <a:ln>
                <a:noFill/>
              </a:ln>
              <a:solidFill>
                <a:srgbClr val="0F2755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Θέση κειμένου 6">
            <a:extLst>
              <a:ext uri="{FF2B5EF4-FFF2-40B4-BE49-F238E27FC236}">
                <a16:creationId xmlns:a16="http://schemas.microsoft.com/office/drawing/2014/main" id="{7289DF21-6CD1-C95A-F489-11B833FF028C}"/>
              </a:ext>
            </a:extLst>
          </p:cNvPr>
          <p:cNvSpPr txBox="1">
            <a:spLocks/>
          </p:cNvSpPr>
          <p:nvPr/>
        </p:nvSpPr>
        <p:spPr>
          <a:xfrm>
            <a:off x="263766" y="4057434"/>
            <a:ext cx="10440092" cy="2893100"/>
          </a:xfrm>
          <a:prstGeom prst="rect">
            <a:avLst/>
          </a:prstGeom>
        </p:spPr>
        <p:txBody>
          <a:bodyPr rtlCol="0"/>
          <a:lstStyle>
            <a:lvl1pPr marL="257175" indent="-257175" algn="l" defTabSz="1028700" rtl="0" eaLnBrk="1" latinLnBrk="0" hangingPunct="1">
              <a:lnSpc>
                <a:spcPct val="90000"/>
              </a:lnSpc>
              <a:spcBef>
                <a:spcPts val="1125"/>
              </a:spcBef>
              <a:buFont typeface="Arial" panose="020B0604020202020204" pitchFamily="34" charset="0"/>
              <a:buChar char="•"/>
              <a:defRPr sz="31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7152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587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022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1457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2892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327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5762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7197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8700" rtl="0" eaLnBrk="1" fontAlgn="auto" latinLnBrk="0" hangingPunct="1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l-GR" sz="2800" b="0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D9EFCBE-108E-0C81-900B-C175FAC8D55E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16601" y="6879080"/>
            <a:ext cx="18304601" cy="2893100"/>
          </a:xfrm>
          <a:prstGeom prst="rect">
            <a:avLst/>
          </a:prstGeom>
        </p:spPr>
      </p:pic>
      <p:pic>
        <p:nvPicPr>
          <p:cNvPr id="26" name="Picture 6">
            <a:extLst>
              <a:ext uri="{FF2B5EF4-FFF2-40B4-BE49-F238E27FC236}">
                <a16:creationId xmlns:a16="http://schemas.microsoft.com/office/drawing/2014/main" id="{FC43F4D9-04B4-D9BB-A89B-0FA09AAAD27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>
            <a:off x="101771" y="6950534"/>
            <a:ext cx="2331186" cy="1637496"/>
          </a:xfrm>
          <a:prstGeom prst="rect">
            <a:avLst/>
          </a:prstGeom>
        </p:spPr>
      </p:pic>
      <p:sp>
        <p:nvSpPr>
          <p:cNvPr id="2" name="object 3">
            <a:extLst>
              <a:ext uri="{FF2B5EF4-FFF2-40B4-BE49-F238E27FC236}">
                <a16:creationId xmlns:a16="http://schemas.microsoft.com/office/drawing/2014/main" id="{0EC68861-AE4E-926A-F921-1CB5DC92C9B3}"/>
              </a:ext>
            </a:extLst>
          </p:cNvPr>
          <p:cNvSpPr txBox="1">
            <a:spLocks/>
          </p:cNvSpPr>
          <p:nvPr/>
        </p:nvSpPr>
        <p:spPr>
          <a:xfrm>
            <a:off x="639093" y="525167"/>
            <a:ext cx="18007633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algn="l" defTabSz="10287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281F76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marR="0" lvl="0" indent="0" algn="l" defTabSz="10287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Lato Black"/>
                <a:cs typeface="Calibri" panose="020F0502020204030204" pitchFamily="34" charset="0"/>
              </a:rPr>
              <a:t>HDB | </a:t>
            </a:r>
            <a:r>
              <a:rPr kumimoji="0" lang="el-GR" sz="3600" b="1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Lato Black"/>
                <a:cs typeface="Calibri" panose="020F0502020204030204" pitchFamily="34" charset="0"/>
              </a:rPr>
              <a:t>ΤΑΜΕΙΟ ΜΙΚΡΩΝ ΔΑΝΕΙΩΝ ΑΓΡΟΤΙΚΗΣ ΕΠΙΧΕΙΡΗΜΑΤΙΚΟΤΗΤΑΣ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B46777A-5AE7-6B98-6534-94CCEB3FCFC9}"/>
              </a:ext>
            </a:extLst>
          </p:cNvPr>
          <p:cNvSpPr txBox="1"/>
          <p:nvPr/>
        </p:nvSpPr>
        <p:spPr>
          <a:xfrm>
            <a:off x="5423849" y="9317870"/>
            <a:ext cx="1208686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1028700" rtl="0" eaLnBrk="1" fontAlgn="auto" latinLnBrk="0" hangingPunct="1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1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Το Ταμείο χρηματοδοτείται εξ’ ολοκλήρου από το Μέσο Ανάκαμψης μέσω του Προγράμματος Αγροτικής Ανάπτυξης (ΠΑΑ) 2014-2020 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659C65D-61C7-6D9A-F127-760046958CBC}"/>
              </a:ext>
            </a:extLst>
          </p:cNvPr>
          <p:cNvGrpSpPr/>
          <p:nvPr/>
        </p:nvGrpSpPr>
        <p:grpSpPr>
          <a:xfrm>
            <a:off x="2747882" y="9266284"/>
            <a:ext cx="2240978" cy="740652"/>
            <a:chOff x="8827263" y="6216966"/>
            <a:chExt cx="2215284" cy="641671"/>
          </a:xfrm>
        </p:grpSpPr>
        <p:pic>
          <p:nvPicPr>
            <p:cNvPr id="9" name="Picture 8" descr="Diagram, text&#10;&#10;Description automatically generated with medium confidence">
              <a:extLst>
                <a:ext uri="{FF2B5EF4-FFF2-40B4-BE49-F238E27FC236}">
                  <a16:creationId xmlns:a16="http://schemas.microsoft.com/office/drawing/2014/main" id="{98917E0A-8542-1AC6-F125-C4341FA7140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27263" y="6216966"/>
              <a:ext cx="587366" cy="641671"/>
            </a:xfrm>
            <a:prstGeom prst="rect">
              <a:avLst/>
            </a:prstGeom>
            <a:noFill/>
          </p:spPr>
        </p:pic>
        <p:pic>
          <p:nvPicPr>
            <p:cNvPr id="12" name="Picture 2">
              <a:extLst>
                <a:ext uri="{FF2B5EF4-FFF2-40B4-BE49-F238E27FC236}">
                  <a16:creationId xmlns:a16="http://schemas.microsoft.com/office/drawing/2014/main" id="{530887E8-1ED3-3528-79C1-8603BF8FBEB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45782" y="6351043"/>
              <a:ext cx="1596765" cy="363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20744184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 Placeholder 1">
            <a:extLst>
              <a:ext uri="{FF2B5EF4-FFF2-40B4-BE49-F238E27FC236}">
                <a16:creationId xmlns:a16="http://schemas.microsoft.com/office/drawing/2014/main" id="{413443A5-468E-F42B-AC7B-765523A2EC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3600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  <a:sym typeface="Lato Black"/>
              </a:rPr>
              <a:t>HDB| BUSINESS GROWTH FUND</a:t>
            </a:r>
            <a:endParaRPr 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F05711A-222F-9514-9CE2-B6B26A1FF3F9}"/>
              </a:ext>
            </a:extLst>
          </p:cNvPr>
          <p:cNvSpPr txBox="1"/>
          <p:nvPr/>
        </p:nvSpPr>
        <p:spPr>
          <a:xfrm>
            <a:off x="65392" y="909040"/>
            <a:ext cx="8206085" cy="7602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33400" indent="-441325">
              <a:buFont typeface="Wingdings" panose="05000000000000000000" pitchFamily="2" charset="2"/>
              <a:buChar char="v"/>
            </a:pPr>
            <a:endParaRPr lang="el-GR" sz="2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33400" indent="-441325">
              <a:buFont typeface="Wingdings" panose="05000000000000000000" pitchFamily="2" charset="2"/>
              <a:buChar char="v"/>
            </a:pPr>
            <a:r>
              <a:rPr lang="el-GR" sz="2600" b="0" i="0" u="none" strike="noStrike" baseline="0" dirty="0">
                <a:latin typeface="Calibri" panose="020F0502020204030204" pitchFamily="34" charset="0"/>
                <a:cs typeface="Calibri" panose="020F0502020204030204" pitchFamily="34" charset="0"/>
              </a:rPr>
              <a:t>Συνδυασμός εθνικής χρηματοδότησης και </a:t>
            </a:r>
            <a:r>
              <a:rPr lang="el-GR" sz="2600" dirty="0">
                <a:latin typeface="Calibri" panose="020F0502020204030204" pitchFamily="34" charset="0"/>
                <a:cs typeface="Calibri" panose="020F0502020204030204" pitchFamily="34" charset="0"/>
              </a:rPr>
              <a:t>με πόρους της</a:t>
            </a:r>
            <a:r>
              <a:rPr lang="el-GR" sz="2600" b="0" i="0" u="none" strike="noStrike" baseline="0" dirty="0">
                <a:latin typeface="Calibri" panose="020F0502020204030204" pitchFamily="34" charset="0"/>
                <a:cs typeface="Calibri" panose="020F0502020204030204" pitchFamily="34" charset="0"/>
              </a:rPr>
              <a:t> Ευρωπαϊκής Τράπεζας Επενδύσεων (</a:t>
            </a:r>
            <a:r>
              <a:rPr lang="en-US" sz="2600" b="1" i="0" u="none" strike="noStrike" baseline="0" dirty="0">
                <a:latin typeface="Calibri" panose="020F0502020204030204" pitchFamily="34" charset="0"/>
                <a:cs typeface="Calibri" panose="020F0502020204030204" pitchFamily="34" charset="0"/>
              </a:rPr>
              <a:t>EIB</a:t>
            </a:r>
            <a:r>
              <a:rPr lang="en-US" sz="2600" b="0" i="0" u="none" strike="noStrike" baseline="0" dirty="0">
                <a:latin typeface="Calibri" panose="020F0502020204030204" pitchFamily="34" charset="0"/>
                <a:cs typeface="Calibri" panose="020F0502020204030204" pitchFamily="34" charset="0"/>
              </a:rPr>
              <a:t>) </a:t>
            </a:r>
            <a:r>
              <a:rPr lang="el-GR" sz="2600" b="0" i="0" u="none" strike="noStrike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algn="just"/>
            <a:endParaRPr lang="el-GR" sz="2600" b="0" i="0" u="none" strike="noStrike" baseline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endParaRPr lang="el-GR" sz="2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33400" indent="-533400">
              <a:buFont typeface="Wingdings" panose="05000000000000000000" pitchFamily="2" charset="2"/>
              <a:buChar char="v"/>
            </a:pPr>
            <a:r>
              <a:rPr lang="el-GR" sz="2600" b="1" dirty="0">
                <a:latin typeface="Calibri" panose="020F0502020204030204" pitchFamily="34" charset="0"/>
                <a:cs typeface="Calibri" panose="020F0502020204030204" pitchFamily="34" charset="0"/>
              </a:rPr>
              <a:t>Τρία (3)</a:t>
            </a:r>
            <a:r>
              <a:rPr lang="el-GR" sz="26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l-GR" sz="2600" b="1" dirty="0">
                <a:latin typeface="Calibri" panose="020F0502020204030204" pitchFamily="34" charset="0"/>
                <a:cs typeface="Calibri" panose="020F0502020204030204" pitchFamily="34" charset="0"/>
              </a:rPr>
              <a:t>νέα</a:t>
            </a:r>
            <a:r>
              <a:rPr lang="el-GR" sz="2600" dirty="0">
                <a:latin typeface="Calibri" panose="020F0502020204030204" pitchFamily="34" charset="0"/>
                <a:cs typeface="Calibri" panose="020F0502020204030204" pitchFamily="34" charset="0"/>
              </a:rPr>
              <a:t> Χρηματοδοτικά Εργαλεία που θα δημιουργήσουν χαρτοφυλάκιο δανείων τουλάχιστον </a:t>
            </a:r>
            <a:r>
              <a:rPr lang="el-GR" sz="2600" b="1" dirty="0">
                <a:latin typeface="Calibri" panose="020F0502020204030204" pitchFamily="34" charset="0"/>
                <a:cs typeface="Calibri" panose="020F0502020204030204" pitchFamily="34" charset="0"/>
              </a:rPr>
              <a:t>€2,0 δις</a:t>
            </a:r>
            <a:r>
              <a:rPr lang="el-GR" sz="2600" dirty="0">
                <a:latin typeface="Calibri" panose="020F0502020204030204" pitchFamily="34" charset="0"/>
                <a:cs typeface="Calibri" panose="020F0502020204030204" pitchFamily="34" charset="0"/>
              </a:rPr>
              <a:t>. (Ά Φάση €1,</a:t>
            </a:r>
            <a:r>
              <a:rPr lang="en-US" sz="2600" dirty="0"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lang="el-GR" sz="2600" dirty="0">
                <a:latin typeface="Calibri" panose="020F0502020204030204" pitchFamily="34" charset="0"/>
                <a:cs typeface="Calibri" panose="020F0502020204030204" pitchFamily="34" charset="0"/>
              </a:rPr>
              <a:t> δις)</a:t>
            </a:r>
          </a:p>
          <a:p>
            <a:pPr algn="just"/>
            <a:endParaRPr lang="el-GR" sz="2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endParaRPr lang="el-GR" sz="2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33400" indent="-533400">
              <a:buFont typeface="Wingdings" panose="05000000000000000000" pitchFamily="2" charset="2"/>
              <a:buChar char="v"/>
            </a:pPr>
            <a:r>
              <a:rPr lang="el-GR" sz="2600" dirty="0">
                <a:latin typeface="Calibri" panose="020F0502020204030204" pitchFamily="34" charset="0"/>
                <a:cs typeface="Calibri" panose="020F0502020204030204" pitchFamily="34" charset="0"/>
              </a:rPr>
              <a:t>Που θα χορηγήσουν </a:t>
            </a:r>
            <a:r>
              <a:rPr lang="el-GR" sz="2600" b="1" dirty="0">
                <a:latin typeface="Calibri" panose="020F0502020204030204" pitchFamily="34" charset="0"/>
                <a:cs typeface="Calibri" panose="020F0502020204030204" pitchFamily="34" charset="0"/>
              </a:rPr>
              <a:t>φθηνά</a:t>
            </a:r>
            <a:r>
              <a:rPr lang="en-US" sz="26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el-GR" sz="26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sz="2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08038" indent="-366713">
              <a:buFont typeface="Wingdings" panose="05000000000000000000" pitchFamily="2" charset="2"/>
              <a:buChar char="ü"/>
            </a:pPr>
            <a:r>
              <a:rPr lang="el-GR" sz="2600" b="1" dirty="0">
                <a:latin typeface="Calibri" panose="020F0502020204030204" pitchFamily="34" charset="0"/>
                <a:cs typeface="Calibri" panose="020F0502020204030204" pitchFamily="34" charset="0"/>
              </a:rPr>
              <a:t>Επενδυτικά Δάνεια </a:t>
            </a:r>
            <a:r>
              <a:rPr lang="el-GR" sz="2600" dirty="0">
                <a:latin typeface="Calibri" panose="020F0502020204030204" pitchFamily="34" charset="0"/>
                <a:cs typeface="Calibri" panose="020F0502020204030204" pitchFamily="34" charset="0"/>
              </a:rPr>
              <a:t>και για  </a:t>
            </a:r>
            <a:r>
              <a:rPr lang="el-GR" sz="2600" b="1" dirty="0">
                <a:solidFill>
                  <a:srgbClr val="1B6A0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πράσινη» </a:t>
            </a:r>
            <a:r>
              <a:rPr lang="el-GR" sz="2600" dirty="0">
                <a:latin typeface="Calibri" panose="020F0502020204030204" pitchFamily="34" charset="0"/>
                <a:cs typeface="Calibri" panose="020F0502020204030204" pitchFamily="34" charset="0"/>
              </a:rPr>
              <a:t>και </a:t>
            </a:r>
            <a:r>
              <a:rPr lang="el-GR" sz="26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ψηφιακή» </a:t>
            </a:r>
            <a:r>
              <a:rPr lang="el-GR" sz="2600" dirty="0">
                <a:latin typeface="Calibri" panose="020F0502020204030204" pitchFamily="34" charset="0"/>
                <a:cs typeface="Calibri" panose="020F0502020204030204" pitchFamily="34" charset="0"/>
              </a:rPr>
              <a:t>αναβάθμιση των ΜμΕ</a:t>
            </a:r>
            <a:endParaRPr lang="en-US" sz="2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08038" indent="-366713">
              <a:buFont typeface="Wingdings" panose="05000000000000000000" pitchFamily="2" charset="2"/>
              <a:buChar char="ü"/>
            </a:pPr>
            <a:r>
              <a:rPr lang="el-GR" sz="2600" b="1" dirty="0">
                <a:latin typeface="Calibri" panose="020F0502020204030204" pitchFamily="34" charset="0"/>
                <a:cs typeface="Calibri" panose="020F0502020204030204" pitchFamily="34" charset="0"/>
              </a:rPr>
              <a:t>Κεφάλαια Κίνησης </a:t>
            </a:r>
            <a:r>
              <a:rPr lang="el-GR" sz="2600" dirty="0">
                <a:latin typeface="Calibri" panose="020F0502020204030204" pitchFamily="34" charset="0"/>
                <a:cs typeface="Calibri" panose="020F0502020204030204" pitchFamily="34" charset="0"/>
              </a:rPr>
              <a:t>για τη στήριξη του συναλλακτικού Κύκλου και των καθημερινών αναγκών τους.</a:t>
            </a:r>
          </a:p>
          <a:p>
            <a:pPr algn="just"/>
            <a:endParaRPr lang="el-GR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endParaRPr lang="el-GR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3D795E-D2AE-3467-6778-7F22F33A5B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800516"/>
            <a:ext cx="18288000" cy="148577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5FED877-CD89-3DA1-0560-15A92A7C289B}"/>
              </a:ext>
            </a:extLst>
          </p:cNvPr>
          <p:cNvSpPr/>
          <p:nvPr/>
        </p:nvSpPr>
        <p:spPr>
          <a:xfrm>
            <a:off x="13426777" y="7435510"/>
            <a:ext cx="4005817" cy="1075611"/>
          </a:xfrm>
          <a:prstGeom prst="rect">
            <a:avLst/>
          </a:prstGeom>
          <a:noFill/>
          <a:ln w="635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dirty="0">
                <a:solidFill>
                  <a:srgbClr val="CC9B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us </a:t>
            </a:r>
            <a:r>
              <a:rPr lang="el-GR" sz="3200" b="1" dirty="0">
                <a:solidFill>
                  <a:srgbClr val="CC9B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€40 </a:t>
            </a:r>
            <a:r>
              <a:rPr lang="el-GR" sz="2800" b="1" dirty="0">
                <a:solidFill>
                  <a:srgbClr val="CC9B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εκατ. για επιδότηση επιτοκίου </a:t>
            </a:r>
            <a:endParaRPr lang="en-US" sz="2800" b="1" dirty="0">
              <a:solidFill>
                <a:srgbClr val="CC9B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9001D4E6-FBE7-E058-78B3-0BCE82626F9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10459625"/>
              </p:ext>
            </p:extLst>
          </p:nvPr>
        </p:nvGraphicFramePr>
        <p:xfrm>
          <a:off x="8450826" y="1405408"/>
          <a:ext cx="8981768" cy="58950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5689217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Rectangle 110">
            <a:extLst>
              <a:ext uri="{FF2B5EF4-FFF2-40B4-BE49-F238E27FC236}">
                <a16:creationId xmlns:a16="http://schemas.microsoft.com/office/drawing/2014/main" id="{B8AD6ADB-F088-565D-8676-1DB7748497D0}"/>
              </a:ext>
            </a:extLst>
          </p:cNvPr>
          <p:cNvSpPr/>
          <p:nvPr/>
        </p:nvSpPr>
        <p:spPr>
          <a:xfrm>
            <a:off x="6496603" y="1972279"/>
            <a:ext cx="5864725" cy="7197261"/>
          </a:xfrm>
          <a:prstGeom prst="rect">
            <a:avLst/>
          </a:prstGeom>
          <a:solidFill>
            <a:schemeClr val="bg2">
              <a:lumMod val="8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E13210F0-ECA8-39E8-A30D-852102789EC2}"/>
              </a:ext>
            </a:extLst>
          </p:cNvPr>
          <p:cNvSpPr/>
          <p:nvPr/>
        </p:nvSpPr>
        <p:spPr>
          <a:xfrm>
            <a:off x="94716" y="1983917"/>
            <a:ext cx="6157668" cy="714538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just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-85725" algn="l"/>
              </a:tabLst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sp>
        <p:nvSpPr>
          <p:cNvPr id="38" name="Text Placeholder 1">
            <a:extLst>
              <a:ext uri="{FF2B5EF4-FFF2-40B4-BE49-F238E27FC236}">
                <a16:creationId xmlns:a16="http://schemas.microsoft.com/office/drawing/2014/main" id="{413443A5-468E-F42B-AC7B-765523A2EC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7057" y="344533"/>
            <a:ext cx="17554396" cy="76652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  <a:sym typeface="Lato Black"/>
              </a:rPr>
              <a:t>HDB| </a:t>
            </a:r>
            <a:r>
              <a:rPr lang="el-GR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Πράσινα Συγχρηματοδοτούμενα Δάνεια (</a:t>
            </a:r>
            <a:r>
              <a:rPr lang="en-US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een Co</a:t>
            </a:r>
            <a:r>
              <a:rPr lang="el-GR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  <a:r>
              <a:rPr lang="en-US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ancing Loans</a:t>
            </a:r>
            <a:r>
              <a:rPr lang="el-GR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ύψους €415 εκ.)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1CB023F6-E408-F446-7304-BB1ED7E55AC2}"/>
              </a:ext>
            </a:extLst>
          </p:cNvPr>
          <p:cNvGrpSpPr/>
          <p:nvPr/>
        </p:nvGrpSpPr>
        <p:grpSpPr>
          <a:xfrm>
            <a:off x="865197" y="1292258"/>
            <a:ext cx="4083423" cy="680022"/>
            <a:chOff x="4132730" y="1969072"/>
            <a:chExt cx="3626222" cy="680022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4C0993F8-0596-5BA0-87A4-62BCD03ECC1B}"/>
                </a:ext>
              </a:extLst>
            </p:cNvPr>
            <p:cNvSpPr/>
            <p:nvPr/>
          </p:nvSpPr>
          <p:spPr>
            <a:xfrm>
              <a:off x="4132730" y="1969072"/>
              <a:ext cx="3626222" cy="680022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80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2" name="AutoShape 10">
              <a:extLst>
                <a:ext uri="{FF2B5EF4-FFF2-40B4-BE49-F238E27FC236}">
                  <a16:creationId xmlns:a16="http://schemas.microsoft.com/office/drawing/2014/main" id="{329774DF-0D14-5CF0-CC8B-21C243F3952C}"/>
                </a:ext>
              </a:extLst>
            </p:cNvPr>
            <p:cNvSpPr/>
            <p:nvPr/>
          </p:nvSpPr>
          <p:spPr>
            <a:xfrm>
              <a:off x="4531659" y="2043054"/>
              <a:ext cx="2944905" cy="606040"/>
            </a:xfrm>
            <a:prstGeom prst="rect">
              <a:avLst/>
            </a:prstGeom>
            <a:solidFill>
              <a:srgbClr val="85ACD8"/>
            </a:solidFill>
          </p:spPr>
          <p:txBody>
            <a:bodyPr/>
            <a:lstStyle/>
            <a:p>
              <a:pPr algn="ctr"/>
              <a:r>
                <a:rPr lang="el-GR" sz="3200" b="1" dirty="0">
                  <a:latin typeface="Calibri" panose="020F0502020204030204" pitchFamily="34" charset="0"/>
                  <a:cs typeface="Calibri" panose="020F0502020204030204" pitchFamily="34" charset="0"/>
                </a:rPr>
                <a:t>Στόχος</a:t>
              </a:r>
              <a:endParaRPr lang="en-US" sz="3200" b="1" dirty="0">
                <a:solidFill>
                  <a:srgbClr val="0033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AD365837-1D00-8CAD-108B-63F82D0CF2DB}"/>
              </a:ext>
            </a:extLst>
          </p:cNvPr>
          <p:cNvGrpSpPr/>
          <p:nvPr/>
        </p:nvGrpSpPr>
        <p:grpSpPr>
          <a:xfrm>
            <a:off x="7279052" y="1292258"/>
            <a:ext cx="4083423" cy="680022"/>
            <a:chOff x="4132730" y="1969072"/>
            <a:chExt cx="3626222" cy="680022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A3994022-ED20-8BD8-5245-4A4AE3B7D19A}"/>
                </a:ext>
              </a:extLst>
            </p:cNvPr>
            <p:cNvSpPr/>
            <p:nvPr/>
          </p:nvSpPr>
          <p:spPr>
            <a:xfrm>
              <a:off x="4132730" y="1969072"/>
              <a:ext cx="3626222" cy="680022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80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7" name="AutoShape 10">
              <a:extLst>
                <a:ext uri="{FF2B5EF4-FFF2-40B4-BE49-F238E27FC236}">
                  <a16:creationId xmlns:a16="http://schemas.microsoft.com/office/drawing/2014/main" id="{9D94B7DB-E859-2B48-74D7-53C6839D6A6A}"/>
                </a:ext>
              </a:extLst>
            </p:cNvPr>
            <p:cNvSpPr/>
            <p:nvPr/>
          </p:nvSpPr>
          <p:spPr>
            <a:xfrm>
              <a:off x="4531659" y="2043054"/>
              <a:ext cx="2944905" cy="606040"/>
            </a:xfrm>
            <a:prstGeom prst="rect">
              <a:avLst/>
            </a:prstGeom>
            <a:solidFill>
              <a:srgbClr val="85ACD8"/>
            </a:solidFill>
          </p:spPr>
          <p:txBody>
            <a:bodyPr/>
            <a:lstStyle/>
            <a:p>
              <a:pPr algn="ctr"/>
              <a:r>
                <a:rPr lang="el-GR" sz="3200" b="1" dirty="0">
                  <a:solidFill>
                    <a:schemeClr val="accent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Χαρακτηριστικά</a:t>
              </a:r>
              <a:endParaRPr lang="en-US" sz="3200" b="1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F47401D5-8218-7D2F-F5F3-D88665D5EE90}"/>
              </a:ext>
            </a:extLst>
          </p:cNvPr>
          <p:cNvGrpSpPr/>
          <p:nvPr/>
        </p:nvGrpSpPr>
        <p:grpSpPr>
          <a:xfrm>
            <a:off x="13534672" y="1303896"/>
            <a:ext cx="4083423" cy="680022"/>
            <a:chOff x="4132730" y="1969072"/>
            <a:chExt cx="3626222" cy="680022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9DDBF157-AA28-B5E0-8330-F3EEDCB32DDC}"/>
                </a:ext>
              </a:extLst>
            </p:cNvPr>
            <p:cNvSpPr/>
            <p:nvPr/>
          </p:nvSpPr>
          <p:spPr>
            <a:xfrm>
              <a:off x="4132730" y="1969072"/>
              <a:ext cx="3626222" cy="680022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80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0" name="AutoShape 10">
              <a:extLst>
                <a:ext uri="{FF2B5EF4-FFF2-40B4-BE49-F238E27FC236}">
                  <a16:creationId xmlns:a16="http://schemas.microsoft.com/office/drawing/2014/main" id="{DCFF7C52-2B28-0F9E-16A7-9617B205B101}"/>
                </a:ext>
              </a:extLst>
            </p:cNvPr>
            <p:cNvSpPr/>
            <p:nvPr/>
          </p:nvSpPr>
          <p:spPr>
            <a:xfrm>
              <a:off x="4531659" y="2043054"/>
              <a:ext cx="2944905" cy="606040"/>
            </a:xfrm>
            <a:prstGeom prst="rect">
              <a:avLst/>
            </a:prstGeom>
            <a:solidFill>
              <a:srgbClr val="85ACD8"/>
            </a:solidFill>
          </p:spPr>
          <p:txBody>
            <a:bodyPr/>
            <a:lstStyle/>
            <a:p>
              <a:pPr algn="ctr"/>
              <a:r>
                <a:rPr lang="el-GR" sz="3200" b="1" dirty="0">
                  <a:solidFill>
                    <a:schemeClr val="accent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Βασικά Οφέλη</a:t>
              </a:r>
              <a:endParaRPr lang="en-US" sz="3200" b="1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D97D1334-7EEC-4D7C-3101-41E584DAE6F4}"/>
              </a:ext>
            </a:extLst>
          </p:cNvPr>
          <p:cNvSpPr txBox="1"/>
          <p:nvPr/>
        </p:nvSpPr>
        <p:spPr>
          <a:xfrm>
            <a:off x="86547" y="1911945"/>
            <a:ext cx="6286448" cy="72173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l-GR" sz="2800" b="1" i="0" u="none" strike="noStrike" baseline="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Πράσινη Μετάβαση</a:t>
            </a:r>
          </a:p>
          <a:p>
            <a:r>
              <a:rPr lang="el-GR" sz="2500" b="1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Υποπρόγραμμα 1 - </a:t>
            </a:r>
            <a:r>
              <a:rPr lang="en-US" sz="25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een Mobility</a:t>
            </a:r>
            <a:r>
              <a:rPr lang="el-GR" sz="2500" b="1" i="0" u="none" strike="noStrike" baseline="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342900" indent="-342900" algn="l">
              <a:buFont typeface="Courier New" panose="02070309020205020404" pitchFamily="49" charset="0"/>
              <a:buChar char="o"/>
            </a:pP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Υποδομές φόρτισης οχημάτων μηδενικών ρύπων (&amp; αποθήκευση μέσω ΑΠΕ)</a:t>
            </a:r>
          </a:p>
          <a:p>
            <a:pPr marL="342900" indent="-342900" algn="l">
              <a:buFont typeface="Courier New" panose="02070309020205020404" pitchFamily="49" charset="0"/>
              <a:buChar char="o"/>
            </a:pP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αναβάθμιση/επέκταση υφιστάμενων   σταθμών ενέργειας σε σταθμούς φόρτισης</a:t>
            </a:r>
          </a:p>
          <a:p>
            <a:pPr algn="l"/>
            <a:endParaRPr lang="el-GR" sz="24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l-GR" sz="2500" b="1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Υποπρόγραμμα 2 – </a:t>
            </a:r>
            <a:r>
              <a:rPr lang="en-US" sz="250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ergy Efficiency</a:t>
            </a:r>
            <a:r>
              <a:rPr lang="el-GR" sz="250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endParaRPr lang="el-GR" sz="2500" dirty="0">
              <a:solidFill>
                <a:srgbClr val="0213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>
                <a:tab pos="-85725" algn="l"/>
              </a:tabLst>
              <a:defRPr/>
            </a:pP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Αγορά εξοπλισμού ενεργειακής απόδοσης </a:t>
            </a:r>
          </a:p>
          <a:p>
            <a:pPr marL="342900" lvl="0" indent="-342900">
              <a:buFont typeface="Courier New" panose="02070309020205020404" pitchFamily="49" charset="0"/>
              <a:buChar char="o"/>
              <a:tabLst>
                <a:tab pos="-85725" algn="l"/>
              </a:tabLst>
              <a:defRPr/>
            </a:pP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Δαπάνες </a:t>
            </a:r>
            <a:r>
              <a:rPr lang="en-US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</a:t>
            </a: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amp;</a:t>
            </a:r>
            <a:r>
              <a:rPr lang="en-US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</a:t>
            </a: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πιστοποιήσεις, μελέτες αναβάθμισης, ανακύκλωσης υλικών, αναβαθμίσεις κ.α. </a:t>
            </a:r>
          </a:p>
          <a:p>
            <a:pPr marL="342900" marR="0" lvl="0" indent="-3429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>
                <a:tab pos="-85725" algn="l"/>
              </a:tabLst>
              <a:defRPr/>
            </a:pP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Χρηματοδότηση </a:t>
            </a:r>
            <a:r>
              <a:rPr lang="en-US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C</a:t>
            </a: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ο</a:t>
            </a:r>
            <a:r>
              <a:rPr lang="en-US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</a:t>
            </a:r>
            <a:endParaRPr lang="el-GR" sz="2400" dirty="0">
              <a:solidFill>
                <a:srgbClr val="0213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endParaRPr lang="el-GR" sz="2400" b="0" i="0" u="none" strike="noStrike" baseline="0" dirty="0">
              <a:solidFill>
                <a:srgbClr val="0213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l-GR" sz="2500" b="1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Υποπρόγραμμα 3 - </a:t>
            </a:r>
            <a:r>
              <a:rPr lang="en-US" sz="25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newable</a:t>
            </a:r>
            <a:r>
              <a:rPr lang="el-GR" sz="25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5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ergy</a:t>
            </a:r>
            <a:r>
              <a:rPr lang="el-GR" sz="25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>
              <a:tabLst>
                <a:tab pos="-85725" algn="l"/>
              </a:tabLst>
              <a:defRPr/>
            </a:pP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Αγορά/εγκατάσταση εξοπλισμού και  διαμόρφωση χώρου για την παραγωγή    ηλιακής, αιολικής, γεωθερμικής, ενέργειας, βιομάζα κ.α. 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CFB7F4CB-8A35-EF60-30CC-98AF309EB43C}"/>
              </a:ext>
            </a:extLst>
          </p:cNvPr>
          <p:cNvSpPr txBox="1"/>
          <p:nvPr/>
        </p:nvSpPr>
        <p:spPr>
          <a:xfrm>
            <a:off x="6617214" y="2275016"/>
            <a:ext cx="5633058" cy="55707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l-GR" sz="2800" b="1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Τύπος Δανείων</a:t>
            </a:r>
          </a:p>
          <a:p>
            <a:r>
              <a:rPr lang="el-GR" sz="2400" b="0" i="0" u="none" strike="noStrike" baseline="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Χρεολυτικά- Τοκοχρεολυτικά </a:t>
            </a:r>
          </a:p>
          <a:p>
            <a:r>
              <a:rPr lang="el-GR" sz="2400" b="0" i="0" u="none" strike="noStrike" baseline="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Επενδυτικά Δάνεια για ΜμΕ</a:t>
            </a:r>
            <a:r>
              <a:rPr lang="en-US" sz="2400" b="0" i="0" u="none" strike="noStrike" baseline="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  <a:sym typeface="Lato Black"/>
              </a:rPr>
              <a:t>Συγχρηματοδότηση 60%</a:t>
            </a:r>
            <a:r>
              <a:rPr lang="en-US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  <a:sym typeface="Lato Black"/>
              </a:rPr>
              <a:t> </a:t>
            </a: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  <a:sym typeface="Lato Black"/>
              </a:rPr>
              <a:t>-</a:t>
            </a:r>
            <a:r>
              <a:rPr lang="en-US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  <a:sym typeface="Lato Black"/>
              </a:rPr>
              <a:t> </a:t>
            </a: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  <a:sym typeface="Lato Black"/>
              </a:rPr>
              <a:t>40% Τράπεζα-ΕΑΤ</a:t>
            </a:r>
          </a:p>
          <a:p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  <a:sym typeface="Lato Black"/>
              </a:rPr>
              <a:t> </a:t>
            </a:r>
            <a:endParaRPr lang="en-US" sz="2400" dirty="0">
              <a:solidFill>
                <a:srgbClr val="0213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endParaRPr lang="en-US" sz="2800" b="1" dirty="0">
              <a:solidFill>
                <a:srgbClr val="0213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r>
              <a:rPr lang="el-GR" sz="2800" b="1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Ύψος Δανείων </a:t>
            </a:r>
          </a:p>
          <a:p>
            <a:pPr algn="l"/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€</a:t>
            </a:r>
            <a:r>
              <a:rPr lang="en-US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0</a:t>
            </a: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χιλ. έως €</a:t>
            </a:r>
            <a:r>
              <a:rPr lang="en-US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</a:t>
            </a: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0 εκ. </a:t>
            </a:r>
          </a:p>
          <a:p>
            <a:pPr algn="l"/>
            <a:endParaRPr lang="el-GR" sz="2400" b="0" i="0" u="none" strike="noStrike" baseline="0" dirty="0">
              <a:solidFill>
                <a:srgbClr val="0213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r>
              <a:rPr lang="el-GR" sz="2800" b="1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Διάρκεια Δανείων</a:t>
            </a:r>
          </a:p>
          <a:p>
            <a:pPr algn="l"/>
            <a:r>
              <a:rPr lang="el-GR" sz="2400" b="1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έτη έως </a:t>
            </a:r>
            <a:r>
              <a:rPr lang="el-GR" sz="2400" b="1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</a:t>
            </a: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έτη</a:t>
            </a:r>
          </a:p>
          <a:p>
            <a:pPr algn="l"/>
            <a:endParaRPr lang="el-GR" sz="2400" b="0" i="0" u="none" strike="noStrike" baseline="0" dirty="0">
              <a:solidFill>
                <a:srgbClr val="0213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r>
              <a:rPr lang="el-GR" sz="2800" b="1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Περίοδος Χάριτος</a:t>
            </a:r>
          </a:p>
          <a:p>
            <a:pPr algn="l"/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Έως 24 μήνες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1FE39F67-713D-F348-4A4E-FE1EC5110C54}"/>
              </a:ext>
            </a:extLst>
          </p:cNvPr>
          <p:cNvSpPr txBox="1"/>
          <p:nvPr/>
        </p:nvSpPr>
        <p:spPr>
          <a:xfrm>
            <a:off x="12910458" y="1972279"/>
            <a:ext cx="5290995" cy="7232749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v"/>
            </a:pPr>
            <a:endParaRPr lang="en-US" sz="2800" b="1" dirty="0">
              <a:solidFill>
                <a:srgbClr val="0213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v"/>
            </a:pPr>
            <a:r>
              <a:rPr lang="el-GR" sz="2800" b="1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0%</a:t>
            </a: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l-GR" sz="2400" b="1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Μειωμένο Επιτόκιο </a:t>
            </a: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για όλη τη διάρκεια</a:t>
            </a:r>
            <a:r>
              <a:rPr lang="en-US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του δανείου</a:t>
            </a:r>
          </a:p>
          <a:p>
            <a:endParaRPr lang="el-GR" sz="2400" dirty="0">
              <a:solidFill>
                <a:srgbClr val="0213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v"/>
            </a:pPr>
            <a:r>
              <a:rPr lang="el-GR" sz="2400" b="1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Επιδότηση 300μβ </a:t>
            </a: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l-GR" sz="2400" b="1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%</a:t>
            </a: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στο επιτόκιο της Τράπεζας για τα </a:t>
            </a:r>
            <a:r>
              <a:rPr lang="el-GR" sz="2400" b="1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 πρώτα έτη </a:t>
            </a: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του Δανείου.</a:t>
            </a:r>
          </a:p>
          <a:p>
            <a:endParaRPr lang="el-GR" sz="2400" dirty="0">
              <a:solidFill>
                <a:srgbClr val="0213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l-GR" sz="2400" b="0" i="0" u="none" strike="noStrike" baseline="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Με </a:t>
            </a:r>
            <a:r>
              <a:rPr lang="el-GR" sz="2400" b="1" i="0" u="none" strike="noStrike" baseline="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ανώτατο εύρος περιθωρίου επιτοκίου </a:t>
            </a:r>
            <a:r>
              <a:rPr lang="el-GR" sz="2400" b="0" i="0" u="none" strike="noStrike" baseline="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που θα δηλωθεί από την Τράπεζα στην αίτηση συμμετοχής στο Πρόγραμμα</a:t>
            </a: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endParaRPr lang="el-GR" sz="2400" dirty="0">
              <a:solidFill>
                <a:srgbClr val="0213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Με</a:t>
            </a:r>
            <a:r>
              <a:rPr lang="el-GR" sz="2400" b="1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Ανώτατο ύψος εξασφαλίσεων έως 100% </a:t>
            </a: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του ποσού του δανείου (εξαιρείται η μόνιμη και μοναδική κατοικία του φορέα της εταιρείας).</a:t>
            </a:r>
            <a:endParaRPr lang="en-US" sz="2400" dirty="0">
              <a:solidFill>
                <a:srgbClr val="0213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l-GR" sz="2400" dirty="0">
              <a:solidFill>
                <a:srgbClr val="0213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92820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Rectangle 110">
            <a:extLst>
              <a:ext uri="{FF2B5EF4-FFF2-40B4-BE49-F238E27FC236}">
                <a16:creationId xmlns:a16="http://schemas.microsoft.com/office/drawing/2014/main" id="{B8AD6ADB-F088-565D-8676-1DB7748497D0}"/>
              </a:ext>
            </a:extLst>
          </p:cNvPr>
          <p:cNvSpPr/>
          <p:nvPr/>
        </p:nvSpPr>
        <p:spPr>
          <a:xfrm>
            <a:off x="6510155" y="2030506"/>
            <a:ext cx="5864725" cy="7037640"/>
          </a:xfrm>
          <a:prstGeom prst="rect">
            <a:avLst/>
          </a:prstGeom>
          <a:solidFill>
            <a:schemeClr val="bg2">
              <a:lumMod val="8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E13210F0-ECA8-39E8-A30D-852102789EC2}"/>
              </a:ext>
            </a:extLst>
          </p:cNvPr>
          <p:cNvSpPr/>
          <p:nvPr/>
        </p:nvSpPr>
        <p:spPr>
          <a:xfrm>
            <a:off x="94716" y="2030506"/>
            <a:ext cx="6157668" cy="703764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just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-85725" algn="l"/>
              </a:tabLst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sp>
        <p:nvSpPr>
          <p:cNvPr id="38" name="Text Placeholder 1">
            <a:extLst>
              <a:ext uri="{FF2B5EF4-FFF2-40B4-BE49-F238E27FC236}">
                <a16:creationId xmlns:a16="http://schemas.microsoft.com/office/drawing/2014/main" id="{413443A5-468E-F42B-AC7B-765523A2EC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  <a:sym typeface="Lato Black"/>
              </a:rPr>
              <a:t>HDB| </a:t>
            </a:r>
            <a:r>
              <a:rPr lang="el-GR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Δάνεια Ψηφιακής Αναβάθμισης (</a:t>
            </a:r>
            <a:r>
              <a:rPr lang="en-US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gitalization Co</a:t>
            </a:r>
            <a:r>
              <a:rPr lang="el-GR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  <a:r>
              <a:rPr lang="en-US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ancing Loans</a:t>
            </a:r>
            <a:r>
              <a:rPr lang="el-GR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ύψους €175 εκ. )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1CB023F6-E408-F446-7304-BB1ED7E55AC2}"/>
              </a:ext>
            </a:extLst>
          </p:cNvPr>
          <p:cNvGrpSpPr/>
          <p:nvPr/>
        </p:nvGrpSpPr>
        <p:grpSpPr>
          <a:xfrm>
            <a:off x="865197" y="1352521"/>
            <a:ext cx="4083423" cy="680022"/>
            <a:chOff x="4132730" y="1969072"/>
            <a:chExt cx="3626222" cy="680022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4C0993F8-0596-5BA0-87A4-62BCD03ECC1B}"/>
                </a:ext>
              </a:extLst>
            </p:cNvPr>
            <p:cNvSpPr/>
            <p:nvPr/>
          </p:nvSpPr>
          <p:spPr>
            <a:xfrm>
              <a:off x="4132730" y="1969072"/>
              <a:ext cx="3626222" cy="680022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80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2" name="AutoShape 10">
              <a:extLst>
                <a:ext uri="{FF2B5EF4-FFF2-40B4-BE49-F238E27FC236}">
                  <a16:creationId xmlns:a16="http://schemas.microsoft.com/office/drawing/2014/main" id="{329774DF-0D14-5CF0-CC8B-21C243F3952C}"/>
                </a:ext>
              </a:extLst>
            </p:cNvPr>
            <p:cNvSpPr/>
            <p:nvPr/>
          </p:nvSpPr>
          <p:spPr>
            <a:xfrm>
              <a:off x="4531659" y="2043054"/>
              <a:ext cx="2944905" cy="606040"/>
            </a:xfrm>
            <a:prstGeom prst="rect">
              <a:avLst/>
            </a:prstGeom>
            <a:solidFill>
              <a:srgbClr val="85ACD8"/>
            </a:solidFill>
          </p:spPr>
          <p:txBody>
            <a:bodyPr/>
            <a:lstStyle/>
            <a:p>
              <a:pPr algn="ctr"/>
              <a:r>
                <a:rPr lang="el-GR" sz="3200" b="1" dirty="0">
                  <a:latin typeface="Calibri" panose="020F0502020204030204" pitchFamily="34" charset="0"/>
                  <a:cs typeface="Calibri" panose="020F0502020204030204" pitchFamily="34" charset="0"/>
                </a:rPr>
                <a:t>Στόχος</a:t>
              </a:r>
              <a:endParaRPr lang="en-US" sz="3200" b="1" dirty="0">
                <a:solidFill>
                  <a:srgbClr val="0033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AD365837-1D00-8CAD-108B-63F82D0CF2DB}"/>
              </a:ext>
            </a:extLst>
          </p:cNvPr>
          <p:cNvGrpSpPr/>
          <p:nvPr/>
        </p:nvGrpSpPr>
        <p:grpSpPr>
          <a:xfrm>
            <a:off x="7279052" y="1352521"/>
            <a:ext cx="4083423" cy="680022"/>
            <a:chOff x="4132730" y="1969072"/>
            <a:chExt cx="3626222" cy="680022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A3994022-ED20-8BD8-5245-4A4AE3B7D19A}"/>
                </a:ext>
              </a:extLst>
            </p:cNvPr>
            <p:cNvSpPr/>
            <p:nvPr/>
          </p:nvSpPr>
          <p:spPr>
            <a:xfrm>
              <a:off x="4132730" y="1969072"/>
              <a:ext cx="3626222" cy="680022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80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7" name="AutoShape 10">
              <a:extLst>
                <a:ext uri="{FF2B5EF4-FFF2-40B4-BE49-F238E27FC236}">
                  <a16:creationId xmlns:a16="http://schemas.microsoft.com/office/drawing/2014/main" id="{9D94B7DB-E859-2B48-74D7-53C6839D6A6A}"/>
                </a:ext>
              </a:extLst>
            </p:cNvPr>
            <p:cNvSpPr/>
            <p:nvPr/>
          </p:nvSpPr>
          <p:spPr>
            <a:xfrm>
              <a:off x="4531659" y="2043054"/>
              <a:ext cx="2944905" cy="606040"/>
            </a:xfrm>
            <a:prstGeom prst="rect">
              <a:avLst/>
            </a:prstGeom>
            <a:solidFill>
              <a:srgbClr val="85ACD8"/>
            </a:solidFill>
          </p:spPr>
          <p:txBody>
            <a:bodyPr/>
            <a:lstStyle/>
            <a:p>
              <a:pPr algn="ctr"/>
              <a:r>
                <a:rPr lang="el-GR" sz="3200" b="1" dirty="0">
                  <a:solidFill>
                    <a:schemeClr val="accent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Χαρακτηριστικά</a:t>
              </a:r>
              <a:endParaRPr lang="en-US" sz="3200" b="1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F47401D5-8218-7D2F-F5F3-D88665D5EE90}"/>
              </a:ext>
            </a:extLst>
          </p:cNvPr>
          <p:cNvGrpSpPr/>
          <p:nvPr/>
        </p:nvGrpSpPr>
        <p:grpSpPr>
          <a:xfrm>
            <a:off x="13534672" y="1364159"/>
            <a:ext cx="4083423" cy="680022"/>
            <a:chOff x="4132730" y="1969072"/>
            <a:chExt cx="3626222" cy="680022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9DDBF157-AA28-B5E0-8330-F3EEDCB32DDC}"/>
                </a:ext>
              </a:extLst>
            </p:cNvPr>
            <p:cNvSpPr/>
            <p:nvPr/>
          </p:nvSpPr>
          <p:spPr>
            <a:xfrm>
              <a:off x="4132730" y="1969072"/>
              <a:ext cx="3626222" cy="680022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800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0" name="AutoShape 10">
              <a:extLst>
                <a:ext uri="{FF2B5EF4-FFF2-40B4-BE49-F238E27FC236}">
                  <a16:creationId xmlns:a16="http://schemas.microsoft.com/office/drawing/2014/main" id="{DCFF7C52-2B28-0F9E-16A7-9617B205B101}"/>
                </a:ext>
              </a:extLst>
            </p:cNvPr>
            <p:cNvSpPr/>
            <p:nvPr/>
          </p:nvSpPr>
          <p:spPr>
            <a:xfrm>
              <a:off x="4531659" y="2043054"/>
              <a:ext cx="2944905" cy="606040"/>
            </a:xfrm>
            <a:prstGeom prst="rect">
              <a:avLst/>
            </a:prstGeom>
            <a:solidFill>
              <a:srgbClr val="85ACD8"/>
            </a:solidFill>
          </p:spPr>
          <p:txBody>
            <a:bodyPr/>
            <a:lstStyle/>
            <a:p>
              <a:pPr algn="ctr"/>
              <a:r>
                <a:rPr lang="el-GR" sz="3200" b="1" dirty="0">
                  <a:solidFill>
                    <a:schemeClr val="accent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Βασικά Οφέλη</a:t>
              </a:r>
              <a:endParaRPr lang="en-US" sz="3200" b="1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D97D1334-7EEC-4D7C-3101-41E584DAE6F4}"/>
              </a:ext>
            </a:extLst>
          </p:cNvPr>
          <p:cNvSpPr txBox="1"/>
          <p:nvPr/>
        </p:nvSpPr>
        <p:spPr>
          <a:xfrm>
            <a:off x="162641" y="2044181"/>
            <a:ext cx="6347514" cy="68788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l-GR" sz="2800" b="1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Ψηφιακός Μετασχηματισμός</a:t>
            </a:r>
            <a:endParaRPr lang="en-US" sz="2800" b="1" dirty="0">
              <a:solidFill>
                <a:srgbClr val="0213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el-GR" sz="2800" b="1" dirty="0">
              <a:solidFill>
                <a:srgbClr val="0213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l-GR" sz="2800" b="1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Για δαπάνες </a:t>
            </a: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ενδεικτικά)</a:t>
            </a:r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Ανάπτυξη ψηφιακών υποδομών (π.χ. διαδίκτυο, ευρυζωνικές συνδέσεις, cloud, δίκτυα κινητής</a:t>
            </a:r>
            <a:r>
              <a:rPr lang="en-US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τηλεφωνίας, δορυφορικές τεχνολογίες, IoT, κ.α.)</a:t>
            </a:r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Επενδύσεις σε εξοπλισμό (</a:t>
            </a:r>
            <a:r>
              <a:rPr lang="en-US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rdware)</a:t>
            </a:r>
          </a:p>
          <a:p>
            <a:pPr marL="514350" indent="-514350">
              <a:buFont typeface="Arial" panose="020B0604020202020204" pitchFamily="34" charset="0"/>
              <a:buChar char="•"/>
            </a:pP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Επενδύσεις λογισμικού και δεδομένων </a:t>
            </a:r>
            <a:endParaRPr lang="en-US" sz="2400" dirty="0">
              <a:solidFill>
                <a:srgbClr val="0213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indent="-457200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Ψηφιοποίηση παρεχόμενων υπηρεσιών </a:t>
            </a:r>
          </a:p>
          <a:p>
            <a:pPr marL="457200" indent="-457200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Υπηρεσίες σε σχέση με τα Συστήματα Πληροφορικής </a:t>
            </a:r>
          </a:p>
          <a:p>
            <a:pPr marL="457200" indent="-457200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Υπηρεσίες Ψηφιακής Αναβάθμισης </a:t>
            </a:r>
          </a:p>
          <a:p>
            <a:pPr marL="457200" indent="-457200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Ανάπτυξη ανθρώπινου κεφαλαίου </a:t>
            </a:r>
          </a:p>
          <a:p>
            <a:pPr marL="457200" indent="-457200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Ανάπτυξη στρατηγικού συστήματος παρακολούθησης 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CFB7F4CB-8A35-EF60-30CC-98AF309EB43C}"/>
              </a:ext>
            </a:extLst>
          </p:cNvPr>
          <p:cNvSpPr txBox="1"/>
          <p:nvPr/>
        </p:nvSpPr>
        <p:spPr>
          <a:xfrm>
            <a:off x="6578080" y="2106525"/>
            <a:ext cx="5621983" cy="55707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l-GR" sz="2800" b="1" dirty="0">
              <a:solidFill>
                <a:srgbClr val="0213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l-GR" sz="2800" b="1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Τύπος Δανείων</a:t>
            </a:r>
          </a:p>
          <a:p>
            <a:r>
              <a:rPr lang="el-GR" sz="2400" b="0" i="0" u="none" strike="noStrike" baseline="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Χρεολυτικά- Τοκοχρεολυτικά </a:t>
            </a:r>
          </a:p>
          <a:p>
            <a:pPr algn="l"/>
            <a:r>
              <a:rPr lang="el-GR" sz="2400" b="0" i="0" u="none" strike="noStrike" baseline="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Επενδυτικά Δάνεια για ΜμΕ</a:t>
            </a:r>
            <a:r>
              <a:rPr lang="en-US" sz="2400" b="0" i="0" u="none" strike="noStrike" baseline="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l-GR" sz="2400" b="0" i="0" u="none" strike="noStrike" baseline="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Συγχρηματοδότηση 60%-40% Τράπεζα-ΕΑΤ </a:t>
            </a:r>
          </a:p>
          <a:p>
            <a:pPr algn="l"/>
            <a:endParaRPr lang="el-GR" sz="2400" b="0" i="0" u="none" strike="noStrike" baseline="0" dirty="0">
              <a:solidFill>
                <a:srgbClr val="0213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r>
              <a:rPr lang="el-GR" sz="2800" b="1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Ύψος Δανείων </a:t>
            </a:r>
          </a:p>
          <a:p>
            <a:pPr algn="l"/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€</a:t>
            </a:r>
            <a:r>
              <a:rPr lang="en-US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5</a:t>
            </a: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χιλ. έως €1,0 εκ. </a:t>
            </a:r>
          </a:p>
          <a:p>
            <a:pPr algn="l"/>
            <a:endParaRPr lang="el-GR" sz="2400" b="0" i="0" u="none" strike="noStrike" baseline="0" dirty="0">
              <a:solidFill>
                <a:srgbClr val="0213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r>
              <a:rPr lang="el-GR" sz="2800" b="1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Διάρκεια Δανείων</a:t>
            </a:r>
          </a:p>
          <a:p>
            <a:pPr algn="l"/>
            <a:r>
              <a:rPr lang="el-GR" sz="2400" b="1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έτη έως </a:t>
            </a:r>
            <a:r>
              <a:rPr lang="el-GR" sz="2400" b="1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</a:t>
            </a: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έτη</a:t>
            </a:r>
          </a:p>
          <a:p>
            <a:pPr algn="l"/>
            <a:endParaRPr lang="el-GR" sz="2400" b="0" i="0" u="none" strike="noStrike" baseline="0" dirty="0">
              <a:solidFill>
                <a:srgbClr val="0213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r>
              <a:rPr lang="el-GR" sz="2800" b="1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Περίοδος Χάριτος</a:t>
            </a:r>
          </a:p>
          <a:p>
            <a:pPr algn="l"/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Έως 24 μήνες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1FE39F67-713D-F348-4A4E-FE1EC5110C54}"/>
              </a:ext>
            </a:extLst>
          </p:cNvPr>
          <p:cNvSpPr txBox="1"/>
          <p:nvPr/>
        </p:nvSpPr>
        <p:spPr>
          <a:xfrm>
            <a:off x="12834364" y="2030506"/>
            <a:ext cx="5290995" cy="7063472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v"/>
            </a:pPr>
            <a:endParaRPr lang="en-US" sz="2400" b="1" dirty="0">
              <a:solidFill>
                <a:srgbClr val="0213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v"/>
            </a:pPr>
            <a:r>
              <a:rPr lang="el-GR" sz="2400" b="1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0%</a:t>
            </a:r>
            <a:r>
              <a:rPr lang="el-GR" sz="28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l-GR" sz="2400" b="1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Μειωμένο Επιτόκιο </a:t>
            </a: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για όλη τη διάρκεια</a:t>
            </a:r>
            <a:r>
              <a:rPr lang="en-US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του δανείου</a:t>
            </a:r>
          </a:p>
          <a:p>
            <a:endParaRPr lang="el-GR" sz="2800" dirty="0">
              <a:solidFill>
                <a:srgbClr val="0213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v"/>
            </a:pPr>
            <a:r>
              <a:rPr lang="el-GR" sz="2400" b="1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Επιδότηση 300μβ (3%) </a:t>
            </a: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στο επιτόκιο της Τράπεζας για τα </a:t>
            </a:r>
            <a:r>
              <a:rPr lang="el-GR" sz="2400" b="1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 πρώτα έτη </a:t>
            </a: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του Δανείου.</a:t>
            </a:r>
          </a:p>
          <a:p>
            <a:endParaRPr lang="el-GR" sz="2800" dirty="0">
              <a:solidFill>
                <a:srgbClr val="0213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l-GR" sz="2400" b="1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Με ανώτατο εύρος περιθωρίου επιτοκίου </a:t>
            </a: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που θα δηλωθεί από την Τράπεζα στην αίτηση συμμετοχής στο Πρόγραμμα.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endParaRPr lang="el-GR" sz="2800" dirty="0">
              <a:solidFill>
                <a:srgbClr val="0213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l-GR" sz="2400" b="1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Με Ανώτατο ύψος εξασφαλίσεων έως 100% </a:t>
            </a:r>
            <a:r>
              <a:rPr lang="el-GR" sz="2400" dirty="0">
                <a:solidFill>
                  <a:srgbClr val="021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του ποσού του δανείου (εξαιρείται η μόνιμη και μοναδική κατοικία του φορέα της εταιρείας).</a:t>
            </a:r>
            <a:endParaRPr lang="en-US" sz="2400" b="0" i="0" u="none" strike="noStrike" baseline="0" dirty="0">
              <a:solidFill>
                <a:srgbClr val="0213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143000" lvl="1" indent="-4572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el-GR" sz="2400" b="0" i="0" u="none" strike="noStrike" baseline="0" dirty="0">
              <a:solidFill>
                <a:srgbClr val="0213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9204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4">
            <a:extLst>
              <a:ext uri="{FF2B5EF4-FFF2-40B4-BE49-F238E27FC236}">
                <a16:creationId xmlns:a16="http://schemas.microsoft.com/office/drawing/2014/main" id="{557E4048-8C73-4478-AF2E-8D13C94206E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>
            <a:off x="14102902" y="-30480"/>
            <a:ext cx="4293494" cy="3943568"/>
          </a:xfrm>
          <a:prstGeom prst="rect">
            <a:avLst/>
          </a:prstGeom>
        </p:spPr>
      </p:pic>
      <p:pic>
        <p:nvPicPr>
          <p:cNvPr id="17" name="Picture 5">
            <a:extLst>
              <a:ext uri="{FF2B5EF4-FFF2-40B4-BE49-F238E27FC236}">
                <a16:creationId xmlns:a16="http://schemas.microsoft.com/office/drawing/2014/main" id="{F6B7BDC8-1449-4C40-A4D4-0FF9D1A9CF9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-10800000">
            <a:off x="13752512" y="3962157"/>
            <a:ext cx="4727074" cy="4727074"/>
          </a:xfrm>
          <a:prstGeom prst="rect">
            <a:avLst/>
          </a:prstGeom>
        </p:spPr>
      </p:pic>
      <p:sp>
        <p:nvSpPr>
          <p:cNvPr id="4" name="AutoShape 2">
            <a:extLst>
              <a:ext uri="{FF2B5EF4-FFF2-40B4-BE49-F238E27FC236}">
                <a16:creationId xmlns:a16="http://schemas.microsoft.com/office/drawing/2014/main" id="{4ECBBC71-C9F1-4874-940B-B39224EC0470}"/>
              </a:ext>
            </a:extLst>
          </p:cNvPr>
          <p:cNvSpPr/>
          <p:nvPr/>
        </p:nvSpPr>
        <p:spPr>
          <a:xfrm>
            <a:off x="13291906" y="-30480"/>
            <a:ext cx="5187680" cy="10317480"/>
          </a:xfrm>
          <a:prstGeom prst="rect">
            <a:avLst/>
          </a:prstGeom>
          <a:solidFill>
            <a:schemeClr val="accent2"/>
          </a:solidFill>
        </p:spPr>
        <p:txBody>
          <a:bodyPr/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57DE9CCE-92C7-4EA7-9BF2-34C5432A309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46" r="32046"/>
          <a:stretch/>
        </p:blipFill>
        <p:spPr>
          <a:xfrm>
            <a:off x="13964985" y="510612"/>
            <a:ext cx="4323015" cy="8026277"/>
          </a:xfrm>
          <a:prstGeom prst="rect">
            <a:avLst/>
          </a:prstGeom>
        </p:spPr>
      </p:pic>
      <p:pic>
        <p:nvPicPr>
          <p:cNvPr id="9" name="Picture 7">
            <a:extLst>
              <a:ext uri="{FF2B5EF4-FFF2-40B4-BE49-F238E27FC236}">
                <a16:creationId xmlns:a16="http://schemas.microsoft.com/office/drawing/2014/main" id="{6608098A-750B-4F51-B4EA-06C54043CB8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>
            <a:fillRect/>
          </a:stretch>
        </p:blipFill>
        <p:spPr>
          <a:xfrm rot="-5400000">
            <a:off x="16102194" y="8599884"/>
            <a:ext cx="1715393" cy="1715393"/>
          </a:xfrm>
          <a:prstGeom prst="rect">
            <a:avLst/>
          </a:prstGeom>
        </p:spPr>
      </p:pic>
      <p:pic>
        <p:nvPicPr>
          <p:cNvPr id="10" name="Picture 8">
            <a:extLst>
              <a:ext uri="{FF2B5EF4-FFF2-40B4-BE49-F238E27FC236}">
                <a16:creationId xmlns:a16="http://schemas.microsoft.com/office/drawing/2014/main" id="{C7DB7CA7-838E-4BE2-95BB-FEBF02F9ABF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>
            <a:fillRect/>
          </a:stretch>
        </p:blipFill>
        <p:spPr>
          <a:xfrm rot="-5400000">
            <a:off x="17273758" y="18074"/>
            <a:ext cx="1396767" cy="1396767"/>
          </a:xfrm>
          <a:prstGeom prst="rect">
            <a:avLst/>
          </a:prstGeom>
        </p:spPr>
      </p:pic>
      <p:pic>
        <p:nvPicPr>
          <p:cNvPr id="11" name="Picture 9">
            <a:extLst>
              <a:ext uri="{FF2B5EF4-FFF2-40B4-BE49-F238E27FC236}">
                <a16:creationId xmlns:a16="http://schemas.microsoft.com/office/drawing/2014/main" id="{61E8C178-4EFA-446D-9C29-BEB6CE7606C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>
            <a:fillRect/>
          </a:stretch>
        </p:blipFill>
        <p:spPr>
          <a:xfrm rot="-5400000">
            <a:off x="13887830" y="8189262"/>
            <a:ext cx="1069038" cy="1069038"/>
          </a:xfrm>
          <a:prstGeom prst="rect">
            <a:avLst/>
          </a:prstGeom>
        </p:spPr>
      </p:pic>
      <p:sp>
        <p:nvSpPr>
          <p:cNvPr id="38" name="Text Placeholder 1">
            <a:extLst>
              <a:ext uri="{FF2B5EF4-FFF2-40B4-BE49-F238E27FC236}">
                <a16:creationId xmlns:a16="http://schemas.microsoft.com/office/drawing/2014/main" id="{413443A5-468E-F42B-AC7B-765523A2EC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l-GR" b="1" dirty="0">
                <a:latin typeface="Calibri" panose="020F0502020204030204" pitchFamily="34" charset="0"/>
                <a:cs typeface="Calibri" panose="020F0502020204030204" pitchFamily="34" charset="0"/>
              </a:rPr>
              <a:t>Όραμα </a:t>
            </a:r>
            <a:r>
              <a:rPr lang="en-GB" b="1" dirty="0">
                <a:latin typeface="Calibri" panose="020F0502020204030204" pitchFamily="34" charset="0"/>
                <a:cs typeface="Calibri" panose="020F0502020204030204" pitchFamily="34" charset="0"/>
              </a:rPr>
              <a:t>&amp;</a:t>
            </a:r>
            <a:r>
              <a:rPr lang="el-GR" b="1" dirty="0">
                <a:latin typeface="Calibri" panose="020F0502020204030204" pitchFamily="34" charset="0"/>
                <a:cs typeface="Calibri" panose="020F0502020204030204" pitchFamily="34" charset="0"/>
              </a:rPr>
              <a:t> Αποστολή</a:t>
            </a:r>
            <a:endParaRPr 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55B5B09A-74E0-BC76-3D93-BCC379AA0628}"/>
              </a:ext>
            </a:extLst>
          </p:cNvPr>
          <p:cNvGrpSpPr/>
          <p:nvPr/>
        </p:nvGrpSpPr>
        <p:grpSpPr>
          <a:xfrm>
            <a:off x="470413" y="2843297"/>
            <a:ext cx="12047061" cy="5114836"/>
            <a:chOff x="5226473" y="3589829"/>
            <a:chExt cx="11305256" cy="4343223"/>
          </a:xfrm>
        </p:grpSpPr>
        <p:sp>
          <p:nvSpPr>
            <p:cNvPr id="40" name="Google Shape;1008;p86">
              <a:extLst>
                <a:ext uri="{FF2B5EF4-FFF2-40B4-BE49-F238E27FC236}">
                  <a16:creationId xmlns:a16="http://schemas.microsoft.com/office/drawing/2014/main" id="{CABDFB2C-7857-9573-A57B-33C0BB96CCF6}"/>
                </a:ext>
              </a:extLst>
            </p:cNvPr>
            <p:cNvSpPr/>
            <p:nvPr/>
          </p:nvSpPr>
          <p:spPr>
            <a:xfrm>
              <a:off x="5370489" y="3806464"/>
              <a:ext cx="11056574" cy="3893652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0" y="71094"/>
                  </a:moveTo>
                  <a:lnTo>
                    <a:pt x="120000" y="0"/>
                  </a:lnTo>
                  <a:lnTo>
                    <a:pt x="120000" y="48905"/>
                  </a:lnTo>
                  <a:lnTo>
                    <a:pt x="0" y="120000"/>
                  </a:lnTo>
                  <a:lnTo>
                    <a:pt x="0" y="71094"/>
                  </a:lnTo>
                  <a:close/>
                </a:path>
              </a:pathLst>
            </a:custGeom>
            <a:solidFill>
              <a:srgbClr val="CAD4E4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600"/>
                <a:buFontTx/>
                <a:buNone/>
                <a:tabLst/>
                <a:defRPr/>
              </a:pPr>
              <a:endParaRPr kumimoji="0" sz="27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ea typeface="Lato Light"/>
                <a:cs typeface="Calibri" panose="020F0502020204030204" pitchFamily="34" charset="0"/>
                <a:sym typeface="Lato Light"/>
              </a:endParaRPr>
            </a:p>
          </p:txBody>
        </p:sp>
        <p:sp>
          <p:nvSpPr>
            <p:cNvPr id="41" name="Google Shape;1014;p86">
              <a:extLst>
                <a:ext uri="{FF2B5EF4-FFF2-40B4-BE49-F238E27FC236}">
                  <a16:creationId xmlns:a16="http://schemas.microsoft.com/office/drawing/2014/main" id="{26C5BCE7-5835-9234-FEBB-DC3A3DEAFB14}"/>
                </a:ext>
              </a:extLst>
            </p:cNvPr>
            <p:cNvSpPr/>
            <p:nvPr/>
          </p:nvSpPr>
          <p:spPr>
            <a:xfrm>
              <a:off x="5298481" y="6103756"/>
              <a:ext cx="11233248" cy="1829296"/>
            </a:xfrm>
            <a:prstGeom prst="flowChartAlternateProcess">
              <a:avLst/>
            </a:prstGeom>
            <a:solidFill>
              <a:schemeClr val="accent2"/>
            </a:solidFill>
            <a:ln>
              <a:solidFill>
                <a:srgbClr val="3768B7"/>
              </a:solidFill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600"/>
                <a:buFontTx/>
                <a:buNone/>
                <a:tabLst/>
                <a:defRPr/>
              </a:pPr>
              <a:endParaRPr kumimoji="0" sz="2700" b="0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Lato Light"/>
                <a:cs typeface="Calibri" panose="020F0502020204030204" pitchFamily="34" charset="0"/>
                <a:sym typeface="Lato Light"/>
              </a:endParaRPr>
            </a:p>
          </p:txBody>
        </p:sp>
        <p:sp>
          <p:nvSpPr>
            <p:cNvPr id="42" name="Google Shape;5333;p131">
              <a:extLst>
                <a:ext uri="{FF2B5EF4-FFF2-40B4-BE49-F238E27FC236}">
                  <a16:creationId xmlns:a16="http://schemas.microsoft.com/office/drawing/2014/main" id="{526DADC8-CED3-F519-025A-1EA8F29B35F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28707" y="6420156"/>
              <a:ext cx="1096739" cy="1014962"/>
            </a:xfrm>
            <a:custGeom>
              <a:avLst/>
              <a:gdLst/>
              <a:ahLst/>
              <a:cxnLst/>
              <a:rect l="l" t="t" r="r" b="b"/>
              <a:pathLst>
                <a:path w="229" h="229" extrusionOk="0">
                  <a:moveTo>
                    <a:pt x="84" y="225"/>
                  </a:moveTo>
                  <a:cubicBezTo>
                    <a:pt x="74" y="222"/>
                    <a:pt x="65" y="218"/>
                    <a:pt x="56" y="213"/>
                  </a:cubicBezTo>
                  <a:cubicBezTo>
                    <a:pt x="48" y="208"/>
                    <a:pt x="40" y="202"/>
                    <a:pt x="33" y="195"/>
                  </a:cubicBezTo>
                  <a:cubicBezTo>
                    <a:pt x="26" y="188"/>
                    <a:pt x="20" y="180"/>
                    <a:pt x="15" y="172"/>
                  </a:cubicBezTo>
                  <a:cubicBezTo>
                    <a:pt x="10" y="163"/>
                    <a:pt x="7" y="154"/>
                    <a:pt x="4" y="144"/>
                  </a:cubicBezTo>
                  <a:cubicBezTo>
                    <a:pt x="1" y="135"/>
                    <a:pt x="0" y="125"/>
                    <a:pt x="0" y="114"/>
                  </a:cubicBezTo>
                  <a:cubicBezTo>
                    <a:pt x="0" y="104"/>
                    <a:pt x="1" y="94"/>
                    <a:pt x="4" y="84"/>
                  </a:cubicBezTo>
                  <a:cubicBezTo>
                    <a:pt x="7" y="74"/>
                    <a:pt x="10" y="65"/>
                    <a:pt x="15" y="56"/>
                  </a:cubicBezTo>
                  <a:cubicBezTo>
                    <a:pt x="20" y="48"/>
                    <a:pt x="26" y="40"/>
                    <a:pt x="33" y="33"/>
                  </a:cubicBezTo>
                  <a:cubicBezTo>
                    <a:pt x="40" y="26"/>
                    <a:pt x="48" y="20"/>
                    <a:pt x="56" y="15"/>
                  </a:cubicBezTo>
                  <a:cubicBezTo>
                    <a:pt x="65" y="10"/>
                    <a:pt x="74" y="7"/>
                    <a:pt x="84" y="4"/>
                  </a:cubicBezTo>
                  <a:cubicBezTo>
                    <a:pt x="94" y="1"/>
                    <a:pt x="104" y="0"/>
                    <a:pt x="114" y="0"/>
                  </a:cubicBezTo>
                  <a:cubicBezTo>
                    <a:pt x="125" y="0"/>
                    <a:pt x="135" y="1"/>
                    <a:pt x="145" y="4"/>
                  </a:cubicBezTo>
                  <a:cubicBezTo>
                    <a:pt x="154" y="7"/>
                    <a:pt x="163" y="10"/>
                    <a:pt x="172" y="15"/>
                  </a:cubicBezTo>
                  <a:cubicBezTo>
                    <a:pt x="180" y="20"/>
                    <a:pt x="188" y="26"/>
                    <a:pt x="195" y="33"/>
                  </a:cubicBezTo>
                  <a:cubicBezTo>
                    <a:pt x="202" y="40"/>
                    <a:pt x="208" y="48"/>
                    <a:pt x="213" y="56"/>
                  </a:cubicBezTo>
                  <a:cubicBezTo>
                    <a:pt x="218" y="65"/>
                    <a:pt x="222" y="74"/>
                    <a:pt x="225" y="84"/>
                  </a:cubicBezTo>
                  <a:cubicBezTo>
                    <a:pt x="227" y="94"/>
                    <a:pt x="229" y="104"/>
                    <a:pt x="229" y="114"/>
                  </a:cubicBezTo>
                  <a:cubicBezTo>
                    <a:pt x="229" y="125"/>
                    <a:pt x="227" y="135"/>
                    <a:pt x="225" y="145"/>
                  </a:cubicBezTo>
                  <a:cubicBezTo>
                    <a:pt x="222" y="154"/>
                    <a:pt x="218" y="163"/>
                    <a:pt x="213" y="172"/>
                  </a:cubicBezTo>
                  <a:cubicBezTo>
                    <a:pt x="208" y="180"/>
                    <a:pt x="202" y="188"/>
                    <a:pt x="195" y="195"/>
                  </a:cubicBezTo>
                  <a:cubicBezTo>
                    <a:pt x="188" y="202"/>
                    <a:pt x="180" y="208"/>
                    <a:pt x="172" y="213"/>
                  </a:cubicBezTo>
                  <a:cubicBezTo>
                    <a:pt x="163" y="218"/>
                    <a:pt x="154" y="222"/>
                    <a:pt x="145" y="225"/>
                  </a:cubicBezTo>
                  <a:cubicBezTo>
                    <a:pt x="135" y="227"/>
                    <a:pt x="125" y="229"/>
                    <a:pt x="114" y="229"/>
                  </a:cubicBezTo>
                  <a:cubicBezTo>
                    <a:pt x="104" y="229"/>
                    <a:pt x="93" y="227"/>
                    <a:pt x="84" y="225"/>
                  </a:cubicBezTo>
                  <a:close/>
                  <a:moveTo>
                    <a:pt x="92" y="34"/>
                  </a:moveTo>
                  <a:cubicBezTo>
                    <a:pt x="85" y="36"/>
                    <a:pt x="79" y="39"/>
                    <a:pt x="72" y="43"/>
                  </a:cubicBezTo>
                  <a:cubicBezTo>
                    <a:pt x="66" y="46"/>
                    <a:pt x="61" y="51"/>
                    <a:pt x="56" y="56"/>
                  </a:cubicBezTo>
                  <a:cubicBezTo>
                    <a:pt x="51" y="61"/>
                    <a:pt x="46" y="66"/>
                    <a:pt x="43" y="72"/>
                  </a:cubicBezTo>
                  <a:cubicBezTo>
                    <a:pt x="39" y="79"/>
                    <a:pt x="36" y="85"/>
                    <a:pt x="34" y="92"/>
                  </a:cubicBezTo>
                  <a:cubicBezTo>
                    <a:pt x="32" y="99"/>
                    <a:pt x="31" y="107"/>
                    <a:pt x="31" y="114"/>
                  </a:cubicBezTo>
                  <a:cubicBezTo>
                    <a:pt x="31" y="122"/>
                    <a:pt x="32" y="129"/>
                    <a:pt x="34" y="136"/>
                  </a:cubicBezTo>
                  <a:cubicBezTo>
                    <a:pt x="36" y="143"/>
                    <a:pt x="39" y="150"/>
                    <a:pt x="43" y="156"/>
                  </a:cubicBezTo>
                  <a:cubicBezTo>
                    <a:pt x="46" y="162"/>
                    <a:pt x="51" y="168"/>
                    <a:pt x="56" y="173"/>
                  </a:cubicBezTo>
                  <a:cubicBezTo>
                    <a:pt x="61" y="178"/>
                    <a:pt x="66" y="182"/>
                    <a:pt x="72" y="186"/>
                  </a:cubicBezTo>
                  <a:cubicBezTo>
                    <a:pt x="79" y="189"/>
                    <a:pt x="85" y="192"/>
                    <a:pt x="92" y="194"/>
                  </a:cubicBezTo>
                  <a:cubicBezTo>
                    <a:pt x="99" y="196"/>
                    <a:pt x="107" y="197"/>
                    <a:pt x="114" y="197"/>
                  </a:cubicBezTo>
                  <a:cubicBezTo>
                    <a:pt x="122" y="197"/>
                    <a:pt x="129" y="196"/>
                    <a:pt x="136" y="194"/>
                  </a:cubicBezTo>
                  <a:cubicBezTo>
                    <a:pt x="143" y="192"/>
                    <a:pt x="150" y="189"/>
                    <a:pt x="156" y="186"/>
                  </a:cubicBezTo>
                  <a:cubicBezTo>
                    <a:pt x="162" y="182"/>
                    <a:pt x="168" y="178"/>
                    <a:pt x="173" y="173"/>
                  </a:cubicBezTo>
                  <a:cubicBezTo>
                    <a:pt x="178" y="168"/>
                    <a:pt x="182" y="162"/>
                    <a:pt x="186" y="156"/>
                  </a:cubicBezTo>
                  <a:cubicBezTo>
                    <a:pt x="189" y="150"/>
                    <a:pt x="192" y="143"/>
                    <a:pt x="194" y="136"/>
                  </a:cubicBezTo>
                  <a:cubicBezTo>
                    <a:pt x="196" y="129"/>
                    <a:pt x="197" y="122"/>
                    <a:pt x="197" y="114"/>
                  </a:cubicBezTo>
                  <a:cubicBezTo>
                    <a:pt x="197" y="107"/>
                    <a:pt x="196" y="99"/>
                    <a:pt x="194" y="92"/>
                  </a:cubicBezTo>
                  <a:cubicBezTo>
                    <a:pt x="192" y="85"/>
                    <a:pt x="189" y="79"/>
                    <a:pt x="186" y="72"/>
                  </a:cubicBezTo>
                  <a:cubicBezTo>
                    <a:pt x="182" y="66"/>
                    <a:pt x="178" y="61"/>
                    <a:pt x="173" y="56"/>
                  </a:cubicBezTo>
                  <a:cubicBezTo>
                    <a:pt x="168" y="51"/>
                    <a:pt x="162" y="46"/>
                    <a:pt x="156" y="43"/>
                  </a:cubicBezTo>
                  <a:cubicBezTo>
                    <a:pt x="150" y="39"/>
                    <a:pt x="143" y="36"/>
                    <a:pt x="136" y="34"/>
                  </a:cubicBezTo>
                  <a:cubicBezTo>
                    <a:pt x="129" y="32"/>
                    <a:pt x="122" y="31"/>
                    <a:pt x="114" y="31"/>
                  </a:cubicBezTo>
                  <a:cubicBezTo>
                    <a:pt x="107" y="31"/>
                    <a:pt x="99" y="32"/>
                    <a:pt x="92" y="34"/>
                  </a:cubicBezTo>
                  <a:close/>
                  <a:moveTo>
                    <a:pt x="94" y="162"/>
                  </a:moveTo>
                  <a:cubicBezTo>
                    <a:pt x="88" y="159"/>
                    <a:pt x="82" y="156"/>
                    <a:pt x="77" y="151"/>
                  </a:cubicBezTo>
                  <a:cubicBezTo>
                    <a:pt x="73" y="146"/>
                    <a:pt x="69" y="141"/>
                    <a:pt x="66" y="134"/>
                  </a:cubicBezTo>
                  <a:cubicBezTo>
                    <a:pt x="64" y="128"/>
                    <a:pt x="62" y="121"/>
                    <a:pt x="62" y="114"/>
                  </a:cubicBezTo>
                  <a:cubicBezTo>
                    <a:pt x="62" y="107"/>
                    <a:pt x="64" y="100"/>
                    <a:pt x="66" y="94"/>
                  </a:cubicBezTo>
                  <a:cubicBezTo>
                    <a:pt x="69" y="88"/>
                    <a:pt x="73" y="82"/>
                    <a:pt x="77" y="77"/>
                  </a:cubicBezTo>
                  <a:cubicBezTo>
                    <a:pt x="82" y="73"/>
                    <a:pt x="88" y="69"/>
                    <a:pt x="94" y="66"/>
                  </a:cubicBezTo>
                  <a:cubicBezTo>
                    <a:pt x="100" y="63"/>
                    <a:pt x="107" y="62"/>
                    <a:pt x="114" y="62"/>
                  </a:cubicBezTo>
                  <a:cubicBezTo>
                    <a:pt x="121" y="62"/>
                    <a:pt x="128" y="63"/>
                    <a:pt x="134" y="66"/>
                  </a:cubicBezTo>
                  <a:cubicBezTo>
                    <a:pt x="141" y="69"/>
                    <a:pt x="146" y="73"/>
                    <a:pt x="151" y="77"/>
                  </a:cubicBezTo>
                  <a:cubicBezTo>
                    <a:pt x="156" y="82"/>
                    <a:pt x="159" y="88"/>
                    <a:pt x="162" y="94"/>
                  </a:cubicBezTo>
                  <a:cubicBezTo>
                    <a:pt x="165" y="100"/>
                    <a:pt x="166" y="107"/>
                    <a:pt x="166" y="114"/>
                  </a:cubicBezTo>
                  <a:cubicBezTo>
                    <a:pt x="166" y="121"/>
                    <a:pt x="165" y="128"/>
                    <a:pt x="162" y="134"/>
                  </a:cubicBezTo>
                  <a:cubicBezTo>
                    <a:pt x="159" y="141"/>
                    <a:pt x="156" y="146"/>
                    <a:pt x="151" y="151"/>
                  </a:cubicBezTo>
                  <a:cubicBezTo>
                    <a:pt x="146" y="156"/>
                    <a:pt x="141" y="159"/>
                    <a:pt x="134" y="162"/>
                  </a:cubicBezTo>
                  <a:cubicBezTo>
                    <a:pt x="128" y="165"/>
                    <a:pt x="121" y="166"/>
                    <a:pt x="114" y="166"/>
                  </a:cubicBezTo>
                  <a:cubicBezTo>
                    <a:pt x="107" y="166"/>
                    <a:pt x="100" y="165"/>
                    <a:pt x="94" y="162"/>
                  </a:cubicBezTo>
                  <a:close/>
                  <a:moveTo>
                    <a:pt x="106" y="95"/>
                  </a:moveTo>
                  <a:cubicBezTo>
                    <a:pt x="104" y="96"/>
                    <a:pt x="101" y="98"/>
                    <a:pt x="99" y="99"/>
                  </a:cubicBezTo>
                  <a:cubicBezTo>
                    <a:pt x="98" y="101"/>
                    <a:pt x="96" y="104"/>
                    <a:pt x="95" y="106"/>
                  </a:cubicBezTo>
                  <a:cubicBezTo>
                    <a:pt x="94" y="109"/>
                    <a:pt x="93" y="111"/>
                    <a:pt x="93" y="114"/>
                  </a:cubicBezTo>
                  <a:cubicBezTo>
                    <a:pt x="93" y="117"/>
                    <a:pt x="94" y="120"/>
                    <a:pt x="95" y="122"/>
                  </a:cubicBezTo>
                  <a:cubicBezTo>
                    <a:pt x="96" y="125"/>
                    <a:pt x="98" y="127"/>
                    <a:pt x="99" y="129"/>
                  </a:cubicBezTo>
                  <a:cubicBezTo>
                    <a:pt x="101" y="131"/>
                    <a:pt x="104" y="132"/>
                    <a:pt x="106" y="133"/>
                  </a:cubicBezTo>
                  <a:cubicBezTo>
                    <a:pt x="109" y="134"/>
                    <a:pt x="111" y="135"/>
                    <a:pt x="114" y="135"/>
                  </a:cubicBezTo>
                  <a:cubicBezTo>
                    <a:pt x="117" y="135"/>
                    <a:pt x="120" y="134"/>
                    <a:pt x="122" y="133"/>
                  </a:cubicBezTo>
                  <a:cubicBezTo>
                    <a:pt x="125" y="132"/>
                    <a:pt x="127" y="131"/>
                    <a:pt x="129" y="129"/>
                  </a:cubicBezTo>
                  <a:cubicBezTo>
                    <a:pt x="131" y="127"/>
                    <a:pt x="132" y="125"/>
                    <a:pt x="133" y="122"/>
                  </a:cubicBezTo>
                  <a:cubicBezTo>
                    <a:pt x="134" y="120"/>
                    <a:pt x="135" y="117"/>
                    <a:pt x="135" y="114"/>
                  </a:cubicBezTo>
                  <a:cubicBezTo>
                    <a:pt x="135" y="111"/>
                    <a:pt x="134" y="109"/>
                    <a:pt x="133" y="106"/>
                  </a:cubicBezTo>
                  <a:cubicBezTo>
                    <a:pt x="132" y="104"/>
                    <a:pt x="131" y="101"/>
                    <a:pt x="129" y="99"/>
                  </a:cubicBezTo>
                  <a:cubicBezTo>
                    <a:pt x="127" y="98"/>
                    <a:pt x="125" y="96"/>
                    <a:pt x="122" y="95"/>
                  </a:cubicBezTo>
                  <a:cubicBezTo>
                    <a:pt x="120" y="94"/>
                    <a:pt x="117" y="93"/>
                    <a:pt x="114" y="93"/>
                  </a:cubicBezTo>
                  <a:cubicBezTo>
                    <a:pt x="111" y="93"/>
                    <a:pt x="109" y="94"/>
                    <a:pt x="106" y="9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82850" tIns="91400" rIns="182850" bIns="91400" anchor="t" anchorCtr="0">
              <a:noAutofit/>
            </a:bodyPr>
            <a:lstStyle/>
            <a:p>
              <a:pPr marL="0" marR="0" lvl="0" indent="0" algn="l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7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919DBC50-449E-932A-B702-CA55ECB8CBB2}"/>
                </a:ext>
              </a:extLst>
            </p:cNvPr>
            <p:cNvGrpSpPr/>
            <p:nvPr/>
          </p:nvGrpSpPr>
          <p:grpSpPr>
            <a:xfrm>
              <a:off x="5226473" y="3589829"/>
              <a:ext cx="11305256" cy="4129380"/>
              <a:chOff x="9576048" y="4144164"/>
              <a:chExt cx="11305256" cy="4272907"/>
            </a:xfrm>
          </p:grpSpPr>
          <p:sp>
            <p:nvSpPr>
              <p:cNvPr id="45" name="Google Shape;1014;p86">
                <a:extLst>
                  <a:ext uri="{FF2B5EF4-FFF2-40B4-BE49-F238E27FC236}">
                    <a16:creationId xmlns:a16="http://schemas.microsoft.com/office/drawing/2014/main" id="{4E253B22-EA30-AE37-23A3-94D2DBC34759}"/>
                  </a:ext>
                </a:extLst>
              </p:cNvPr>
              <p:cNvSpPr/>
              <p:nvPr/>
            </p:nvSpPr>
            <p:spPr>
              <a:xfrm>
                <a:off x="9576048" y="4231035"/>
                <a:ext cx="11233248" cy="1892878"/>
              </a:xfrm>
              <a:prstGeom prst="flowChartAlternateProcess">
                <a:avLst/>
              </a:prstGeom>
              <a:solidFill>
                <a:srgbClr val="3768B7"/>
              </a:solidFill>
              <a:ln>
                <a:solidFill>
                  <a:srgbClr val="3768B7"/>
                </a:solidFill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defTabSz="13716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3600"/>
                  <a:buFontTx/>
                  <a:buNone/>
                  <a:tabLst/>
                  <a:defRPr/>
                </a:pPr>
                <a:endParaRPr kumimoji="0" sz="2700" b="0" i="0" u="none" strike="noStrike" kern="1200" cap="none" spc="0" normalizeH="0" baseline="0" noProof="0" dirty="0">
                  <a:ln>
                    <a:noFill/>
                  </a:ln>
                  <a:solidFill>
                    <a:srgbClr val="0A091B"/>
                  </a:solidFill>
                  <a:effectLst/>
                  <a:uLnTx/>
                  <a:uFillTx/>
                  <a:latin typeface="Calibri" panose="020F0502020204030204" pitchFamily="34" charset="0"/>
                  <a:ea typeface="Lato Light"/>
                  <a:cs typeface="Calibri" panose="020F0502020204030204" pitchFamily="34" charset="0"/>
                  <a:sym typeface="Lato Light"/>
                </a:endParaRPr>
              </a:p>
            </p:txBody>
          </p:sp>
          <p:sp>
            <p:nvSpPr>
              <p:cNvPr id="46" name="Google Shape;1017;p86">
                <a:extLst>
                  <a:ext uri="{FF2B5EF4-FFF2-40B4-BE49-F238E27FC236}">
                    <a16:creationId xmlns:a16="http://schemas.microsoft.com/office/drawing/2014/main" id="{59DAD8C9-5A96-F2B9-7CF5-97066E50876E}"/>
                  </a:ext>
                </a:extLst>
              </p:cNvPr>
              <p:cNvSpPr/>
              <p:nvPr/>
            </p:nvSpPr>
            <p:spPr>
              <a:xfrm>
                <a:off x="11153398" y="4144164"/>
                <a:ext cx="9655898" cy="203078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l" defTabSz="13716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900"/>
                  <a:buFontTx/>
                  <a:buNone/>
                  <a:tabLst/>
                  <a:defRPr/>
                </a:pPr>
                <a:r>
                  <a:rPr kumimoji="0" lang="el-GR" sz="3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ΤΟ ΟΡΑΜΑ ΜΑΣ</a:t>
                </a:r>
                <a:endPara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marL="0" marR="0" lvl="0" indent="0" algn="l" defTabSz="13716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900"/>
                  <a:buFontTx/>
                  <a:buNone/>
                  <a:tabLst/>
                  <a:defRPr/>
                </a:pPr>
                <a:r>
                  <a:rPr kumimoji="0" lang="el-GR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Η </a:t>
                </a: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HDB </a:t>
                </a:r>
                <a:r>
                  <a:rPr kumimoji="0" lang="el-GR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να αποτελεί τον </a:t>
                </a:r>
                <a:r>
                  <a:rPr kumimoji="0" lang="el-GR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θεσμό αναφοράς </a:t>
                </a:r>
                <a:r>
                  <a:rPr kumimoji="0" lang="el-GR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για την χρηματοδότηση της επιχειρηματικότητας. </a:t>
                </a:r>
              </a:p>
              <a:p>
                <a:pPr marL="0" marR="0" lvl="0" indent="0" algn="just" defTabSz="13716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l-GR" sz="28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Στηρίζουμε όσους τολμούν, καινοτομούν και επιχειρούν!</a:t>
                </a:r>
                <a:endParaRPr kumimoji="0" lang="en-US" sz="2800" b="0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7" name="Google Shape;1018;p86">
                <a:extLst>
                  <a:ext uri="{FF2B5EF4-FFF2-40B4-BE49-F238E27FC236}">
                    <a16:creationId xmlns:a16="http://schemas.microsoft.com/office/drawing/2014/main" id="{4BB6B042-6CB6-8C47-47E3-4E6B9DD6C837}"/>
                  </a:ext>
                </a:extLst>
              </p:cNvPr>
              <p:cNvSpPr/>
              <p:nvPr/>
            </p:nvSpPr>
            <p:spPr>
              <a:xfrm>
                <a:off x="11153398" y="6679003"/>
                <a:ext cx="9727906" cy="173806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l" defTabSz="13716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900"/>
                  <a:buFontTx/>
                  <a:buNone/>
                  <a:tabLst/>
                  <a:defRPr/>
                </a:pPr>
                <a:r>
                  <a:rPr kumimoji="0" lang="el-GR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Η ΑΠΟΣΤΟΛΗ ΜΑΣ </a:t>
                </a:r>
                <a:endPara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marL="0" marR="0" lvl="0" indent="0" algn="l" defTabSz="13716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2900"/>
                  <a:buFontTx/>
                  <a:buNone/>
                  <a:tabLst/>
                  <a:defRPr/>
                </a:pPr>
                <a:r>
                  <a:rPr kumimoji="0" lang="el-GR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Διευκόλυνση χρηματοδότησης των επιχειρήσεων</a:t>
                </a:r>
                <a:r>
                  <a:rPr kumimoji="0" lang="el-GR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, καλύπτοντας τα </a:t>
                </a:r>
                <a:r>
                  <a:rPr kumimoji="0" lang="el-GR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κενά της αγοράς</a:t>
                </a:r>
                <a:r>
                  <a:rPr kumimoji="0" lang="el-GR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, δημιουργώντας αξία για την κοινωνία και συμβάλλοντας στην ανάπτυξη με </a:t>
                </a:r>
                <a:r>
                  <a:rPr kumimoji="0" lang="el-GR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οικονομικά</a:t>
                </a:r>
                <a:r>
                  <a:rPr kumimoji="0" lang="el-GR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, </a:t>
                </a:r>
                <a:r>
                  <a:rPr kumimoji="0" lang="el-GR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κοινωνικά</a:t>
                </a:r>
                <a:r>
                  <a:rPr kumimoji="0" lang="el-GR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 και </a:t>
                </a:r>
                <a:r>
                  <a:rPr kumimoji="0" lang="el-GR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Calibri" panose="020F0502020204030204" pitchFamily="34" charset="0"/>
                  </a:rPr>
                  <a:t>περιβαλλοντικά οφέλη.</a:t>
                </a:r>
              </a:p>
            </p:txBody>
          </p:sp>
        </p:grpSp>
        <p:sp>
          <p:nvSpPr>
            <p:cNvPr id="44" name="Google Shape;5300;p131">
              <a:extLst>
                <a:ext uri="{FF2B5EF4-FFF2-40B4-BE49-F238E27FC236}">
                  <a16:creationId xmlns:a16="http://schemas.microsoft.com/office/drawing/2014/main" id="{BD8B5BF5-EFBB-9EDE-2C44-05D2BE1C004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59246" y="4121631"/>
              <a:ext cx="967219" cy="1173347"/>
            </a:xfrm>
            <a:custGeom>
              <a:avLst/>
              <a:gdLst/>
              <a:ahLst/>
              <a:cxnLst/>
              <a:rect l="l" t="t" r="r" b="b"/>
              <a:pathLst>
                <a:path w="185" h="224" extrusionOk="0">
                  <a:moveTo>
                    <a:pt x="0" y="32"/>
                  </a:moveTo>
                  <a:cubicBezTo>
                    <a:pt x="0" y="31"/>
                    <a:pt x="0" y="30"/>
                    <a:pt x="1" y="29"/>
                  </a:cubicBezTo>
                  <a:cubicBezTo>
                    <a:pt x="1" y="27"/>
                    <a:pt x="2" y="26"/>
                    <a:pt x="3" y="25"/>
                  </a:cubicBezTo>
                  <a:cubicBezTo>
                    <a:pt x="4" y="24"/>
                    <a:pt x="5" y="23"/>
                    <a:pt x="6" y="23"/>
                  </a:cubicBezTo>
                  <a:cubicBezTo>
                    <a:pt x="7" y="22"/>
                    <a:pt x="9" y="22"/>
                    <a:pt x="10" y="22"/>
                  </a:cubicBezTo>
                  <a:cubicBezTo>
                    <a:pt x="13" y="22"/>
                    <a:pt x="15" y="23"/>
                    <a:pt x="17" y="24"/>
                  </a:cubicBezTo>
                  <a:cubicBezTo>
                    <a:pt x="18" y="25"/>
                    <a:pt x="20" y="27"/>
                    <a:pt x="20" y="30"/>
                  </a:cubicBezTo>
                  <a:cubicBezTo>
                    <a:pt x="69" y="211"/>
                    <a:pt x="69" y="211"/>
                    <a:pt x="69" y="211"/>
                  </a:cubicBezTo>
                  <a:cubicBezTo>
                    <a:pt x="69" y="211"/>
                    <a:pt x="69" y="212"/>
                    <a:pt x="69" y="213"/>
                  </a:cubicBezTo>
                  <a:cubicBezTo>
                    <a:pt x="69" y="216"/>
                    <a:pt x="68" y="218"/>
                    <a:pt x="66" y="220"/>
                  </a:cubicBezTo>
                  <a:cubicBezTo>
                    <a:pt x="64" y="223"/>
                    <a:pt x="62" y="224"/>
                    <a:pt x="59" y="224"/>
                  </a:cubicBezTo>
                  <a:cubicBezTo>
                    <a:pt x="56" y="224"/>
                    <a:pt x="54" y="223"/>
                    <a:pt x="52" y="221"/>
                  </a:cubicBezTo>
                  <a:cubicBezTo>
                    <a:pt x="51" y="220"/>
                    <a:pt x="49" y="218"/>
                    <a:pt x="49" y="216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4"/>
                    <a:pt x="0" y="33"/>
                    <a:pt x="0" y="32"/>
                  </a:cubicBezTo>
                  <a:close/>
                  <a:moveTo>
                    <a:pt x="43" y="34"/>
                  </a:moveTo>
                  <a:cubicBezTo>
                    <a:pt x="46" y="36"/>
                    <a:pt x="49" y="37"/>
                    <a:pt x="53" y="37"/>
                  </a:cubicBezTo>
                  <a:cubicBezTo>
                    <a:pt x="58" y="37"/>
                    <a:pt x="66" y="35"/>
                    <a:pt x="76" y="31"/>
                  </a:cubicBezTo>
                  <a:cubicBezTo>
                    <a:pt x="85" y="27"/>
                    <a:pt x="95" y="23"/>
                    <a:pt x="103" y="18"/>
                  </a:cubicBezTo>
                  <a:cubicBezTo>
                    <a:pt x="108" y="16"/>
                    <a:pt x="112" y="14"/>
                    <a:pt x="117" y="11"/>
                  </a:cubicBezTo>
                  <a:cubicBezTo>
                    <a:pt x="121" y="9"/>
                    <a:pt x="126" y="7"/>
                    <a:pt x="131" y="5"/>
                  </a:cubicBezTo>
                  <a:cubicBezTo>
                    <a:pt x="140" y="2"/>
                    <a:pt x="148" y="0"/>
                    <a:pt x="154" y="0"/>
                  </a:cubicBezTo>
                  <a:cubicBezTo>
                    <a:pt x="158" y="0"/>
                    <a:pt x="161" y="0"/>
                    <a:pt x="164" y="2"/>
                  </a:cubicBezTo>
                  <a:cubicBezTo>
                    <a:pt x="162" y="10"/>
                    <a:pt x="160" y="17"/>
                    <a:pt x="159" y="23"/>
                  </a:cubicBezTo>
                  <a:cubicBezTo>
                    <a:pt x="157" y="30"/>
                    <a:pt x="155" y="36"/>
                    <a:pt x="153" y="42"/>
                  </a:cubicBezTo>
                  <a:cubicBezTo>
                    <a:pt x="156" y="45"/>
                    <a:pt x="158" y="49"/>
                    <a:pt x="161" y="52"/>
                  </a:cubicBezTo>
                  <a:cubicBezTo>
                    <a:pt x="163" y="56"/>
                    <a:pt x="166" y="59"/>
                    <a:pt x="168" y="62"/>
                  </a:cubicBezTo>
                  <a:cubicBezTo>
                    <a:pt x="171" y="66"/>
                    <a:pt x="174" y="69"/>
                    <a:pt x="176" y="71"/>
                  </a:cubicBezTo>
                  <a:cubicBezTo>
                    <a:pt x="178" y="74"/>
                    <a:pt x="180" y="76"/>
                    <a:pt x="181" y="77"/>
                  </a:cubicBezTo>
                  <a:cubicBezTo>
                    <a:pt x="185" y="82"/>
                    <a:pt x="185" y="82"/>
                    <a:pt x="185" y="82"/>
                  </a:cubicBezTo>
                  <a:cubicBezTo>
                    <a:pt x="182" y="81"/>
                    <a:pt x="179" y="80"/>
                    <a:pt x="175" y="80"/>
                  </a:cubicBezTo>
                  <a:cubicBezTo>
                    <a:pt x="170" y="80"/>
                    <a:pt x="162" y="82"/>
                    <a:pt x="152" y="86"/>
                  </a:cubicBezTo>
                  <a:cubicBezTo>
                    <a:pt x="147" y="88"/>
                    <a:pt x="143" y="90"/>
                    <a:pt x="138" y="92"/>
                  </a:cubicBezTo>
                  <a:cubicBezTo>
                    <a:pt x="134" y="94"/>
                    <a:pt x="129" y="96"/>
                    <a:pt x="125" y="99"/>
                  </a:cubicBezTo>
                  <a:cubicBezTo>
                    <a:pt x="116" y="103"/>
                    <a:pt x="107" y="107"/>
                    <a:pt x="98" y="111"/>
                  </a:cubicBezTo>
                  <a:cubicBezTo>
                    <a:pt x="88" y="115"/>
                    <a:pt x="80" y="117"/>
                    <a:pt x="74" y="117"/>
                  </a:cubicBezTo>
                  <a:cubicBezTo>
                    <a:pt x="71" y="117"/>
                    <a:pt x="67" y="116"/>
                    <a:pt x="65" y="115"/>
                  </a:cubicBezTo>
                  <a:lnTo>
                    <a:pt x="43" y="3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182850" tIns="91400" rIns="182850" bIns="91400" anchor="t" anchorCtr="0">
              <a:noAutofit/>
            </a:bodyPr>
            <a:lstStyle/>
            <a:p>
              <a:pPr marL="0" marR="0" lvl="0" indent="0" algn="l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7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4932409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3" name="Google Shape;1253;p92"/>
          <p:cNvCxnSpPr/>
          <p:nvPr/>
        </p:nvCxnSpPr>
        <p:spPr>
          <a:xfrm>
            <a:off x="1122866" y="-1311276"/>
            <a:ext cx="0" cy="0"/>
          </a:xfrm>
          <a:prstGeom prst="straightConnector1">
            <a:avLst/>
          </a:prstGeom>
          <a:noFill/>
          <a:ln>
            <a:noFill/>
          </a:ln>
        </p:spPr>
      </p:cxnSp>
      <p:cxnSp>
        <p:nvCxnSpPr>
          <p:cNvPr id="1254" name="Google Shape;1254;p92"/>
          <p:cNvCxnSpPr/>
          <p:nvPr/>
        </p:nvCxnSpPr>
        <p:spPr>
          <a:xfrm>
            <a:off x="1122866" y="-1311276"/>
            <a:ext cx="0" cy="0"/>
          </a:xfrm>
          <a:prstGeom prst="straightConnector1">
            <a:avLst/>
          </a:prstGeom>
          <a:noFill/>
          <a:ln>
            <a:noFill/>
          </a:ln>
        </p:spPr>
      </p:cxnSp>
      <p:sp>
        <p:nvSpPr>
          <p:cNvPr id="1255" name="Google Shape;1255;p92"/>
          <p:cNvSpPr/>
          <p:nvPr/>
        </p:nvSpPr>
        <p:spPr>
          <a:xfrm>
            <a:off x="7394197" y="0"/>
            <a:ext cx="10923712" cy="1028953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54569" y="0"/>
                </a:moveTo>
                <a:lnTo>
                  <a:pt x="75779" y="0"/>
                </a:lnTo>
                <a:lnTo>
                  <a:pt x="103675" y="0"/>
                </a:lnTo>
                <a:lnTo>
                  <a:pt x="104195" y="0"/>
                </a:lnTo>
                <a:lnTo>
                  <a:pt x="116872" y="0"/>
                </a:lnTo>
                <a:lnTo>
                  <a:pt x="119999" y="0"/>
                </a:lnTo>
                <a:lnTo>
                  <a:pt x="119999" y="120000"/>
                </a:lnTo>
                <a:lnTo>
                  <a:pt x="116872" y="120000"/>
                </a:lnTo>
                <a:lnTo>
                  <a:pt x="104195" y="120000"/>
                </a:lnTo>
                <a:lnTo>
                  <a:pt x="103675" y="120000"/>
                </a:lnTo>
                <a:lnTo>
                  <a:pt x="75779" y="120000"/>
                </a:lnTo>
                <a:lnTo>
                  <a:pt x="0" y="120000"/>
                </a:lnTo>
                <a:close/>
              </a:path>
            </a:pathLst>
          </a:custGeom>
          <a:solidFill>
            <a:schemeClr val="accent2">
              <a:alpha val="78431"/>
            </a:schemeClr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Tx/>
              <a:buNone/>
              <a:tabLst/>
              <a:defRPr/>
            </a:pPr>
            <a:endParaRPr kumimoji="0" sz="2700" b="0" i="0" u="none" strike="noStrike" kern="1200" cap="none" spc="0" normalizeH="0" baseline="0" noProof="0">
              <a:ln>
                <a:noFill/>
              </a:ln>
              <a:solidFill>
                <a:srgbClr val="343444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Lato Light"/>
            </a:endParaRPr>
          </a:p>
        </p:txBody>
      </p:sp>
      <p:cxnSp>
        <p:nvCxnSpPr>
          <p:cNvPr id="1258" name="Google Shape;1258;p92"/>
          <p:cNvCxnSpPr/>
          <p:nvPr/>
        </p:nvCxnSpPr>
        <p:spPr>
          <a:xfrm>
            <a:off x="13272864" y="9600698"/>
            <a:ext cx="5045045" cy="0"/>
          </a:xfrm>
          <a:prstGeom prst="straightConnector1">
            <a:avLst/>
          </a:prstGeom>
          <a:noFill/>
          <a:ln w="38100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259" name="Google Shape;1259;p92"/>
          <p:cNvCxnSpPr/>
          <p:nvPr/>
        </p:nvCxnSpPr>
        <p:spPr>
          <a:xfrm>
            <a:off x="9964352" y="6126653"/>
            <a:ext cx="8321267" cy="0"/>
          </a:xfrm>
          <a:prstGeom prst="straightConnector1">
            <a:avLst/>
          </a:prstGeom>
          <a:noFill/>
          <a:ln w="38100" cap="flat" cmpd="sng">
            <a:solidFill>
              <a:schemeClr val="bg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" name="Google Shape;1256;p92">
            <a:extLst>
              <a:ext uri="{FF2B5EF4-FFF2-40B4-BE49-F238E27FC236}">
                <a16:creationId xmlns:a16="http://schemas.microsoft.com/office/drawing/2014/main" id="{2754C4E4-7B11-439E-A20D-43C1102A5F9C}"/>
              </a:ext>
            </a:extLst>
          </p:cNvPr>
          <p:cNvSpPr txBox="1"/>
          <p:nvPr/>
        </p:nvSpPr>
        <p:spPr>
          <a:xfrm>
            <a:off x="8538882" y="6894985"/>
            <a:ext cx="9492443" cy="2705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r" defTabSz="1371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500"/>
              <a:buFontTx/>
              <a:buNone/>
              <a:tabLst/>
              <a:defRPr/>
            </a:pPr>
            <a:r>
              <a:rPr lang="el-GR" sz="6000" b="1" dirty="0">
                <a:solidFill>
                  <a:schemeClr val="bg2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2024 </a:t>
            </a:r>
            <a:endParaRPr lang="en-US" sz="6000" b="1" dirty="0">
              <a:solidFill>
                <a:schemeClr val="bg2"/>
              </a:solidFill>
              <a:latin typeface="Calibri" panose="020F0502020204030204" pitchFamily="34" charset="0"/>
              <a:ea typeface="Lato Black"/>
              <a:cs typeface="Calibri" panose="020F0502020204030204" pitchFamily="34" charset="0"/>
              <a:sym typeface="Lato Black"/>
            </a:endParaRPr>
          </a:p>
          <a:p>
            <a:pPr marL="0" marR="0" lvl="0" indent="0" algn="r" defTabSz="1371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500"/>
              <a:buFontTx/>
              <a:buNone/>
              <a:tabLst/>
              <a:defRPr/>
            </a:pPr>
            <a:r>
              <a:rPr lang="el-GR" sz="6000" b="1" dirty="0">
                <a:solidFill>
                  <a:schemeClr val="bg2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Νέα Προγράμματα </a:t>
            </a:r>
            <a:r>
              <a:rPr lang="en-US" sz="6000" b="1" dirty="0">
                <a:solidFill>
                  <a:schemeClr val="bg2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HDB</a:t>
            </a:r>
            <a:endParaRPr sz="6000" b="1" dirty="0">
              <a:solidFill>
                <a:schemeClr val="bg2"/>
              </a:solidFill>
              <a:latin typeface="Calibri" panose="020F0502020204030204" pitchFamily="34" charset="0"/>
              <a:ea typeface="Lato Black"/>
              <a:cs typeface="Calibri" panose="020F0502020204030204" pitchFamily="34" charset="0"/>
              <a:sym typeface="Lato Black"/>
            </a:endParaRPr>
          </a:p>
        </p:txBody>
      </p:sp>
    </p:spTree>
    <p:extLst>
      <p:ext uri="{BB962C8B-B14F-4D97-AF65-F5344CB8AC3E}">
        <p14:creationId xmlns:p14="http://schemas.microsoft.com/office/powerpoint/2010/main" val="198568479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B1E0AB-4706-0983-6385-30573015A6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79">
            <a:extLst>
              <a:ext uri="{FF2B5EF4-FFF2-40B4-BE49-F238E27FC236}">
                <a16:creationId xmlns:a16="http://schemas.microsoft.com/office/drawing/2014/main" id="{825FF6F0-09BA-C0C0-551C-5A87C27F445B}"/>
              </a:ext>
            </a:extLst>
          </p:cNvPr>
          <p:cNvSpPr/>
          <p:nvPr/>
        </p:nvSpPr>
        <p:spPr>
          <a:xfrm>
            <a:off x="11546633" y="2146465"/>
            <a:ext cx="6476231" cy="7894469"/>
          </a:xfrm>
          <a:prstGeom prst="rect">
            <a:avLst/>
          </a:prstGeom>
          <a:solidFill>
            <a:srgbClr val="E9C089"/>
          </a:solidFill>
          <a:ln>
            <a:noFill/>
          </a:ln>
          <a:effectLst>
            <a:outerShdw blurRad="254000" dist="635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2" fontAlgn="base">
              <a:defRPr/>
            </a:pPr>
            <a:endParaRPr lang="el-GR" dirty="0">
              <a:solidFill>
                <a:srgbClr val="848991"/>
              </a:solidFill>
              <a:latin typeface="Open Sans" panose="020B0606030504020204" pitchFamily="34" charset="0"/>
              <a:ea typeface="微软雅黑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C00412D3-ACB8-074F-6C1C-B8CFFD36F0AA}"/>
              </a:ext>
            </a:extLst>
          </p:cNvPr>
          <p:cNvSpPr txBox="1"/>
          <p:nvPr/>
        </p:nvSpPr>
        <p:spPr>
          <a:xfrm flipH="1">
            <a:off x="113252" y="166232"/>
            <a:ext cx="1624016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3600" b="1" dirty="0">
                <a:solidFill>
                  <a:srgbClr val="002060"/>
                </a:solidFill>
                <a:latin typeface="微软雅黑" panose="020F0502020204030204"/>
                <a:ea typeface="微软雅黑"/>
                <a:cs typeface="+mn-ea"/>
                <a:sym typeface="+mn-lt"/>
              </a:rPr>
              <a:t>HDB| </a:t>
            </a:r>
            <a:r>
              <a:rPr lang="el-GR" sz="3600" b="1" dirty="0">
                <a:solidFill>
                  <a:srgbClr val="002060"/>
                </a:solidFill>
                <a:latin typeface="微软雅黑" panose="020F0502020204030204"/>
                <a:ea typeface="微软雅黑"/>
                <a:cs typeface="+mn-ea"/>
              </a:rPr>
              <a:t>Ταμείο Εγγυοδοσίας ΤΕΠΙΧ ΙΙΙ</a:t>
            </a:r>
            <a:endParaRPr lang="zh-CN" altLang="en-US" sz="3600" b="1" dirty="0">
              <a:solidFill>
                <a:srgbClr val="002060"/>
              </a:solidFill>
              <a:latin typeface="微软雅黑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4E93F79-CBAF-B9BE-A1BA-FBD20A2B68B1}"/>
              </a:ext>
            </a:extLst>
          </p:cNvPr>
          <p:cNvSpPr txBox="1"/>
          <p:nvPr/>
        </p:nvSpPr>
        <p:spPr>
          <a:xfrm>
            <a:off x="113252" y="4909941"/>
            <a:ext cx="3208790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43050">
              <a:spcBef>
                <a:spcPts val="900"/>
              </a:spcBef>
              <a:spcAft>
                <a:spcPts val="900"/>
              </a:spcAft>
              <a:defRPr/>
            </a:pPr>
            <a:r>
              <a:rPr lang="el-GR" sz="2400" b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Αφορά υφιστάμενες και νεοσύστατες ΜμΕ  που επιθυμούν να λάβουν χρηματοδότηση για την υλοποίηση επενδυτικών σχεδίων αλλά και κεφάλαια κίνησης ειδικού σκοπού, καθώς και κεφάλαια κίνησης ειδικού σκοπού ανακυκλούμενης πίστωσης. </a:t>
            </a:r>
          </a:p>
        </p:txBody>
      </p:sp>
      <p:sp>
        <p:nvSpPr>
          <p:cNvPr id="14" name="Rectangle 12">
            <a:extLst>
              <a:ext uri="{FF2B5EF4-FFF2-40B4-BE49-F238E27FC236}">
                <a16:creationId xmlns:a16="http://schemas.microsoft.com/office/drawing/2014/main" id="{A4F0CF3D-E1F0-F8BD-942F-CC5CB3AE4521}"/>
              </a:ext>
            </a:extLst>
          </p:cNvPr>
          <p:cNvSpPr/>
          <p:nvPr/>
        </p:nvSpPr>
        <p:spPr>
          <a:xfrm>
            <a:off x="113252" y="558153"/>
            <a:ext cx="10921212" cy="9616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l-GR" altLang="zh-CN" sz="4200" b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  <a:sym typeface="+mn-lt"/>
              </a:rPr>
              <a:t>Βασικά Χαρακτηριστικά  και Οφέλη</a:t>
            </a:r>
            <a:endParaRPr lang="zh-CN" altLang="en-US" sz="4200" b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  <a:sym typeface="+mn-lt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334AA42-E996-2CCC-76F0-4BF72B29160A}"/>
              </a:ext>
            </a:extLst>
          </p:cNvPr>
          <p:cNvGrpSpPr/>
          <p:nvPr/>
        </p:nvGrpSpPr>
        <p:grpSpPr>
          <a:xfrm>
            <a:off x="3442908" y="2345677"/>
            <a:ext cx="7691064" cy="7750640"/>
            <a:chOff x="3808503" y="1112564"/>
            <a:chExt cx="4276123" cy="5661600"/>
          </a:xfrm>
        </p:grpSpPr>
        <p:sp>
          <p:nvSpPr>
            <p:cNvPr id="8" name="矩形 79">
              <a:extLst>
                <a:ext uri="{FF2B5EF4-FFF2-40B4-BE49-F238E27FC236}">
                  <a16:creationId xmlns:a16="http://schemas.microsoft.com/office/drawing/2014/main" id="{9E474BD5-98BC-6507-40AC-B88726F0C363}"/>
                </a:ext>
              </a:extLst>
            </p:cNvPr>
            <p:cNvSpPr/>
            <p:nvPr/>
          </p:nvSpPr>
          <p:spPr>
            <a:xfrm>
              <a:off x="3808503" y="1392719"/>
              <a:ext cx="4276123" cy="5381445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  <a:effectLst>
              <a:outerShdw blurRad="254000" dist="635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  <a:defRPr/>
              </a:pPr>
              <a:endParaRPr lang="zh-CN" altLang="en-US" dirty="0">
                <a:solidFill>
                  <a:prstClr val="white"/>
                </a:solidFill>
                <a:latin typeface="微软雅黑" panose="020F0502020204030204"/>
                <a:ea typeface="微软雅黑"/>
                <a:cs typeface="+mn-ea"/>
                <a:sym typeface="+mn-lt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A71D942-4BE2-124E-14EC-D5704DF82B2B}"/>
                </a:ext>
              </a:extLst>
            </p:cNvPr>
            <p:cNvSpPr txBox="1"/>
            <p:nvPr/>
          </p:nvSpPr>
          <p:spPr>
            <a:xfrm>
              <a:off x="3839794" y="1112564"/>
              <a:ext cx="4235645" cy="5621144"/>
            </a:xfrm>
            <a:prstGeom prst="rect">
              <a:avLst/>
            </a:prstGeom>
            <a:solidFill>
              <a:srgbClr val="E9C08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1" u="none" strike="noStrike" cap="none" spc="0" normalizeH="0" baseline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l"/>
              <a:r>
                <a:rPr lang="el-GR" sz="2700" b="1" i="0" dirty="0"/>
                <a:t>1</a:t>
              </a:r>
              <a:r>
                <a:rPr lang="el-GR" sz="2700" b="1" i="0" baseline="30000" dirty="0"/>
                <a:t>ο</a:t>
              </a:r>
              <a:r>
                <a:rPr lang="el-GR" sz="2700" b="1" i="0" dirty="0"/>
                <a:t> Γενική Επιχειρηματικότητα</a:t>
              </a:r>
              <a:r>
                <a:rPr lang="en-US" sz="2700" b="1" i="0" dirty="0"/>
                <a:t>-</a:t>
              </a:r>
              <a:endParaRPr lang="el-GR" sz="2700" b="1" i="0" dirty="0"/>
            </a:p>
            <a:p>
              <a:pPr algn="l"/>
              <a:r>
                <a:rPr lang="el-GR" sz="2700" b="1" i="0" dirty="0"/>
                <a:t>Προϋπολογισμός €230 εκ. </a:t>
              </a:r>
            </a:p>
            <a:p>
              <a:pPr algn="l"/>
              <a:r>
                <a:rPr lang="el-GR" sz="2400" i="0" dirty="0"/>
                <a:t>Ύψος Δανείου</a:t>
              </a:r>
              <a:r>
                <a:rPr lang="en-US" sz="2400" i="0" dirty="0"/>
                <a:t>:</a:t>
              </a:r>
              <a:r>
                <a:rPr lang="el-GR" sz="2400" i="0" dirty="0"/>
                <a:t> Επενδυτικά έως €10 εκ.</a:t>
              </a:r>
              <a:r>
                <a:rPr lang="en-US" sz="2400" i="0" dirty="0"/>
                <a:t> /</a:t>
              </a:r>
              <a:r>
                <a:rPr lang="el-GR" sz="2400" i="0" dirty="0"/>
                <a:t> Κεφάλαιο Κίνησης έως €500 χιλ. </a:t>
              </a:r>
            </a:p>
            <a:p>
              <a:pPr algn="l"/>
              <a:r>
                <a:rPr lang="el-GR" sz="2400" i="0" dirty="0"/>
                <a:t>Εγγύηση στο 70% - </a:t>
              </a:r>
              <a:r>
                <a:rPr lang="en-US" sz="2400" i="0" dirty="0"/>
                <a:t>Cap Guarantee Rate </a:t>
              </a:r>
              <a:r>
                <a:rPr lang="el-GR" sz="2400" i="0" dirty="0"/>
                <a:t>στο </a:t>
              </a:r>
              <a:r>
                <a:rPr lang="en-US" sz="2400" i="0" dirty="0"/>
                <a:t>2</a:t>
              </a:r>
              <a:r>
                <a:rPr lang="el-GR" sz="2400" i="0" dirty="0"/>
                <a:t>0</a:t>
              </a:r>
              <a:r>
                <a:rPr lang="en-US" sz="2400" i="0" dirty="0"/>
                <a:t>%</a:t>
              </a:r>
            </a:p>
            <a:p>
              <a:pPr algn="l"/>
              <a:r>
                <a:rPr lang="el-GR" sz="2400" i="0" dirty="0"/>
                <a:t>Διάρκεια Δανείου</a:t>
              </a:r>
              <a:r>
                <a:rPr lang="en-US" sz="2400" i="0" dirty="0"/>
                <a:t>:</a:t>
              </a:r>
              <a:r>
                <a:rPr lang="el-GR" sz="2400" i="0" dirty="0"/>
                <a:t> Επενδυτικά 5-12 έτη / Κεφάλαιο Κίνησης 2-5 έτη</a:t>
              </a:r>
            </a:p>
            <a:p>
              <a:pPr algn="l"/>
              <a:r>
                <a:rPr lang="el-GR" sz="2400" i="0" dirty="0"/>
                <a:t>Μόχλευση 7,14 – Χαρτοφυλάκιο €1,642 </a:t>
              </a:r>
              <a:r>
                <a:rPr lang="el-GR" sz="2400" i="0" dirty="0" err="1"/>
                <a:t>δισ</a:t>
              </a:r>
              <a:r>
                <a:rPr lang="el-GR" sz="2400" i="0" dirty="0"/>
                <a:t> </a:t>
              </a:r>
              <a:endParaRPr lang="en-US" sz="2400" i="0" dirty="0"/>
            </a:p>
            <a:p>
              <a:pPr algn="l"/>
              <a:r>
                <a:rPr lang="el-GR" sz="2700" b="1" i="0" dirty="0"/>
                <a:t>2</a:t>
              </a:r>
              <a:r>
                <a:rPr lang="el-GR" sz="2700" b="1" i="0" baseline="30000" dirty="0"/>
                <a:t>ο</a:t>
              </a:r>
              <a:r>
                <a:rPr lang="el-GR" sz="2700" b="1" i="0" dirty="0"/>
                <a:t> Επιχειρηματικότητα Νεοσύστατων Επιχειρήσεων</a:t>
              </a:r>
              <a:r>
                <a:rPr lang="el-GR" sz="2400" i="0" dirty="0"/>
                <a:t>–</a:t>
              </a:r>
              <a:r>
                <a:rPr lang="el-GR" sz="2700" b="1" i="0" dirty="0"/>
                <a:t>Προϋπολογισμός: €30 εκ. </a:t>
              </a:r>
              <a:endParaRPr lang="en-US" sz="2700" b="1" i="0" dirty="0"/>
            </a:p>
            <a:p>
              <a:pPr algn="l"/>
              <a:r>
                <a:rPr lang="el-GR" sz="2400" i="0" dirty="0"/>
                <a:t>Ύψος Δανείου</a:t>
              </a:r>
              <a:r>
                <a:rPr lang="en-US" sz="2400" i="0" dirty="0"/>
                <a:t>: </a:t>
              </a:r>
              <a:r>
                <a:rPr lang="el-GR" sz="2400" i="0" dirty="0"/>
                <a:t>Επενδυτικά έως €1.5 εκ. </a:t>
              </a:r>
              <a:r>
                <a:rPr lang="en-US" sz="2400" i="0" dirty="0"/>
                <a:t>/</a:t>
              </a:r>
              <a:r>
                <a:rPr lang="el-GR" sz="2400" i="0" dirty="0"/>
                <a:t> Κεφάλαιο Κίνησης έως €200 </a:t>
              </a:r>
              <a:r>
                <a:rPr lang="el-GR" sz="2400" i="0" dirty="0" err="1"/>
                <a:t>χιλ</a:t>
              </a:r>
              <a:endParaRPr lang="el-GR" sz="2400" i="0" dirty="0"/>
            </a:p>
            <a:p>
              <a:pPr algn="l"/>
              <a:r>
                <a:rPr lang="el-GR" sz="2400" i="0" dirty="0"/>
                <a:t>Εγγύηση στο 80%  - </a:t>
              </a:r>
              <a:r>
                <a:rPr lang="en-US" sz="2400" i="0" dirty="0"/>
                <a:t>Cap Guarantee Rate </a:t>
              </a:r>
              <a:r>
                <a:rPr lang="el-GR" sz="2400" i="0" dirty="0"/>
                <a:t>στο 25%</a:t>
              </a:r>
            </a:p>
            <a:p>
              <a:pPr algn="l"/>
              <a:r>
                <a:rPr lang="el-GR" sz="2400" i="0" dirty="0"/>
                <a:t>Διάρκεια Δανείου</a:t>
              </a:r>
              <a:r>
                <a:rPr lang="en-US" sz="2400" i="0" dirty="0"/>
                <a:t>:</a:t>
              </a:r>
              <a:r>
                <a:rPr lang="el-GR" sz="2400" i="0" dirty="0"/>
                <a:t> Επενδυτικά Δάνεια 5</a:t>
              </a:r>
              <a:r>
                <a:rPr lang="en-US" sz="2400" i="0" dirty="0"/>
                <a:t>-</a:t>
              </a:r>
              <a:r>
                <a:rPr lang="el-GR" sz="2400" i="0" dirty="0"/>
                <a:t>10 έτη</a:t>
              </a:r>
              <a:r>
                <a:rPr lang="en-US" sz="2400" i="0" dirty="0"/>
                <a:t> </a:t>
              </a:r>
              <a:r>
                <a:rPr lang="el-GR" sz="2400" i="0" dirty="0"/>
                <a:t>/ Κεφάλαιο Κίνησης</a:t>
              </a:r>
              <a:r>
                <a:rPr lang="en-US" sz="2400" i="0" dirty="0"/>
                <a:t> </a:t>
              </a:r>
              <a:r>
                <a:rPr lang="el-GR" sz="2400" i="0" dirty="0"/>
                <a:t>2</a:t>
              </a:r>
              <a:r>
                <a:rPr lang="en-US" sz="2400" i="0" dirty="0"/>
                <a:t>-</a:t>
              </a:r>
              <a:r>
                <a:rPr lang="el-GR" sz="2400" i="0" dirty="0"/>
                <a:t>5 έτη</a:t>
              </a:r>
            </a:p>
            <a:p>
              <a:pPr algn="l"/>
              <a:r>
                <a:rPr lang="el-GR" sz="2400" i="0" dirty="0"/>
                <a:t>Μόχλευση 5 Χαρτοφυλάκιο €150 εκ. Κοινά χαρακτηριστικά</a:t>
              </a:r>
            </a:p>
            <a:p>
              <a:pPr algn="l"/>
              <a:r>
                <a:rPr lang="el-GR" sz="2400" i="0" dirty="0"/>
                <a:t>Περίοδος χάριτος</a:t>
              </a:r>
              <a:r>
                <a:rPr lang="en-US" sz="2400" i="0" dirty="0"/>
                <a:t>:</a:t>
              </a:r>
              <a:r>
                <a:rPr lang="el-GR" sz="2400" i="0" dirty="0"/>
                <a:t> Επενδυτικά έως 24 μήνες / Κεφάλαιο Κίνησης</a:t>
              </a:r>
              <a:r>
                <a:rPr lang="en-US" sz="2400" i="0" dirty="0"/>
                <a:t> </a:t>
              </a:r>
              <a:r>
                <a:rPr lang="el-GR" sz="2400" i="0" dirty="0"/>
                <a:t>έως 12 μήνες </a:t>
              </a:r>
              <a:endParaRPr lang="en-US" sz="2400" i="0" dirty="0"/>
            </a:p>
            <a:p>
              <a:pPr algn="l"/>
              <a:r>
                <a:rPr lang="el-GR" sz="2400" i="0" dirty="0"/>
                <a:t>Μειωμένες εξασφαλίσεις έως 30%</a:t>
              </a: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EEA00480-B60A-80C3-907E-D0B3256870D1}"/>
              </a:ext>
            </a:extLst>
          </p:cNvPr>
          <p:cNvSpPr/>
          <p:nvPr/>
        </p:nvSpPr>
        <p:spPr>
          <a:xfrm>
            <a:off x="11071785" y="8229601"/>
            <a:ext cx="6841749" cy="956345"/>
          </a:xfrm>
          <a:prstGeom prst="rect">
            <a:avLst/>
          </a:prstGeom>
          <a:noFill/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defRPr/>
            </a:pPr>
            <a:endParaRPr lang="en-US" sz="2400" b="1" i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5E8F47D-1732-3445-BAD1-9C309820D0AD}"/>
              </a:ext>
            </a:extLst>
          </p:cNvPr>
          <p:cNvSpPr/>
          <p:nvPr/>
        </p:nvSpPr>
        <p:spPr>
          <a:xfrm>
            <a:off x="11716410" y="2486252"/>
            <a:ext cx="5552499" cy="62215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l-GR" sz="2400" i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  <a:p>
            <a:pPr algn="just">
              <a:defRPr/>
            </a:pPr>
            <a:endParaRPr lang="el-GR" sz="2400" i="1" dirty="0">
              <a:solidFill>
                <a:srgbClr val="002060"/>
              </a:solidFill>
              <a:highlight>
                <a:srgbClr val="FFFF00"/>
              </a:highlight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  <a:p>
            <a:pPr marL="428625" indent="-428625" algn="just">
              <a:buFont typeface="Wingdings" panose="05000000000000000000" pitchFamily="2" charset="2"/>
              <a:buChar char="ü"/>
            </a:pPr>
            <a:endParaRPr lang="el-GR" sz="2400" i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  <a:p>
            <a:pPr algn="just"/>
            <a:endParaRPr lang="en-US" sz="2400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  <a:p>
            <a:pPr marL="428625" indent="-428625" algn="just">
              <a:buFont typeface="Wingdings" panose="05000000000000000000" pitchFamily="2" charset="2"/>
              <a:buChar char="ü"/>
            </a:pPr>
            <a:endParaRPr lang="en-US" sz="2400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  <a:p>
            <a:pPr marL="428625" indent="-428625" algn="just">
              <a:buFont typeface="Wingdings" panose="05000000000000000000" pitchFamily="2" charset="2"/>
              <a:buChar char="ü"/>
            </a:pPr>
            <a:endParaRPr lang="en-US" sz="2400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  <a:p>
            <a:pPr marL="428625" indent="-428625" algn="just">
              <a:buFont typeface="Wingdings" panose="05000000000000000000" pitchFamily="2" charset="2"/>
              <a:buChar char="ü"/>
            </a:pPr>
            <a:endParaRPr lang="el-GR" sz="2400" dirty="0">
              <a:solidFill>
                <a:prstClr val="white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  <a:p>
            <a:pPr marL="428625" indent="-428625" algn="just">
              <a:buFont typeface="Wingdings" panose="05000000000000000000" pitchFamily="2" charset="2"/>
              <a:buChar char="ü"/>
            </a:pPr>
            <a:endParaRPr lang="el-GR" sz="2400" dirty="0">
              <a:solidFill>
                <a:prstClr val="white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  <a:p>
            <a:pPr marL="428625" indent="-428625" algn="just">
              <a:buFont typeface="Wingdings" panose="05000000000000000000" pitchFamily="2" charset="2"/>
              <a:buChar char="ü"/>
            </a:pPr>
            <a:r>
              <a:rPr lang="el-GR" sz="2400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Δημόσια δαπάνη </a:t>
            </a:r>
            <a:r>
              <a:rPr lang="el-GR" sz="2400" b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€ 300 εκ. </a:t>
            </a:r>
          </a:p>
          <a:p>
            <a:pPr marL="428625" indent="-428625" algn="just">
              <a:buFont typeface="Wingdings" panose="05000000000000000000" pitchFamily="2" charset="2"/>
              <a:buChar char="ü"/>
            </a:pPr>
            <a:r>
              <a:rPr lang="el-GR" sz="2400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Χαρτοφυλάκιο Ταμείου </a:t>
            </a:r>
            <a:r>
              <a:rPr lang="el-GR" sz="2400" b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€ 1,792 δισ</a:t>
            </a:r>
            <a:r>
              <a:rPr lang="el-GR" sz="2400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.</a:t>
            </a:r>
          </a:p>
          <a:p>
            <a:pPr marL="428625" indent="-428625" algn="just">
              <a:buFont typeface="Wingdings" panose="05000000000000000000" pitchFamily="2" charset="2"/>
              <a:buChar char="ü"/>
            </a:pPr>
            <a:r>
              <a:rPr lang="el-GR" sz="2400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Το κατώτατο ύψος δανείου ανέρχεται στις €10.000 .</a:t>
            </a:r>
          </a:p>
          <a:p>
            <a:pPr marL="428625" indent="-428625" algn="just">
              <a:buFont typeface="Wingdings" panose="05000000000000000000" pitchFamily="2" charset="2"/>
              <a:buChar char="ü"/>
            </a:pPr>
            <a:r>
              <a:rPr lang="el-GR" sz="2400" b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Με ανακυκλούμενη Πίστωση η μέγιστη διάρκεια ανέρχεται έως τα  3 έτη</a:t>
            </a:r>
            <a:r>
              <a:rPr lang="el-GR" sz="2400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. Μετά το πέρας των 3 ετών γίνεται αυτόματη μετατροπή σε τοκοχρεωλυτικό /χρεωλυτικό Δάνειο διάρκειας έως 2 έτη.</a:t>
            </a:r>
          </a:p>
          <a:p>
            <a:pPr marL="428625" indent="-428625" algn="just">
              <a:buFont typeface="Wingdings" panose="05000000000000000000" pitchFamily="2" charset="2"/>
              <a:buChar char="ü"/>
            </a:pPr>
            <a:r>
              <a:rPr lang="el-GR" sz="2400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Για δάνεια ύψους έως και €50.000 λαμβάνονται μόνο ενοχικές εξασφαλίσεις.</a:t>
            </a:r>
          </a:p>
          <a:p>
            <a:pPr marL="428625" indent="-428625" algn="just">
              <a:buFont typeface="Wingdings" panose="05000000000000000000" pitchFamily="2" charset="2"/>
              <a:buChar char="ü"/>
            </a:pPr>
            <a:r>
              <a:rPr lang="el-GR" sz="2400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Μειωμένο Επιτόκιο λόγω της εγγύησης του Ταμείου και επιδότηση επιτοκίου στο 2% για τα δύο πρώτα έτη της χρηματοδότησης</a:t>
            </a:r>
            <a:r>
              <a:rPr lang="en-US" sz="2400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 </a:t>
            </a:r>
            <a:r>
              <a:rPr lang="el-GR" sz="2400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υπό προϋποθέσεις.</a:t>
            </a:r>
            <a:endParaRPr lang="el-GR" sz="2400" i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  <a:p>
            <a:pPr algn="ctr">
              <a:defRPr/>
            </a:pPr>
            <a:endParaRPr lang="el-GR" sz="2400" i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  <a:p>
            <a:pPr algn="ctr">
              <a:defRPr/>
            </a:pPr>
            <a:endParaRPr lang="el-GR" sz="2400" i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  <a:p>
            <a:pPr algn="ctr">
              <a:defRPr/>
            </a:pPr>
            <a:endParaRPr lang="el-GR" sz="2400" i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  <a:p>
            <a:pPr algn="ctr">
              <a:defRPr/>
            </a:pPr>
            <a:endParaRPr lang="el-GR" sz="2400" i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  <a:p>
            <a:pPr algn="ctr">
              <a:defRPr/>
            </a:pPr>
            <a:endParaRPr lang="el-GR" sz="2400" i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  <a:p>
            <a:pPr algn="ctr">
              <a:defRPr/>
            </a:pPr>
            <a:endParaRPr lang="en-US" sz="2400" i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34C262D-8098-FCCD-C93C-89E0B70654E7}"/>
              </a:ext>
            </a:extLst>
          </p:cNvPr>
          <p:cNvSpPr/>
          <p:nvPr/>
        </p:nvSpPr>
        <p:spPr>
          <a:xfrm>
            <a:off x="12725444" y="9354323"/>
            <a:ext cx="5684196" cy="427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l-GR" sz="2400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*</a:t>
            </a:r>
            <a:r>
              <a:rPr lang="el-GR" sz="2100" i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Αναμένεται το επόμενο διάστημα να δημοσιευτεί η πρόσκληση του Ταμείου</a:t>
            </a:r>
            <a:endParaRPr lang="en-US" sz="2100" i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E62D6A2-846F-CF19-57D0-65AAF40021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475" y="2140268"/>
            <a:ext cx="3022752" cy="2238786"/>
          </a:xfrm>
          <a:prstGeom prst="rect">
            <a:avLst/>
          </a:prstGeom>
        </p:spPr>
      </p:pic>
      <p:sp>
        <p:nvSpPr>
          <p:cNvPr id="13" name="矩形 79">
            <a:extLst>
              <a:ext uri="{FF2B5EF4-FFF2-40B4-BE49-F238E27FC236}">
                <a16:creationId xmlns:a16="http://schemas.microsoft.com/office/drawing/2014/main" id="{764BF83A-A280-4DE4-8F67-4A33C76C19E5}"/>
              </a:ext>
            </a:extLst>
          </p:cNvPr>
          <p:cNvSpPr/>
          <p:nvPr/>
        </p:nvSpPr>
        <p:spPr>
          <a:xfrm>
            <a:off x="3442869" y="1548206"/>
            <a:ext cx="14579994" cy="797471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254000" dist="635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indent="-266700" defTabSz="2057400">
              <a:buFont typeface="Arial" panose="020B0604020202020204" pitchFamily="34" charset="0"/>
              <a:buChar char="•"/>
            </a:pPr>
            <a:r>
              <a:rPr lang="el-GR" sz="24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Δημόσια δαπάνη: € </a:t>
            </a:r>
            <a:r>
              <a:rPr lang="en-US" sz="24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lang="el-GR" sz="24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0 εκ.</a:t>
            </a:r>
            <a:r>
              <a:rPr lang="en-US" sz="24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l-GR" sz="24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Χαρτοφυλάκιο Δανείων  ~ € </a:t>
            </a:r>
            <a:r>
              <a:rPr lang="en-US" sz="24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792 </a:t>
            </a:r>
            <a:r>
              <a:rPr lang="el-GR" sz="24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εκ. </a:t>
            </a:r>
          </a:p>
        </p:txBody>
      </p:sp>
    </p:spTree>
    <p:extLst>
      <p:ext uri="{BB962C8B-B14F-4D97-AF65-F5344CB8AC3E}">
        <p14:creationId xmlns:p14="http://schemas.microsoft.com/office/powerpoint/2010/main" val="1465627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random/>
      </p:transition>
    </mc:Choice>
    <mc:Fallback xmlns="">
      <p:transition>
        <p:random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B1E0AB-4706-0983-6385-30573015A6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11">
            <a:extLst>
              <a:ext uri="{FF2B5EF4-FFF2-40B4-BE49-F238E27FC236}">
                <a16:creationId xmlns:a16="http://schemas.microsoft.com/office/drawing/2014/main" id="{C00412D3-ACB8-074F-6C1C-B8CFFD36F0AA}"/>
              </a:ext>
            </a:extLst>
          </p:cNvPr>
          <p:cNvSpPr txBox="1"/>
          <p:nvPr/>
        </p:nvSpPr>
        <p:spPr>
          <a:xfrm flipH="1">
            <a:off x="113252" y="103436"/>
            <a:ext cx="16240163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zh-CN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3C4C6E"/>
                </a:solidFill>
                <a:latin typeface="微软雅黑" panose="020F0502020204030204"/>
                <a:ea typeface="微软雅黑"/>
                <a:cs typeface="+mn-ea"/>
              </a:defRPr>
            </a:lvl1pPr>
          </a:lstStyle>
          <a:p>
            <a:r>
              <a:rPr lang="en-US" altLang="zh-CN" sz="3600" b="1" dirty="0">
                <a:solidFill>
                  <a:srgbClr val="002060"/>
                </a:solidFill>
                <a:sym typeface="+mn-lt"/>
              </a:rPr>
              <a:t>HDB| </a:t>
            </a:r>
            <a:r>
              <a:rPr lang="el-GR" sz="3600" b="1" dirty="0">
                <a:solidFill>
                  <a:srgbClr val="002060"/>
                </a:solidFill>
              </a:rPr>
              <a:t>Ταμείο Δανείων ΤΕΠΙΧ ΙΙΙ</a:t>
            </a:r>
            <a:endParaRPr lang="zh-CN" altLang="en-US" sz="3600" b="1" dirty="0">
              <a:solidFill>
                <a:srgbClr val="002060"/>
              </a:solidFill>
              <a:sym typeface="+mn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4E93F79-CBAF-B9BE-A1BA-FBD20A2B68B1}"/>
              </a:ext>
            </a:extLst>
          </p:cNvPr>
          <p:cNvSpPr txBox="1"/>
          <p:nvPr/>
        </p:nvSpPr>
        <p:spPr>
          <a:xfrm>
            <a:off x="175438" y="4481316"/>
            <a:ext cx="320879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43050">
              <a:spcBef>
                <a:spcPts val="900"/>
              </a:spcBef>
              <a:spcAft>
                <a:spcPts val="900"/>
              </a:spcAft>
              <a:defRPr/>
            </a:pPr>
            <a:r>
              <a:rPr lang="el-GR" sz="2400" b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Αφορά υφιστάμενες και νεοσύστατες ΜμΕ  που επιθυμούν να λάβουν χρηματοδότηση για την υλοποίηση επενδυτικών σχεδίων αλλά και κεφάλαια κίνησης ειδικού σκοπού, καθώς και κεφάλαια κίνησης ειδικού σκοπού</a:t>
            </a:r>
          </a:p>
        </p:txBody>
      </p:sp>
      <p:sp>
        <p:nvSpPr>
          <p:cNvPr id="14" name="Rectangle 12">
            <a:extLst>
              <a:ext uri="{FF2B5EF4-FFF2-40B4-BE49-F238E27FC236}">
                <a16:creationId xmlns:a16="http://schemas.microsoft.com/office/drawing/2014/main" id="{A4F0CF3D-E1F0-F8BD-942F-CC5CB3AE4521}"/>
              </a:ext>
            </a:extLst>
          </p:cNvPr>
          <p:cNvSpPr/>
          <p:nvPr/>
        </p:nvSpPr>
        <p:spPr>
          <a:xfrm>
            <a:off x="113252" y="1015606"/>
            <a:ext cx="10921212" cy="8374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l-GR" altLang="zh-CN" sz="3600" b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  <a:sym typeface="+mn-lt"/>
              </a:rPr>
              <a:t>Βασικά Χαρακτηριστικά  και Οφέλη</a:t>
            </a:r>
            <a:endParaRPr lang="zh-CN" altLang="en-US" sz="3600" b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  <a:sym typeface="+mn-lt"/>
            </a:endParaRPr>
          </a:p>
        </p:txBody>
      </p:sp>
      <p:sp>
        <p:nvSpPr>
          <p:cNvPr id="8" name="矩形 79">
            <a:extLst>
              <a:ext uri="{FF2B5EF4-FFF2-40B4-BE49-F238E27FC236}">
                <a16:creationId xmlns:a16="http://schemas.microsoft.com/office/drawing/2014/main" id="{9E474BD5-98BC-6507-40AC-B88726F0C363}"/>
              </a:ext>
            </a:extLst>
          </p:cNvPr>
          <p:cNvSpPr/>
          <p:nvPr/>
        </p:nvSpPr>
        <p:spPr>
          <a:xfrm>
            <a:off x="3691780" y="3469244"/>
            <a:ext cx="6338192" cy="63605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254000" dist="635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  <a:defRPr/>
            </a:pPr>
            <a:endParaRPr lang="zh-CN" altLang="en-US" dirty="0">
              <a:solidFill>
                <a:prstClr val="black"/>
              </a:solidFill>
              <a:latin typeface="微软雅黑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EA00480-B60A-80C3-907E-D0B3256870D1}"/>
              </a:ext>
            </a:extLst>
          </p:cNvPr>
          <p:cNvSpPr/>
          <p:nvPr/>
        </p:nvSpPr>
        <p:spPr>
          <a:xfrm>
            <a:off x="11071785" y="8229601"/>
            <a:ext cx="6841749" cy="956345"/>
          </a:xfrm>
          <a:prstGeom prst="rect">
            <a:avLst/>
          </a:prstGeom>
          <a:noFill/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defRPr/>
            </a:pPr>
            <a:endParaRPr lang="en-US" sz="2400" b="1" i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E62D6A2-846F-CF19-57D0-65AAF40021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038" y="2094766"/>
            <a:ext cx="3084189" cy="228428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C133B4D-4B94-57F9-2770-4077374D0082}"/>
              </a:ext>
            </a:extLst>
          </p:cNvPr>
          <p:cNvSpPr txBox="1"/>
          <p:nvPr/>
        </p:nvSpPr>
        <p:spPr>
          <a:xfrm>
            <a:off x="3873971" y="3469244"/>
            <a:ext cx="5914884" cy="572464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>
            <a:defPPr>
              <a:defRPr lang="zh-CN"/>
            </a:defPPr>
            <a:lvl1pPr marR="0" lvl="0" algn="ctr" defTabSz="137160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  <a:defRPr b="1" i="1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defRPr>
            </a:lvl1pPr>
          </a:lstStyle>
          <a:p>
            <a:pPr defTabSz="2057400"/>
            <a:r>
              <a:rPr lang="el-GR" dirty="0"/>
              <a:t>Δάνεια Επενδυτικού Σκοπού Γενικής Επιχειρηματικότητας  σε ΜμΕ </a:t>
            </a:r>
          </a:p>
          <a:p>
            <a:pPr defTabSz="2057400"/>
            <a:endParaRPr lang="el-GR" sz="2400" b="0" dirty="0"/>
          </a:p>
          <a:p>
            <a:pPr marL="428625" indent="-428625" algn="l" defTabSz="2057400">
              <a:buFont typeface="Arial" panose="020B0604020202020204" pitchFamily="34" charset="0"/>
              <a:buChar char="•"/>
            </a:pPr>
            <a:r>
              <a:rPr lang="el-GR" sz="2400" b="0" dirty="0"/>
              <a:t>Ύψος Δανείου: </a:t>
            </a:r>
            <a:r>
              <a:rPr lang="el-GR" sz="2400" dirty="0"/>
              <a:t>€ 20.000 έως € 8.000.000 </a:t>
            </a:r>
          </a:p>
          <a:p>
            <a:pPr marL="428625" indent="-428625" algn="l" defTabSz="2057400">
              <a:buFont typeface="Arial" panose="020B0604020202020204" pitchFamily="34" charset="0"/>
              <a:buChar char="•"/>
            </a:pPr>
            <a:r>
              <a:rPr lang="el-GR" sz="2400" b="0" dirty="0"/>
              <a:t>Άτοκη Χρηματοδότηση: </a:t>
            </a:r>
            <a:r>
              <a:rPr lang="el-GR" sz="2400" dirty="0"/>
              <a:t>40% </a:t>
            </a:r>
          </a:p>
          <a:p>
            <a:pPr marL="428625" indent="-428625" algn="l" defTabSz="2057400">
              <a:buFont typeface="Arial" panose="020B0604020202020204" pitchFamily="34" charset="0"/>
              <a:buChar char="•"/>
            </a:pPr>
            <a:r>
              <a:rPr lang="el-GR" sz="2400" b="0" dirty="0"/>
              <a:t>Επιδότηση Επιτοκίου: </a:t>
            </a:r>
            <a:r>
              <a:rPr lang="el-GR" sz="2400" dirty="0"/>
              <a:t>3%</a:t>
            </a:r>
            <a:r>
              <a:rPr lang="el-GR" sz="2400" b="0" dirty="0"/>
              <a:t> στο 60% των ΕΧΟ για 2 έτη </a:t>
            </a:r>
          </a:p>
          <a:p>
            <a:pPr marL="428625" indent="-428625" algn="l" defTabSz="2057400">
              <a:buFont typeface="Arial" panose="020B0604020202020204" pitchFamily="34" charset="0"/>
              <a:buChar char="•"/>
            </a:pPr>
            <a:r>
              <a:rPr lang="el-GR" sz="2400" b="0" dirty="0"/>
              <a:t>Διάρκεια Δανείου</a:t>
            </a:r>
            <a:r>
              <a:rPr lang="el-GR" sz="2400" dirty="0"/>
              <a:t>: 5 έως 12 έτη </a:t>
            </a:r>
          </a:p>
          <a:p>
            <a:pPr marL="428625" indent="-428625" algn="l" defTabSz="2057400">
              <a:buFont typeface="Arial" panose="020B0604020202020204" pitchFamily="34" charset="0"/>
              <a:buChar char="•"/>
            </a:pPr>
            <a:r>
              <a:rPr lang="el-GR" sz="2400" b="0" dirty="0"/>
              <a:t>Περίοδος Χάριτος: έως </a:t>
            </a:r>
            <a:r>
              <a:rPr lang="el-GR" sz="2400" dirty="0"/>
              <a:t>24 μήνες </a:t>
            </a:r>
          </a:p>
          <a:p>
            <a:pPr marL="428625" indent="-428625" algn="l" defTabSz="2057400">
              <a:buFont typeface="Arial" panose="020B0604020202020204" pitchFamily="34" charset="0"/>
              <a:buChar char="•"/>
            </a:pPr>
            <a:r>
              <a:rPr lang="el-GR" sz="2400" b="0" dirty="0"/>
              <a:t>Επιπρόσθετη μείωση κατά </a:t>
            </a:r>
            <a:r>
              <a:rPr lang="el-GR" sz="2400" dirty="0"/>
              <a:t>25 μονάδες βάσης </a:t>
            </a:r>
            <a:r>
              <a:rPr lang="el-GR" sz="2400" b="0" dirty="0"/>
              <a:t>(bps) σε σχέση με τα επιτόκια που θα εφάρμοζε ο ΕΧΟ εκτός Ταμείου. </a:t>
            </a:r>
          </a:p>
          <a:p>
            <a:pPr marL="428625" indent="-428625" algn="l" defTabSz="2057400">
              <a:buFont typeface="Arial" panose="020B0604020202020204" pitchFamily="34" charset="0"/>
              <a:buChar char="•"/>
            </a:pPr>
            <a:r>
              <a:rPr lang="en-US" sz="2400" b="0" dirty="0"/>
              <a:t>Max </a:t>
            </a:r>
            <a:r>
              <a:rPr lang="el-GR" sz="2400" b="0" dirty="0"/>
              <a:t>Εμπράγματες</a:t>
            </a:r>
            <a:r>
              <a:rPr lang="en-US" sz="2400" b="0" dirty="0"/>
              <a:t> </a:t>
            </a:r>
            <a:r>
              <a:rPr lang="el-GR" sz="2400" b="0" dirty="0"/>
              <a:t>Εξασφαλίσεις: </a:t>
            </a:r>
            <a:r>
              <a:rPr lang="el-GR" sz="2400" dirty="0"/>
              <a:t>100% </a:t>
            </a:r>
            <a:r>
              <a:rPr lang="el-GR" sz="2400" b="0" dirty="0"/>
              <a:t>του ποσού του δανείου </a:t>
            </a:r>
          </a:p>
          <a:p>
            <a:pPr marL="428625" indent="-428625" algn="l" defTabSz="2057400">
              <a:buFont typeface="Arial" panose="020B0604020202020204" pitchFamily="34" charset="0"/>
              <a:buChar char="•"/>
            </a:pPr>
            <a:r>
              <a:rPr lang="el-GR" sz="2400" b="0" dirty="0"/>
              <a:t>Καθεστώς Ενίσχυσης:  </a:t>
            </a:r>
            <a:r>
              <a:rPr lang="en-US" sz="2400" dirty="0"/>
              <a:t>De Minimis </a:t>
            </a:r>
            <a:r>
              <a:rPr lang="el-GR" sz="2400" dirty="0"/>
              <a:t>/ ΓΑΚ</a:t>
            </a:r>
            <a:endParaRPr lang="en-US" sz="2400" dirty="0"/>
          </a:p>
        </p:txBody>
      </p:sp>
      <p:sp>
        <p:nvSpPr>
          <p:cNvPr id="16" name="矩形 79">
            <a:extLst>
              <a:ext uri="{FF2B5EF4-FFF2-40B4-BE49-F238E27FC236}">
                <a16:creationId xmlns:a16="http://schemas.microsoft.com/office/drawing/2014/main" id="{EB5EBF43-EB6A-3468-DDDE-3C4521ED9869}"/>
              </a:ext>
            </a:extLst>
          </p:cNvPr>
          <p:cNvSpPr/>
          <p:nvPr/>
        </p:nvSpPr>
        <p:spPr>
          <a:xfrm>
            <a:off x="10429875" y="3469244"/>
            <a:ext cx="6613620" cy="63605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254000" dist="635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  <a:defRPr/>
            </a:pPr>
            <a:endParaRPr lang="zh-CN" altLang="en-US" dirty="0">
              <a:solidFill>
                <a:prstClr val="black"/>
              </a:solidFill>
              <a:latin typeface="微软雅黑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C24AD3E-D771-2E20-89BA-12FFC764038F}"/>
              </a:ext>
            </a:extLst>
          </p:cNvPr>
          <p:cNvSpPr txBox="1"/>
          <p:nvPr/>
        </p:nvSpPr>
        <p:spPr>
          <a:xfrm>
            <a:off x="10671881" y="3480913"/>
            <a:ext cx="6143484" cy="609397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 defTabSz="2057400">
              <a:defRPr/>
            </a:pPr>
            <a:r>
              <a:rPr lang="el-GR" b="1" i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Δάνεια Κεφαλαίων Κίνησης </a:t>
            </a:r>
          </a:p>
          <a:p>
            <a:pPr algn="ctr" defTabSz="2057400">
              <a:defRPr/>
            </a:pPr>
            <a:r>
              <a:rPr lang="el-GR" b="1" i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Ειδικού σκοπού</a:t>
            </a:r>
          </a:p>
          <a:p>
            <a:pPr marL="428625" indent="-428625" defTabSz="2057400">
              <a:buFont typeface="Arial" panose="020B0604020202020204" pitchFamily="34" charset="0"/>
              <a:buChar char="•"/>
              <a:defRPr/>
            </a:pPr>
            <a:endParaRPr lang="el-GR" sz="2400" i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  <a:p>
            <a:pPr marL="295275" indent="-295275" defTabSz="2057400">
              <a:buFont typeface="Arial" panose="020B0604020202020204" pitchFamily="34" charset="0"/>
              <a:buChar char="•"/>
              <a:tabLst>
                <a:tab pos="266700" algn="l"/>
              </a:tabLst>
              <a:defRPr/>
            </a:pPr>
            <a:r>
              <a:rPr lang="el-GR" sz="2400" i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Ύψος Δανείου: </a:t>
            </a:r>
            <a:r>
              <a:rPr lang="el-GR" sz="2400" b="1" i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€ 20.000 έως € 500.000 </a:t>
            </a:r>
          </a:p>
          <a:p>
            <a:pPr marL="295275" indent="-295275" defTabSz="2057400">
              <a:buFont typeface="Arial" panose="020B0604020202020204" pitchFamily="34" charset="0"/>
              <a:buChar char="•"/>
              <a:tabLst>
                <a:tab pos="266700" algn="l"/>
              </a:tabLst>
              <a:defRPr/>
            </a:pPr>
            <a:r>
              <a:rPr lang="el-GR" sz="2400" i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Άτοκη Χρηματοδότηση: </a:t>
            </a:r>
            <a:r>
              <a:rPr lang="el-GR" sz="2400" b="1" i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40% </a:t>
            </a:r>
          </a:p>
          <a:p>
            <a:pPr marL="295275" indent="-295275" defTabSz="2057400">
              <a:buFont typeface="Arial" panose="020B0604020202020204" pitchFamily="34" charset="0"/>
              <a:buChar char="•"/>
              <a:tabLst>
                <a:tab pos="266700" algn="l"/>
              </a:tabLst>
              <a:defRPr/>
            </a:pPr>
            <a:r>
              <a:rPr lang="el-GR" sz="2400" i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Επιδότηση Επιτοκίου: </a:t>
            </a:r>
            <a:r>
              <a:rPr lang="el-GR" sz="2400" b="1" i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3% </a:t>
            </a:r>
            <a:r>
              <a:rPr lang="el-GR" sz="2400" i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στο 60% των ΕΧΟ για 2 έτη (</a:t>
            </a:r>
            <a:r>
              <a:rPr lang="el-GR" sz="2400" b="1" i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ΜΟΝΟ ΓΙΑ ΝΕΑ ΑΦΜ ΣΕ ΠΡΟΓΡΑΜΜΑΤΑ ΕΑΤ)</a:t>
            </a:r>
          </a:p>
          <a:p>
            <a:pPr marL="295275" indent="-295275" defTabSz="2057400">
              <a:buFont typeface="Arial" panose="020B0604020202020204" pitchFamily="34" charset="0"/>
              <a:buChar char="•"/>
              <a:tabLst>
                <a:tab pos="266700" algn="l"/>
              </a:tabLst>
              <a:defRPr/>
            </a:pPr>
            <a:r>
              <a:rPr lang="el-GR" sz="2400" i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Διάρκεια Δανείου: </a:t>
            </a:r>
            <a:r>
              <a:rPr lang="el-GR" sz="2400" b="1" i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2 έως 5 έτη </a:t>
            </a:r>
          </a:p>
          <a:p>
            <a:pPr marL="295275" indent="-295275" defTabSz="2057400">
              <a:buFont typeface="Arial" panose="020B0604020202020204" pitchFamily="34" charset="0"/>
              <a:buChar char="•"/>
              <a:tabLst>
                <a:tab pos="266700" algn="l"/>
              </a:tabLst>
              <a:defRPr/>
            </a:pPr>
            <a:r>
              <a:rPr lang="el-GR" sz="2400" i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Περίοδος Χάριτος: έως </a:t>
            </a:r>
            <a:r>
              <a:rPr lang="el-GR" sz="2400" b="1" i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12 μήνες </a:t>
            </a:r>
          </a:p>
          <a:p>
            <a:pPr marL="266700" indent="-266700" defTabSz="2057400">
              <a:buFont typeface="Arial" panose="020B0604020202020204" pitchFamily="34" charset="0"/>
              <a:buChar char="•"/>
              <a:defRPr/>
            </a:pPr>
            <a:r>
              <a:rPr lang="el-GR" sz="2400" i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Επιπρόσθετη μείωση κατά </a:t>
            </a:r>
            <a:r>
              <a:rPr lang="el-GR" sz="2400" b="1" i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25 μονάδες βάσης (bps) </a:t>
            </a:r>
            <a:r>
              <a:rPr lang="el-GR" sz="2400" i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σε σχέση με τα επιτόκια που θα εφάρμοζε ο ΕΧΟ εκτός Ταμείου. </a:t>
            </a:r>
          </a:p>
          <a:p>
            <a:pPr marL="266700" indent="-266700" defTabSz="2057400">
              <a:buFont typeface="Arial" panose="020B0604020202020204" pitchFamily="34" charset="0"/>
              <a:buChar char="•"/>
              <a:defRPr/>
            </a:pPr>
            <a:r>
              <a:rPr lang="en-US" sz="2400" b="1" i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Max </a:t>
            </a:r>
            <a:r>
              <a:rPr lang="el-GR" sz="2400" i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Εμπράγματες</a:t>
            </a:r>
            <a:r>
              <a:rPr lang="en-US" sz="2400" i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 </a:t>
            </a:r>
            <a:r>
              <a:rPr lang="el-GR" sz="2400" i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Εξασφαλίσεις: </a:t>
            </a:r>
            <a:r>
              <a:rPr lang="el-GR" sz="2400" b="1" i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100%</a:t>
            </a:r>
            <a:r>
              <a:rPr lang="el-GR" sz="2400" i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 του ποσού του δανείου </a:t>
            </a:r>
          </a:p>
          <a:p>
            <a:pPr marL="266700" indent="-266700" defTabSz="2057400">
              <a:buFont typeface="Arial" panose="020B0604020202020204" pitchFamily="34" charset="0"/>
              <a:buChar char="•"/>
              <a:defRPr/>
            </a:pPr>
            <a:r>
              <a:rPr lang="el-GR" sz="2400" i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Καθεστώς Ενίσχυσης:  </a:t>
            </a:r>
            <a:r>
              <a:rPr lang="en-US" sz="2400" b="1" i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De Minimis</a:t>
            </a:r>
          </a:p>
        </p:txBody>
      </p:sp>
      <p:sp>
        <p:nvSpPr>
          <p:cNvPr id="2" name="矩形 79">
            <a:extLst>
              <a:ext uri="{FF2B5EF4-FFF2-40B4-BE49-F238E27FC236}">
                <a16:creationId xmlns:a16="http://schemas.microsoft.com/office/drawing/2014/main" id="{9FD45497-4091-6A95-3FB1-C5E5C5D3C26D}"/>
              </a:ext>
            </a:extLst>
          </p:cNvPr>
          <p:cNvSpPr/>
          <p:nvPr/>
        </p:nvSpPr>
        <p:spPr>
          <a:xfrm>
            <a:off x="3691781" y="2082869"/>
            <a:ext cx="13408977" cy="1160145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254000" dist="635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indent="-266700" defTabSz="2057400">
              <a:buFont typeface="Arial" panose="020B0604020202020204" pitchFamily="34" charset="0"/>
              <a:buChar char="•"/>
              <a:defRPr/>
            </a:pPr>
            <a:r>
              <a:rPr lang="el-GR" sz="24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Δημόσια δαπάνη: € 200 εκ.</a:t>
            </a:r>
            <a:r>
              <a:rPr lang="en-US" sz="24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l-GR" sz="24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Χαρτοφυλάκιο Δανείων  ~ € 450 εκ. </a:t>
            </a:r>
          </a:p>
          <a:p>
            <a:pPr marL="266700" indent="-266700" defTabSz="2057400">
              <a:buFont typeface="Arial" panose="020B0604020202020204" pitchFamily="34" charset="0"/>
              <a:buChar char="•"/>
              <a:defRPr/>
            </a:pPr>
            <a:r>
              <a:rPr lang="el-GR" sz="24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Λήξη Περιόδου Επιλεξιμότητας: 31.12. 2029</a:t>
            </a:r>
            <a:endParaRPr lang="en-US" sz="24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4408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random/>
      </p:transition>
    </mc:Choice>
    <mc:Fallback xmlns="">
      <p:transition>
        <p:random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80E07F-2692-5478-F655-BC4AF41075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 Placeholder 1">
            <a:extLst>
              <a:ext uri="{FF2B5EF4-FFF2-40B4-BE49-F238E27FC236}">
                <a16:creationId xmlns:a16="http://schemas.microsoft.com/office/drawing/2014/main" id="{56A87252-6D56-EE4E-D79F-F2E2686FFB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696" y="78101"/>
            <a:ext cx="17451164" cy="76652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l-GR" sz="3600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  <a:sym typeface="Lato Black"/>
              </a:rPr>
              <a:t>HDB | </a:t>
            </a:r>
            <a:r>
              <a:rPr lang="el-GR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  <a:sym typeface="Lato Black"/>
              </a:rPr>
              <a:t>Ταμείο Χαρτοφυλακίου </a:t>
            </a:r>
            <a:r>
              <a:rPr lang="el-GR" sz="3600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  <a:sym typeface="Lato Black"/>
              </a:rPr>
              <a:t>- Δίκαιης Αναπτυξιακής Μετάβασης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D42715F-4F34-BB97-6F52-5351C980889A}"/>
              </a:ext>
            </a:extLst>
          </p:cNvPr>
          <p:cNvSpPr txBox="1"/>
          <p:nvPr/>
        </p:nvSpPr>
        <p:spPr>
          <a:xfrm>
            <a:off x="179014" y="1474127"/>
            <a:ext cx="8426758" cy="6894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33400" marR="0" lvl="0" indent="-441325" algn="just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l-GR" sz="2600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Βελτίωση </a:t>
            </a: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της πρόσβασης των επιχειρήσεων των περιοχών Δίκαιης Αναπτυξιακής Μετάβασης στη χρηματοδότηση.</a:t>
            </a:r>
          </a:p>
          <a:p>
            <a:pPr marL="533400" marR="0" lvl="0" indent="-441325" algn="just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endParaRPr kumimoji="0" lang="el-GR" sz="2600" b="0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533400" marR="0" lvl="0" indent="-441325" algn="just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l-GR" sz="2600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Ενθάρρυνση </a:t>
            </a: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των επενδύσεων και στην εν γένει ανάπτυξή τους για την ομαλή και δίκαιη μετάβαση στη </a:t>
            </a:r>
            <a:r>
              <a:rPr kumimoji="0" lang="el-GR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μεταλιγνιτική</a:t>
            </a: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εποχή.</a:t>
            </a:r>
          </a:p>
          <a:p>
            <a:pPr marL="533400" marR="0" lvl="0" indent="-533400" algn="just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endParaRPr kumimoji="0" lang="el-GR" sz="2600" b="1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533400" marR="0" lvl="0" indent="-441325" algn="just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l-GR" sz="2600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Αναγέννηση </a:t>
            </a: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της τοπικής οικονομίας και η εξασφάλιση των θέσεων εργασίας και η δημιουργία νέων, μέσω ενός ευέλικτου αναπτυξιακού μετασχηματισμού των περιοχών.</a:t>
            </a:r>
          </a:p>
          <a:p>
            <a:pPr marL="533400" marR="0" lvl="0" indent="-533400" algn="just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endParaRPr kumimoji="0" lang="el-GR" sz="2600" b="1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533400" marR="0" lvl="0" indent="-533400" algn="just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l-GR" sz="2600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Διάθεση δύο (2)</a:t>
            </a: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l-GR" sz="2600" b="1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νέων</a:t>
            </a: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Χρηματοδοτικών Μέσων τα οποία θα διατεθούν στην Ελληνική Αγορά εντός του 2024</a:t>
            </a:r>
          </a:p>
          <a:p>
            <a:pPr marL="0" marR="0" lvl="0" indent="0" algn="just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600" b="0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aphicFrame>
        <p:nvGraphicFramePr>
          <p:cNvPr id="18" name="Diagram 17">
            <a:extLst>
              <a:ext uri="{FF2B5EF4-FFF2-40B4-BE49-F238E27FC236}">
                <a16:creationId xmlns:a16="http://schemas.microsoft.com/office/drawing/2014/main" id="{8A95E60D-39AA-D071-E827-9B9792637AFC}"/>
              </a:ext>
            </a:extLst>
          </p:cNvPr>
          <p:cNvGraphicFramePr/>
          <p:nvPr/>
        </p:nvGraphicFramePr>
        <p:xfrm>
          <a:off x="9429747" y="1455917"/>
          <a:ext cx="8426758" cy="61957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9" name="Text Box 2">
            <a:extLst>
              <a:ext uri="{FF2B5EF4-FFF2-40B4-BE49-F238E27FC236}">
                <a16:creationId xmlns:a16="http://schemas.microsoft.com/office/drawing/2014/main" id="{8AD92C5F-DF9A-E938-9606-4A8CF17C19F8}"/>
              </a:ext>
            </a:extLst>
          </p:cNvPr>
          <p:cNvSpPr txBox="1"/>
          <p:nvPr/>
        </p:nvSpPr>
        <p:spPr>
          <a:xfrm>
            <a:off x="9739721" y="4572017"/>
            <a:ext cx="3756675" cy="389964"/>
          </a:xfrm>
          <a:prstGeom prst="rect">
            <a:avLst/>
          </a:prstGeom>
          <a:solidFill>
            <a:schemeClr val="bg2">
              <a:lumMod val="90000"/>
            </a:schemeClr>
          </a:solidFill>
          <a:ln w="6350">
            <a:solidFill>
              <a:schemeClr val="tx2">
                <a:lumMod val="50000"/>
              </a:schemeClr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100" b="1" i="0" u="none" strike="noStrike" kern="1200" cap="none" spc="0" normalizeH="0" baseline="0" noProof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Ά στάδιο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Box 2">
            <a:extLst>
              <a:ext uri="{FF2B5EF4-FFF2-40B4-BE49-F238E27FC236}">
                <a16:creationId xmlns:a16="http://schemas.microsoft.com/office/drawing/2014/main" id="{F82CCAB5-6BBF-678F-C828-9535E0823345}"/>
              </a:ext>
            </a:extLst>
          </p:cNvPr>
          <p:cNvSpPr txBox="1"/>
          <p:nvPr/>
        </p:nvSpPr>
        <p:spPr>
          <a:xfrm>
            <a:off x="13935652" y="4553807"/>
            <a:ext cx="3626208" cy="4081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solidFill>
              <a:schemeClr val="tx2">
                <a:lumMod val="50000"/>
              </a:schemeClr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100" b="1" i="0" u="none" strike="noStrike" kern="1200" cap="none" spc="0" normalizeH="0" baseline="0" noProof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΄Β στάδιο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2746A2C-11D3-1F95-A08D-B236BC74568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20929" y="8997828"/>
            <a:ext cx="3942928" cy="109236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9162980-9638-EFA8-227E-87DDC46ECCD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97380" y="8997828"/>
            <a:ext cx="11898115" cy="1118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2582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64739B-5604-1AB9-A980-0B76DEDE59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79">
            <a:extLst>
              <a:ext uri="{FF2B5EF4-FFF2-40B4-BE49-F238E27FC236}">
                <a16:creationId xmlns:a16="http://schemas.microsoft.com/office/drawing/2014/main" id="{0B2C0C35-5E84-F311-3FB5-A458693CFF0D}"/>
              </a:ext>
            </a:extLst>
          </p:cNvPr>
          <p:cNvSpPr/>
          <p:nvPr/>
        </p:nvSpPr>
        <p:spPr>
          <a:xfrm>
            <a:off x="11032343" y="2156741"/>
            <a:ext cx="7117239" cy="7934796"/>
          </a:xfrm>
          <a:prstGeom prst="rect">
            <a:avLst/>
          </a:prstGeom>
          <a:solidFill>
            <a:srgbClr val="E9C089"/>
          </a:solidFill>
          <a:ln>
            <a:noFill/>
          </a:ln>
          <a:effectLst>
            <a:outerShdw blurRad="254000" dist="635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2" fontAlgn="base">
              <a:defRPr/>
            </a:pPr>
            <a:endParaRPr lang="el-GR" dirty="0">
              <a:solidFill>
                <a:srgbClr val="848991"/>
              </a:solidFill>
              <a:latin typeface="Open Sans" panose="020B0606030504020204" pitchFamily="34" charset="0"/>
              <a:ea typeface="微软雅黑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6114A774-E994-4DB8-D5A2-AFD5EF36BF1D}"/>
              </a:ext>
            </a:extLst>
          </p:cNvPr>
          <p:cNvSpPr txBox="1"/>
          <p:nvPr/>
        </p:nvSpPr>
        <p:spPr>
          <a:xfrm flipH="1">
            <a:off x="138417" y="129536"/>
            <a:ext cx="18011163" cy="55399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3000" b="1" dirty="0">
                <a:solidFill>
                  <a:srgbClr val="002060"/>
                </a:solidFill>
                <a:latin typeface="微软雅黑" panose="020F0502020204030204"/>
                <a:ea typeface="微软雅黑"/>
                <a:cs typeface="+mn-ea"/>
                <a:sym typeface="+mn-lt"/>
              </a:rPr>
              <a:t>HDB| </a:t>
            </a:r>
            <a:r>
              <a:rPr lang="el-GR" sz="3000" b="1" dirty="0">
                <a:solidFill>
                  <a:srgbClr val="002060"/>
                </a:solidFill>
                <a:latin typeface="微软雅黑" panose="020F0502020204030204"/>
                <a:ea typeface="微软雅黑"/>
                <a:cs typeface="+mn-ea"/>
              </a:rPr>
              <a:t>Ταμείο Εγγυήσεων</a:t>
            </a:r>
            <a:r>
              <a:rPr lang="en-US" sz="3000" b="1" dirty="0">
                <a:solidFill>
                  <a:srgbClr val="002060"/>
                </a:solidFill>
                <a:latin typeface="微软雅黑" panose="020F0502020204030204"/>
                <a:ea typeface="微软雅黑"/>
                <a:cs typeface="+mn-ea"/>
              </a:rPr>
              <a:t> </a:t>
            </a:r>
            <a:r>
              <a:rPr lang="el-GR" sz="3000" b="1" dirty="0">
                <a:solidFill>
                  <a:srgbClr val="002060"/>
                </a:solidFill>
                <a:latin typeface="微软雅黑" panose="020F0502020204030204"/>
                <a:ea typeface="微软雅黑"/>
                <a:cs typeface="+mn-ea"/>
              </a:rPr>
              <a:t>Επενδυτικών Δανείων Δίκαιης Αναπτυξιακής Μετάβασης</a:t>
            </a:r>
            <a:endParaRPr lang="zh-CN" altLang="en-US" sz="3000" b="1" dirty="0">
              <a:solidFill>
                <a:srgbClr val="002060"/>
              </a:solidFill>
              <a:latin typeface="微软雅黑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B13EE04-ECA2-A278-C933-4774814B2FF4}"/>
              </a:ext>
            </a:extLst>
          </p:cNvPr>
          <p:cNvSpPr txBox="1"/>
          <p:nvPr/>
        </p:nvSpPr>
        <p:spPr>
          <a:xfrm>
            <a:off x="0" y="5456579"/>
            <a:ext cx="500634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43050">
              <a:spcBef>
                <a:spcPts val="900"/>
              </a:spcBef>
              <a:spcAft>
                <a:spcPts val="900"/>
              </a:spcAft>
              <a:defRPr/>
            </a:pPr>
            <a:r>
              <a:rPr lang="el-GR" sz="2400" b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Αφορά ΜμΕ και Μεγάλες που επιλέγουν να αναπτύξουν έργα ή να πραγματοποιήσουν επενδύσεις στις περιοχές-στόχους του Ταμείου Δίκαιης Μετάβασης</a:t>
            </a:r>
            <a:r>
              <a:rPr lang="en-US" sz="2400" b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.</a:t>
            </a:r>
            <a:endParaRPr lang="el-GR" sz="2400" b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</p:txBody>
      </p:sp>
      <p:sp>
        <p:nvSpPr>
          <p:cNvPr id="14" name="Rectangle 12">
            <a:extLst>
              <a:ext uri="{FF2B5EF4-FFF2-40B4-BE49-F238E27FC236}">
                <a16:creationId xmlns:a16="http://schemas.microsoft.com/office/drawing/2014/main" id="{B8380EE0-6E57-E16F-548E-2325D519CDEC}"/>
              </a:ext>
            </a:extLst>
          </p:cNvPr>
          <p:cNvSpPr/>
          <p:nvPr/>
        </p:nvSpPr>
        <p:spPr>
          <a:xfrm>
            <a:off x="70466" y="535532"/>
            <a:ext cx="10921212" cy="8374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l-GR" altLang="zh-CN" sz="3600" b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  <a:sym typeface="+mn-lt"/>
              </a:rPr>
              <a:t>Βασικά Χαρακτηριστικά  και Οφέλη</a:t>
            </a:r>
            <a:endParaRPr lang="zh-CN" altLang="en-US" sz="3600" b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  <a:sym typeface="+mn-lt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97A3EE6-DE4C-84CF-74BB-5D8F49A23E7A}"/>
              </a:ext>
            </a:extLst>
          </p:cNvPr>
          <p:cNvGrpSpPr/>
          <p:nvPr/>
        </p:nvGrpSpPr>
        <p:grpSpPr>
          <a:xfrm>
            <a:off x="4900642" y="2146464"/>
            <a:ext cx="6091037" cy="7922469"/>
            <a:chOff x="3771321" y="1386244"/>
            <a:chExt cx="3894632" cy="5387920"/>
          </a:xfrm>
        </p:grpSpPr>
        <p:sp>
          <p:nvSpPr>
            <p:cNvPr id="8" name="矩形 79">
              <a:extLst>
                <a:ext uri="{FF2B5EF4-FFF2-40B4-BE49-F238E27FC236}">
                  <a16:creationId xmlns:a16="http://schemas.microsoft.com/office/drawing/2014/main" id="{26A66596-B213-100D-FB91-58FA8EF624F3}"/>
                </a:ext>
              </a:extLst>
            </p:cNvPr>
            <p:cNvSpPr/>
            <p:nvPr/>
          </p:nvSpPr>
          <p:spPr>
            <a:xfrm>
              <a:off x="3808503" y="1386244"/>
              <a:ext cx="3840353" cy="538792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  <a:effectLst>
              <a:outerShdw blurRad="254000" dist="635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  <a:defRPr/>
              </a:pPr>
              <a:endParaRPr lang="zh-CN" altLang="en-US" dirty="0">
                <a:solidFill>
                  <a:prstClr val="white"/>
                </a:solidFill>
                <a:latin typeface="微软雅黑" panose="020F0502020204030204"/>
                <a:ea typeface="微软雅黑"/>
                <a:cs typeface="+mn-ea"/>
                <a:sym typeface="+mn-lt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8E407DC-1ABF-D724-819D-90FE6650411F}"/>
                </a:ext>
              </a:extLst>
            </p:cNvPr>
            <p:cNvSpPr txBox="1"/>
            <p:nvPr/>
          </p:nvSpPr>
          <p:spPr>
            <a:xfrm>
              <a:off x="3771321" y="1669560"/>
              <a:ext cx="3894632" cy="408160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428625" indent="-428625" algn="just" defTabSz="2057400">
                <a:buFont typeface="Arial" panose="020B0604020202020204" pitchFamily="34" charset="0"/>
                <a:buChar char="•"/>
                <a:defRPr/>
              </a:pPr>
              <a:r>
                <a:rPr lang="el-GR" sz="2400" dirty="0">
                  <a:solidFill>
                    <a:prstClr val="white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Δάνεια Επενδυτικού Σκοπού σε ΜμΕ &amp; Μεγάλες</a:t>
              </a:r>
            </a:p>
            <a:p>
              <a:pPr marL="428625" indent="-428625" algn="just" defTabSz="2057400">
                <a:buFont typeface="Arial" panose="020B0604020202020204" pitchFamily="34" charset="0"/>
                <a:buChar char="•"/>
                <a:defRPr/>
              </a:pPr>
              <a:r>
                <a:rPr lang="el-GR" sz="2400" dirty="0">
                  <a:solidFill>
                    <a:prstClr val="white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Ύψος Δανείου</a:t>
              </a:r>
              <a:r>
                <a:rPr lang="en-US" sz="2400" dirty="0">
                  <a:solidFill>
                    <a:prstClr val="white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:</a:t>
              </a:r>
              <a:r>
                <a:rPr lang="el-GR" sz="2400" dirty="0">
                  <a:solidFill>
                    <a:prstClr val="white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 Βραχυπρόθεσμα Δάνεια €100.000</a:t>
              </a:r>
              <a:r>
                <a:rPr lang="en-US" sz="2400" dirty="0">
                  <a:solidFill>
                    <a:prstClr val="white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 - </a:t>
              </a:r>
              <a:r>
                <a:rPr lang="el-GR" sz="2400" dirty="0">
                  <a:solidFill>
                    <a:prstClr val="white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€20.000.000</a:t>
              </a:r>
              <a:r>
                <a:rPr lang="en-US" sz="2400" dirty="0">
                  <a:solidFill>
                    <a:prstClr val="white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 </a:t>
              </a:r>
              <a:r>
                <a:rPr lang="el-GR" sz="2400" dirty="0">
                  <a:solidFill>
                    <a:prstClr val="white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/ Μακροπρόθεσμα Δάνεια €500.000 - €20.000.000</a:t>
              </a:r>
            </a:p>
            <a:p>
              <a:pPr marL="428625" indent="-428625" algn="just" defTabSz="2057400">
                <a:buFont typeface="Arial" panose="020B0604020202020204" pitchFamily="34" charset="0"/>
                <a:buChar char="•"/>
                <a:defRPr/>
              </a:pPr>
              <a:r>
                <a:rPr lang="el-GR" sz="2400" dirty="0">
                  <a:solidFill>
                    <a:prstClr val="white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Εγγύηση στο </a:t>
              </a:r>
              <a:r>
                <a:rPr lang="el-GR" sz="2400" b="1" dirty="0">
                  <a:solidFill>
                    <a:prstClr val="white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80%</a:t>
              </a:r>
              <a:endParaRPr lang="el-GR" sz="2400" dirty="0">
                <a:solidFill>
                  <a:prstClr val="white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endParaRPr>
            </a:p>
            <a:p>
              <a:pPr marL="428625" indent="-428625" algn="just" defTabSz="2057400">
                <a:buFont typeface="Arial" panose="020B0604020202020204" pitchFamily="34" charset="0"/>
                <a:buChar char="•"/>
                <a:defRPr/>
              </a:pPr>
              <a:r>
                <a:rPr lang="en-US" sz="2400" dirty="0">
                  <a:solidFill>
                    <a:prstClr val="white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Cap Guarantee Rate </a:t>
              </a:r>
              <a:r>
                <a:rPr lang="el-GR" sz="2400" dirty="0">
                  <a:solidFill>
                    <a:prstClr val="white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στο </a:t>
              </a:r>
              <a:r>
                <a:rPr lang="en-US" sz="2400" dirty="0">
                  <a:solidFill>
                    <a:prstClr val="white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2</a:t>
              </a:r>
              <a:r>
                <a:rPr lang="el-GR" sz="2400" dirty="0">
                  <a:solidFill>
                    <a:prstClr val="white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0</a:t>
              </a:r>
              <a:r>
                <a:rPr lang="en-US" sz="2400" dirty="0">
                  <a:solidFill>
                    <a:prstClr val="white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%</a:t>
              </a:r>
              <a:endParaRPr lang="el-GR" sz="2400" dirty="0">
                <a:solidFill>
                  <a:prstClr val="white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endParaRPr>
            </a:p>
            <a:p>
              <a:pPr marL="428625" indent="-428625" algn="just" defTabSz="2057400">
                <a:buFont typeface="Arial" panose="020B0604020202020204" pitchFamily="34" charset="0"/>
                <a:buChar char="•"/>
                <a:defRPr/>
              </a:pPr>
              <a:r>
                <a:rPr lang="el-GR" sz="2400" dirty="0">
                  <a:solidFill>
                    <a:prstClr val="white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Διάρκεια Δανείου</a:t>
              </a:r>
              <a:r>
                <a:rPr lang="en-US" sz="2400" dirty="0">
                  <a:solidFill>
                    <a:prstClr val="white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:</a:t>
              </a:r>
              <a:r>
                <a:rPr lang="el-GR" sz="2400" dirty="0">
                  <a:solidFill>
                    <a:prstClr val="white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 Βραχυπρόθεσμα Δάνεια 2-5 έτη / Μακροπρόθεσμα Δάνεια 2-10 έτη </a:t>
              </a:r>
            </a:p>
            <a:p>
              <a:pPr marL="428625" indent="-428625" algn="just" defTabSz="2057400">
                <a:buFont typeface="Arial" panose="020B0604020202020204" pitchFamily="34" charset="0"/>
                <a:buChar char="•"/>
                <a:defRPr/>
              </a:pPr>
              <a:r>
                <a:rPr lang="el-GR" sz="2400" dirty="0">
                  <a:solidFill>
                    <a:prstClr val="white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 Περίοδος χάριτος έως 24 μήνες </a:t>
              </a:r>
            </a:p>
            <a:p>
              <a:pPr marL="428625" indent="-428625" algn="just" defTabSz="2057400">
                <a:buFont typeface="Arial" panose="020B0604020202020204" pitchFamily="34" charset="0"/>
                <a:buChar char="•"/>
                <a:defRPr/>
              </a:pPr>
              <a:r>
                <a:rPr lang="el-GR" sz="2400" dirty="0">
                  <a:solidFill>
                    <a:prstClr val="white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Μειωμένο Επιτόκιο λόγω της εγγύησης του Ταμείου</a:t>
              </a:r>
            </a:p>
            <a:p>
              <a:pPr marL="428625" indent="-428625" algn="just" defTabSz="2057400">
                <a:buFont typeface="Arial" panose="020B0604020202020204" pitchFamily="34" charset="0"/>
                <a:buChar char="•"/>
                <a:defRPr/>
              </a:pPr>
              <a:r>
                <a:rPr lang="el-GR" sz="2400" dirty="0">
                  <a:solidFill>
                    <a:prstClr val="white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Μειωμένες εξασφαλίσεις έως 30%</a:t>
              </a:r>
            </a:p>
            <a:p>
              <a:pPr marL="428625" indent="-428625" algn="just" defTabSz="2057400">
                <a:buFont typeface="Arial" panose="020B0604020202020204" pitchFamily="34" charset="0"/>
                <a:buChar char="•"/>
                <a:defRPr/>
              </a:pPr>
              <a:r>
                <a:rPr lang="el-GR" sz="2400" dirty="0">
                  <a:solidFill>
                    <a:prstClr val="white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Δημόσια δαπάνη € 30 εκ.</a:t>
              </a:r>
            </a:p>
            <a:p>
              <a:pPr marL="428625" indent="-428625" algn="just" defTabSz="2057400">
                <a:buFont typeface="Arial" panose="020B0604020202020204" pitchFamily="34" charset="0"/>
                <a:buChar char="•"/>
                <a:defRPr/>
              </a:pPr>
              <a:r>
                <a:rPr lang="el-GR" sz="2400" dirty="0">
                  <a:solidFill>
                    <a:prstClr val="white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Χαρτοφυλάκιο Ταμείου € 15</a:t>
              </a:r>
              <a:r>
                <a:rPr lang="en-US" sz="2400" dirty="0">
                  <a:solidFill>
                    <a:prstClr val="white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6.3</a:t>
              </a:r>
              <a:r>
                <a:rPr lang="el-GR" sz="2400" dirty="0">
                  <a:solidFill>
                    <a:prstClr val="white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 εκ.</a:t>
              </a:r>
            </a:p>
            <a:p>
              <a:pPr marL="428625" indent="-428625" defTabSz="2057400">
                <a:buFont typeface="Arial" panose="020B0604020202020204" pitchFamily="34" charset="0"/>
                <a:buChar char="•"/>
                <a:defRPr/>
              </a:pPr>
              <a:endParaRPr lang="el-GR" sz="2400" dirty="0">
                <a:solidFill>
                  <a:prstClr val="white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9B87BF7C-3F53-AE33-4D5E-D1D19D75C1AB}"/>
              </a:ext>
            </a:extLst>
          </p:cNvPr>
          <p:cNvSpPr/>
          <p:nvPr/>
        </p:nvSpPr>
        <p:spPr>
          <a:xfrm>
            <a:off x="11071785" y="8229601"/>
            <a:ext cx="6841749" cy="956345"/>
          </a:xfrm>
          <a:prstGeom prst="rect">
            <a:avLst/>
          </a:prstGeom>
          <a:noFill/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defRPr/>
            </a:pPr>
            <a:endParaRPr lang="en-US" sz="2400" b="1" i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9F18C18-FEBB-B1CF-CBAD-E737B5A01BA7}"/>
              </a:ext>
            </a:extLst>
          </p:cNvPr>
          <p:cNvSpPr/>
          <p:nvPr/>
        </p:nvSpPr>
        <p:spPr>
          <a:xfrm>
            <a:off x="11136387" y="2252443"/>
            <a:ext cx="6920916" cy="70970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l-GR" sz="2400" i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  <a:p>
            <a:pPr algn="ctr">
              <a:defRPr/>
            </a:pPr>
            <a:endParaRPr lang="el-GR" sz="2400" i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  <a:p>
            <a:pPr algn="ctr">
              <a:defRPr/>
            </a:pPr>
            <a:endParaRPr lang="el-GR" sz="2400" i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  <a:p>
            <a:pPr algn="ctr">
              <a:defRPr/>
            </a:pPr>
            <a:endParaRPr lang="en-US" sz="2400" i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  <a:p>
            <a:pPr algn="ctr">
              <a:defRPr/>
            </a:pPr>
            <a:endParaRPr lang="en-US" sz="2400" i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  <a:p>
            <a:pPr algn="just">
              <a:defRPr/>
            </a:pPr>
            <a:endParaRPr lang="el-GR" sz="2400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  <a:p>
            <a:pPr marL="428625" indent="-428625" algn="just">
              <a:buFont typeface="Wingdings" panose="05000000000000000000" pitchFamily="2" charset="2"/>
              <a:buChar char="ü"/>
              <a:defRPr/>
            </a:pPr>
            <a:r>
              <a:rPr lang="el-GR" sz="2400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Οι πόροι προέρχονται από το Πρόγραμμα Δίκαιης Αναπτυξιακής Μετάβασης 2021-2027.</a:t>
            </a:r>
          </a:p>
          <a:p>
            <a:pPr marL="428625" indent="-428625" algn="just">
              <a:buFont typeface="Wingdings" panose="05000000000000000000" pitchFamily="2" charset="2"/>
              <a:buChar char="ü"/>
              <a:defRPr/>
            </a:pPr>
            <a:r>
              <a:rPr lang="el-GR" sz="2400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Γεωγραφική Κατανομή</a:t>
            </a:r>
            <a:r>
              <a:rPr lang="en-US" sz="2400" i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: </a:t>
            </a:r>
            <a:r>
              <a:rPr lang="el-GR" sz="2400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Περιφέρεια Δυτικής Μακεδονίας</a:t>
            </a:r>
            <a:r>
              <a:rPr lang="en-US" sz="2400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, </a:t>
            </a:r>
            <a:r>
              <a:rPr lang="el-GR" sz="2400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Δήμος Μεγαλόπολης</a:t>
            </a:r>
            <a:r>
              <a:rPr lang="en-US" sz="2400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, </a:t>
            </a:r>
            <a:r>
              <a:rPr lang="el-GR" sz="2400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Δήμος Τρίπολης</a:t>
            </a:r>
            <a:r>
              <a:rPr lang="en-US" sz="2400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, </a:t>
            </a:r>
            <a:r>
              <a:rPr lang="el-GR" sz="2400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Δήμος Γορτυνίας</a:t>
            </a:r>
            <a:r>
              <a:rPr lang="en-US" sz="2400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, </a:t>
            </a:r>
            <a:r>
              <a:rPr lang="el-GR" sz="2400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Δήμος Οιχαλίας</a:t>
            </a:r>
            <a:endParaRPr lang="el-GR" sz="2400" i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  <a:p>
            <a:pPr marL="428625" indent="-428625" algn="just">
              <a:buFont typeface="Wingdings" panose="05000000000000000000" pitchFamily="2" charset="2"/>
              <a:buChar char="ü"/>
              <a:defRPr/>
            </a:pPr>
            <a:r>
              <a:rPr lang="el-GR" sz="2400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Σε κάθε επενδυτικό σχέδιο το 25% του προϋπολογισμού αποτελεί την ίδια συμμετοχή και δεν πρέπει να έχει κανενός είδους ενίσχυση ή κρατική στήριξη.  </a:t>
            </a:r>
            <a:r>
              <a:rPr lang="en-US" sz="2400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 </a:t>
            </a:r>
            <a:r>
              <a:rPr lang="el-GR" sz="2400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 </a:t>
            </a:r>
            <a:endParaRPr lang="el-GR" sz="2400" i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  <a:p>
            <a:pPr marL="428625" indent="-428625" algn="just">
              <a:buFont typeface="Wingdings" panose="05000000000000000000" pitchFamily="2" charset="2"/>
              <a:buChar char="ü"/>
              <a:defRPr/>
            </a:pPr>
            <a:r>
              <a:rPr lang="el-GR" sz="2400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Το σύνολο των δανείων, μακροπρόθεσμα και βραχυπρόθεσμα, δε δύναται να ξεπερνά τα €35.000.000 </a:t>
            </a:r>
            <a:endParaRPr lang="el-GR" sz="2400" i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  <a:p>
            <a:pPr marL="428625" indent="-428625" algn="just">
              <a:buFont typeface="Wingdings" panose="05000000000000000000" pitchFamily="2" charset="2"/>
              <a:buChar char="ü"/>
              <a:defRPr/>
            </a:pPr>
            <a:r>
              <a:rPr lang="el-GR" sz="2400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Για τα δάνεια βραχυπρόθεσμου χαρακτήρα θα λαμβάνεται ως αποκλειστική εξασφάλιση η εκχώρηση της απαίτησης από την επιχορήγηση του ΤΔΑΜ.</a:t>
            </a:r>
            <a:endParaRPr lang="en-US" sz="2400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  <a:p>
            <a:pPr marL="428625" indent="-428625" algn="just">
              <a:buFont typeface="Wingdings" panose="05000000000000000000" pitchFamily="2" charset="2"/>
              <a:buChar char="ü"/>
              <a:defRPr/>
            </a:pPr>
            <a:r>
              <a:rPr lang="el-GR" sz="2400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Δυνατότητα επιδότησης επιτοκίου</a:t>
            </a:r>
          </a:p>
          <a:p>
            <a:pPr algn="ctr">
              <a:defRPr/>
            </a:pPr>
            <a:endParaRPr lang="el-GR" sz="2400" i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  <a:p>
            <a:pPr algn="ctr">
              <a:defRPr/>
            </a:pPr>
            <a:endParaRPr lang="el-GR" sz="2400" i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  <a:p>
            <a:pPr algn="ctr">
              <a:defRPr/>
            </a:pPr>
            <a:endParaRPr lang="el-GR" sz="2400" i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  <a:p>
            <a:pPr algn="ctr">
              <a:defRPr/>
            </a:pPr>
            <a:endParaRPr lang="el-GR" sz="2400" i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  <a:p>
            <a:pPr algn="ctr">
              <a:defRPr/>
            </a:pPr>
            <a:endParaRPr lang="el-GR" sz="2400" i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  <a:p>
            <a:pPr algn="ctr">
              <a:defRPr/>
            </a:pPr>
            <a:endParaRPr lang="el-GR" sz="2400" i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  <a:p>
            <a:pPr algn="ctr">
              <a:defRPr/>
            </a:pPr>
            <a:endParaRPr lang="el-GR" sz="2400" i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  <a:p>
            <a:pPr algn="ctr">
              <a:defRPr/>
            </a:pPr>
            <a:endParaRPr lang="en-US" sz="2400" i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BE7F5E9-2B3C-C18A-ABA6-7EE1833F82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704" y="2169117"/>
            <a:ext cx="4702821" cy="2813943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53B3008-BA0B-E952-A2E6-744A1B3F256F}"/>
              </a:ext>
            </a:extLst>
          </p:cNvPr>
          <p:cNvSpPr/>
          <p:nvPr/>
        </p:nvSpPr>
        <p:spPr>
          <a:xfrm>
            <a:off x="11425807" y="9248862"/>
            <a:ext cx="6493079" cy="427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l-GR" sz="2400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*</a:t>
            </a:r>
            <a:r>
              <a:rPr lang="el-GR" sz="2400" i="1" dirty="0">
                <a:solidFill>
                  <a:srgbClr val="002060"/>
                </a:solidFill>
                <a:latin typeface="Calibri" panose="020F0502020204030204" pitchFamily="34" charset="0"/>
                <a:ea typeface="微软雅黑"/>
                <a:cs typeface="Calibri" panose="020F0502020204030204" pitchFamily="34" charset="0"/>
              </a:rPr>
              <a:t>Το Ταμείο βρίσκεται στο στάδιο της σχεδίασης</a:t>
            </a:r>
            <a:endParaRPr lang="en-US" sz="2400" i="1" dirty="0">
              <a:solidFill>
                <a:srgbClr val="002060"/>
              </a:solidFill>
              <a:latin typeface="Calibri" panose="020F0502020204030204" pitchFamily="34" charset="0"/>
              <a:ea typeface="微软雅黑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1316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random/>
      </p:transition>
    </mc:Choice>
    <mc:Fallback xmlns="">
      <p:transition>
        <p:random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2">
          <a:extLst>
            <a:ext uri="{FF2B5EF4-FFF2-40B4-BE49-F238E27FC236}">
              <a16:creationId xmlns:a16="http://schemas.microsoft.com/office/drawing/2014/main" id="{EFEA3671-CB5A-F8D3-3B9E-94E70A5505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3" name="Google Shape;1253;p92">
            <a:extLst>
              <a:ext uri="{FF2B5EF4-FFF2-40B4-BE49-F238E27FC236}">
                <a16:creationId xmlns:a16="http://schemas.microsoft.com/office/drawing/2014/main" id="{B2FC23CC-F22B-2120-F500-16D105659A76}"/>
              </a:ext>
            </a:extLst>
          </p:cNvPr>
          <p:cNvCxnSpPr/>
          <p:nvPr/>
        </p:nvCxnSpPr>
        <p:spPr>
          <a:xfrm>
            <a:off x="1122866" y="-1311276"/>
            <a:ext cx="0" cy="0"/>
          </a:xfrm>
          <a:prstGeom prst="straightConnector1">
            <a:avLst/>
          </a:prstGeom>
          <a:noFill/>
          <a:ln>
            <a:noFill/>
          </a:ln>
        </p:spPr>
      </p:cxnSp>
      <p:cxnSp>
        <p:nvCxnSpPr>
          <p:cNvPr id="1254" name="Google Shape;1254;p92">
            <a:extLst>
              <a:ext uri="{FF2B5EF4-FFF2-40B4-BE49-F238E27FC236}">
                <a16:creationId xmlns:a16="http://schemas.microsoft.com/office/drawing/2014/main" id="{8CC4A055-D603-E22B-0A30-4249B78193B3}"/>
              </a:ext>
            </a:extLst>
          </p:cNvPr>
          <p:cNvCxnSpPr/>
          <p:nvPr/>
        </p:nvCxnSpPr>
        <p:spPr>
          <a:xfrm>
            <a:off x="1122866" y="-1311276"/>
            <a:ext cx="0" cy="0"/>
          </a:xfrm>
          <a:prstGeom prst="straightConnector1">
            <a:avLst/>
          </a:prstGeom>
          <a:noFill/>
          <a:ln>
            <a:noFill/>
          </a:ln>
        </p:spPr>
      </p:cxnSp>
      <p:sp>
        <p:nvSpPr>
          <p:cNvPr id="1255" name="Google Shape;1255;p92">
            <a:extLst>
              <a:ext uri="{FF2B5EF4-FFF2-40B4-BE49-F238E27FC236}">
                <a16:creationId xmlns:a16="http://schemas.microsoft.com/office/drawing/2014/main" id="{A3CE44C7-F70A-78B2-2DEC-AE53EC6A453B}"/>
              </a:ext>
            </a:extLst>
          </p:cNvPr>
          <p:cNvSpPr/>
          <p:nvPr/>
        </p:nvSpPr>
        <p:spPr>
          <a:xfrm>
            <a:off x="7394197" y="0"/>
            <a:ext cx="10923712" cy="1028953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54569" y="0"/>
                </a:moveTo>
                <a:lnTo>
                  <a:pt x="75779" y="0"/>
                </a:lnTo>
                <a:lnTo>
                  <a:pt x="103675" y="0"/>
                </a:lnTo>
                <a:lnTo>
                  <a:pt x="104195" y="0"/>
                </a:lnTo>
                <a:lnTo>
                  <a:pt x="116872" y="0"/>
                </a:lnTo>
                <a:lnTo>
                  <a:pt x="119999" y="0"/>
                </a:lnTo>
                <a:lnTo>
                  <a:pt x="119999" y="120000"/>
                </a:lnTo>
                <a:lnTo>
                  <a:pt x="116872" y="120000"/>
                </a:lnTo>
                <a:lnTo>
                  <a:pt x="104195" y="120000"/>
                </a:lnTo>
                <a:lnTo>
                  <a:pt x="103675" y="120000"/>
                </a:lnTo>
                <a:lnTo>
                  <a:pt x="75779" y="120000"/>
                </a:lnTo>
                <a:lnTo>
                  <a:pt x="0" y="120000"/>
                </a:lnTo>
                <a:close/>
              </a:path>
            </a:pathLst>
          </a:custGeom>
          <a:solidFill>
            <a:schemeClr val="accent2">
              <a:alpha val="78431"/>
            </a:schemeClr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Tx/>
              <a:buNone/>
              <a:tabLst/>
              <a:defRPr/>
            </a:pPr>
            <a:endParaRPr kumimoji="0" sz="2700" b="0" i="0" u="none" strike="noStrike" kern="1200" cap="none" spc="0" normalizeH="0" baseline="0" noProof="0">
              <a:ln>
                <a:noFill/>
              </a:ln>
              <a:solidFill>
                <a:srgbClr val="343444"/>
              </a:solidFill>
              <a:effectLst/>
              <a:uLnTx/>
              <a:uFillTx/>
              <a:latin typeface="Lato Light"/>
              <a:ea typeface="Lato Light"/>
              <a:cs typeface="Lato Light"/>
              <a:sym typeface="Lato Light"/>
            </a:endParaRPr>
          </a:p>
        </p:txBody>
      </p:sp>
      <p:cxnSp>
        <p:nvCxnSpPr>
          <p:cNvPr id="1258" name="Google Shape;1258;p92">
            <a:extLst>
              <a:ext uri="{FF2B5EF4-FFF2-40B4-BE49-F238E27FC236}">
                <a16:creationId xmlns:a16="http://schemas.microsoft.com/office/drawing/2014/main" id="{4F98E1C3-7DEF-D7F1-A1E4-B924029DFFBF}"/>
              </a:ext>
            </a:extLst>
          </p:cNvPr>
          <p:cNvCxnSpPr/>
          <p:nvPr/>
        </p:nvCxnSpPr>
        <p:spPr>
          <a:xfrm>
            <a:off x="13272864" y="9600698"/>
            <a:ext cx="5045045" cy="0"/>
          </a:xfrm>
          <a:prstGeom prst="straightConnector1">
            <a:avLst/>
          </a:prstGeom>
          <a:noFill/>
          <a:ln w="38100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259" name="Google Shape;1259;p92">
            <a:extLst>
              <a:ext uri="{FF2B5EF4-FFF2-40B4-BE49-F238E27FC236}">
                <a16:creationId xmlns:a16="http://schemas.microsoft.com/office/drawing/2014/main" id="{98A9849A-A6DE-AAA8-811F-524DA57BAD56}"/>
              </a:ext>
            </a:extLst>
          </p:cNvPr>
          <p:cNvCxnSpPr/>
          <p:nvPr/>
        </p:nvCxnSpPr>
        <p:spPr>
          <a:xfrm>
            <a:off x="9964352" y="6126653"/>
            <a:ext cx="8321267" cy="0"/>
          </a:xfrm>
          <a:prstGeom prst="straightConnector1">
            <a:avLst/>
          </a:prstGeom>
          <a:noFill/>
          <a:ln w="38100" cap="flat" cmpd="sng">
            <a:solidFill>
              <a:schemeClr val="bg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" name="Google Shape;1256;p92">
            <a:extLst>
              <a:ext uri="{FF2B5EF4-FFF2-40B4-BE49-F238E27FC236}">
                <a16:creationId xmlns:a16="http://schemas.microsoft.com/office/drawing/2014/main" id="{891BE4DB-E793-DD82-785C-A3CF511BAAC1}"/>
              </a:ext>
            </a:extLst>
          </p:cNvPr>
          <p:cNvSpPr txBox="1"/>
          <p:nvPr/>
        </p:nvSpPr>
        <p:spPr>
          <a:xfrm>
            <a:off x="8082644" y="6894985"/>
            <a:ext cx="9948682" cy="2705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r" defTabSz="1371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500"/>
              <a:buFontTx/>
              <a:buNone/>
              <a:tabLst/>
              <a:defRPr/>
            </a:pPr>
            <a:r>
              <a:rPr kumimoji="0" lang="el-GR" sz="6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2024 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Lato Black"/>
              <a:cs typeface="Calibri" panose="020F0502020204030204" pitchFamily="34" charset="0"/>
              <a:sym typeface="Lato Black"/>
            </a:endParaRPr>
          </a:p>
          <a:p>
            <a:pPr marL="0" marR="0" lvl="0" indent="0" algn="r" defTabSz="1371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500"/>
              <a:buFontTx/>
              <a:buNone/>
              <a:tabLst/>
              <a:defRPr/>
            </a:pPr>
            <a:r>
              <a:rPr kumimoji="0" lang="el-GR" sz="6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Μη Χρηματοδοτική Στήριξη </a:t>
            </a: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HDB</a:t>
            </a:r>
            <a:endParaRPr kumimoji="0" sz="6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Lato Black"/>
              <a:cs typeface="Calibri" panose="020F0502020204030204" pitchFamily="34" charset="0"/>
              <a:sym typeface="Lato Black"/>
            </a:endParaRPr>
          </a:p>
        </p:txBody>
      </p:sp>
    </p:spTree>
    <p:extLst>
      <p:ext uri="{BB962C8B-B14F-4D97-AF65-F5344CB8AC3E}">
        <p14:creationId xmlns:p14="http://schemas.microsoft.com/office/powerpoint/2010/main" val="335252762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A591B0-70AD-B422-4E25-21C9FB7C9A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0" name="Ομάδα 499">
            <a:extLst>
              <a:ext uri="{FF2B5EF4-FFF2-40B4-BE49-F238E27FC236}">
                <a16:creationId xmlns:a16="http://schemas.microsoft.com/office/drawing/2014/main" id="{EFB27F68-B0E0-8CEF-C008-2EF9152A69DA}"/>
              </a:ext>
            </a:extLst>
          </p:cNvPr>
          <p:cNvGrpSpPr>
            <a:grpSpLocks noChangeAspect="1"/>
          </p:cNvGrpSpPr>
          <p:nvPr/>
        </p:nvGrpSpPr>
        <p:grpSpPr>
          <a:xfrm>
            <a:off x="582543" y="3359376"/>
            <a:ext cx="9437281" cy="4616265"/>
            <a:chOff x="-1826443" y="2316728"/>
            <a:chExt cx="21016803" cy="10280413"/>
          </a:xfrm>
        </p:grpSpPr>
        <p:sp>
          <p:nvSpPr>
            <p:cNvPr id="501" name="Ορθογώνιο: Στρογγύλεμα διαγώνιων γωνιών 500">
              <a:extLst>
                <a:ext uri="{FF2B5EF4-FFF2-40B4-BE49-F238E27FC236}">
                  <a16:creationId xmlns:a16="http://schemas.microsoft.com/office/drawing/2014/main" id="{14034BC2-1636-22D6-557B-8A665447F704}"/>
                </a:ext>
              </a:extLst>
            </p:cNvPr>
            <p:cNvSpPr/>
            <p:nvPr/>
          </p:nvSpPr>
          <p:spPr>
            <a:xfrm>
              <a:off x="6364457" y="8843691"/>
              <a:ext cx="5539559" cy="3109700"/>
            </a:xfrm>
            <a:prstGeom prst="round2DiagRect">
              <a:avLst/>
            </a:prstGeom>
            <a:solidFill>
              <a:srgbClr val="67628E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00" b="0" i="0" u="none" strike="noStrike" kern="1200" cap="none" spc="0" normalizeH="0" baseline="0" noProof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502" name="Ομάδα 501">
              <a:extLst>
                <a:ext uri="{FF2B5EF4-FFF2-40B4-BE49-F238E27FC236}">
                  <a16:creationId xmlns:a16="http://schemas.microsoft.com/office/drawing/2014/main" id="{272298AB-92DD-1D39-913C-D78FF26EA903}"/>
                </a:ext>
              </a:extLst>
            </p:cNvPr>
            <p:cNvGrpSpPr/>
            <p:nvPr/>
          </p:nvGrpSpPr>
          <p:grpSpPr>
            <a:xfrm>
              <a:off x="-1826443" y="2316728"/>
              <a:ext cx="21016803" cy="10280413"/>
              <a:chOff x="-1826443" y="2316728"/>
              <a:chExt cx="21016803" cy="10280413"/>
            </a:xfrm>
          </p:grpSpPr>
          <p:grpSp>
            <p:nvGrpSpPr>
              <p:cNvPr id="503" name="Ομάδα 502">
                <a:extLst>
                  <a:ext uri="{FF2B5EF4-FFF2-40B4-BE49-F238E27FC236}">
                    <a16:creationId xmlns:a16="http://schemas.microsoft.com/office/drawing/2014/main" id="{B7798E26-2A2C-B806-6F87-F66239A30D7B}"/>
                  </a:ext>
                </a:extLst>
              </p:cNvPr>
              <p:cNvGrpSpPr/>
              <p:nvPr/>
            </p:nvGrpSpPr>
            <p:grpSpPr>
              <a:xfrm>
                <a:off x="-1826443" y="4057590"/>
                <a:ext cx="5832665" cy="8539551"/>
                <a:chOff x="4238162" y="3337335"/>
                <a:chExt cx="5832665" cy="8539551"/>
              </a:xfrm>
            </p:grpSpPr>
            <p:pic>
              <p:nvPicPr>
                <p:cNvPr id="755" name="Εικόνα 754">
                  <a:extLst>
                    <a:ext uri="{FF2B5EF4-FFF2-40B4-BE49-F238E27FC236}">
                      <a16:creationId xmlns:a16="http://schemas.microsoft.com/office/drawing/2014/main" id="{4A338A8B-AC4A-C9CA-AAD1-C98B218BC62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2" cstate="print">
                  <a:extLst>
                    <a:ext uri="{BEBA8EAE-BF5A-486C-A8C5-ECC9F3942E4B}">
                      <a14:imgProps xmlns:a14="http://schemas.microsoft.com/office/drawing/2010/main">
                        <a14:imgLayer r:embed="rId3">
                          <a14:imgEffect>
                            <a14:backgroundRemoval t="30542" b="66831" l="14521" r="85765">
                              <a14:foregroundMark x1="18884" y1="47455" x2="18884" y2="47455"/>
                              <a14:foregroundMark x1="14592" y1="45320" x2="14592" y2="45320"/>
                              <a14:foregroundMark x1="23677" y1="46141" x2="23677" y2="46141"/>
                              <a14:foregroundMark x1="33548" y1="48440" x2="33548" y2="48440"/>
                              <a14:foregroundMark x1="58512" y1="50082" x2="58512" y2="50082"/>
                              <a14:foregroundMark x1="69313" y1="50575" x2="69313" y2="50575"/>
                              <a14:foregroundMark x1="54006" y1="65681" x2="54006" y2="65681"/>
                              <a14:foregroundMark x1="45923" y1="51067" x2="45923" y2="51067"/>
                              <a14:foregroundMark x1="70100" y1="32677" x2="70100" y2="32677"/>
                              <a14:foregroundMark x1="74392" y1="47455" x2="74392" y2="47455"/>
                              <a14:foregroundMark x1="82690" y1="51560" x2="82690" y2="51560"/>
                              <a14:foregroundMark x1="85765" y1="52709" x2="85765" y2="52709"/>
                            </a14:backgroundRemoval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1645" t="26415" r="11017" b="28502"/>
                <a:stretch/>
              </p:blipFill>
              <p:spPr>
                <a:xfrm>
                  <a:off x="6492246" y="3337335"/>
                  <a:ext cx="3361655" cy="854094"/>
                </a:xfrm>
                <a:prstGeom prst="rect">
                  <a:avLst/>
                </a:prstGeom>
              </p:spPr>
            </p:pic>
            <p:sp>
              <p:nvSpPr>
                <p:cNvPr id="756" name="TextBox 755">
                  <a:extLst>
                    <a:ext uri="{FF2B5EF4-FFF2-40B4-BE49-F238E27FC236}">
                      <a16:creationId xmlns:a16="http://schemas.microsoft.com/office/drawing/2014/main" id="{ABBB9920-B1B5-0FBF-FACE-0B0445F6C27A}"/>
                    </a:ext>
                  </a:extLst>
                </p:cNvPr>
                <p:cNvSpPr txBox="1"/>
                <p:nvPr/>
              </p:nvSpPr>
              <p:spPr>
                <a:xfrm>
                  <a:off x="4238162" y="4474373"/>
                  <a:ext cx="5832665" cy="7402513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1200"/>
                    </a:spcAft>
                    <a:buClr>
                      <a:srgbClr val="281F76"/>
                    </a:buClr>
                    <a:buSzTx/>
                    <a:buFontTx/>
                    <a:buNone/>
                    <a:tabLst/>
                    <a:defRPr/>
                  </a:pPr>
                  <a:r>
                    <a:rPr kumimoji="0" lang="el-GR" sz="2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81F76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η Γαλλική πλατφόρμα </a:t>
                  </a:r>
                  <a:r>
                    <a:rPr kumimoji="0" lang="el-GR" sz="2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81F76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που δημιουργήθηκε από την Bpifrance</a:t>
                  </a:r>
                  <a:endParaRPr kumimoji="0" lang="en-GB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81F76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  <a:p>
                  <a:pPr marL="342900" marR="0" lvl="0" indent="-34290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281F76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l-GR" sz="2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81F76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18.000+ Επιχειρήσεις</a:t>
                  </a:r>
                  <a:endParaRPr kumimoji="0" lang="en-GB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81F76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  <a:p>
                  <a:pPr marL="342900" marR="0" lvl="0" indent="-34290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281F76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l-GR" sz="2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81F76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2.800+ Επενδυτές</a:t>
                  </a:r>
                  <a:endParaRPr kumimoji="0" lang="en-GB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81F76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  <a:p>
                  <a:pPr marL="342900" marR="0" lvl="0" indent="-34290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281F76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l-GR" sz="2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81F76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2.000+ Υποστηρικτικοί Μηχανισμοί</a:t>
                  </a:r>
                </a:p>
              </p:txBody>
            </p:sp>
          </p:grpSp>
          <p:grpSp>
            <p:nvGrpSpPr>
              <p:cNvPr id="504" name="Ομάδα 503">
                <a:extLst>
                  <a:ext uri="{FF2B5EF4-FFF2-40B4-BE49-F238E27FC236}">
                    <a16:creationId xmlns:a16="http://schemas.microsoft.com/office/drawing/2014/main" id="{7DA41F81-9DAA-3BF1-3D75-65A2FDE4A0F1}"/>
                  </a:ext>
                </a:extLst>
              </p:cNvPr>
              <p:cNvGrpSpPr/>
              <p:nvPr/>
            </p:nvGrpSpPr>
            <p:grpSpPr>
              <a:xfrm>
                <a:off x="14306893" y="3283249"/>
                <a:ext cx="4883467" cy="8379046"/>
                <a:chOff x="12659900" y="3309756"/>
                <a:chExt cx="4883467" cy="8379046"/>
              </a:xfrm>
            </p:grpSpPr>
            <p:pic>
              <p:nvPicPr>
                <p:cNvPr id="753" name="Εικόνα 752">
                  <a:extLst>
                    <a:ext uri="{FF2B5EF4-FFF2-40B4-BE49-F238E27FC236}">
                      <a16:creationId xmlns:a16="http://schemas.microsoft.com/office/drawing/2014/main" id="{50D868BE-3C9D-6297-B7C1-23E09317BFF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33952" b="38109"/>
                <a:stretch/>
              </p:blipFill>
              <p:spPr>
                <a:xfrm>
                  <a:off x="12659900" y="3309756"/>
                  <a:ext cx="3809524" cy="1064345"/>
                </a:xfrm>
                <a:prstGeom prst="rect">
                  <a:avLst/>
                </a:prstGeom>
              </p:spPr>
            </p:pic>
            <p:sp>
              <p:nvSpPr>
                <p:cNvPr id="754" name="TextBox 753">
                  <a:extLst>
                    <a:ext uri="{FF2B5EF4-FFF2-40B4-BE49-F238E27FC236}">
                      <a16:creationId xmlns:a16="http://schemas.microsoft.com/office/drawing/2014/main" id="{D5C122B8-31B1-B659-D31A-3A3FEF6DC873}"/>
                    </a:ext>
                  </a:extLst>
                </p:cNvPr>
                <p:cNvSpPr txBox="1"/>
                <p:nvPr/>
              </p:nvSpPr>
              <p:spPr>
                <a:xfrm>
                  <a:off x="12672391" y="4286290"/>
                  <a:ext cx="4870976" cy="7402512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1200"/>
                    </a:spcAft>
                    <a:buClr>
                      <a:srgbClr val="281F76"/>
                    </a:buClr>
                    <a:buSzTx/>
                    <a:buFontTx/>
                    <a:buNone/>
                    <a:tabLst/>
                    <a:defRPr/>
                  </a:pPr>
                  <a:r>
                    <a:rPr kumimoji="0" lang="el-GR" sz="2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81F76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η </a:t>
                  </a:r>
                  <a:r>
                    <a:rPr kumimoji="0" lang="el-GR" sz="2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81F76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Κινεζική πύλη </a:t>
                  </a:r>
                  <a:r>
                    <a:rPr kumimoji="0" lang="el-GR" sz="2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81F76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του </a:t>
                  </a:r>
                  <a:r>
                    <a:rPr kumimoji="0" lang="el-GR" sz="20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281F76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Shenzhen</a:t>
                  </a:r>
                  <a:r>
                    <a:rPr kumimoji="0" lang="el-GR" sz="2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81F76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l-GR" sz="20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281F76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Stock</a:t>
                  </a:r>
                  <a:r>
                    <a:rPr kumimoji="0" lang="el-GR" sz="2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81F76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Exchange </a:t>
                  </a:r>
                  <a:endParaRPr kumimoji="0" lang="en-GB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81F76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  <a:p>
                  <a:pPr marL="342900" marR="0" lvl="0" indent="-34290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281F76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l-GR" sz="2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81F76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18.000+ Επιχειρήσεις</a:t>
                  </a:r>
                  <a:endParaRPr kumimoji="0" lang="en-GB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81F76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  <a:p>
                  <a:pPr marL="342900" marR="0" lvl="0" indent="-34290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281F76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l-GR" sz="2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81F76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26.000+ Επενδυτές </a:t>
                  </a:r>
                  <a:endParaRPr kumimoji="0" lang="en-GB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81F76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  <a:p>
                  <a:pPr marL="342900" marR="0" lvl="0" indent="-34290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281F76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l-GR" sz="2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81F76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8.000+ Επενδυτικοί Οργανισμοί</a:t>
                  </a:r>
                </a:p>
              </p:txBody>
            </p:sp>
          </p:grpSp>
          <p:grpSp>
            <p:nvGrpSpPr>
              <p:cNvPr id="505" name="Google Shape;2961;p98">
                <a:extLst>
                  <a:ext uri="{FF2B5EF4-FFF2-40B4-BE49-F238E27FC236}">
                    <a16:creationId xmlns:a16="http://schemas.microsoft.com/office/drawing/2014/main" id="{75C254EB-2CBC-0996-538B-DEFBF066A798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075047" y="2316728"/>
                <a:ext cx="11463210" cy="6393762"/>
                <a:chOff x="4480610" y="1823826"/>
                <a:chExt cx="3929412" cy="2190753"/>
              </a:xfrm>
              <a:solidFill>
                <a:schemeClr val="bg2">
                  <a:lumMod val="65000"/>
                </a:schemeClr>
              </a:solidFill>
            </p:grpSpPr>
            <p:grpSp>
              <p:nvGrpSpPr>
                <p:cNvPr id="513" name="Google Shape;2962;p98">
                  <a:extLst>
                    <a:ext uri="{FF2B5EF4-FFF2-40B4-BE49-F238E27FC236}">
                      <a16:creationId xmlns:a16="http://schemas.microsoft.com/office/drawing/2014/main" id="{1F39BBDD-C646-1997-2594-8471B9A323B6}"/>
                    </a:ext>
                  </a:extLst>
                </p:cNvPr>
                <p:cNvGrpSpPr/>
                <p:nvPr/>
              </p:nvGrpSpPr>
              <p:grpSpPr>
                <a:xfrm>
                  <a:off x="6818348" y="2505325"/>
                  <a:ext cx="1436468" cy="896217"/>
                  <a:chOff x="6817428" y="2506050"/>
                  <a:chExt cx="1436274" cy="896476"/>
                </a:xfrm>
                <a:grpFill/>
              </p:grpSpPr>
              <p:sp>
                <p:nvSpPr>
                  <p:cNvPr id="708" name="Google Shape;2963;p98">
                    <a:extLst>
                      <a:ext uri="{FF2B5EF4-FFF2-40B4-BE49-F238E27FC236}">
                        <a16:creationId xmlns:a16="http://schemas.microsoft.com/office/drawing/2014/main" id="{2EE7F179-C79C-5094-E4F8-B8F5E50BFBA4}"/>
                      </a:ext>
                    </a:extLst>
                  </p:cNvPr>
                  <p:cNvSpPr/>
                  <p:nvPr/>
                </p:nvSpPr>
                <p:spPr>
                  <a:xfrm>
                    <a:off x="7612622" y="3110963"/>
                    <a:ext cx="27826" cy="8197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1" h="158" extrusionOk="0">
                        <a:moveTo>
                          <a:pt x="15" y="28"/>
                        </a:moveTo>
                        <a:lnTo>
                          <a:pt x="20" y="25"/>
                        </a:lnTo>
                        <a:lnTo>
                          <a:pt x="20" y="18"/>
                        </a:lnTo>
                        <a:lnTo>
                          <a:pt x="16" y="17"/>
                        </a:lnTo>
                        <a:lnTo>
                          <a:pt x="21" y="12"/>
                        </a:lnTo>
                        <a:lnTo>
                          <a:pt x="21" y="7"/>
                        </a:lnTo>
                        <a:lnTo>
                          <a:pt x="20" y="7"/>
                        </a:lnTo>
                        <a:lnTo>
                          <a:pt x="21" y="2"/>
                        </a:lnTo>
                        <a:lnTo>
                          <a:pt x="20" y="0"/>
                        </a:lnTo>
                        <a:lnTo>
                          <a:pt x="15" y="5"/>
                        </a:lnTo>
                        <a:lnTo>
                          <a:pt x="16" y="12"/>
                        </a:lnTo>
                        <a:lnTo>
                          <a:pt x="15" y="15"/>
                        </a:lnTo>
                        <a:lnTo>
                          <a:pt x="15" y="17"/>
                        </a:lnTo>
                        <a:lnTo>
                          <a:pt x="13" y="26"/>
                        </a:lnTo>
                        <a:lnTo>
                          <a:pt x="15" y="28"/>
                        </a:lnTo>
                        <a:lnTo>
                          <a:pt x="15" y="28"/>
                        </a:lnTo>
                        <a:close/>
                        <a:moveTo>
                          <a:pt x="11" y="55"/>
                        </a:moveTo>
                        <a:lnTo>
                          <a:pt x="16" y="48"/>
                        </a:lnTo>
                        <a:lnTo>
                          <a:pt x="15" y="43"/>
                        </a:lnTo>
                        <a:lnTo>
                          <a:pt x="13" y="40"/>
                        </a:lnTo>
                        <a:lnTo>
                          <a:pt x="15" y="35"/>
                        </a:lnTo>
                        <a:lnTo>
                          <a:pt x="18" y="33"/>
                        </a:lnTo>
                        <a:lnTo>
                          <a:pt x="18" y="31"/>
                        </a:lnTo>
                        <a:lnTo>
                          <a:pt x="11" y="33"/>
                        </a:lnTo>
                        <a:lnTo>
                          <a:pt x="11" y="40"/>
                        </a:lnTo>
                        <a:lnTo>
                          <a:pt x="10" y="43"/>
                        </a:lnTo>
                        <a:lnTo>
                          <a:pt x="11" y="48"/>
                        </a:lnTo>
                        <a:lnTo>
                          <a:pt x="11" y="51"/>
                        </a:lnTo>
                        <a:lnTo>
                          <a:pt x="11" y="55"/>
                        </a:lnTo>
                        <a:lnTo>
                          <a:pt x="11" y="55"/>
                        </a:lnTo>
                        <a:close/>
                        <a:moveTo>
                          <a:pt x="0" y="50"/>
                        </a:moveTo>
                        <a:lnTo>
                          <a:pt x="5" y="51"/>
                        </a:lnTo>
                        <a:lnTo>
                          <a:pt x="3" y="48"/>
                        </a:lnTo>
                        <a:lnTo>
                          <a:pt x="0" y="50"/>
                        </a:lnTo>
                        <a:lnTo>
                          <a:pt x="0" y="50"/>
                        </a:lnTo>
                        <a:close/>
                        <a:moveTo>
                          <a:pt x="8" y="75"/>
                        </a:moveTo>
                        <a:lnTo>
                          <a:pt x="13" y="75"/>
                        </a:lnTo>
                        <a:lnTo>
                          <a:pt x="15" y="68"/>
                        </a:lnTo>
                        <a:lnTo>
                          <a:pt x="13" y="63"/>
                        </a:lnTo>
                        <a:lnTo>
                          <a:pt x="8" y="66"/>
                        </a:lnTo>
                        <a:lnTo>
                          <a:pt x="8" y="71"/>
                        </a:lnTo>
                        <a:lnTo>
                          <a:pt x="8" y="71"/>
                        </a:lnTo>
                        <a:lnTo>
                          <a:pt x="8" y="75"/>
                        </a:lnTo>
                        <a:lnTo>
                          <a:pt x="8" y="75"/>
                        </a:lnTo>
                        <a:close/>
                        <a:moveTo>
                          <a:pt x="21" y="101"/>
                        </a:moveTo>
                        <a:lnTo>
                          <a:pt x="18" y="103"/>
                        </a:lnTo>
                        <a:lnTo>
                          <a:pt x="20" y="105"/>
                        </a:lnTo>
                        <a:lnTo>
                          <a:pt x="21" y="101"/>
                        </a:lnTo>
                        <a:lnTo>
                          <a:pt x="21" y="101"/>
                        </a:lnTo>
                        <a:close/>
                        <a:moveTo>
                          <a:pt x="28" y="118"/>
                        </a:moveTo>
                        <a:lnTo>
                          <a:pt x="31" y="120"/>
                        </a:lnTo>
                        <a:lnTo>
                          <a:pt x="33" y="124"/>
                        </a:lnTo>
                        <a:lnTo>
                          <a:pt x="30" y="121"/>
                        </a:lnTo>
                        <a:lnTo>
                          <a:pt x="30" y="121"/>
                        </a:lnTo>
                        <a:lnTo>
                          <a:pt x="28" y="118"/>
                        </a:lnTo>
                        <a:lnTo>
                          <a:pt x="28" y="118"/>
                        </a:lnTo>
                        <a:close/>
                        <a:moveTo>
                          <a:pt x="41" y="121"/>
                        </a:moveTo>
                        <a:lnTo>
                          <a:pt x="38" y="124"/>
                        </a:lnTo>
                        <a:lnTo>
                          <a:pt x="41" y="128"/>
                        </a:lnTo>
                        <a:lnTo>
                          <a:pt x="43" y="126"/>
                        </a:lnTo>
                        <a:lnTo>
                          <a:pt x="43" y="123"/>
                        </a:lnTo>
                        <a:lnTo>
                          <a:pt x="41" y="121"/>
                        </a:lnTo>
                        <a:lnTo>
                          <a:pt x="41" y="121"/>
                        </a:lnTo>
                        <a:close/>
                        <a:moveTo>
                          <a:pt x="35" y="133"/>
                        </a:moveTo>
                        <a:lnTo>
                          <a:pt x="38" y="134"/>
                        </a:lnTo>
                        <a:lnTo>
                          <a:pt x="40" y="133"/>
                        </a:lnTo>
                        <a:lnTo>
                          <a:pt x="38" y="129"/>
                        </a:lnTo>
                        <a:lnTo>
                          <a:pt x="33" y="129"/>
                        </a:lnTo>
                        <a:lnTo>
                          <a:pt x="35" y="133"/>
                        </a:lnTo>
                        <a:lnTo>
                          <a:pt x="35" y="133"/>
                        </a:lnTo>
                        <a:close/>
                        <a:moveTo>
                          <a:pt x="43" y="144"/>
                        </a:moveTo>
                        <a:lnTo>
                          <a:pt x="46" y="139"/>
                        </a:lnTo>
                        <a:lnTo>
                          <a:pt x="45" y="139"/>
                        </a:lnTo>
                        <a:lnTo>
                          <a:pt x="41" y="143"/>
                        </a:lnTo>
                        <a:lnTo>
                          <a:pt x="43" y="144"/>
                        </a:lnTo>
                        <a:lnTo>
                          <a:pt x="43" y="144"/>
                        </a:lnTo>
                        <a:close/>
                        <a:moveTo>
                          <a:pt x="46" y="144"/>
                        </a:moveTo>
                        <a:lnTo>
                          <a:pt x="43" y="148"/>
                        </a:lnTo>
                        <a:lnTo>
                          <a:pt x="43" y="153"/>
                        </a:lnTo>
                        <a:lnTo>
                          <a:pt x="43" y="153"/>
                        </a:lnTo>
                        <a:lnTo>
                          <a:pt x="46" y="154"/>
                        </a:lnTo>
                        <a:lnTo>
                          <a:pt x="46" y="154"/>
                        </a:lnTo>
                        <a:lnTo>
                          <a:pt x="48" y="158"/>
                        </a:lnTo>
                        <a:lnTo>
                          <a:pt x="51" y="156"/>
                        </a:lnTo>
                        <a:lnTo>
                          <a:pt x="49" y="151"/>
                        </a:lnTo>
                        <a:lnTo>
                          <a:pt x="49" y="148"/>
                        </a:lnTo>
                        <a:lnTo>
                          <a:pt x="46" y="144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09" name="Google Shape;2964;p98">
                    <a:extLst>
                      <a:ext uri="{FF2B5EF4-FFF2-40B4-BE49-F238E27FC236}">
                        <a16:creationId xmlns:a16="http://schemas.microsoft.com/office/drawing/2014/main" id="{4095318E-864D-11A3-84E7-B9513D6CC75F}"/>
                      </a:ext>
                    </a:extLst>
                  </p:cNvPr>
                  <p:cNvSpPr/>
                  <p:nvPr/>
                </p:nvSpPr>
                <p:spPr>
                  <a:xfrm>
                    <a:off x="8006474" y="2629522"/>
                    <a:ext cx="205488" cy="34447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83" h="665" extrusionOk="0">
                        <a:moveTo>
                          <a:pt x="152" y="319"/>
                        </a:moveTo>
                        <a:lnTo>
                          <a:pt x="156" y="321"/>
                        </a:lnTo>
                        <a:lnTo>
                          <a:pt x="154" y="323"/>
                        </a:lnTo>
                        <a:lnTo>
                          <a:pt x="152" y="323"/>
                        </a:lnTo>
                        <a:lnTo>
                          <a:pt x="152" y="319"/>
                        </a:lnTo>
                        <a:lnTo>
                          <a:pt x="152" y="319"/>
                        </a:lnTo>
                        <a:close/>
                        <a:moveTo>
                          <a:pt x="157" y="319"/>
                        </a:moveTo>
                        <a:lnTo>
                          <a:pt x="156" y="318"/>
                        </a:lnTo>
                        <a:lnTo>
                          <a:pt x="157" y="316"/>
                        </a:lnTo>
                        <a:lnTo>
                          <a:pt x="161" y="314"/>
                        </a:lnTo>
                        <a:lnTo>
                          <a:pt x="161" y="318"/>
                        </a:lnTo>
                        <a:lnTo>
                          <a:pt x="159" y="319"/>
                        </a:lnTo>
                        <a:lnTo>
                          <a:pt x="157" y="319"/>
                        </a:lnTo>
                        <a:lnTo>
                          <a:pt x="157" y="319"/>
                        </a:lnTo>
                        <a:close/>
                        <a:moveTo>
                          <a:pt x="5" y="665"/>
                        </a:moveTo>
                        <a:lnTo>
                          <a:pt x="5" y="661"/>
                        </a:lnTo>
                        <a:lnTo>
                          <a:pt x="1" y="661"/>
                        </a:lnTo>
                        <a:lnTo>
                          <a:pt x="0" y="665"/>
                        </a:lnTo>
                        <a:lnTo>
                          <a:pt x="3" y="665"/>
                        </a:lnTo>
                        <a:lnTo>
                          <a:pt x="5" y="665"/>
                        </a:lnTo>
                        <a:lnTo>
                          <a:pt x="5" y="665"/>
                        </a:lnTo>
                        <a:close/>
                        <a:moveTo>
                          <a:pt x="240" y="120"/>
                        </a:moveTo>
                        <a:lnTo>
                          <a:pt x="239" y="117"/>
                        </a:lnTo>
                        <a:lnTo>
                          <a:pt x="239" y="113"/>
                        </a:lnTo>
                        <a:lnTo>
                          <a:pt x="242" y="112"/>
                        </a:lnTo>
                        <a:lnTo>
                          <a:pt x="245" y="110"/>
                        </a:lnTo>
                        <a:lnTo>
                          <a:pt x="244" y="113"/>
                        </a:lnTo>
                        <a:lnTo>
                          <a:pt x="244" y="118"/>
                        </a:lnTo>
                        <a:lnTo>
                          <a:pt x="240" y="120"/>
                        </a:lnTo>
                        <a:lnTo>
                          <a:pt x="240" y="120"/>
                        </a:lnTo>
                        <a:close/>
                        <a:moveTo>
                          <a:pt x="270" y="142"/>
                        </a:moveTo>
                        <a:lnTo>
                          <a:pt x="267" y="138"/>
                        </a:lnTo>
                        <a:lnTo>
                          <a:pt x="264" y="135"/>
                        </a:lnTo>
                        <a:lnTo>
                          <a:pt x="265" y="135"/>
                        </a:lnTo>
                        <a:lnTo>
                          <a:pt x="264" y="127"/>
                        </a:lnTo>
                        <a:lnTo>
                          <a:pt x="262" y="118"/>
                        </a:lnTo>
                        <a:lnTo>
                          <a:pt x="257" y="117"/>
                        </a:lnTo>
                        <a:lnTo>
                          <a:pt x="254" y="113"/>
                        </a:lnTo>
                        <a:lnTo>
                          <a:pt x="250" y="113"/>
                        </a:lnTo>
                        <a:lnTo>
                          <a:pt x="250" y="110"/>
                        </a:lnTo>
                        <a:lnTo>
                          <a:pt x="250" y="105"/>
                        </a:lnTo>
                        <a:lnTo>
                          <a:pt x="249" y="100"/>
                        </a:lnTo>
                        <a:lnTo>
                          <a:pt x="252" y="97"/>
                        </a:lnTo>
                        <a:lnTo>
                          <a:pt x="254" y="95"/>
                        </a:lnTo>
                        <a:lnTo>
                          <a:pt x="255" y="93"/>
                        </a:lnTo>
                        <a:lnTo>
                          <a:pt x="259" y="92"/>
                        </a:lnTo>
                        <a:lnTo>
                          <a:pt x="260" y="88"/>
                        </a:lnTo>
                        <a:lnTo>
                          <a:pt x="262" y="87"/>
                        </a:lnTo>
                        <a:lnTo>
                          <a:pt x="262" y="83"/>
                        </a:lnTo>
                        <a:lnTo>
                          <a:pt x="257" y="80"/>
                        </a:lnTo>
                        <a:lnTo>
                          <a:pt x="255" y="80"/>
                        </a:lnTo>
                        <a:lnTo>
                          <a:pt x="254" y="78"/>
                        </a:lnTo>
                        <a:lnTo>
                          <a:pt x="255" y="75"/>
                        </a:lnTo>
                        <a:lnTo>
                          <a:pt x="259" y="75"/>
                        </a:lnTo>
                        <a:lnTo>
                          <a:pt x="265" y="78"/>
                        </a:lnTo>
                        <a:lnTo>
                          <a:pt x="274" y="80"/>
                        </a:lnTo>
                        <a:lnTo>
                          <a:pt x="277" y="78"/>
                        </a:lnTo>
                        <a:lnTo>
                          <a:pt x="277" y="75"/>
                        </a:lnTo>
                        <a:lnTo>
                          <a:pt x="279" y="73"/>
                        </a:lnTo>
                        <a:lnTo>
                          <a:pt x="277" y="70"/>
                        </a:lnTo>
                        <a:lnTo>
                          <a:pt x="275" y="69"/>
                        </a:lnTo>
                        <a:lnTo>
                          <a:pt x="274" y="67"/>
                        </a:lnTo>
                        <a:lnTo>
                          <a:pt x="272" y="64"/>
                        </a:lnTo>
                        <a:lnTo>
                          <a:pt x="270" y="59"/>
                        </a:lnTo>
                        <a:lnTo>
                          <a:pt x="274" y="55"/>
                        </a:lnTo>
                        <a:lnTo>
                          <a:pt x="275" y="55"/>
                        </a:lnTo>
                        <a:lnTo>
                          <a:pt x="277" y="54"/>
                        </a:lnTo>
                        <a:lnTo>
                          <a:pt x="275" y="49"/>
                        </a:lnTo>
                        <a:lnTo>
                          <a:pt x="272" y="42"/>
                        </a:lnTo>
                        <a:lnTo>
                          <a:pt x="274" y="39"/>
                        </a:lnTo>
                        <a:lnTo>
                          <a:pt x="272" y="30"/>
                        </a:lnTo>
                        <a:lnTo>
                          <a:pt x="270" y="25"/>
                        </a:lnTo>
                        <a:lnTo>
                          <a:pt x="262" y="14"/>
                        </a:lnTo>
                        <a:lnTo>
                          <a:pt x="260" y="9"/>
                        </a:lnTo>
                        <a:lnTo>
                          <a:pt x="259" y="7"/>
                        </a:lnTo>
                        <a:lnTo>
                          <a:pt x="260" y="5"/>
                        </a:lnTo>
                        <a:lnTo>
                          <a:pt x="262" y="5"/>
                        </a:lnTo>
                        <a:lnTo>
                          <a:pt x="265" y="2"/>
                        </a:lnTo>
                        <a:lnTo>
                          <a:pt x="264" y="0"/>
                        </a:lnTo>
                        <a:lnTo>
                          <a:pt x="269" y="0"/>
                        </a:lnTo>
                        <a:lnTo>
                          <a:pt x="272" y="4"/>
                        </a:lnTo>
                        <a:lnTo>
                          <a:pt x="279" y="9"/>
                        </a:lnTo>
                        <a:lnTo>
                          <a:pt x="285" y="10"/>
                        </a:lnTo>
                        <a:lnTo>
                          <a:pt x="289" y="17"/>
                        </a:lnTo>
                        <a:lnTo>
                          <a:pt x="300" y="27"/>
                        </a:lnTo>
                        <a:lnTo>
                          <a:pt x="307" y="30"/>
                        </a:lnTo>
                        <a:lnTo>
                          <a:pt x="308" y="34"/>
                        </a:lnTo>
                        <a:lnTo>
                          <a:pt x="313" y="34"/>
                        </a:lnTo>
                        <a:lnTo>
                          <a:pt x="317" y="39"/>
                        </a:lnTo>
                        <a:lnTo>
                          <a:pt x="323" y="42"/>
                        </a:lnTo>
                        <a:lnTo>
                          <a:pt x="330" y="42"/>
                        </a:lnTo>
                        <a:lnTo>
                          <a:pt x="335" y="47"/>
                        </a:lnTo>
                        <a:lnTo>
                          <a:pt x="338" y="45"/>
                        </a:lnTo>
                        <a:lnTo>
                          <a:pt x="340" y="47"/>
                        </a:lnTo>
                        <a:lnTo>
                          <a:pt x="347" y="45"/>
                        </a:lnTo>
                        <a:lnTo>
                          <a:pt x="353" y="42"/>
                        </a:lnTo>
                        <a:lnTo>
                          <a:pt x="358" y="37"/>
                        </a:lnTo>
                        <a:lnTo>
                          <a:pt x="358" y="32"/>
                        </a:lnTo>
                        <a:lnTo>
                          <a:pt x="360" y="32"/>
                        </a:lnTo>
                        <a:lnTo>
                          <a:pt x="362" y="34"/>
                        </a:lnTo>
                        <a:lnTo>
                          <a:pt x="362" y="37"/>
                        </a:lnTo>
                        <a:lnTo>
                          <a:pt x="358" y="44"/>
                        </a:lnTo>
                        <a:lnTo>
                          <a:pt x="358" y="49"/>
                        </a:lnTo>
                        <a:lnTo>
                          <a:pt x="360" y="52"/>
                        </a:lnTo>
                        <a:lnTo>
                          <a:pt x="367" y="55"/>
                        </a:lnTo>
                        <a:lnTo>
                          <a:pt x="370" y="59"/>
                        </a:lnTo>
                        <a:lnTo>
                          <a:pt x="370" y="62"/>
                        </a:lnTo>
                        <a:lnTo>
                          <a:pt x="370" y="65"/>
                        </a:lnTo>
                        <a:lnTo>
                          <a:pt x="373" y="65"/>
                        </a:lnTo>
                        <a:lnTo>
                          <a:pt x="377" y="62"/>
                        </a:lnTo>
                        <a:lnTo>
                          <a:pt x="380" y="59"/>
                        </a:lnTo>
                        <a:lnTo>
                          <a:pt x="383" y="59"/>
                        </a:lnTo>
                        <a:lnTo>
                          <a:pt x="382" y="62"/>
                        </a:lnTo>
                        <a:lnTo>
                          <a:pt x="378" y="62"/>
                        </a:lnTo>
                        <a:lnTo>
                          <a:pt x="378" y="67"/>
                        </a:lnTo>
                        <a:lnTo>
                          <a:pt x="375" y="69"/>
                        </a:lnTo>
                        <a:lnTo>
                          <a:pt x="372" y="70"/>
                        </a:lnTo>
                        <a:lnTo>
                          <a:pt x="370" y="73"/>
                        </a:lnTo>
                        <a:lnTo>
                          <a:pt x="368" y="77"/>
                        </a:lnTo>
                        <a:lnTo>
                          <a:pt x="365" y="77"/>
                        </a:lnTo>
                        <a:lnTo>
                          <a:pt x="363" y="75"/>
                        </a:lnTo>
                        <a:lnTo>
                          <a:pt x="360" y="77"/>
                        </a:lnTo>
                        <a:lnTo>
                          <a:pt x="360" y="80"/>
                        </a:lnTo>
                        <a:lnTo>
                          <a:pt x="355" y="80"/>
                        </a:lnTo>
                        <a:lnTo>
                          <a:pt x="350" y="78"/>
                        </a:lnTo>
                        <a:lnTo>
                          <a:pt x="345" y="80"/>
                        </a:lnTo>
                        <a:lnTo>
                          <a:pt x="338" y="88"/>
                        </a:lnTo>
                        <a:lnTo>
                          <a:pt x="337" y="97"/>
                        </a:lnTo>
                        <a:lnTo>
                          <a:pt x="335" y="103"/>
                        </a:lnTo>
                        <a:lnTo>
                          <a:pt x="337" y="108"/>
                        </a:lnTo>
                        <a:lnTo>
                          <a:pt x="337" y="112"/>
                        </a:lnTo>
                        <a:lnTo>
                          <a:pt x="337" y="115"/>
                        </a:lnTo>
                        <a:lnTo>
                          <a:pt x="332" y="113"/>
                        </a:lnTo>
                        <a:lnTo>
                          <a:pt x="330" y="112"/>
                        </a:lnTo>
                        <a:lnTo>
                          <a:pt x="322" y="110"/>
                        </a:lnTo>
                        <a:lnTo>
                          <a:pt x="315" y="107"/>
                        </a:lnTo>
                        <a:lnTo>
                          <a:pt x="308" y="100"/>
                        </a:lnTo>
                        <a:lnTo>
                          <a:pt x="305" y="97"/>
                        </a:lnTo>
                        <a:lnTo>
                          <a:pt x="300" y="97"/>
                        </a:lnTo>
                        <a:lnTo>
                          <a:pt x="297" y="97"/>
                        </a:lnTo>
                        <a:lnTo>
                          <a:pt x="295" y="95"/>
                        </a:lnTo>
                        <a:lnTo>
                          <a:pt x="290" y="95"/>
                        </a:lnTo>
                        <a:lnTo>
                          <a:pt x="285" y="98"/>
                        </a:lnTo>
                        <a:lnTo>
                          <a:pt x="279" y="105"/>
                        </a:lnTo>
                        <a:lnTo>
                          <a:pt x="277" y="103"/>
                        </a:lnTo>
                        <a:lnTo>
                          <a:pt x="270" y="100"/>
                        </a:lnTo>
                        <a:lnTo>
                          <a:pt x="267" y="100"/>
                        </a:lnTo>
                        <a:lnTo>
                          <a:pt x="264" y="103"/>
                        </a:lnTo>
                        <a:lnTo>
                          <a:pt x="264" y="107"/>
                        </a:lnTo>
                        <a:lnTo>
                          <a:pt x="265" y="110"/>
                        </a:lnTo>
                        <a:lnTo>
                          <a:pt x="270" y="113"/>
                        </a:lnTo>
                        <a:lnTo>
                          <a:pt x="275" y="112"/>
                        </a:lnTo>
                        <a:lnTo>
                          <a:pt x="282" y="118"/>
                        </a:lnTo>
                        <a:lnTo>
                          <a:pt x="287" y="120"/>
                        </a:lnTo>
                        <a:lnTo>
                          <a:pt x="292" y="120"/>
                        </a:lnTo>
                        <a:lnTo>
                          <a:pt x="295" y="122"/>
                        </a:lnTo>
                        <a:lnTo>
                          <a:pt x="290" y="127"/>
                        </a:lnTo>
                        <a:lnTo>
                          <a:pt x="290" y="130"/>
                        </a:lnTo>
                        <a:lnTo>
                          <a:pt x="287" y="127"/>
                        </a:lnTo>
                        <a:lnTo>
                          <a:pt x="280" y="127"/>
                        </a:lnTo>
                        <a:lnTo>
                          <a:pt x="277" y="128"/>
                        </a:lnTo>
                        <a:lnTo>
                          <a:pt x="279" y="132"/>
                        </a:lnTo>
                        <a:lnTo>
                          <a:pt x="275" y="135"/>
                        </a:lnTo>
                        <a:lnTo>
                          <a:pt x="270" y="142"/>
                        </a:lnTo>
                        <a:lnTo>
                          <a:pt x="270" y="142"/>
                        </a:lnTo>
                        <a:close/>
                        <a:moveTo>
                          <a:pt x="262" y="263"/>
                        </a:moveTo>
                        <a:lnTo>
                          <a:pt x="262" y="258"/>
                        </a:lnTo>
                        <a:lnTo>
                          <a:pt x="264" y="256"/>
                        </a:lnTo>
                        <a:lnTo>
                          <a:pt x="264" y="255"/>
                        </a:lnTo>
                        <a:lnTo>
                          <a:pt x="260" y="256"/>
                        </a:lnTo>
                        <a:lnTo>
                          <a:pt x="260" y="255"/>
                        </a:lnTo>
                        <a:lnTo>
                          <a:pt x="262" y="246"/>
                        </a:lnTo>
                        <a:lnTo>
                          <a:pt x="264" y="245"/>
                        </a:lnTo>
                        <a:lnTo>
                          <a:pt x="264" y="248"/>
                        </a:lnTo>
                        <a:lnTo>
                          <a:pt x="264" y="251"/>
                        </a:lnTo>
                        <a:lnTo>
                          <a:pt x="267" y="253"/>
                        </a:lnTo>
                        <a:lnTo>
                          <a:pt x="269" y="255"/>
                        </a:lnTo>
                        <a:lnTo>
                          <a:pt x="267" y="260"/>
                        </a:lnTo>
                        <a:lnTo>
                          <a:pt x="264" y="261"/>
                        </a:lnTo>
                        <a:lnTo>
                          <a:pt x="262" y="263"/>
                        </a:lnTo>
                        <a:lnTo>
                          <a:pt x="262" y="263"/>
                        </a:lnTo>
                        <a:close/>
                        <a:moveTo>
                          <a:pt x="84" y="411"/>
                        </a:moveTo>
                        <a:lnTo>
                          <a:pt x="86" y="412"/>
                        </a:lnTo>
                        <a:lnTo>
                          <a:pt x="88" y="412"/>
                        </a:lnTo>
                        <a:lnTo>
                          <a:pt x="86" y="409"/>
                        </a:lnTo>
                        <a:lnTo>
                          <a:pt x="84" y="409"/>
                        </a:lnTo>
                        <a:lnTo>
                          <a:pt x="84" y="411"/>
                        </a:lnTo>
                        <a:lnTo>
                          <a:pt x="84" y="411"/>
                        </a:lnTo>
                        <a:close/>
                        <a:moveTo>
                          <a:pt x="83" y="414"/>
                        </a:moveTo>
                        <a:lnTo>
                          <a:pt x="84" y="414"/>
                        </a:lnTo>
                        <a:lnTo>
                          <a:pt x="84" y="414"/>
                        </a:lnTo>
                        <a:lnTo>
                          <a:pt x="83" y="414"/>
                        </a:lnTo>
                        <a:lnTo>
                          <a:pt x="83" y="414"/>
                        </a:lnTo>
                        <a:close/>
                        <a:moveTo>
                          <a:pt x="79" y="416"/>
                        </a:moveTo>
                        <a:lnTo>
                          <a:pt x="83" y="417"/>
                        </a:lnTo>
                        <a:lnTo>
                          <a:pt x="83" y="416"/>
                        </a:lnTo>
                        <a:lnTo>
                          <a:pt x="79" y="416"/>
                        </a:lnTo>
                        <a:lnTo>
                          <a:pt x="79" y="416"/>
                        </a:lnTo>
                        <a:close/>
                        <a:moveTo>
                          <a:pt x="78" y="419"/>
                        </a:moveTo>
                        <a:lnTo>
                          <a:pt x="78" y="421"/>
                        </a:lnTo>
                        <a:lnTo>
                          <a:pt x="81" y="419"/>
                        </a:lnTo>
                        <a:lnTo>
                          <a:pt x="78" y="419"/>
                        </a:lnTo>
                        <a:lnTo>
                          <a:pt x="78" y="419"/>
                        </a:lnTo>
                        <a:close/>
                        <a:moveTo>
                          <a:pt x="73" y="429"/>
                        </a:moveTo>
                        <a:lnTo>
                          <a:pt x="71" y="424"/>
                        </a:lnTo>
                        <a:lnTo>
                          <a:pt x="73" y="422"/>
                        </a:lnTo>
                        <a:lnTo>
                          <a:pt x="74" y="421"/>
                        </a:lnTo>
                        <a:lnTo>
                          <a:pt x="74" y="424"/>
                        </a:lnTo>
                        <a:lnTo>
                          <a:pt x="78" y="424"/>
                        </a:lnTo>
                        <a:lnTo>
                          <a:pt x="79" y="427"/>
                        </a:lnTo>
                        <a:lnTo>
                          <a:pt x="76" y="429"/>
                        </a:lnTo>
                        <a:lnTo>
                          <a:pt x="73" y="429"/>
                        </a:lnTo>
                        <a:lnTo>
                          <a:pt x="73" y="429"/>
                        </a:lnTo>
                        <a:close/>
                        <a:moveTo>
                          <a:pt x="111" y="432"/>
                        </a:moveTo>
                        <a:lnTo>
                          <a:pt x="109" y="429"/>
                        </a:lnTo>
                        <a:lnTo>
                          <a:pt x="111" y="429"/>
                        </a:lnTo>
                        <a:lnTo>
                          <a:pt x="112" y="429"/>
                        </a:lnTo>
                        <a:lnTo>
                          <a:pt x="112" y="432"/>
                        </a:lnTo>
                        <a:lnTo>
                          <a:pt x="111" y="432"/>
                        </a:lnTo>
                        <a:lnTo>
                          <a:pt x="111" y="432"/>
                        </a:lnTo>
                        <a:close/>
                        <a:moveTo>
                          <a:pt x="106" y="439"/>
                        </a:moveTo>
                        <a:lnTo>
                          <a:pt x="107" y="437"/>
                        </a:lnTo>
                        <a:lnTo>
                          <a:pt x="109" y="437"/>
                        </a:lnTo>
                        <a:lnTo>
                          <a:pt x="107" y="441"/>
                        </a:lnTo>
                        <a:lnTo>
                          <a:pt x="106" y="439"/>
                        </a:lnTo>
                        <a:lnTo>
                          <a:pt x="106" y="439"/>
                        </a:lnTo>
                        <a:close/>
                        <a:moveTo>
                          <a:pt x="104" y="427"/>
                        </a:moveTo>
                        <a:lnTo>
                          <a:pt x="103" y="429"/>
                        </a:lnTo>
                        <a:lnTo>
                          <a:pt x="103" y="434"/>
                        </a:lnTo>
                        <a:lnTo>
                          <a:pt x="104" y="437"/>
                        </a:lnTo>
                        <a:lnTo>
                          <a:pt x="107" y="437"/>
                        </a:lnTo>
                        <a:lnTo>
                          <a:pt x="107" y="434"/>
                        </a:lnTo>
                        <a:lnTo>
                          <a:pt x="106" y="429"/>
                        </a:lnTo>
                        <a:lnTo>
                          <a:pt x="106" y="427"/>
                        </a:lnTo>
                        <a:lnTo>
                          <a:pt x="104" y="427"/>
                        </a:lnTo>
                        <a:lnTo>
                          <a:pt x="104" y="427"/>
                        </a:lnTo>
                        <a:close/>
                        <a:moveTo>
                          <a:pt x="209" y="374"/>
                        </a:moveTo>
                        <a:lnTo>
                          <a:pt x="206" y="371"/>
                        </a:lnTo>
                        <a:lnTo>
                          <a:pt x="207" y="367"/>
                        </a:lnTo>
                        <a:lnTo>
                          <a:pt x="209" y="364"/>
                        </a:lnTo>
                        <a:lnTo>
                          <a:pt x="210" y="364"/>
                        </a:lnTo>
                        <a:lnTo>
                          <a:pt x="212" y="367"/>
                        </a:lnTo>
                        <a:lnTo>
                          <a:pt x="210" y="369"/>
                        </a:lnTo>
                        <a:lnTo>
                          <a:pt x="212" y="372"/>
                        </a:lnTo>
                        <a:lnTo>
                          <a:pt x="210" y="374"/>
                        </a:lnTo>
                        <a:lnTo>
                          <a:pt x="209" y="374"/>
                        </a:lnTo>
                        <a:lnTo>
                          <a:pt x="209" y="374"/>
                        </a:lnTo>
                        <a:close/>
                        <a:moveTo>
                          <a:pt x="191" y="371"/>
                        </a:moveTo>
                        <a:lnTo>
                          <a:pt x="196" y="367"/>
                        </a:lnTo>
                        <a:lnTo>
                          <a:pt x="199" y="367"/>
                        </a:lnTo>
                        <a:lnTo>
                          <a:pt x="197" y="371"/>
                        </a:lnTo>
                        <a:lnTo>
                          <a:pt x="196" y="371"/>
                        </a:lnTo>
                        <a:lnTo>
                          <a:pt x="191" y="371"/>
                        </a:lnTo>
                        <a:lnTo>
                          <a:pt x="191" y="371"/>
                        </a:lnTo>
                        <a:close/>
                        <a:moveTo>
                          <a:pt x="169" y="417"/>
                        </a:moveTo>
                        <a:lnTo>
                          <a:pt x="171" y="417"/>
                        </a:lnTo>
                        <a:lnTo>
                          <a:pt x="172" y="416"/>
                        </a:lnTo>
                        <a:lnTo>
                          <a:pt x="176" y="417"/>
                        </a:lnTo>
                        <a:lnTo>
                          <a:pt x="177" y="416"/>
                        </a:lnTo>
                        <a:lnTo>
                          <a:pt x="177" y="414"/>
                        </a:lnTo>
                        <a:lnTo>
                          <a:pt x="174" y="409"/>
                        </a:lnTo>
                        <a:lnTo>
                          <a:pt x="176" y="406"/>
                        </a:lnTo>
                        <a:lnTo>
                          <a:pt x="177" y="399"/>
                        </a:lnTo>
                        <a:lnTo>
                          <a:pt x="184" y="396"/>
                        </a:lnTo>
                        <a:lnTo>
                          <a:pt x="186" y="394"/>
                        </a:lnTo>
                        <a:lnTo>
                          <a:pt x="191" y="394"/>
                        </a:lnTo>
                        <a:lnTo>
                          <a:pt x="197" y="399"/>
                        </a:lnTo>
                        <a:lnTo>
                          <a:pt x="199" y="401"/>
                        </a:lnTo>
                        <a:lnTo>
                          <a:pt x="202" y="401"/>
                        </a:lnTo>
                        <a:lnTo>
                          <a:pt x="204" y="392"/>
                        </a:lnTo>
                        <a:lnTo>
                          <a:pt x="209" y="387"/>
                        </a:lnTo>
                        <a:lnTo>
                          <a:pt x="210" y="384"/>
                        </a:lnTo>
                        <a:lnTo>
                          <a:pt x="209" y="384"/>
                        </a:lnTo>
                        <a:lnTo>
                          <a:pt x="207" y="381"/>
                        </a:lnTo>
                        <a:lnTo>
                          <a:pt x="202" y="376"/>
                        </a:lnTo>
                        <a:lnTo>
                          <a:pt x="199" y="376"/>
                        </a:lnTo>
                        <a:lnTo>
                          <a:pt x="196" y="374"/>
                        </a:lnTo>
                        <a:lnTo>
                          <a:pt x="189" y="374"/>
                        </a:lnTo>
                        <a:lnTo>
                          <a:pt x="182" y="377"/>
                        </a:lnTo>
                        <a:lnTo>
                          <a:pt x="182" y="381"/>
                        </a:lnTo>
                        <a:lnTo>
                          <a:pt x="181" y="384"/>
                        </a:lnTo>
                        <a:lnTo>
                          <a:pt x="176" y="386"/>
                        </a:lnTo>
                        <a:lnTo>
                          <a:pt x="172" y="387"/>
                        </a:lnTo>
                        <a:lnTo>
                          <a:pt x="171" y="387"/>
                        </a:lnTo>
                        <a:lnTo>
                          <a:pt x="167" y="381"/>
                        </a:lnTo>
                        <a:lnTo>
                          <a:pt x="166" y="381"/>
                        </a:lnTo>
                        <a:lnTo>
                          <a:pt x="159" y="387"/>
                        </a:lnTo>
                        <a:lnTo>
                          <a:pt x="159" y="392"/>
                        </a:lnTo>
                        <a:lnTo>
                          <a:pt x="154" y="394"/>
                        </a:lnTo>
                        <a:lnTo>
                          <a:pt x="154" y="399"/>
                        </a:lnTo>
                        <a:lnTo>
                          <a:pt x="161" y="401"/>
                        </a:lnTo>
                        <a:lnTo>
                          <a:pt x="161" y="404"/>
                        </a:lnTo>
                        <a:lnTo>
                          <a:pt x="159" y="406"/>
                        </a:lnTo>
                        <a:lnTo>
                          <a:pt x="159" y="409"/>
                        </a:lnTo>
                        <a:lnTo>
                          <a:pt x="164" y="414"/>
                        </a:lnTo>
                        <a:lnTo>
                          <a:pt x="169" y="414"/>
                        </a:lnTo>
                        <a:lnTo>
                          <a:pt x="169" y="417"/>
                        </a:lnTo>
                        <a:lnTo>
                          <a:pt x="169" y="417"/>
                        </a:lnTo>
                        <a:close/>
                        <a:moveTo>
                          <a:pt x="137" y="490"/>
                        </a:moveTo>
                        <a:lnTo>
                          <a:pt x="134" y="487"/>
                        </a:lnTo>
                        <a:lnTo>
                          <a:pt x="132" y="489"/>
                        </a:lnTo>
                        <a:lnTo>
                          <a:pt x="131" y="490"/>
                        </a:lnTo>
                        <a:lnTo>
                          <a:pt x="134" y="495"/>
                        </a:lnTo>
                        <a:lnTo>
                          <a:pt x="137" y="495"/>
                        </a:lnTo>
                        <a:lnTo>
                          <a:pt x="139" y="494"/>
                        </a:lnTo>
                        <a:lnTo>
                          <a:pt x="137" y="490"/>
                        </a:lnTo>
                        <a:lnTo>
                          <a:pt x="137" y="490"/>
                        </a:lnTo>
                        <a:close/>
                        <a:moveTo>
                          <a:pt x="142" y="485"/>
                        </a:moveTo>
                        <a:lnTo>
                          <a:pt x="141" y="479"/>
                        </a:lnTo>
                        <a:lnTo>
                          <a:pt x="141" y="475"/>
                        </a:lnTo>
                        <a:lnTo>
                          <a:pt x="144" y="479"/>
                        </a:lnTo>
                        <a:lnTo>
                          <a:pt x="144" y="482"/>
                        </a:lnTo>
                        <a:lnTo>
                          <a:pt x="142" y="485"/>
                        </a:lnTo>
                        <a:lnTo>
                          <a:pt x="142" y="485"/>
                        </a:lnTo>
                        <a:lnTo>
                          <a:pt x="142" y="485"/>
                        </a:lnTo>
                        <a:close/>
                        <a:moveTo>
                          <a:pt x="132" y="474"/>
                        </a:moveTo>
                        <a:lnTo>
                          <a:pt x="137" y="470"/>
                        </a:lnTo>
                        <a:lnTo>
                          <a:pt x="142" y="465"/>
                        </a:lnTo>
                        <a:lnTo>
                          <a:pt x="137" y="462"/>
                        </a:lnTo>
                        <a:lnTo>
                          <a:pt x="137" y="459"/>
                        </a:lnTo>
                        <a:lnTo>
                          <a:pt x="141" y="459"/>
                        </a:lnTo>
                        <a:lnTo>
                          <a:pt x="144" y="459"/>
                        </a:lnTo>
                        <a:lnTo>
                          <a:pt x="146" y="461"/>
                        </a:lnTo>
                        <a:lnTo>
                          <a:pt x="147" y="456"/>
                        </a:lnTo>
                        <a:lnTo>
                          <a:pt x="147" y="449"/>
                        </a:lnTo>
                        <a:lnTo>
                          <a:pt x="146" y="446"/>
                        </a:lnTo>
                        <a:lnTo>
                          <a:pt x="146" y="434"/>
                        </a:lnTo>
                        <a:lnTo>
                          <a:pt x="146" y="427"/>
                        </a:lnTo>
                        <a:lnTo>
                          <a:pt x="147" y="422"/>
                        </a:lnTo>
                        <a:lnTo>
                          <a:pt x="152" y="419"/>
                        </a:lnTo>
                        <a:lnTo>
                          <a:pt x="151" y="416"/>
                        </a:lnTo>
                        <a:lnTo>
                          <a:pt x="149" y="414"/>
                        </a:lnTo>
                        <a:lnTo>
                          <a:pt x="149" y="411"/>
                        </a:lnTo>
                        <a:lnTo>
                          <a:pt x="146" y="411"/>
                        </a:lnTo>
                        <a:lnTo>
                          <a:pt x="147" y="407"/>
                        </a:lnTo>
                        <a:lnTo>
                          <a:pt x="139" y="407"/>
                        </a:lnTo>
                        <a:lnTo>
                          <a:pt x="137" y="406"/>
                        </a:lnTo>
                        <a:lnTo>
                          <a:pt x="142" y="404"/>
                        </a:lnTo>
                        <a:lnTo>
                          <a:pt x="142" y="401"/>
                        </a:lnTo>
                        <a:lnTo>
                          <a:pt x="142" y="396"/>
                        </a:lnTo>
                        <a:lnTo>
                          <a:pt x="139" y="394"/>
                        </a:lnTo>
                        <a:lnTo>
                          <a:pt x="134" y="394"/>
                        </a:lnTo>
                        <a:lnTo>
                          <a:pt x="134" y="396"/>
                        </a:lnTo>
                        <a:lnTo>
                          <a:pt x="131" y="397"/>
                        </a:lnTo>
                        <a:lnTo>
                          <a:pt x="127" y="397"/>
                        </a:lnTo>
                        <a:lnTo>
                          <a:pt x="122" y="392"/>
                        </a:lnTo>
                        <a:lnTo>
                          <a:pt x="124" y="389"/>
                        </a:lnTo>
                        <a:lnTo>
                          <a:pt x="131" y="386"/>
                        </a:lnTo>
                        <a:lnTo>
                          <a:pt x="137" y="384"/>
                        </a:lnTo>
                        <a:lnTo>
                          <a:pt x="144" y="386"/>
                        </a:lnTo>
                        <a:lnTo>
                          <a:pt x="149" y="387"/>
                        </a:lnTo>
                        <a:lnTo>
                          <a:pt x="149" y="386"/>
                        </a:lnTo>
                        <a:lnTo>
                          <a:pt x="149" y="382"/>
                        </a:lnTo>
                        <a:lnTo>
                          <a:pt x="149" y="379"/>
                        </a:lnTo>
                        <a:lnTo>
                          <a:pt x="149" y="376"/>
                        </a:lnTo>
                        <a:lnTo>
                          <a:pt x="151" y="374"/>
                        </a:lnTo>
                        <a:lnTo>
                          <a:pt x="154" y="372"/>
                        </a:lnTo>
                        <a:lnTo>
                          <a:pt x="156" y="376"/>
                        </a:lnTo>
                        <a:lnTo>
                          <a:pt x="159" y="376"/>
                        </a:lnTo>
                        <a:lnTo>
                          <a:pt x="162" y="374"/>
                        </a:lnTo>
                        <a:lnTo>
                          <a:pt x="171" y="372"/>
                        </a:lnTo>
                        <a:lnTo>
                          <a:pt x="177" y="371"/>
                        </a:lnTo>
                        <a:lnTo>
                          <a:pt x="182" y="371"/>
                        </a:lnTo>
                        <a:lnTo>
                          <a:pt x="186" y="371"/>
                        </a:lnTo>
                        <a:lnTo>
                          <a:pt x="187" y="369"/>
                        </a:lnTo>
                        <a:lnTo>
                          <a:pt x="187" y="369"/>
                        </a:lnTo>
                        <a:lnTo>
                          <a:pt x="192" y="366"/>
                        </a:lnTo>
                        <a:lnTo>
                          <a:pt x="194" y="364"/>
                        </a:lnTo>
                        <a:lnTo>
                          <a:pt x="199" y="359"/>
                        </a:lnTo>
                        <a:lnTo>
                          <a:pt x="206" y="358"/>
                        </a:lnTo>
                        <a:lnTo>
                          <a:pt x="212" y="359"/>
                        </a:lnTo>
                        <a:lnTo>
                          <a:pt x="217" y="358"/>
                        </a:lnTo>
                        <a:lnTo>
                          <a:pt x="219" y="359"/>
                        </a:lnTo>
                        <a:lnTo>
                          <a:pt x="219" y="363"/>
                        </a:lnTo>
                        <a:lnTo>
                          <a:pt x="215" y="367"/>
                        </a:lnTo>
                        <a:lnTo>
                          <a:pt x="214" y="371"/>
                        </a:lnTo>
                        <a:lnTo>
                          <a:pt x="215" y="372"/>
                        </a:lnTo>
                        <a:lnTo>
                          <a:pt x="217" y="376"/>
                        </a:lnTo>
                        <a:lnTo>
                          <a:pt x="217" y="381"/>
                        </a:lnTo>
                        <a:lnTo>
                          <a:pt x="217" y="382"/>
                        </a:lnTo>
                        <a:lnTo>
                          <a:pt x="217" y="386"/>
                        </a:lnTo>
                        <a:lnTo>
                          <a:pt x="222" y="389"/>
                        </a:lnTo>
                        <a:lnTo>
                          <a:pt x="229" y="394"/>
                        </a:lnTo>
                        <a:lnTo>
                          <a:pt x="234" y="396"/>
                        </a:lnTo>
                        <a:lnTo>
                          <a:pt x="237" y="394"/>
                        </a:lnTo>
                        <a:lnTo>
                          <a:pt x="242" y="387"/>
                        </a:lnTo>
                        <a:lnTo>
                          <a:pt x="242" y="384"/>
                        </a:lnTo>
                        <a:lnTo>
                          <a:pt x="244" y="382"/>
                        </a:lnTo>
                        <a:lnTo>
                          <a:pt x="245" y="379"/>
                        </a:lnTo>
                        <a:lnTo>
                          <a:pt x="244" y="377"/>
                        </a:lnTo>
                        <a:lnTo>
                          <a:pt x="247" y="371"/>
                        </a:lnTo>
                        <a:lnTo>
                          <a:pt x="252" y="371"/>
                        </a:lnTo>
                        <a:lnTo>
                          <a:pt x="255" y="371"/>
                        </a:lnTo>
                        <a:lnTo>
                          <a:pt x="257" y="369"/>
                        </a:lnTo>
                        <a:lnTo>
                          <a:pt x="255" y="367"/>
                        </a:lnTo>
                        <a:lnTo>
                          <a:pt x="254" y="363"/>
                        </a:lnTo>
                        <a:lnTo>
                          <a:pt x="245" y="359"/>
                        </a:lnTo>
                        <a:lnTo>
                          <a:pt x="245" y="358"/>
                        </a:lnTo>
                        <a:lnTo>
                          <a:pt x="247" y="351"/>
                        </a:lnTo>
                        <a:lnTo>
                          <a:pt x="249" y="349"/>
                        </a:lnTo>
                        <a:lnTo>
                          <a:pt x="252" y="348"/>
                        </a:lnTo>
                        <a:lnTo>
                          <a:pt x="250" y="351"/>
                        </a:lnTo>
                        <a:lnTo>
                          <a:pt x="250" y="354"/>
                        </a:lnTo>
                        <a:lnTo>
                          <a:pt x="252" y="356"/>
                        </a:lnTo>
                        <a:lnTo>
                          <a:pt x="255" y="354"/>
                        </a:lnTo>
                        <a:lnTo>
                          <a:pt x="255" y="354"/>
                        </a:lnTo>
                        <a:lnTo>
                          <a:pt x="259" y="354"/>
                        </a:lnTo>
                        <a:lnTo>
                          <a:pt x="262" y="356"/>
                        </a:lnTo>
                        <a:lnTo>
                          <a:pt x="264" y="356"/>
                        </a:lnTo>
                        <a:lnTo>
                          <a:pt x="265" y="356"/>
                        </a:lnTo>
                        <a:lnTo>
                          <a:pt x="265" y="358"/>
                        </a:lnTo>
                        <a:lnTo>
                          <a:pt x="260" y="358"/>
                        </a:lnTo>
                        <a:lnTo>
                          <a:pt x="260" y="359"/>
                        </a:lnTo>
                        <a:lnTo>
                          <a:pt x="262" y="361"/>
                        </a:lnTo>
                        <a:lnTo>
                          <a:pt x="265" y="359"/>
                        </a:lnTo>
                        <a:lnTo>
                          <a:pt x="270" y="356"/>
                        </a:lnTo>
                        <a:lnTo>
                          <a:pt x="284" y="358"/>
                        </a:lnTo>
                        <a:lnTo>
                          <a:pt x="290" y="356"/>
                        </a:lnTo>
                        <a:lnTo>
                          <a:pt x="289" y="356"/>
                        </a:lnTo>
                        <a:lnTo>
                          <a:pt x="287" y="351"/>
                        </a:lnTo>
                        <a:lnTo>
                          <a:pt x="289" y="346"/>
                        </a:lnTo>
                        <a:lnTo>
                          <a:pt x="294" y="343"/>
                        </a:lnTo>
                        <a:lnTo>
                          <a:pt x="297" y="344"/>
                        </a:lnTo>
                        <a:lnTo>
                          <a:pt x="299" y="349"/>
                        </a:lnTo>
                        <a:lnTo>
                          <a:pt x="297" y="353"/>
                        </a:lnTo>
                        <a:lnTo>
                          <a:pt x="299" y="356"/>
                        </a:lnTo>
                        <a:lnTo>
                          <a:pt x="302" y="356"/>
                        </a:lnTo>
                        <a:lnTo>
                          <a:pt x="305" y="351"/>
                        </a:lnTo>
                        <a:lnTo>
                          <a:pt x="304" y="343"/>
                        </a:lnTo>
                        <a:lnTo>
                          <a:pt x="304" y="339"/>
                        </a:lnTo>
                        <a:lnTo>
                          <a:pt x="310" y="334"/>
                        </a:lnTo>
                        <a:lnTo>
                          <a:pt x="313" y="334"/>
                        </a:lnTo>
                        <a:lnTo>
                          <a:pt x="315" y="333"/>
                        </a:lnTo>
                        <a:lnTo>
                          <a:pt x="312" y="329"/>
                        </a:lnTo>
                        <a:lnTo>
                          <a:pt x="313" y="324"/>
                        </a:lnTo>
                        <a:lnTo>
                          <a:pt x="317" y="323"/>
                        </a:lnTo>
                        <a:lnTo>
                          <a:pt x="322" y="324"/>
                        </a:lnTo>
                        <a:lnTo>
                          <a:pt x="322" y="326"/>
                        </a:lnTo>
                        <a:lnTo>
                          <a:pt x="320" y="329"/>
                        </a:lnTo>
                        <a:lnTo>
                          <a:pt x="318" y="334"/>
                        </a:lnTo>
                        <a:lnTo>
                          <a:pt x="320" y="348"/>
                        </a:lnTo>
                        <a:lnTo>
                          <a:pt x="322" y="348"/>
                        </a:lnTo>
                        <a:lnTo>
                          <a:pt x="325" y="346"/>
                        </a:lnTo>
                        <a:lnTo>
                          <a:pt x="327" y="343"/>
                        </a:lnTo>
                        <a:lnTo>
                          <a:pt x="332" y="343"/>
                        </a:lnTo>
                        <a:lnTo>
                          <a:pt x="337" y="338"/>
                        </a:lnTo>
                        <a:lnTo>
                          <a:pt x="338" y="333"/>
                        </a:lnTo>
                        <a:lnTo>
                          <a:pt x="337" y="328"/>
                        </a:lnTo>
                        <a:lnTo>
                          <a:pt x="342" y="324"/>
                        </a:lnTo>
                        <a:lnTo>
                          <a:pt x="342" y="321"/>
                        </a:lnTo>
                        <a:lnTo>
                          <a:pt x="338" y="319"/>
                        </a:lnTo>
                        <a:lnTo>
                          <a:pt x="333" y="311"/>
                        </a:lnTo>
                        <a:lnTo>
                          <a:pt x="332" y="306"/>
                        </a:lnTo>
                        <a:lnTo>
                          <a:pt x="330" y="296"/>
                        </a:lnTo>
                        <a:lnTo>
                          <a:pt x="332" y="284"/>
                        </a:lnTo>
                        <a:lnTo>
                          <a:pt x="332" y="276"/>
                        </a:lnTo>
                        <a:lnTo>
                          <a:pt x="327" y="260"/>
                        </a:lnTo>
                        <a:lnTo>
                          <a:pt x="322" y="253"/>
                        </a:lnTo>
                        <a:lnTo>
                          <a:pt x="322" y="248"/>
                        </a:lnTo>
                        <a:lnTo>
                          <a:pt x="322" y="240"/>
                        </a:lnTo>
                        <a:lnTo>
                          <a:pt x="330" y="236"/>
                        </a:lnTo>
                        <a:lnTo>
                          <a:pt x="333" y="236"/>
                        </a:lnTo>
                        <a:lnTo>
                          <a:pt x="335" y="240"/>
                        </a:lnTo>
                        <a:lnTo>
                          <a:pt x="337" y="238"/>
                        </a:lnTo>
                        <a:lnTo>
                          <a:pt x="335" y="233"/>
                        </a:lnTo>
                        <a:lnTo>
                          <a:pt x="335" y="230"/>
                        </a:lnTo>
                        <a:lnTo>
                          <a:pt x="333" y="228"/>
                        </a:lnTo>
                        <a:lnTo>
                          <a:pt x="332" y="225"/>
                        </a:lnTo>
                        <a:lnTo>
                          <a:pt x="332" y="221"/>
                        </a:lnTo>
                        <a:lnTo>
                          <a:pt x="332" y="218"/>
                        </a:lnTo>
                        <a:lnTo>
                          <a:pt x="333" y="216"/>
                        </a:lnTo>
                        <a:lnTo>
                          <a:pt x="333" y="215"/>
                        </a:lnTo>
                        <a:lnTo>
                          <a:pt x="335" y="211"/>
                        </a:lnTo>
                        <a:lnTo>
                          <a:pt x="333" y="210"/>
                        </a:lnTo>
                        <a:lnTo>
                          <a:pt x="333" y="203"/>
                        </a:lnTo>
                        <a:lnTo>
                          <a:pt x="333" y="201"/>
                        </a:lnTo>
                        <a:lnTo>
                          <a:pt x="332" y="198"/>
                        </a:lnTo>
                        <a:lnTo>
                          <a:pt x="330" y="190"/>
                        </a:lnTo>
                        <a:lnTo>
                          <a:pt x="327" y="181"/>
                        </a:lnTo>
                        <a:lnTo>
                          <a:pt x="323" y="181"/>
                        </a:lnTo>
                        <a:lnTo>
                          <a:pt x="322" y="181"/>
                        </a:lnTo>
                        <a:lnTo>
                          <a:pt x="320" y="171"/>
                        </a:lnTo>
                        <a:lnTo>
                          <a:pt x="317" y="168"/>
                        </a:lnTo>
                        <a:lnTo>
                          <a:pt x="307" y="158"/>
                        </a:lnTo>
                        <a:lnTo>
                          <a:pt x="304" y="153"/>
                        </a:lnTo>
                        <a:lnTo>
                          <a:pt x="302" y="147"/>
                        </a:lnTo>
                        <a:lnTo>
                          <a:pt x="302" y="140"/>
                        </a:lnTo>
                        <a:lnTo>
                          <a:pt x="302" y="138"/>
                        </a:lnTo>
                        <a:lnTo>
                          <a:pt x="299" y="140"/>
                        </a:lnTo>
                        <a:lnTo>
                          <a:pt x="297" y="140"/>
                        </a:lnTo>
                        <a:lnTo>
                          <a:pt x="295" y="138"/>
                        </a:lnTo>
                        <a:lnTo>
                          <a:pt x="290" y="137"/>
                        </a:lnTo>
                        <a:lnTo>
                          <a:pt x="289" y="137"/>
                        </a:lnTo>
                        <a:lnTo>
                          <a:pt x="289" y="138"/>
                        </a:lnTo>
                        <a:lnTo>
                          <a:pt x="287" y="143"/>
                        </a:lnTo>
                        <a:lnTo>
                          <a:pt x="287" y="147"/>
                        </a:lnTo>
                        <a:lnTo>
                          <a:pt x="289" y="148"/>
                        </a:lnTo>
                        <a:lnTo>
                          <a:pt x="292" y="148"/>
                        </a:lnTo>
                        <a:lnTo>
                          <a:pt x="297" y="143"/>
                        </a:lnTo>
                        <a:lnTo>
                          <a:pt x="299" y="148"/>
                        </a:lnTo>
                        <a:lnTo>
                          <a:pt x="297" y="153"/>
                        </a:lnTo>
                        <a:lnTo>
                          <a:pt x="294" y="155"/>
                        </a:lnTo>
                        <a:lnTo>
                          <a:pt x="292" y="152"/>
                        </a:lnTo>
                        <a:lnTo>
                          <a:pt x="290" y="152"/>
                        </a:lnTo>
                        <a:lnTo>
                          <a:pt x="292" y="158"/>
                        </a:lnTo>
                        <a:lnTo>
                          <a:pt x="289" y="160"/>
                        </a:lnTo>
                        <a:lnTo>
                          <a:pt x="285" y="158"/>
                        </a:lnTo>
                        <a:lnTo>
                          <a:pt x="285" y="155"/>
                        </a:lnTo>
                        <a:lnTo>
                          <a:pt x="284" y="150"/>
                        </a:lnTo>
                        <a:lnTo>
                          <a:pt x="284" y="148"/>
                        </a:lnTo>
                        <a:lnTo>
                          <a:pt x="280" y="148"/>
                        </a:lnTo>
                        <a:lnTo>
                          <a:pt x="277" y="148"/>
                        </a:lnTo>
                        <a:lnTo>
                          <a:pt x="277" y="152"/>
                        </a:lnTo>
                        <a:lnTo>
                          <a:pt x="279" y="157"/>
                        </a:lnTo>
                        <a:lnTo>
                          <a:pt x="279" y="162"/>
                        </a:lnTo>
                        <a:lnTo>
                          <a:pt x="275" y="163"/>
                        </a:lnTo>
                        <a:lnTo>
                          <a:pt x="272" y="167"/>
                        </a:lnTo>
                        <a:lnTo>
                          <a:pt x="272" y="170"/>
                        </a:lnTo>
                        <a:lnTo>
                          <a:pt x="279" y="175"/>
                        </a:lnTo>
                        <a:lnTo>
                          <a:pt x="280" y="178"/>
                        </a:lnTo>
                        <a:lnTo>
                          <a:pt x="279" y="183"/>
                        </a:lnTo>
                        <a:lnTo>
                          <a:pt x="275" y="186"/>
                        </a:lnTo>
                        <a:lnTo>
                          <a:pt x="272" y="185"/>
                        </a:lnTo>
                        <a:lnTo>
                          <a:pt x="270" y="188"/>
                        </a:lnTo>
                        <a:lnTo>
                          <a:pt x="274" y="191"/>
                        </a:lnTo>
                        <a:lnTo>
                          <a:pt x="279" y="191"/>
                        </a:lnTo>
                        <a:lnTo>
                          <a:pt x="280" y="188"/>
                        </a:lnTo>
                        <a:lnTo>
                          <a:pt x="285" y="196"/>
                        </a:lnTo>
                        <a:lnTo>
                          <a:pt x="287" y="208"/>
                        </a:lnTo>
                        <a:lnTo>
                          <a:pt x="287" y="213"/>
                        </a:lnTo>
                        <a:lnTo>
                          <a:pt x="287" y="225"/>
                        </a:lnTo>
                        <a:lnTo>
                          <a:pt x="282" y="240"/>
                        </a:lnTo>
                        <a:lnTo>
                          <a:pt x="284" y="245"/>
                        </a:lnTo>
                        <a:lnTo>
                          <a:pt x="282" y="251"/>
                        </a:lnTo>
                        <a:lnTo>
                          <a:pt x="275" y="255"/>
                        </a:lnTo>
                        <a:lnTo>
                          <a:pt x="274" y="261"/>
                        </a:lnTo>
                        <a:lnTo>
                          <a:pt x="274" y="268"/>
                        </a:lnTo>
                        <a:lnTo>
                          <a:pt x="270" y="273"/>
                        </a:lnTo>
                        <a:lnTo>
                          <a:pt x="270" y="276"/>
                        </a:lnTo>
                        <a:lnTo>
                          <a:pt x="264" y="281"/>
                        </a:lnTo>
                        <a:lnTo>
                          <a:pt x="252" y="288"/>
                        </a:lnTo>
                        <a:lnTo>
                          <a:pt x="249" y="289"/>
                        </a:lnTo>
                        <a:lnTo>
                          <a:pt x="245" y="293"/>
                        </a:lnTo>
                        <a:lnTo>
                          <a:pt x="240" y="291"/>
                        </a:lnTo>
                        <a:lnTo>
                          <a:pt x="234" y="284"/>
                        </a:lnTo>
                        <a:lnTo>
                          <a:pt x="234" y="281"/>
                        </a:lnTo>
                        <a:lnTo>
                          <a:pt x="237" y="281"/>
                        </a:lnTo>
                        <a:lnTo>
                          <a:pt x="239" y="276"/>
                        </a:lnTo>
                        <a:lnTo>
                          <a:pt x="239" y="274"/>
                        </a:lnTo>
                        <a:lnTo>
                          <a:pt x="242" y="271"/>
                        </a:lnTo>
                        <a:lnTo>
                          <a:pt x="242" y="269"/>
                        </a:lnTo>
                        <a:lnTo>
                          <a:pt x="235" y="271"/>
                        </a:lnTo>
                        <a:lnTo>
                          <a:pt x="232" y="274"/>
                        </a:lnTo>
                        <a:lnTo>
                          <a:pt x="227" y="276"/>
                        </a:lnTo>
                        <a:lnTo>
                          <a:pt x="225" y="281"/>
                        </a:lnTo>
                        <a:lnTo>
                          <a:pt x="229" y="286"/>
                        </a:lnTo>
                        <a:lnTo>
                          <a:pt x="230" y="296"/>
                        </a:lnTo>
                        <a:lnTo>
                          <a:pt x="229" y="301"/>
                        </a:lnTo>
                        <a:lnTo>
                          <a:pt x="224" y="306"/>
                        </a:lnTo>
                        <a:lnTo>
                          <a:pt x="224" y="309"/>
                        </a:lnTo>
                        <a:lnTo>
                          <a:pt x="222" y="311"/>
                        </a:lnTo>
                        <a:lnTo>
                          <a:pt x="220" y="319"/>
                        </a:lnTo>
                        <a:lnTo>
                          <a:pt x="224" y="321"/>
                        </a:lnTo>
                        <a:lnTo>
                          <a:pt x="224" y="324"/>
                        </a:lnTo>
                        <a:lnTo>
                          <a:pt x="222" y="326"/>
                        </a:lnTo>
                        <a:lnTo>
                          <a:pt x="222" y="328"/>
                        </a:lnTo>
                        <a:lnTo>
                          <a:pt x="222" y="329"/>
                        </a:lnTo>
                        <a:lnTo>
                          <a:pt x="219" y="331"/>
                        </a:lnTo>
                        <a:lnTo>
                          <a:pt x="220" y="333"/>
                        </a:lnTo>
                        <a:lnTo>
                          <a:pt x="217" y="333"/>
                        </a:lnTo>
                        <a:lnTo>
                          <a:pt x="215" y="331"/>
                        </a:lnTo>
                        <a:lnTo>
                          <a:pt x="210" y="334"/>
                        </a:lnTo>
                        <a:lnTo>
                          <a:pt x="209" y="333"/>
                        </a:lnTo>
                        <a:lnTo>
                          <a:pt x="209" y="329"/>
                        </a:lnTo>
                        <a:lnTo>
                          <a:pt x="207" y="328"/>
                        </a:lnTo>
                        <a:lnTo>
                          <a:pt x="204" y="331"/>
                        </a:lnTo>
                        <a:lnTo>
                          <a:pt x="201" y="331"/>
                        </a:lnTo>
                        <a:lnTo>
                          <a:pt x="199" y="329"/>
                        </a:lnTo>
                        <a:lnTo>
                          <a:pt x="189" y="333"/>
                        </a:lnTo>
                        <a:lnTo>
                          <a:pt x="184" y="334"/>
                        </a:lnTo>
                        <a:lnTo>
                          <a:pt x="177" y="336"/>
                        </a:lnTo>
                        <a:lnTo>
                          <a:pt x="172" y="336"/>
                        </a:lnTo>
                        <a:lnTo>
                          <a:pt x="166" y="338"/>
                        </a:lnTo>
                        <a:lnTo>
                          <a:pt x="164" y="338"/>
                        </a:lnTo>
                        <a:lnTo>
                          <a:pt x="159" y="338"/>
                        </a:lnTo>
                        <a:lnTo>
                          <a:pt x="149" y="344"/>
                        </a:lnTo>
                        <a:lnTo>
                          <a:pt x="147" y="349"/>
                        </a:lnTo>
                        <a:lnTo>
                          <a:pt x="144" y="351"/>
                        </a:lnTo>
                        <a:lnTo>
                          <a:pt x="144" y="354"/>
                        </a:lnTo>
                        <a:lnTo>
                          <a:pt x="137" y="361"/>
                        </a:lnTo>
                        <a:lnTo>
                          <a:pt x="132" y="363"/>
                        </a:lnTo>
                        <a:lnTo>
                          <a:pt x="129" y="366"/>
                        </a:lnTo>
                        <a:lnTo>
                          <a:pt x="127" y="369"/>
                        </a:lnTo>
                        <a:lnTo>
                          <a:pt x="124" y="372"/>
                        </a:lnTo>
                        <a:lnTo>
                          <a:pt x="117" y="374"/>
                        </a:lnTo>
                        <a:lnTo>
                          <a:pt x="116" y="377"/>
                        </a:lnTo>
                        <a:lnTo>
                          <a:pt x="117" y="384"/>
                        </a:lnTo>
                        <a:lnTo>
                          <a:pt x="119" y="384"/>
                        </a:lnTo>
                        <a:lnTo>
                          <a:pt x="121" y="387"/>
                        </a:lnTo>
                        <a:lnTo>
                          <a:pt x="119" y="389"/>
                        </a:lnTo>
                        <a:lnTo>
                          <a:pt x="116" y="389"/>
                        </a:lnTo>
                        <a:lnTo>
                          <a:pt x="111" y="394"/>
                        </a:lnTo>
                        <a:lnTo>
                          <a:pt x="109" y="396"/>
                        </a:lnTo>
                        <a:lnTo>
                          <a:pt x="106" y="397"/>
                        </a:lnTo>
                        <a:lnTo>
                          <a:pt x="101" y="402"/>
                        </a:lnTo>
                        <a:lnTo>
                          <a:pt x="99" y="406"/>
                        </a:lnTo>
                        <a:lnTo>
                          <a:pt x="96" y="406"/>
                        </a:lnTo>
                        <a:lnTo>
                          <a:pt x="91" y="409"/>
                        </a:lnTo>
                        <a:lnTo>
                          <a:pt x="93" y="409"/>
                        </a:lnTo>
                        <a:lnTo>
                          <a:pt x="96" y="409"/>
                        </a:lnTo>
                        <a:lnTo>
                          <a:pt x="98" y="412"/>
                        </a:lnTo>
                        <a:lnTo>
                          <a:pt x="99" y="417"/>
                        </a:lnTo>
                        <a:lnTo>
                          <a:pt x="98" y="419"/>
                        </a:lnTo>
                        <a:lnTo>
                          <a:pt x="98" y="416"/>
                        </a:lnTo>
                        <a:lnTo>
                          <a:pt x="94" y="412"/>
                        </a:lnTo>
                        <a:lnTo>
                          <a:pt x="94" y="416"/>
                        </a:lnTo>
                        <a:lnTo>
                          <a:pt x="94" y="421"/>
                        </a:lnTo>
                        <a:lnTo>
                          <a:pt x="98" y="422"/>
                        </a:lnTo>
                        <a:lnTo>
                          <a:pt x="99" y="424"/>
                        </a:lnTo>
                        <a:lnTo>
                          <a:pt x="98" y="427"/>
                        </a:lnTo>
                        <a:lnTo>
                          <a:pt x="99" y="426"/>
                        </a:lnTo>
                        <a:lnTo>
                          <a:pt x="101" y="422"/>
                        </a:lnTo>
                        <a:lnTo>
                          <a:pt x="104" y="422"/>
                        </a:lnTo>
                        <a:lnTo>
                          <a:pt x="107" y="422"/>
                        </a:lnTo>
                        <a:lnTo>
                          <a:pt x="106" y="424"/>
                        </a:lnTo>
                        <a:lnTo>
                          <a:pt x="107" y="426"/>
                        </a:lnTo>
                        <a:lnTo>
                          <a:pt x="111" y="424"/>
                        </a:lnTo>
                        <a:lnTo>
                          <a:pt x="111" y="421"/>
                        </a:lnTo>
                        <a:lnTo>
                          <a:pt x="107" y="417"/>
                        </a:lnTo>
                        <a:lnTo>
                          <a:pt x="103" y="419"/>
                        </a:lnTo>
                        <a:lnTo>
                          <a:pt x="104" y="417"/>
                        </a:lnTo>
                        <a:lnTo>
                          <a:pt x="104" y="416"/>
                        </a:lnTo>
                        <a:lnTo>
                          <a:pt x="104" y="412"/>
                        </a:lnTo>
                        <a:lnTo>
                          <a:pt x="106" y="409"/>
                        </a:lnTo>
                        <a:lnTo>
                          <a:pt x="109" y="411"/>
                        </a:lnTo>
                        <a:lnTo>
                          <a:pt x="114" y="417"/>
                        </a:lnTo>
                        <a:lnTo>
                          <a:pt x="114" y="422"/>
                        </a:lnTo>
                        <a:lnTo>
                          <a:pt x="116" y="424"/>
                        </a:lnTo>
                        <a:lnTo>
                          <a:pt x="117" y="432"/>
                        </a:lnTo>
                        <a:lnTo>
                          <a:pt x="114" y="439"/>
                        </a:lnTo>
                        <a:lnTo>
                          <a:pt x="109" y="439"/>
                        </a:lnTo>
                        <a:lnTo>
                          <a:pt x="111" y="442"/>
                        </a:lnTo>
                        <a:lnTo>
                          <a:pt x="114" y="447"/>
                        </a:lnTo>
                        <a:lnTo>
                          <a:pt x="116" y="456"/>
                        </a:lnTo>
                        <a:lnTo>
                          <a:pt x="119" y="459"/>
                        </a:lnTo>
                        <a:lnTo>
                          <a:pt x="119" y="464"/>
                        </a:lnTo>
                        <a:lnTo>
                          <a:pt x="117" y="465"/>
                        </a:lnTo>
                        <a:lnTo>
                          <a:pt x="121" y="469"/>
                        </a:lnTo>
                        <a:lnTo>
                          <a:pt x="124" y="469"/>
                        </a:lnTo>
                        <a:lnTo>
                          <a:pt x="127" y="470"/>
                        </a:lnTo>
                        <a:lnTo>
                          <a:pt x="129" y="469"/>
                        </a:lnTo>
                        <a:lnTo>
                          <a:pt x="129" y="467"/>
                        </a:lnTo>
                        <a:lnTo>
                          <a:pt x="126" y="462"/>
                        </a:lnTo>
                        <a:lnTo>
                          <a:pt x="126" y="454"/>
                        </a:lnTo>
                        <a:lnTo>
                          <a:pt x="127" y="452"/>
                        </a:lnTo>
                        <a:lnTo>
                          <a:pt x="131" y="454"/>
                        </a:lnTo>
                        <a:lnTo>
                          <a:pt x="129" y="456"/>
                        </a:lnTo>
                        <a:lnTo>
                          <a:pt x="129" y="457"/>
                        </a:lnTo>
                        <a:lnTo>
                          <a:pt x="132" y="462"/>
                        </a:lnTo>
                        <a:lnTo>
                          <a:pt x="134" y="467"/>
                        </a:lnTo>
                        <a:lnTo>
                          <a:pt x="132" y="470"/>
                        </a:lnTo>
                        <a:lnTo>
                          <a:pt x="132" y="474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10" name="Google Shape;2965;p98">
                    <a:extLst>
                      <a:ext uri="{FF2B5EF4-FFF2-40B4-BE49-F238E27FC236}">
                        <a16:creationId xmlns:a16="http://schemas.microsoft.com/office/drawing/2014/main" id="{D6C80D7B-E8AA-D3AB-52D9-E7D86FD59720}"/>
                      </a:ext>
                    </a:extLst>
                  </p:cNvPr>
                  <p:cNvSpPr/>
                  <p:nvPr/>
                </p:nvSpPr>
                <p:spPr>
                  <a:xfrm>
                    <a:off x="7990420" y="2760258"/>
                    <a:ext cx="58863" cy="8197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1" h="158" extrusionOk="0">
                        <a:moveTo>
                          <a:pt x="68" y="113"/>
                        </a:moveTo>
                        <a:lnTo>
                          <a:pt x="69" y="111"/>
                        </a:lnTo>
                        <a:lnTo>
                          <a:pt x="73" y="113"/>
                        </a:lnTo>
                        <a:lnTo>
                          <a:pt x="68" y="114"/>
                        </a:lnTo>
                        <a:lnTo>
                          <a:pt x="68" y="113"/>
                        </a:lnTo>
                        <a:lnTo>
                          <a:pt x="68" y="113"/>
                        </a:lnTo>
                        <a:close/>
                        <a:moveTo>
                          <a:pt x="33" y="129"/>
                        </a:moveTo>
                        <a:lnTo>
                          <a:pt x="31" y="126"/>
                        </a:lnTo>
                        <a:lnTo>
                          <a:pt x="31" y="124"/>
                        </a:lnTo>
                        <a:lnTo>
                          <a:pt x="33" y="124"/>
                        </a:lnTo>
                        <a:lnTo>
                          <a:pt x="35" y="121"/>
                        </a:lnTo>
                        <a:lnTo>
                          <a:pt x="36" y="124"/>
                        </a:lnTo>
                        <a:lnTo>
                          <a:pt x="36" y="128"/>
                        </a:lnTo>
                        <a:lnTo>
                          <a:pt x="35" y="128"/>
                        </a:lnTo>
                        <a:lnTo>
                          <a:pt x="33" y="129"/>
                        </a:lnTo>
                        <a:lnTo>
                          <a:pt x="33" y="129"/>
                        </a:lnTo>
                        <a:close/>
                        <a:moveTo>
                          <a:pt x="88" y="106"/>
                        </a:moveTo>
                        <a:lnTo>
                          <a:pt x="84" y="108"/>
                        </a:lnTo>
                        <a:lnTo>
                          <a:pt x="84" y="111"/>
                        </a:lnTo>
                        <a:lnTo>
                          <a:pt x="86" y="113"/>
                        </a:lnTo>
                        <a:lnTo>
                          <a:pt x="89" y="113"/>
                        </a:lnTo>
                        <a:lnTo>
                          <a:pt x="89" y="111"/>
                        </a:lnTo>
                        <a:lnTo>
                          <a:pt x="89" y="106"/>
                        </a:lnTo>
                        <a:lnTo>
                          <a:pt x="88" y="106"/>
                        </a:lnTo>
                        <a:lnTo>
                          <a:pt x="88" y="106"/>
                        </a:lnTo>
                        <a:close/>
                        <a:moveTo>
                          <a:pt x="104" y="134"/>
                        </a:moveTo>
                        <a:lnTo>
                          <a:pt x="104" y="131"/>
                        </a:lnTo>
                        <a:lnTo>
                          <a:pt x="106" y="129"/>
                        </a:lnTo>
                        <a:lnTo>
                          <a:pt x="109" y="129"/>
                        </a:lnTo>
                        <a:lnTo>
                          <a:pt x="108" y="133"/>
                        </a:lnTo>
                        <a:lnTo>
                          <a:pt x="106" y="134"/>
                        </a:lnTo>
                        <a:lnTo>
                          <a:pt x="104" y="134"/>
                        </a:lnTo>
                        <a:lnTo>
                          <a:pt x="104" y="134"/>
                        </a:lnTo>
                        <a:close/>
                        <a:moveTo>
                          <a:pt x="108" y="124"/>
                        </a:moveTo>
                        <a:lnTo>
                          <a:pt x="106" y="126"/>
                        </a:lnTo>
                        <a:lnTo>
                          <a:pt x="106" y="123"/>
                        </a:lnTo>
                        <a:lnTo>
                          <a:pt x="106" y="119"/>
                        </a:lnTo>
                        <a:lnTo>
                          <a:pt x="106" y="118"/>
                        </a:lnTo>
                        <a:lnTo>
                          <a:pt x="109" y="116"/>
                        </a:lnTo>
                        <a:lnTo>
                          <a:pt x="109" y="118"/>
                        </a:lnTo>
                        <a:lnTo>
                          <a:pt x="111" y="121"/>
                        </a:lnTo>
                        <a:lnTo>
                          <a:pt x="108" y="124"/>
                        </a:lnTo>
                        <a:lnTo>
                          <a:pt x="108" y="124"/>
                        </a:lnTo>
                        <a:close/>
                        <a:moveTo>
                          <a:pt x="39" y="158"/>
                        </a:moveTo>
                        <a:lnTo>
                          <a:pt x="38" y="154"/>
                        </a:lnTo>
                        <a:lnTo>
                          <a:pt x="39" y="151"/>
                        </a:lnTo>
                        <a:lnTo>
                          <a:pt x="51" y="148"/>
                        </a:lnTo>
                        <a:lnTo>
                          <a:pt x="56" y="149"/>
                        </a:lnTo>
                        <a:lnTo>
                          <a:pt x="56" y="153"/>
                        </a:lnTo>
                        <a:lnTo>
                          <a:pt x="53" y="158"/>
                        </a:lnTo>
                        <a:lnTo>
                          <a:pt x="44" y="158"/>
                        </a:lnTo>
                        <a:lnTo>
                          <a:pt x="39" y="158"/>
                        </a:lnTo>
                        <a:lnTo>
                          <a:pt x="39" y="158"/>
                        </a:lnTo>
                        <a:close/>
                        <a:moveTo>
                          <a:pt x="0" y="26"/>
                        </a:moveTo>
                        <a:lnTo>
                          <a:pt x="1" y="26"/>
                        </a:lnTo>
                        <a:lnTo>
                          <a:pt x="5" y="25"/>
                        </a:lnTo>
                        <a:lnTo>
                          <a:pt x="13" y="25"/>
                        </a:lnTo>
                        <a:lnTo>
                          <a:pt x="10" y="26"/>
                        </a:lnTo>
                        <a:lnTo>
                          <a:pt x="18" y="33"/>
                        </a:lnTo>
                        <a:lnTo>
                          <a:pt x="25" y="41"/>
                        </a:lnTo>
                        <a:lnTo>
                          <a:pt x="28" y="43"/>
                        </a:lnTo>
                        <a:lnTo>
                          <a:pt x="26" y="45"/>
                        </a:lnTo>
                        <a:lnTo>
                          <a:pt x="30" y="50"/>
                        </a:lnTo>
                        <a:lnTo>
                          <a:pt x="31" y="53"/>
                        </a:lnTo>
                        <a:lnTo>
                          <a:pt x="23" y="50"/>
                        </a:lnTo>
                        <a:lnTo>
                          <a:pt x="21" y="48"/>
                        </a:lnTo>
                        <a:lnTo>
                          <a:pt x="20" y="51"/>
                        </a:lnTo>
                        <a:lnTo>
                          <a:pt x="16" y="51"/>
                        </a:lnTo>
                        <a:lnTo>
                          <a:pt x="11" y="58"/>
                        </a:lnTo>
                        <a:lnTo>
                          <a:pt x="23" y="61"/>
                        </a:lnTo>
                        <a:lnTo>
                          <a:pt x="25" y="61"/>
                        </a:lnTo>
                        <a:lnTo>
                          <a:pt x="28" y="66"/>
                        </a:lnTo>
                        <a:lnTo>
                          <a:pt x="28" y="75"/>
                        </a:lnTo>
                        <a:lnTo>
                          <a:pt x="31" y="76"/>
                        </a:lnTo>
                        <a:lnTo>
                          <a:pt x="33" y="75"/>
                        </a:lnTo>
                        <a:lnTo>
                          <a:pt x="36" y="83"/>
                        </a:lnTo>
                        <a:lnTo>
                          <a:pt x="30" y="88"/>
                        </a:lnTo>
                        <a:lnTo>
                          <a:pt x="28" y="90"/>
                        </a:lnTo>
                        <a:lnTo>
                          <a:pt x="31" y="93"/>
                        </a:lnTo>
                        <a:lnTo>
                          <a:pt x="33" y="96"/>
                        </a:lnTo>
                        <a:lnTo>
                          <a:pt x="30" y="98"/>
                        </a:lnTo>
                        <a:lnTo>
                          <a:pt x="30" y="101"/>
                        </a:lnTo>
                        <a:lnTo>
                          <a:pt x="31" y="106"/>
                        </a:lnTo>
                        <a:lnTo>
                          <a:pt x="28" y="106"/>
                        </a:lnTo>
                        <a:lnTo>
                          <a:pt x="35" y="116"/>
                        </a:lnTo>
                        <a:lnTo>
                          <a:pt x="38" y="116"/>
                        </a:lnTo>
                        <a:lnTo>
                          <a:pt x="39" y="121"/>
                        </a:lnTo>
                        <a:lnTo>
                          <a:pt x="41" y="123"/>
                        </a:lnTo>
                        <a:lnTo>
                          <a:pt x="41" y="126"/>
                        </a:lnTo>
                        <a:lnTo>
                          <a:pt x="44" y="124"/>
                        </a:lnTo>
                        <a:lnTo>
                          <a:pt x="44" y="119"/>
                        </a:lnTo>
                        <a:lnTo>
                          <a:pt x="46" y="121"/>
                        </a:lnTo>
                        <a:lnTo>
                          <a:pt x="49" y="118"/>
                        </a:lnTo>
                        <a:lnTo>
                          <a:pt x="61" y="110"/>
                        </a:lnTo>
                        <a:lnTo>
                          <a:pt x="66" y="108"/>
                        </a:lnTo>
                        <a:lnTo>
                          <a:pt x="66" y="110"/>
                        </a:lnTo>
                        <a:lnTo>
                          <a:pt x="69" y="106"/>
                        </a:lnTo>
                        <a:lnTo>
                          <a:pt x="73" y="106"/>
                        </a:lnTo>
                        <a:lnTo>
                          <a:pt x="74" y="111"/>
                        </a:lnTo>
                        <a:lnTo>
                          <a:pt x="79" y="110"/>
                        </a:lnTo>
                        <a:lnTo>
                          <a:pt x="81" y="111"/>
                        </a:lnTo>
                        <a:lnTo>
                          <a:pt x="83" y="110"/>
                        </a:lnTo>
                        <a:lnTo>
                          <a:pt x="81" y="106"/>
                        </a:lnTo>
                        <a:lnTo>
                          <a:pt x="88" y="103"/>
                        </a:lnTo>
                        <a:lnTo>
                          <a:pt x="93" y="103"/>
                        </a:lnTo>
                        <a:lnTo>
                          <a:pt x="99" y="96"/>
                        </a:lnTo>
                        <a:lnTo>
                          <a:pt x="98" y="93"/>
                        </a:lnTo>
                        <a:lnTo>
                          <a:pt x="101" y="91"/>
                        </a:lnTo>
                        <a:lnTo>
                          <a:pt x="99" y="75"/>
                        </a:lnTo>
                        <a:lnTo>
                          <a:pt x="98" y="75"/>
                        </a:lnTo>
                        <a:lnTo>
                          <a:pt x="96" y="76"/>
                        </a:lnTo>
                        <a:lnTo>
                          <a:pt x="96" y="71"/>
                        </a:lnTo>
                        <a:lnTo>
                          <a:pt x="93" y="56"/>
                        </a:lnTo>
                        <a:lnTo>
                          <a:pt x="89" y="51"/>
                        </a:lnTo>
                        <a:lnTo>
                          <a:pt x="89" y="43"/>
                        </a:lnTo>
                        <a:lnTo>
                          <a:pt x="74" y="26"/>
                        </a:lnTo>
                        <a:lnTo>
                          <a:pt x="61" y="13"/>
                        </a:lnTo>
                        <a:lnTo>
                          <a:pt x="53" y="0"/>
                        </a:lnTo>
                        <a:lnTo>
                          <a:pt x="43" y="5"/>
                        </a:lnTo>
                        <a:lnTo>
                          <a:pt x="26" y="7"/>
                        </a:lnTo>
                        <a:lnTo>
                          <a:pt x="18" y="13"/>
                        </a:lnTo>
                        <a:lnTo>
                          <a:pt x="10" y="15"/>
                        </a:lnTo>
                        <a:lnTo>
                          <a:pt x="1" y="21"/>
                        </a:lnTo>
                        <a:lnTo>
                          <a:pt x="0" y="26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11" name="Google Shape;2966;p98">
                    <a:extLst>
                      <a:ext uri="{FF2B5EF4-FFF2-40B4-BE49-F238E27FC236}">
                        <a16:creationId xmlns:a16="http://schemas.microsoft.com/office/drawing/2014/main" id="{874651CE-6506-7A96-835A-D6794521F997}"/>
                      </a:ext>
                    </a:extLst>
                  </p:cNvPr>
                  <p:cNvSpPr/>
                  <p:nvPr/>
                </p:nvSpPr>
                <p:spPr>
                  <a:xfrm>
                    <a:off x="7964734" y="2684515"/>
                    <a:ext cx="61004" cy="9234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5" h="177" extrusionOk="0">
                        <a:moveTo>
                          <a:pt x="0" y="111"/>
                        </a:moveTo>
                        <a:lnTo>
                          <a:pt x="0" y="99"/>
                        </a:lnTo>
                        <a:lnTo>
                          <a:pt x="5" y="94"/>
                        </a:lnTo>
                        <a:lnTo>
                          <a:pt x="9" y="88"/>
                        </a:lnTo>
                        <a:lnTo>
                          <a:pt x="9" y="84"/>
                        </a:lnTo>
                        <a:lnTo>
                          <a:pt x="15" y="81"/>
                        </a:lnTo>
                        <a:lnTo>
                          <a:pt x="19" y="74"/>
                        </a:lnTo>
                        <a:lnTo>
                          <a:pt x="24" y="71"/>
                        </a:lnTo>
                        <a:lnTo>
                          <a:pt x="29" y="61"/>
                        </a:lnTo>
                        <a:lnTo>
                          <a:pt x="30" y="58"/>
                        </a:lnTo>
                        <a:lnTo>
                          <a:pt x="30" y="55"/>
                        </a:lnTo>
                        <a:lnTo>
                          <a:pt x="30" y="48"/>
                        </a:lnTo>
                        <a:lnTo>
                          <a:pt x="35" y="43"/>
                        </a:lnTo>
                        <a:lnTo>
                          <a:pt x="39" y="50"/>
                        </a:lnTo>
                        <a:lnTo>
                          <a:pt x="44" y="51"/>
                        </a:lnTo>
                        <a:lnTo>
                          <a:pt x="47" y="55"/>
                        </a:lnTo>
                        <a:lnTo>
                          <a:pt x="50" y="53"/>
                        </a:lnTo>
                        <a:lnTo>
                          <a:pt x="55" y="55"/>
                        </a:lnTo>
                        <a:lnTo>
                          <a:pt x="65" y="53"/>
                        </a:lnTo>
                        <a:lnTo>
                          <a:pt x="72" y="55"/>
                        </a:lnTo>
                        <a:lnTo>
                          <a:pt x="75" y="48"/>
                        </a:lnTo>
                        <a:lnTo>
                          <a:pt x="75" y="45"/>
                        </a:lnTo>
                        <a:lnTo>
                          <a:pt x="70" y="40"/>
                        </a:lnTo>
                        <a:lnTo>
                          <a:pt x="64" y="36"/>
                        </a:lnTo>
                        <a:lnTo>
                          <a:pt x="69" y="35"/>
                        </a:lnTo>
                        <a:lnTo>
                          <a:pt x="74" y="35"/>
                        </a:lnTo>
                        <a:lnTo>
                          <a:pt x="84" y="26"/>
                        </a:lnTo>
                        <a:lnTo>
                          <a:pt x="84" y="23"/>
                        </a:lnTo>
                        <a:lnTo>
                          <a:pt x="87" y="18"/>
                        </a:lnTo>
                        <a:lnTo>
                          <a:pt x="92" y="16"/>
                        </a:lnTo>
                        <a:lnTo>
                          <a:pt x="93" y="13"/>
                        </a:lnTo>
                        <a:lnTo>
                          <a:pt x="92" y="10"/>
                        </a:lnTo>
                        <a:lnTo>
                          <a:pt x="92" y="5"/>
                        </a:lnTo>
                        <a:lnTo>
                          <a:pt x="92" y="0"/>
                        </a:lnTo>
                        <a:lnTo>
                          <a:pt x="95" y="0"/>
                        </a:lnTo>
                        <a:lnTo>
                          <a:pt x="100" y="3"/>
                        </a:lnTo>
                        <a:lnTo>
                          <a:pt x="100" y="6"/>
                        </a:lnTo>
                        <a:lnTo>
                          <a:pt x="102" y="10"/>
                        </a:lnTo>
                        <a:lnTo>
                          <a:pt x="110" y="10"/>
                        </a:lnTo>
                        <a:lnTo>
                          <a:pt x="115" y="18"/>
                        </a:lnTo>
                        <a:lnTo>
                          <a:pt x="113" y="18"/>
                        </a:lnTo>
                        <a:lnTo>
                          <a:pt x="107" y="25"/>
                        </a:lnTo>
                        <a:lnTo>
                          <a:pt x="103" y="25"/>
                        </a:lnTo>
                        <a:lnTo>
                          <a:pt x="103" y="30"/>
                        </a:lnTo>
                        <a:lnTo>
                          <a:pt x="100" y="41"/>
                        </a:lnTo>
                        <a:lnTo>
                          <a:pt x="100" y="48"/>
                        </a:lnTo>
                        <a:lnTo>
                          <a:pt x="105" y="51"/>
                        </a:lnTo>
                        <a:lnTo>
                          <a:pt x="105" y="63"/>
                        </a:lnTo>
                        <a:lnTo>
                          <a:pt x="108" y="64"/>
                        </a:lnTo>
                        <a:lnTo>
                          <a:pt x="107" y="69"/>
                        </a:lnTo>
                        <a:lnTo>
                          <a:pt x="102" y="74"/>
                        </a:lnTo>
                        <a:lnTo>
                          <a:pt x="102" y="76"/>
                        </a:lnTo>
                        <a:lnTo>
                          <a:pt x="90" y="88"/>
                        </a:lnTo>
                        <a:lnTo>
                          <a:pt x="92" y="91"/>
                        </a:lnTo>
                        <a:lnTo>
                          <a:pt x="88" y="94"/>
                        </a:lnTo>
                        <a:lnTo>
                          <a:pt x="87" y="96"/>
                        </a:lnTo>
                        <a:lnTo>
                          <a:pt x="82" y="96"/>
                        </a:lnTo>
                        <a:lnTo>
                          <a:pt x="77" y="99"/>
                        </a:lnTo>
                        <a:lnTo>
                          <a:pt x="75" y="104"/>
                        </a:lnTo>
                        <a:lnTo>
                          <a:pt x="69" y="108"/>
                        </a:lnTo>
                        <a:lnTo>
                          <a:pt x="69" y="113"/>
                        </a:lnTo>
                        <a:lnTo>
                          <a:pt x="70" y="118"/>
                        </a:lnTo>
                        <a:lnTo>
                          <a:pt x="69" y="121"/>
                        </a:lnTo>
                        <a:lnTo>
                          <a:pt x="70" y="126"/>
                        </a:lnTo>
                        <a:lnTo>
                          <a:pt x="79" y="128"/>
                        </a:lnTo>
                        <a:lnTo>
                          <a:pt x="82" y="131"/>
                        </a:lnTo>
                        <a:lnTo>
                          <a:pt x="98" y="141"/>
                        </a:lnTo>
                        <a:lnTo>
                          <a:pt x="102" y="146"/>
                        </a:lnTo>
                        <a:lnTo>
                          <a:pt x="92" y="151"/>
                        </a:lnTo>
                        <a:lnTo>
                          <a:pt x="75" y="153"/>
                        </a:lnTo>
                        <a:lnTo>
                          <a:pt x="67" y="159"/>
                        </a:lnTo>
                        <a:lnTo>
                          <a:pt x="59" y="161"/>
                        </a:lnTo>
                        <a:lnTo>
                          <a:pt x="50" y="167"/>
                        </a:lnTo>
                        <a:lnTo>
                          <a:pt x="49" y="172"/>
                        </a:lnTo>
                        <a:lnTo>
                          <a:pt x="44" y="167"/>
                        </a:lnTo>
                        <a:lnTo>
                          <a:pt x="40" y="169"/>
                        </a:lnTo>
                        <a:lnTo>
                          <a:pt x="42" y="171"/>
                        </a:lnTo>
                        <a:lnTo>
                          <a:pt x="39" y="176"/>
                        </a:lnTo>
                        <a:lnTo>
                          <a:pt x="35" y="174"/>
                        </a:lnTo>
                        <a:lnTo>
                          <a:pt x="30" y="177"/>
                        </a:lnTo>
                        <a:lnTo>
                          <a:pt x="29" y="176"/>
                        </a:lnTo>
                        <a:lnTo>
                          <a:pt x="32" y="169"/>
                        </a:lnTo>
                        <a:lnTo>
                          <a:pt x="27" y="167"/>
                        </a:lnTo>
                        <a:lnTo>
                          <a:pt x="24" y="169"/>
                        </a:lnTo>
                        <a:lnTo>
                          <a:pt x="20" y="169"/>
                        </a:lnTo>
                        <a:lnTo>
                          <a:pt x="22" y="164"/>
                        </a:lnTo>
                        <a:lnTo>
                          <a:pt x="22" y="156"/>
                        </a:lnTo>
                        <a:lnTo>
                          <a:pt x="25" y="149"/>
                        </a:lnTo>
                        <a:lnTo>
                          <a:pt x="32" y="149"/>
                        </a:lnTo>
                        <a:lnTo>
                          <a:pt x="37" y="144"/>
                        </a:lnTo>
                        <a:lnTo>
                          <a:pt x="32" y="148"/>
                        </a:lnTo>
                        <a:lnTo>
                          <a:pt x="24" y="148"/>
                        </a:lnTo>
                        <a:lnTo>
                          <a:pt x="22" y="144"/>
                        </a:lnTo>
                        <a:lnTo>
                          <a:pt x="22" y="134"/>
                        </a:lnTo>
                        <a:lnTo>
                          <a:pt x="27" y="126"/>
                        </a:lnTo>
                        <a:lnTo>
                          <a:pt x="24" y="123"/>
                        </a:lnTo>
                        <a:lnTo>
                          <a:pt x="27" y="119"/>
                        </a:lnTo>
                        <a:lnTo>
                          <a:pt x="29" y="116"/>
                        </a:lnTo>
                        <a:lnTo>
                          <a:pt x="25" y="116"/>
                        </a:lnTo>
                        <a:lnTo>
                          <a:pt x="24" y="119"/>
                        </a:lnTo>
                        <a:lnTo>
                          <a:pt x="15" y="121"/>
                        </a:lnTo>
                        <a:lnTo>
                          <a:pt x="14" y="118"/>
                        </a:lnTo>
                        <a:lnTo>
                          <a:pt x="7" y="114"/>
                        </a:lnTo>
                        <a:lnTo>
                          <a:pt x="7" y="118"/>
                        </a:lnTo>
                        <a:lnTo>
                          <a:pt x="4" y="121"/>
                        </a:lnTo>
                        <a:lnTo>
                          <a:pt x="2" y="113"/>
                        </a:lnTo>
                        <a:lnTo>
                          <a:pt x="0" y="113"/>
                        </a:lnTo>
                        <a:lnTo>
                          <a:pt x="0" y="111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12" name="Google Shape;2967;p98">
                    <a:extLst>
                      <a:ext uri="{FF2B5EF4-FFF2-40B4-BE49-F238E27FC236}">
                        <a16:creationId xmlns:a16="http://schemas.microsoft.com/office/drawing/2014/main" id="{7F3436C5-EE4C-A7EB-77C6-5D574091A52D}"/>
                      </a:ext>
                    </a:extLst>
                  </p:cNvPr>
                  <p:cNvSpPr/>
                  <p:nvPr/>
                </p:nvSpPr>
                <p:spPr>
                  <a:xfrm>
                    <a:off x="7464928" y="2564155"/>
                    <a:ext cx="400273" cy="16497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747" h="319" extrusionOk="0">
                        <a:moveTo>
                          <a:pt x="0" y="113"/>
                        </a:moveTo>
                        <a:lnTo>
                          <a:pt x="3" y="105"/>
                        </a:lnTo>
                        <a:lnTo>
                          <a:pt x="8" y="103"/>
                        </a:lnTo>
                        <a:lnTo>
                          <a:pt x="20" y="103"/>
                        </a:lnTo>
                        <a:lnTo>
                          <a:pt x="22" y="101"/>
                        </a:lnTo>
                        <a:lnTo>
                          <a:pt x="25" y="98"/>
                        </a:lnTo>
                        <a:lnTo>
                          <a:pt x="33" y="95"/>
                        </a:lnTo>
                        <a:lnTo>
                          <a:pt x="33" y="90"/>
                        </a:lnTo>
                        <a:lnTo>
                          <a:pt x="35" y="87"/>
                        </a:lnTo>
                        <a:lnTo>
                          <a:pt x="41" y="83"/>
                        </a:lnTo>
                        <a:lnTo>
                          <a:pt x="41" y="80"/>
                        </a:lnTo>
                        <a:lnTo>
                          <a:pt x="45" y="77"/>
                        </a:lnTo>
                        <a:lnTo>
                          <a:pt x="50" y="77"/>
                        </a:lnTo>
                        <a:lnTo>
                          <a:pt x="53" y="72"/>
                        </a:lnTo>
                        <a:lnTo>
                          <a:pt x="55" y="70"/>
                        </a:lnTo>
                        <a:lnTo>
                          <a:pt x="53" y="68"/>
                        </a:lnTo>
                        <a:lnTo>
                          <a:pt x="51" y="65"/>
                        </a:lnTo>
                        <a:lnTo>
                          <a:pt x="53" y="63"/>
                        </a:lnTo>
                        <a:lnTo>
                          <a:pt x="61" y="65"/>
                        </a:lnTo>
                        <a:lnTo>
                          <a:pt x="65" y="63"/>
                        </a:lnTo>
                        <a:lnTo>
                          <a:pt x="68" y="58"/>
                        </a:lnTo>
                        <a:lnTo>
                          <a:pt x="71" y="57"/>
                        </a:lnTo>
                        <a:lnTo>
                          <a:pt x="80" y="55"/>
                        </a:lnTo>
                        <a:lnTo>
                          <a:pt x="85" y="55"/>
                        </a:lnTo>
                        <a:lnTo>
                          <a:pt x="88" y="55"/>
                        </a:lnTo>
                        <a:lnTo>
                          <a:pt x="95" y="55"/>
                        </a:lnTo>
                        <a:lnTo>
                          <a:pt x="98" y="53"/>
                        </a:lnTo>
                        <a:lnTo>
                          <a:pt x="100" y="53"/>
                        </a:lnTo>
                        <a:lnTo>
                          <a:pt x="101" y="57"/>
                        </a:lnTo>
                        <a:lnTo>
                          <a:pt x="103" y="58"/>
                        </a:lnTo>
                        <a:lnTo>
                          <a:pt x="105" y="62"/>
                        </a:lnTo>
                        <a:lnTo>
                          <a:pt x="111" y="62"/>
                        </a:lnTo>
                        <a:lnTo>
                          <a:pt x="113" y="60"/>
                        </a:lnTo>
                        <a:lnTo>
                          <a:pt x="118" y="60"/>
                        </a:lnTo>
                        <a:lnTo>
                          <a:pt x="121" y="58"/>
                        </a:lnTo>
                        <a:lnTo>
                          <a:pt x="129" y="58"/>
                        </a:lnTo>
                        <a:lnTo>
                          <a:pt x="129" y="62"/>
                        </a:lnTo>
                        <a:lnTo>
                          <a:pt x="131" y="65"/>
                        </a:lnTo>
                        <a:lnTo>
                          <a:pt x="133" y="68"/>
                        </a:lnTo>
                        <a:lnTo>
                          <a:pt x="144" y="75"/>
                        </a:lnTo>
                        <a:lnTo>
                          <a:pt x="149" y="78"/>
                        </a:lnTo>
                        <a:lnTo>
                          <a:pt x="158" y="82"/>
                        </a:lnTo>
                        <a:lnTo>
                          <a:pt x="161" y="80"/>
                        </a:lnTo>
                        <a:lnTo>
                          <a:pt x="166" y="78"/>
                        </a:lnTo>
                        <a:lnTo>
                          <a:pt x="171" y="75"/>
                        </a:lnTo>
                        <a:lnTo>
                          <a:pt x="176" y="73"/>
                        </a:lnTo>
                        <a:lnTo>
                          <a:pt x="179" y="75"/>
                        </a:lnTo>
                        <a:lnTo>
                          <a:pt x="183" y="78"/>
                        </a:lnTo>
                        <a:lnTo>
                          <a:pt x="188" y="77"/>
                        </a:lnTo>
                        <a:lnTo>
                          <a:pt x="198" y="77"/>
                        </a:lnTo>
                        <a:lnTo>
                          <a:pt x="201" y="78"/>
                        </a:lnTo>
                        <a:lnTo>
                          <a:pt x="206" y="78"/>
                        </a:lnTo>
                        <a:lnTo>
                          <a:pt x="208" y="77"/>
                        </a:lnTo>
                        <a:lnTo>
                          <a:pt x="213" y="78"/>
                        </a:lnTo>
                        <a:lnTo>
                          <a:pt x="219" y="77"/>
                        </a:lnTo>
                        <a:lnTo>
                          <a:pt x="224" y="70"/>
                        </a:lnTo>
                        <a:lnTo>
                          <a:pt x="223" y="67"/>
                        </a:lnTo>
                        <a:lnTo>
                          <a:pt x="218" y="65"/>
                        </a:lnTo>
                        <a:lnTo>
                          <a:pt x="218" y="58"/>
                        </a:lnTo>
                        <a:lnTo>
                          <a:pt x="219" y="50"/>
                        </a:lnTo>
                        <a:lnTo>
                          <a:pt x="218" y="48"/>
                        </a:lnTo>
                        <a:lnTo>
                          <a:pt x="213" y="47"/>
                        </a:lnTo>
                        <a:lnTo>
                          <a:pt x="211" y="43"/>
                        </a:lnTo>
                        <a:lnTo>
                          <a:pt x="204" y="42"/>
                        </a:lnTo>
                        <a:lnTo>
                          <a:pt x="203" y="37"/>
                        </a:lnTo>
                        <a:lnTo>
                          <a:pt x="203" y="25"/>
                        </a:lnTo>
                        <a:lnTo>
                          <a:pt x="208" y="20"/>
                        </a:lnTo>
                        <a:lnTo>
                          <a:pt x="208" y="17"/>
                        </a:lnTo>
                        <a:lnTo>
                          <a:pt x="209" y="13"/>
                        </a:lnTo>
                        <a:lnTo>
                          <a:pt x="214" y="12"/>
                        </a:lnTo>
                        <a:lnTo>
                          <a:pt x="216" y="13"/>
                        </a:lnTo>
                        <a:lnTo>
                          <a:pt x="218" y="10"/>
                        </a:lnTo>
                        <a:lnTo>
                          <a:pt x="216" y="5"/>
                        </a:lnTo>
                        <a:lnTo>
                          <a:pt x="218" y="2"/>
                        </a:lnTo>
                        <a:lnTo>
                          <a:pt x="219" y="0"/>
                        </a:lnTo>
                        <a:lnTo>
                          <a:pt x="224" y="0"/>
                        </a:lnTo>
                        <a:lnTo>
                          <a:pt x="227" y="2"/>
                        </a:lnTo>
                        <a:lnTo>
                          <a:pt x="234" y="3"/>
                        </a:lnTo>
                        <a:lnTo>
                          <a:pt x="241" y="7"/>
                        </a:lnTo>
                        <a:lnTo>
                          <a:pt x="241" y="8"/>
                        </a:lnTo>
                        <a:lnTo>
                          <a:pt x="247" y="10"/>
                        </a:lnTo>
                        <a:lnTo>
                          <a:pt x="252" y="10"/>
                        </a:lnTo>
                        <a:lnTo>
                          <a:pt x="262" y="10"/>
                        </a:lnTo>
                        <a:lnTo>
                          <a:pt x="266" y="12"/>
                        </a:lnTo>
                        <a:lnTo>
                          <a:pt x="267" y="13"/>
                        </a:lnTo>
                        <a:lnTo>
                          <a:pt x="274" y="15"/>
                        </a:lnTo>
                        <a:lnTo>
                          <a:pt x="277" y="17"/>
                        </a:lnTo>
                        <a:lnTo>
                          <a:pt x="281" y="17"/>
                        </a:lnTo>
                        <a:lnTo>
                          <a:pt x="292" y="17"/>
                        </a:lnTo>
                        <a:lnTo>
                          <a:pt x="296" y="18"/>
                        </a:lnTo>
                        <a:lnTo>
                          <a:pt x="297" y="22"/>
                        </a:lnTo>
                        <a:lnTo>
                          <a:pt x="297" y="23"/>
                        </a:lnTo>
                        <a:lnTo>
                          <a:pt x="299" y="27"/>
                        </a:lnTo>
                        <a:lnTo>
                          <a:pt x="299" y="30"/>
                        </a:lnTo>
                        <a:lnTo>
                          <a:pt x="302" y="32"/>
                        </a:lnTo>
                        <a:lnTo>
                          <a:pt x="304" y="37"/>
                        </a:lnTo>
                        <a:lnTo>
                          <a:pt x="304" y="42"/>
                        </a:lnTo>
                        <a:lnTo>
                          <a:pt x="307" y="43"/>
                        </a:lnTo>
                        <a:lnTo>
                          <a:pt x="311" y="43"/>
                        </a:lnTo>
                        <a:lnTo>
                          <a:pt x="316" y="48"/>
                        </a:lnTo>
                        <a:lnTo>
                          <a:pt x="316" y="50"/>
                        </a:lnTo>
                        <a:lnTo>
                          <a:pt x="324" y="52"/>
                        </a:lnTo>
                        <a:lnTo>
                          <a:pt x="330" y="55"/>
                        </a:lnTo>
                        <a:lnTo>
                          <a:pt x="334" y="55"/>
                        </a:lnTo>
                        <a:lnTo>
                          <a:pt x="335" y="53"/>
                        </a:lnTo>
                        <a:lnTo>
                          <a:pt x="344" y="55"/>
                        </a:lnTo>
                        <a:lnTo>
                          <a:pt x="347" y="52"/>
                        </a:lnTo>
                        <a:lnTo>
                          <a:pt x="350" y="52"/>
                        </a:lnTo>
                        <a:lnTo>
                          <a:pt x="354" y="53"/>
                        </a:lnTo>
                        <a:lnTo>
                          <a:pt x="357" y="53"/>
                        </a:lnTo>
                        <a:lnTo>
                          <a:pt x="360" y="48"/>
                        </a:lnTo>
                        <a:lnTo>
                          <a:pt x="367" y="47"/>
                        </a:lnTo>
                        <a:lnTo>
                          <a:pt x="377" y="45"/>
                        </a:lnTo>
                        <a:lnTo>
                          <a:pt x="382" y="43"/>
                        </a:lnTo>
                        <a:lnTo>
                          <a:pt x="389" y="43"/>
                        </a:lnTo>
                        <a:lnTo>
                          <a:pt x="395" y="42"/>
                        </a:lnTo>
                        <a:lnTo>
                          <a:pt x="400" y="43"/>
                        </a:lnTo>
                        <a:lnTo>
                          <a:pt x="407" y="45"/>
                        </a:lnTo>
                        <a:lnTo>
                          <a:pt x="417" y="45"/>
                        </a:lnTo>
                        <a:lnTo>
                          <a:pt x="422" y="52"/>
                        </a:lnTo>
                        <a:lnTo>
                          <a:pt x="430" y="53"/>
                        </a:lnTo>
                        <a:lnTo>
                          <a:pt x="437" y="53"/>
                        </a:lnTo>
                        <a:lnTo>
                          <a:pt x="442" y="53"/>
                        </a:lnTo>
                        <a:lnTo>
                          <a:pt x="445" y="55"/>
                        </a:lnTo>
                        <a:lnTo>
                          <a:pt x="447" y="62"/>
                        </a:lnTo>
                        <a:lnTo>
                          <a:pt x="452" y="65"/>
                        </a:lnTo>
                        <a:lnTo>
                          <a:pt x="455" y="67"/>
                        </a:lnTo>
                        <a:lnTo>
                          <a:pt x="458" y="67"/>
                        </a:lnTo>
                        <a:lnTo>
                          <a:pt x="462" y="72"/>
                        </a:lnTo>
                        <a:lnTo>
                          <a:pt x="467" y="72"/>
                        </a:lnTo>
                        <a:lnTo>
                          <a:pt x="477" y="70"/>
                        </a:lnTo>
                        <a:lnTo>
                          <a:pt x="487" y="73"/>
                        </a:lnTo>
                        <a:lnTo>
                          <a:pt x="502" y="73"/>
                        </a:lnTo>
                        <a:lnTo>
                          <a:pt x="507" y="72"/>
                        </a:lnTo>
                        <a:lnTo>
                          <a:pt x="510" y="70"/>
                        </a:lnTo>
                        <a:lnTo>
                          <a:pt x="515" y="70"/>
                        </a:lnTo>
                        <a:lnTo>
                          <a:pt x="520" y="72"/>
                        </a:lnTo>
                        <a:lnTo>
                          <a:pt x="522" y="72"/>
                        </a:lnTo>
                        <a:lnTo>
                          <a:pt x="526" y="67"/>
                        </a:lnTo>
                        <a:lnTo>
                          <a:pt x="535" y="62"/>
                        </a:lnTo>
                        <a:lnTo>
                          <a:pt x="541" y="62"/>
                        </a:lnTo>
                        <a:lnTo>
                          <a:pt x="545" y="58"/>
                        </a:lnTo>
                        <a:lnTo>
                          <a:pt x="548" y="57"/>
                        </a:lnTo>
                        <a:lnTo>
                          <a:pt x="560" y="57"/>
                        </a:lnTo>
                        <a:lnTo>
                          <a:pt x="565" y="53"/>
                        </a:lnTo>
                        <a:lnTo>
                          <a:pt x="566" y="50"/>
                        </a:lnTo>
                        <a:lnTo>
                          <a:pt x="566" y="47"/>
                        </a:lnTo>
                        <a:lnTo>
                          <a:pt x="570" y="43"/>
                        </a:lnTo>
                        <a:lnTo>
                          <a:pt x="575" y="42"/>
                        </a:lnTo>
                        <a:lnTo>
                          <a:pt x="578" y="38"/>
                        </a:lnTo>
                        <a:lnTo>
                          <a:pt x="580" y="33"/>
                        </a:lnTo>
                        <a:lnTo>
                          <a:pt x="583" y="30"/>
                        </a:lnTo>
                        <a:lnTo>
                          <a:pt x="588" y="30"/>
                        </a:lnTo>
                        <a:lnTo>
                          <a:pt x="590" y="32"/>
                        </a:lnTo>
                        <a:lnTo>
                          <a:pt x="596" y="30"/>
                        </a:lnTo>
                        <a:lnTo>
                          <a:pt x="601" y="30"/>
                        </a:lnTo>
                        <a:lnTo>
                          <a:pt x="606" y="33"/>
                        </a:lnTo>
                        <a:lnTo>
                          <a:pt x="610" y="37"/>
                        </a:lnTo>
                        <a:lnTo>
                          <a:pt x="613" y="38"/>
                        </a:lnTo>
                        <a:lnTo>
                          <a:pt x="618" y="37"/>
                        </a:lnTo>
                        <a:lnTo>
                          <a:pt x="620" y="38"/>
                        </a:lnTo>
                        <a:lnTo>
                          <a:pt x="624" y="38"/>
                        </a:lnTo>
                        <a:lnTo>
                          <a:pt x="629" y="35"/>
                        </a:lnTo>
                        <a:lnTo>
                          <a:pt x="629" y="32"/>
                        </a:lnTo>
                        <a:lnTo>
                          <a:pt x="638" y="32"/>
                        </a:lnTo>
                        <a:lnTo>
                          <a:pt x="646" y="33"/>
                        </a:lnTo>
                        <a:lnTo>
                          <a:pt x="649" y="37"/>
                        </a:lnTo>
                        <a:lnTo>
                          <a:pt x="644" y="70"/>
                        </a:lnTo>
                        <a:lnTo>
                          <a:pt x="646" y="78"/>
                        </a:lnTo>
                        <a:lnTo>
                          <a:pt x="643" y="83"/>
                        </a:lnTo>
                        <a:lnTo>
                          <a:pt x="644" y="88"/>
                        </a:lnTo>
                        <a:lnTo>
                          <a:pt x="641" y="98"/>
                        </a:lnTo>
                        <a:lnTo>
                          <a:pt x="644" y="105"/>
                        </a:lnTo>
                        <a:lnTo>
                          <a:pt x="656" y="110"/>
                        </a:lnTo>
                        <a:lnTo>
                          <a:pt x="664" y="105"/>
                        </a:lnTo>
                        <a:lnTo>
                          <a:pt x="674" y="105"/>
                        </a:lnTo>
                        <a:lnTo>
                          <a:pt x="684" y="106"/>
                        </a:lnTo>
                        <a:lnTo>
                          <a:pt x="689" y="110"/>
                        </a:lnTo>
                        <a:lnTo>
                          <a:pt x="694" y="101"/>
                        </a:lnTo>
                        <a:lnTo>
                          <a:pt x="694" y="98"/>
                        </a:lnTo>
                        <a:lnTo>
                          <a:pt x="694" y="93"/>
                        </a:lnTo>
                        <a:lnTo>
                          <a:pt x="701" y="92"/>
                        </a:lnTo>
                        <a:lnTo>
                          <a:pt x="704" y="90"/>
                        </a:lnTo>
                        <a:lnTo>
                          <a:pt x="714" y="92"/>
                        </a:lnTo>
                        <a:lnTo>
                          <a:pt x="721" y="100"/>
                        </a:lnTo>
                        <a:lnTo>
                          <a:pt x="729" y="106"/>
                        </a:lnTo>
                        <a:lnTo>
                          <a:pt x="736" y="115"/>
                        </a:lnTo>
                        <a:lnTo>
                          <a:pt x="746" y="120"/>
                        </a:lnTo>
                        <a:lnTo>
                          <a:pt x="746" y="123"/>
                        </a:lnTo>
                        <a:lnTo>
                          <a:pt x="747" y="126"/>
                        </a:lnTo>
                        <a:lnTo>
                          <a:pt x="747" y="131"/>
                        </a:lnTo>
                        <a:lnTo>
                          <a:pt x="746" y="133"/>
                        </a:lnTo>
                        <a:lnTo>
                          <a:pt x="746" y="136"/>
                        </a:lnTo>
                        <a:lnTo>
                          <a:pt x="744" y="138"/>
                        </a:lnTo>
                        <a:lnTo>
                          <a:pt x="739" y="138"/>
                        </a:lnTo>
                        <a:lnTo>
                          <a:pt x="737" y="136"/>
                        </a:lnTo>
                        <a:lnTo>
                          <a:pt x="732" y="136"/>
                        </a:lnTo>
                        <a:lnTo>
                          <a:pt x="729" y="138"/>
                        </a:lnTo>
                        <a:lnTo>
                          <a:pt x="722" y="136"/>
                        </a:lnTo>
                        <a:lnTo>
                          <a:pt x="719" y="136"/>
                        </a:lnTo>
                        <a:lnTo>
                          <a:pt x="714" y="141"/>
                        </a:lnTo>
                        <a:lnTo>
                          <a:pt x="708" y="146"/>
                        </a:lnTo>
                        <a:lnTo>
                          <a:pt x="704" y="150"/>
                        </a:lnTo>
                        <a:lnTo>
                          <a:pt x="699" y="146"/>
                        </a:lnTo>
                        <a:lnTo>
                          <a:pt x="698" y="146"/>
                        </a:lnTo>
                        <a:lnTo>
                          <a:pt x="698" y="151"/>
                        </a:lnTo>
                        <a:lnTo>
                          <a:pt x="696" y="153"/>
                        </a:lnTo>
                        <a:lnTo>
                          <a:pt x="693" y="153"/>
                        </a:lnTo>
                        <a:lnTo>
                          <a:pt x="689" y="153"/>
                        </a:lnTo>
                        <a:lnTo>
                          <a:pt x="688" y="156"/>
                        </a:lnTo>
                        <a:lnTo>
                          <a:pt x="684" y="161"/>
                        </a:lnTo>
                        <a:lnTo>
                          <a:pt x="683" y="168"/>
                        </a:lnTo>
                        <a:lnTo>
                          <a:pt x="683" y="173"/>
                        </a:lnTo>
                        <a:lnTo>
                          <a:pt x="681" y="176"/>
                        </a:lnTo>
                        <a:lnTo>
                          <a:pt x="674" y="176"/>
                        </a:lnTo>
                        <a:lnTo>
                          <a:pt x="664" y="183"/>
                        </a:lnTo>
                        <a:lnTo>
                          <a:pt x="659" y="183"/>
                        </a:lnTo>
                        <a:lnTo>
                          <a:pt x="653" y="183"/>
                        </a:lnTo>
                        <a:lnTo>
                          <a:pt x="649" y="185"/>
                        </a:lnTo>
                        <a:lnTo>
                          <a:pt x="646" y="193"/>
                        </a:lnTo>
                        <a:lnTo>
                          <a:pt x="641" y="196"/>
                        </a:lnTo>
                        <a:lnTo>
                          <a:pt x="636" y="199"/>
                        </a:lnTo>
                        <a:lnTo>
                          <a:pt x="633" y="203"/>
                        </a:lnTo>
                        <a:lnTo>
                          <a:pt x="631" y="206"/>
                        </a:lnTo>
                        <a:lnTo>
                          <a:pt x="628" y="206"/>
                        </a:lnTo>
                        <a:lnTo>
                          <a:pt x="623" y="204"/>
                        </a:lnTo>
                        <a:lnTo>
                          <a:pt x="618" y="203"/>
                        </a:lnTo>
                        <a:lnTo>
                          <a:pt x="610" y="201"/>
                        </a:lnTo>
                        <a:lnTo>
                          <a:pt x="605" y="198"/>
                        </a:lnTo>
                        <a:lnTo>
                          <a:pt x="598" y="196"/>
                        </a:lnTo>
                        <a:lnTo>
                          <a:pt x="588" y="199"/>
                        </a:lnTo>
                        <a:lnTo>
                          <a:pt x="583" y="203"/>
                        </a:lnTo>
                        <a:lnTo>
                          <a:pt x="580" y="208"/>
                        </a:lnTo>
                        <a:lnTo>
                          <a:pt x="580" y="216"/>
                        </a:lnTo>
                        <a:lnTo>
                          <a:pt x="580" y="221"/>
                        </a:lnTo>
                        <a:lnTo>
                          <a:pt x="580" y="224"/>
                        </a:lnTo>
                        <a:lnTo>
                          <a:pt x="590" y="231"/>
                        </a:lnTo>
                        <a:lnTo>
                          <a:pt x="600" y="236"/>
                        </a:lnTo>
                        <a:lnTo>
                          <a:pt x="600" y="239"/>
                        </a:lnTo>
                        <a:lnTo>
                          <a:pt x="598" y="243"/>
                        </a:lnTo>
                        <a:lnTo>
                          <a:pt x="595" y="248"/>
                        </a:lnTo>
                        <a:lnTo>
                          <a:pt x="585" y="258"/>
                        </a:lnTo>
                        <a:lnTo>
                          <a:pt x="578" y="268"/>
                        </a:lnTo>
                        <a:lnTo>
                          <a:pt x="575" y="274"/>
                        </a:lnTo>
                        <a:lnTo>
                          <a:pt x="570" y="274"/>
                        </a:lnTo>
                        <a:lnTo>
                          <a:pt x="563" y="278"/>
                        </a:lnTo>
                        <a:lnTo>
                          <a:pt x="556" y="278"/>
                        </a:lnTo>
                        <a:lnTo>
                          <a:pt x="550" y="281"/>
                        </a:lnTo>
                        <a:lnTo>
                          <a:pt x="543" y="286"/>
                        </a:lnTo>
                        <a:lnTo>
                          <a:pt x="536" y="286"/>
                        </a:lnTo>
                        <a:lnTo>
                          <a:pt x="526" y="288"/>
                        </a:lnTo>
                        <a:lnTo>
                          <a:pt x="520" y="289"/>
                        </a:lnTo>
                        <a:lnTo>
                          <a:pt x="512" y="291"/>
                        </a:lnTo>
                        <a:lnTo>
                          <a:pt x="495" y="296"/>
                        </a:lnTo>
                        <a:lnTo>
                          <a:pt x="482" y="301"/>
                        </a:lnTo>
                        <a:lnTo>
                          <a:pt x="475" y="307"/>
                        </a:lnTo>
                        <a:lnTo>
                          <a:pt x="463" y="316"/>
                        </a:lnTo>
                        <a:lnTo>
                          <a:pt x="460" y="319"/>
                        </a:lnTo>
                        <a:lnTo>
                          <a:pt x="453" y="319"/>
                        </a:lnTo>
                        <a:lnTo>
                          <a:pt x="447" y="317"/>
                        </a:lnTo>
                        <a:lnTo>
                          <a:pt x="447" y="314"/>
                        </a:lnTo>
                        <a:lnTo>
                          <a:pt x="445" y="311"/>
                        </a:lnTo>
                        <a:lnTo>
                          <a:pt x="435" y="314"/>
                        </a:lnTo>
                        <a:lnTo>
                          <a:pt x="427" y="314"/>
                        </a:lnTo>
                        <a:lnTo>
                          <a:pt x="419" y="311"/>
                        </a:lnTo>
                        <a:lnTo>
                          <a:pt x="412" y="311"/>
                        </a:lnTo>
                        <a:lnTo>
                          <a:pt x="397" y="304"/>
                        </a:lnTo>
                        <a:lnTo>
                          <a:pt x="380" y="299"/>
                        </a:lnTo>
                        <a:lnTo>
                          <a:pt x="374" y="291"/>
                        </a:lnTo>
                        <a:lnTo>
                          <a:pt x="367" y="291"/>
                        </a:lnTo>
                        <a:lnTo>
                          <a:pt x="349" y="289"/>
                        </a:lnTo>
                        <a:lnTo>
                          <a:pt x="334" y="289"/>
                        </a:lnTo>
                        <a:lnTo>
                          <a:pt x="330" y="289"/>
                        </a:lnTo>
                        <a:lnTo>
                          <a:pt x="327" y="291"/>
                        </a:lnTo>
                        <a:lnTo>
                          <a:pt x="327" y="293"/>
                        </a:lnTo>
                        <a:lnTo>
                          <a:pt x="319" y="296"/>
                        </a:lnTo>
                        <a:lnTo>
                          <a:pt x="307" y="297"/>
                        </a:lnTo>
                        <a:lnTo>
                          <a:pt x="287" y="296"/>
                        </a:lnTo>
                        <a:lnTo>
                          <a:pt x="272" y="296"/>
                        </a:lnTo>
                        <a:lnTo>
                          <a:pt x="261" y="296"/>
                        </a:lnTo>
                        <a:lnTo>
                          <a:pt x="251" y="296"/>
                        </a:lnTo>
                        <a:lnTo>
                          <a:pt x="246" y="297"/>
                        </a:lnTo>
                        <a:lnTo>
                          <a:pt x="242" y="296"/>
                        </a:lnTo>
                        <a:lnTo>
                          <a:pt x="237" y="286"/>
                        </a:lnTo>
                        <a:lnTo>
                          <a:pt x="234" y="281"/>
                        </a:lnTo>
                        <a:lnTo>
                          <a:pt x="229" y="274"/>
                        </a:lnTo>
                        <a:lnTo>
                          <a:pt x="226" y="269"/>
                        </a:lnTo>
                        <a:lnTo>
                          <a:pt x="223" y="264"/>
                        </a:lnTo>
                        <a:lnTo>
                          <a:pt x="223" y="261"/>
                        </a:lnTo>
                        <a:lnTo>
                          <a:pt x="219" y="258"/>
                        </a:lnTo>
                        <a:lnTo>
                          <a:pt x="216" y="256"/>
                        </a:lnTo>
                        <a:lnTo>
                          <a:pt x="213" y="256"/>
                        </a:lnTo>
                        <a:lnTo>
                          <a:pt x="213" y="254"/>
                        </a:lnTo>
                        <a:lnTo>
                          <a:pt x="211" y="249"/>
                        </a:lnTo>
                        <a:lnTo>
                          <a:pt x="209" y="249"/>
                        </a:lnTo>
                        <a:lnTo>
                          <a:pt x="208" y="249"/>
                        </a:lnTo>
                        <a:lnTo>
                          <a:pt x="201" y="249"/>
                        </a:lnTo>
                        <a:lnTo>
                          <a:pt x="194" y="246"/>
                        </a:lnTo>
                        <a:lnTo>
                          <a:pt x="186" y="241"/>
                        </a:lnTo>
                        <a:lnTo>
                          <a:pt x="183" y="239"/>
                        </a:lnTo>
                        <a:lnTo>
                          <a:pt x="181" y="239"/>
                        </a:lnTo>
                        <a:lnTo>
                          <a:pt x="176" y="239"/>
                        </a:lnTo>
                        <a:lnTo>
                          <a:pt x="174" y="238"/>
                        </a:lnTo>
                        <a:lnTo>
                          <a:pt x="166" y="233"/>
                        </a:lnTo>
                        <a:lnTo>
                          <a:pt x="151" y="229"/>
                        </a:lnTo>
                        <a:lnTo>
                          <a:pt x="149" y="229"/>
                        </a:lnTo>
                        <a:lnTo>
                          <a:pt x="146" y="231"/>
                        </a:lnTo>
                        <a:lnTo>
                          <a:pt x="139" y="231"/>
                        </a:lnTo>
                        <a:lnTo>
                          <a:pt x="129" y="233"/>
                        </a:lnTo>
                        <a:lnTo>
                          <a:pt x="106" y="228"/>
                        </a:lnTo>
                        <a:lnTo>
                          <a:pt x="101" y="224"/>
                        </a:lnTo>
                        <a:lnTo>
                          <a:pt x="95" y="218"/>
                        </a:lnTo>
                        <a:lnTo>
                          <a:pt x="95" y="214"/>
                        </a:lnTo>
                        <a:lnTo>
                          <a:pt x="95" y="211"/>
                        </a:lnTo>
                        <a:lnTo>
                          <a:pt x="96" y="208"/>
                        </a:lnTo>
                        <a:lnTo>
                          <a:pt x="100" y="206"/>
                        </a:lnTo>
                        <a:lnTo>
                          <a:pt x="101" y="201"/>
                        </a:lnTo>
                        <a:lnTo>
                          <a:pt x="98" y="199"/>
                        </a:lnTo>
                        <a:lnTo>
                          <a:pt x="96" y="193"/>
                        </a:lnTo>
                        <a:lnTo>
                          <a:pt x="98" y="191"/>
                        </a:lnTo>
                        <a:lnTo>
                          <a:pt x="98" y="186"/>
                        </a:lnTo>
                        <a:lnTo>
                          <a:pt x="96" y="183"/>
                        </a:lnTo>
                        <a:lnTo>
                          <a:pt x="93" y="180"/>
                        </a:lnTo>
                        <a:lnTo>
                          <a:pt x="90" y="178"/>
                        </a:lnTo>
                        <a:lnTo>
                          <a:pt x="85" y="175"/>
                        </a:lnTo>
                        <a:lnTo>
                          <a:pt x="83" y="171"/>
                        </a:lnTo>
                        <a:lnTo>
                          <a:pt x="81" y="168"/>
                        </a:lnTo>
                        <a:lnTo>
                          <a:pt x="80" y="163"/>
                        </a:lnTo>
                        <a:lnTo>
                          <a:pt x="80" y="160"/>
                        </a:lnTo>
                        <a:lnTo>
                          <a:pt x="76" y="156"/>
                        </a:lnTo>
                        <a:lnTo>
                          <a:pt x="73" y="153"/>
                        </a:lnTo>
                        <a:lnTo>
                          <a:pt x="70" y="153"/>
                        </a:lnTo>
                        <a:lnTo>
                          <a:pt x="66" y="150"/>
                        </a:lnTo>
                        <a:lnTo>
                          <a:pt x="63" y="148"/>
                        </a:lnTo>
                        <a:lnTo>
                          <a:pt x="60" y="148"/>
                        </a:lnTo>
                        <a:lnTo>
                          <a:pt x="56" y="151"/>
                        </a:lnTo>
                        <a:lnTo>
                          <a:pt x="55" y="151"/>
                        </a:lnTo>
                        <a:lnTo>
                          <a:pt x="51" y="151"/>
                        </a:lnTo>
                        <a:lnTo>
                          <a:pt x="48" y="146"/>
                        </a:lnTo>
                        <a:lnTo>
                          <a:pt x="46" y="145"/>
                        </a:lnTo>
                        <a:lnTo>
                          <a:pt x="41" y="145"/>
                        </a:lnTo>
                        <a:lnTo>
                          <a:pt x="38" y="148"/>
                        </a:lnTo>
                        <a:lnTo>
                          <a:pt x="35" y="150"/>
                        </a:lnTo>
                        <a:lnTo>
                          <a:pt x="35" y="151"/>
                        </a:lnTo>
                        <a:lnTo>
                          <a:pt x="33" y="151"/>
                        </a:lnTo>
                        <a:lnTo>
                          <a:pt x="28" y="150"/>
                        </a:lnTo>
                        <a:lnTo>
                          <a:pt x="27" y="146"/>
                        </a:lnTo>
                        <a:lnTo>
                          <a:pt x="27" y="145"/>
                        </a:lnTo>
                        <a:lnTo>
                          <a:pt x="23" y="140"/>
                        </a:lnTo>
                        <a:lnTo>
                          <a:pt x="18" y="138"/>
                        </a:lnTo>
                        <a:lnTo>
                          <a:pt x="15" y="135"/>
                        </a:lnTo>
                        <a:lnTo>
                          <a:pt x="12" y="133"/>
                        </a:lnTo>
                        <a:lnTo>
                          <a:pt x="10" y="131"/>
                        </a:lnTo>
                        <a:lnTo>
                          <a:pt x="8" y="128"/>
                        </a:lnTo>
                        <a:lnTo>
                          <a:pt x="8" y="125"/>
                        </a:lnTo>
                        <a:lnTo>
                          <a:pt x="7" y="123"/>
                        </a:lnTo>
                        <a:lnTo>
                          <a:pt x="5" y="123"/>
                        </a:lnTo>
                        <a:lnTo>
                          <a:pt x="5" y="125"/>
                        </a:lnTo>
                        <a:lnTo>
                          <a:pt x="3" y="125"/>
                        </a:lnTo>
                        <a:lnTo>
                          <a:pt x="2" y="121"/>
                        </a:lnTo>
                        <a:lnTo>
                          <a:pt x="0" y="121"/>
                        </a:lnTo>
                        <a:lnTo>
                          <a:pt x="0" y="116"/>
                        </a:lnTo>
                        <a:lnTo>
                          <a:pt x="0" y="113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13" name="Google Shape;2968;p98">
                    <a:extLst>
                      <a:ext uri="{FF2B5EF4-FFF2-40B4-BE49-F238E27FC236}">
                        <a16:creationId xmlns:a16="http://schemas.microsoft.com/office/drawing/2014/main" id="{3A0080C2-083B-E812-9C30-411005477DB7}"/>
                      </a:ext>
                    </a:extLst>
                  </p:cNvPr>
                  <p:cNvSpPr/>
                  <p:nvPr/>
                </p:nvSpPr>
                <p:spPr>
                  <a:xfrm>
                    <a:off x="6967263" y="2534064"/>
                    <a:ext cx="493384" cy="22619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22" h="437" extrusionOk="0">
                        <a:moveTo>
                          <a:pt x="71" y="294"/>
                        </a:moveTo>
                        <a:lnTo>
                          <a:pt x="65" y="289"/>
                        </a:lnTo>
                        <a:lnTo>
                          <a:pt x="58" y="291"/>
                        </a:lnTo>
                        <a:lnTo>
                          <a:pt x="50" y="286"/>
                        </a:lnTo>
                        <a:lnTo>
                          <a:pt x="50" y="282"/>
                        </a:lnTo>
                        <a:lnTo>
                          <a:pt x="60" y="282"/>
                        </a:lnTo>
                        <a:lnTo>
                          <a:pt x="50" y="267"/>
                        </a:lnTo>
                        <a:lnTo>
                          <a:pt x="38" y="257"/>
                        </a:lnTo>
                        <a:lnTo>
                          <a:pt x="23" y="254"/>
                        </a:lnTo>
                        <a:lnTo>
                          <a:pt x="21" y="257"/>
                        </a:lnTo>
                        <a:lnTo>
                          <a:pt x="13" y="251"/>
                        </a:lnTo>
                        <a:lnTo>
                          <a:pt x="15" y="248"/>
                        </a:lnTo>
                        <a:lnTo>
                          <a:pt x="10" y="243"/>
                        </a:lnTo>
                        <a:lnTo>
                          <a:pt x="0" y="239"/>
                        </a:lnTo>
                        <a:lnTo>
                          <a:pt x="3" y="231"/>
                        </a:lnTo>
                        <a:lnTo>
                          <a:pt x="6" y="218"/>
                        </a:lnTo>
                        <a:lnTo>
                          <a:pt x="3" y="214"/>
                        </a:lnTo>
                        <a:lnTo>
                          <a:pt x="1" y="203"/>
                        </a:lnTo>
                        <a:lnTo>
                          <a:pt x="6" y="201"/>
                        </a:lnTo>
                        <a:lnTo>
                          <a:pt x="11" y="194"/>
                        </a:lnTo>
                        <a:lnTo>
                          <a:pt x="11" y="189"/>
                        </a:lnTo>
                        <a:lnTo>
                          <a:pt x="16" y="184"/>
                        </a:lnTo>
                        <a:lnTo>
                          <a:pt x="28" y="194"/>
                        </a:lnTo>
                        <a:lnTo>
                          <a:pt x="30" y="199"/>
                        </a:lnTo>
                        <a:lnTo>
                          <a:pt x="38" y="203"/>
                        </a:lnTo>
                        <a:lnTo>
                          <a:pt x="45" y="203"/>
                        </a:lnTo>
                        <a:lnTo>
                          <a:pt x="45" y="196"/>
                        </a:lnTo>
                        <a:lnTo>
                          <a:pt x="48" y="194"/>
                        </a:lnTo>
                        <a:lnTo>
                          <a:pt x="41" y="176"/>
                        </a:lnTo>
                        <a:lnTo>
                          <a:pt x="50" y="176"/>
                        </a:lnTo>
                        <a:lnTo>
                          <a:pt x="56" y="176"/>
                        </a:lnTo>
                        <a:lnTo>
                          <a:pt x="56" y="169"/>
                        </a:lnTo>
                        <a:lnTo>
                          <a:pt x="53" y="166"/>
                        </a:lnTo>
                        <a:lnTo>
                          <a:pt x="55" y="161"/>
                        </a:lnTo>
                        <a:lnTo>
                          <a:pt x="63" y="158"/>
                        </a:lnTo>
                        <a:lnTo>
                          <a:pt x="66" y="156"/>
                        </a:lnTo>
                        <a:lnTo>
                          <a:pt x="68" y="151"/>
                        </a:lnTo>
                        <a:lnTo>
                          <a:pt x="71" y="148"/>
                        </a:lnTo>
                        <a:lnTo>
                          <a:pt x="76" y="150"/>
                        </a:lnTo>
                        <a:lnTo>
                          <a:pt x="78" y="146"/>
                        </a:lnTo>
                        <a:lnTo>
                          <a:pt x="76" y="141"/>
                        </a:lnTo>
                        <a:lnTo>
                          <a:pt x="78" y="140"/>
                        </a:lnTo>
                        <a:lnTo>
                          <a:pt x="84" y="143"/>
                        </a:lnTo>
                        <a:lnTo>
                          <a:pt x="89" y="145"/>
                        </a:lnTo>
                        <a:lnTo>
                          <a:pt x="89" y="148"/>
                        </a:lnTo>
                        <a:lnTo>
                          <a:pt x="86" y="151"/>
                        </a:lnTo>
                        <a:lnTo>
                          <a:pt x="88" y="155"/>
                        </a:lnTo>
                        <a:lnTo>
                          <a:pt x="93" y="151"/>
                        </a:lnTo>
                        <a:lnTo>
                          <a:pt x="94" y="148"/>
                        </a:lnTo>
                        <a:lnTo>
                          <a:pt x="98" y="146"/>
                        </a:lnTo>
                        <a:lnTo>
                          <a:pt x="98" y="150"/>
                        </a:lnTo>
                        <a:lnTo>
                          <a:pt x="101" y="146"/>
                        </a:lnTo>
                        <a:lnTo>
                          <a:pt x="101" y="145"/>
                        </a:lnTo>
                        <a:lnTo>
                          <a:pt x="106" y="145"/>
                        </a:lnTo>
                        <a:lnTo>
                          <a:pt x="111" y="141"/>
                        </a:lnTo>
                        <a:lnTo>
                          <a:pt x="116" y="141"/>
                        </a:lnTo>
                        <a:lnTo>
                          <a:pt x="118" y="146"/>
                        </a:lnTo>
                        <a:lnTo>
                          <a:pt x="124" y="150"/>
                        </a:lnTo>
                        <a:lnTo>
                          <a:pt x="133" y="148"/>
                        </a:lnTo>
                        <a:lnTo>
                          <a:pt x="136" y="148"/>
                        </a:lnTo>
                        <a:lnTo>
                          <a:pt x="139" y="151"/>
                        </a:lnTo>
                        <a:lnTo>
                          <a:pt x="141" y="151"/>
                        </a:lnTo>
                        <a:lnTo>
                          <a:pt x="146" y="156"/>
                        </a:lnTo>
                        <a:lnTo>
                          <a:pt x="153" y="156"/>
                        </a:lnTo>
                        <a:lnTo>
                          <a:pt x="156" y="161"/>
                        </a:lnTo>
                        <a:lnTo>
                          <a:pt x="163" y="166"/>
                        </a:lnTo>
                        <a:lnTo>
                          <a:pt x="166" y="166"/>
                        </a:lnTo>
                        <a:lnTo>
                          <a:pt x="167" y="169"/>
                        </a:lnTo>
                        <a:lnTo>
                          <a:pt x="169" y="174"/>
                        </a:lnTo>
                        <a:lnTo>
                          <a:pt x="171" y="174"/>
                        </a:lnTo>
                        <a:lnTo>
                          <a:pt x="174" y="171"/>
                        </a:lnTo>
                        <a:lnTo>
                          <a:pt x="174" y="164"/>
                        </a:lnTo>
                        <a:lnTo>
                          <a:pt x="179" y="163"/>
                        </a:lnTo>
                        <a:lnTo>
                          <a:pt x="182" y="166"/>
                        </a:lnTo>
                        <a:lnTo>
                          <a:pt x="191" y="168"/>
                        </a:lnTo>
                        <a:lnTo>
                          <a:pt x="194" y="173"/>
                        </a:lnTo>
                        <a:lnTo>
                          <a:pt x="197" y="173"/>
                        </a:lnTo>
                        <a:lnTo>
                          <a:pt x="204" y="169"/>
                        </a:lnTo>
                        <a:lnTo>
                          <a:pt x="204" y="161"/>
                        </a:lnTo>
                        <a:lnTo>
                          <a:pt x="209" y="161"/>
                        </a:lnTo>
                        <a:lnTo>
                          <a:pt x="209" y="156"/>
                        </a:lnTo>
                        <a:lnTo>
                          <a:pt x="214" y="156"/>
                        </a:lnTo>
                        <a:lnTo>
                          <a:pt x="216" y="159"/>
                        </a:lnTo>
                        <a:lnTo>
                          <a:pt x="219" y="155"/>
                        </a:lnTo>
                        <a:lnTo>
                          <a:pt x="224" y="155"/>
                        </a:lnTo>
                        <a:lnTo>
                          <a:pt x="231" y="159"/>
                        </a:lnTo>
                        <a:lnTo>
                          <a:pt x="232" y="163"/>
                        </a:lnTo>
                        <a:lnTo>
                          <a:pt x="239" y="163"/>
                        </a:lnTo>
                        <a:lnTo>
                          <a:pt x="239" y="156"/>
                        </a:lnTo>
                        <a:lnTo>
                          <a:pt x="242" y="156"/>
                        </a:lnTo>
                        <a:lnTo>
                          <a:pt x="247" y="156"/>
                        </a:lnTo>
                        <a:lnTo>
                          <a:pt x="251" y="153"/>
                        </a:lnTo>
                        <a:lnTo>
                          <a:pt x="256" y="156"/>
                        </a:lnTo>
                        <a:lnTo>
                          <a:pt x="259" y="158"/>
                        </a:lnTo>
                        <a:lnTo>
                          <a:pt x="257" y="161"/>
                        </a:lnTo>
                        <a:lnTo>
                          <a:pt x="254" y="163"/>
                        </a:lnTo>
                        <a:lnTo>
                          <a:pt x="259" y="168"/>
                        </a:lnTo>
                        <a:lnTo>
                          <a:pt x="264" y="168"/>
                        </a:lnTo>
                        <a:lnTo>
                          <a:pt x="265" y="168"/>
                        </a:lnTo>
                        <a:lnTo>
                          <a:pt x="269" y="169"/>
                        </a:lnTo>
                        <a:lnTo>
                          <a:pt x="275" y="168"/>
                        </a:lnTo>
                        <a:lnTo>
                          <a:pt x="284" y="173"/>
                        </a:lnTo>
                        <a:lnTo>
                          <a:pt x="290" y="173"/>
                        </a:lnTo>
                        <a:lnTo>
                          <a:pt x="292" y="168"/>
                        </a:lnTo>
                        <a:lnTo>
                          <a:pt x="292" y="163"/>
                        </a:lnTo>
                        <a:lnTo>
                          <a:pt x="295" y="161"/>
                        </a:lnTo>
                        <a:lnTo>
                          <a:pt x="302" y="164"/>
                        </a:lnTo>
                        <a:lnTo>
                          <a:pt x="310" y="166"/>
                        </a:lnTo>
                        <a:lnTo>
                          <a:pt x="317" y="163"/>
                        </a:lnTo>
                        <a:lnTo>
                          <a:pt x="320" y="159"/>
                        </a:lnTo>
                        <a:lnTo>
                          <a:pt x="319" y="143"/>
                        </a:lnTo>
                        <a:lnTo>
                          <a:pt x="317" y="141"/>
                        </a:lnTo>
                        <a:lnTo>
                          <a:pt x="309" y="141"/>
                        </a:lnTo>
                        <a:lnTo>
                          <a:pt x="305" y="138"/>
                        </a:lnTo>
                        <a:lnTo>
                          <a:pt x="304" y="135"/>
                        </a:lnTo>
                        <a:lnTo>
                          <a:pt x="299" y="135"/>
                        </a:lnTo>
                        <a:lnTo>
                          <a:pt x="295" y="131"/>
                        </a:lnTo>
                        <a:lnTo>
                          <a:pt x="289" y="131"/>
                        </a:lnTo>
                        <a:lnTo>
                          <a:pt x="289" y="128"/>
                        </a:lnTo>
                        <a:lnTo>
                          <a:pt x="287" y="126"/>
                        </a:lnTo>
                        <a:lnTo>
                          <a:pt x="289" y="123"/>
                        </a:lnTo>
                        <a:lnTo>
                          <a:pt x="292" y="123"/>
                        </a:lnTo>
                        <a:lnTo>
                          <a:pt x="294" y="118"/>
                        </a:lnTo>
                        <a:lnTo>
                          <a:pt x="297" y="115"/>
                        </a:lnTo>
                        <a:lnTo>
                          <a:pt x="295" y="110"/>
                        </a:lnTo>
                        <a:lnTo>
                          <a:pt x="292" y="110"/>
                        </a:lnTo>
                        <a:lnTo>
                          <a:pt x="292" y="105"/>
                        </a:lnTo>
                        <a:lnTo>
                          <a:pt x="297" y="96"/>
                        </a:lnTo>
                        <a:lnTo>
                          <a:pt x="304" y="93"/>
                        </a:lnTo>
                        <a:lnTo>
                          <a:pt x="314" y="91"/>
                        </a:lnTo>
                        <a:lnTo>
                          <a:pt x="317" y="93"/>
                        </a:lnTo>
                        <a:lnTo>
                          <a:pt x="320" y="91"/>
                        </a:lnTo>
                        <a:lnTo>
                          <a:pt x="320" y="86"/>
                        </a:lnTo>
                        <a:lnTo>
                          <a:pt x="315" y="85"/>
                        </a:lnTo>
                        <a:lnTo>
                          <a:pt x="312" y="81"/>
                        </a:lnTo>
                        <a:lnTo>
                          <a:pt x="307" y="81"/>
                        </a:lnTo>
                        <a:lnTo>
                          <a:pt x="305" y="85"/>
                        </a:lnTo>
                        <a:lnTo>
                          <a:pt x="300" y="81"/>
                        </a:lnTo>
                        <a:lnTo>
                          <a:pt x="294" y="81"/>
                        </a:lnTo>
                        <a:lnTo>
                          <a:pt x="294" y="80"/>
                        </a:lnTo>
                        <a:lnTo>
                          <a:pt x="295" y="78"/>
                        </a:lnTo>
                        <a:lnTo>
                          <a:pt x="302" y="78"/>
                        </a:lnTo>
                        <a:lnTo>
                          <a:pt x="300" y="73"/>
                        </a:lnTo>
                        <a:lnTo>
                          <a:pt x="294" y="73"/>
                        </a:lnTo>
                        <a:lnTo>
                          <a:pt x="289" y="71"/>
                        </a:lnTo>
                        <a:lnTo>
                          <a:pt x="292" y="70"/>
                        </a:lnTo>
                        <a:lnTo>
                          <a:pt x="289" y="65"/>
                        </a:lnTo>
                        <a:lnTo>
                          <a:pt x="290" y="63"/>
                        </a:lnTo>
                        <a:lnTo>
                          <a:pt x="295" y="63"/>
                        </a:lnTo>
                        <a:lnTo>
                          <a:pt x="299" y="60"/>
                        </a:lnTo>
                        <a:lnTo>
                          <a:pt x="302" y="60"/>
                        </a:lnTo>
                        <a:lnTo>
                          <a:pt x="304" y="63"/>
                        </a:lnTo>
                        <a:lnTo>
                          <a:pt x="309" y="61"/>
                        </a:lnTo>
                        <a:lnTo>
                          <a:pt x="314" y="65"/>
                        </a:lnTo>
                        <a:lnTo>
                          <a:pt x="315" y="63"/>
                        </a:lnTo>
                        <a:lnTo>
                          <a:pt x="315" y="60"/>
                        </a:lnTo>
                        <a:lnTo>
                          <a:pt x="320" y="58"/>
                        </a:lnTo>
                        <a:lnTo>
                          <a:pt x="324" y="58"/>
                        </a:lnTo>
                        <a:lnTo>
                          <a:pt x="327" y="61"/>
                        </a:lnTo>
                        <a:lnTo>
                          <a:pt x="329" y="60"/>
                        </a:lnTo>
                        <a:lnTo>
                          <a:pt x="330" y="57"/>
                        </a:lnTo>
                        <a:lnTo>
                          <a:pt x="339" y="53"/>
                        </a:lnTo>
                        <a:lnTo>
                          <a:pt x="344" y="53"/>
                        </a:lnTo>
                        <a:lnTo>
                          <a:pt x="350" y="50"/>
                        </a:lnTo>
                        <a:lnTo>
                          <a:pt x="355" y="50"/>
                        </a:lnTo>
                        <a:lnTo>
                          <a:pt x="357" y="48"/>
                        </a:lnTo>
                        <a:lnTo>
                          <a:pt x="363" y="45"/>
                        </a:lnTo>
                        <a:lnTo>
                          <a:pt x="370" y="45"/>
                        </a:lnTo>
                        <a:lnTo>
                          <a:pt x="373" y="42"/>
                        </a:lnTo>
                        <a:lnTo>
                          <a:pt x="377" y="42"/>
                        </a:lnTo>
                        <a:lnTo>
                          <a:pt x="380" y="43"/>
                        </a:lnTo>
                        <a:lnTo>
                          <a:pt x="382" y="42"/>
                        </a:lnTo>
                        <a:lnTo>
                          <a:pt x="382" y="37"/>
                        </a:lnTo>
                        <a:lnTo>
                          <a:pt x="385" y="35"/>
                        </a:lnTo>
                        <a:lnTo>
                          <a:pt x="390" y="35"/>
                        </a:lnTo>
                        <a:lnTo>
                          <a:pt x="390" y="32"/>
                        </a:lnTo>
                        <a:lnTo>
                          <a:pt x="393" y="30"/>
                        </a:lnTo>
                        <a:lnTo>
                          <a:pt x="397" y="32"/>
                        </a:lnTo>
                        <a:lnTo>
                          <a:pt x="400" y="32"/>
                        </a:lnTo>
                        <a:lnTo>
                          <a:pt x="405" y="30"/>
                        </a:lnTo>
                        <a:lnTo>
                          <a:pt x="410" y="28"/>
                        </a:lnTo>
                        <a:lnTo>
                          <a:pt x="420" y="22"/>
                        </a:lnTo>
                        <a:lnTo>
                          <a:pt x="423" y="22"/>
                        </a:lnTo>
                        <a:lnTo>
                          <a:pt x="425" y="20"/>
                        </a:lnTo>
                        <a:lnTo>
                          <a:pt x="430" y="20"/>
                        </a:lnTo>
                        <a:lnTo>
                          <a:pt x="433" y="15"/>
                        </a:lnTo>
                        <a:lnTo>
                          <a:pt x="437" y="17"/>
                        </a:lnTo>
                        <a:lnTo>
                          <a:pt x="443" y="15"/>
                        </a:lnTo>
                        <a:lnTo>
                          <a:pt x="443" y="12"/>
                        </a:lnTo>
                        <a:lnTo>
                          <a:pt x="442" y="8"/>
                        </a:lnTo>
                        <a:lnTo>
                          <a:pt x="443" y="7"/>
                        </a:lnTo>
                        <a:lnTo>
                          <a:pt x="450" y="7"/>
                        </a:lnTo>
                        <a:lnTo>
                          <a:pt x="452" y="3"/>
                        </a:lnTo>
                        <a:lnTo>
                          <a:pt x="457" y="0"/>
                        </a:lnTo>
                        <a:lnTo>
                          <a:pt x="458" y="2"/>
                        </a:lnTo>
                        <a:lnTo>
                          <a:pt x="463" y="0"/>
                        </a:lnTo>
                        <a:lnTo>
                          <a:pt x="468" y="2"/>
                        </a:lnTo>
                        <a:lnTo>
                          <a:pt x="475" y="2"/>
                        </a:lnTo>
                        <a:lnTo>
                          <a:pt x="481" y="5"/>
                        </a:lnTo>
                        <a:lnTo>
                          <a:pt x="486" y="5"/>
                        </a:lnTo>
                        <a:lnTo>
                          <a:pt x="491" y="3"/>
                        </a:lnTo>
                        <a:lnTo>
                          <a:pt x="496" y="3"/>
                        </a:lnTo>
                        <a:lnTo>
                          <a:pt x="500" y="8"/>
                        </a:lnTo>
                        <a:lnTo>
                          <a:pt x="501" y="10"/>
                        </a:lnTo>
                        <a:lnTo>
                          <a:pt x="503" y="15"/>
                        </a:lnTo>
                        <a:lnTo>
                          <a:pt x="506" y="18"/>
                        </a:lnTo>
                        <a:lnTo>
                          <a:pt x="510" y="20"/>
                        </a:lnTo>
                        <a:lnTo>
                          <a:pt x="510" y="22"/>
                        </a:lnTo>
                        <a:lnTo>
                          <a:pt x="508" y="27"/>
                        </a:lnTo>
                        <a:lnTo>
                          <a:pt x="510" y="30"/>
                        </a:lnTo>
                        <a:lnTo>
                          <a:pt x="510" y="32"/>
                        </a:lnTo>
                        <a:lnTo>
                          <a:pt x="505" y="33"/>
                        </a:lnTo>
                        <a:lnTo>
                          <a:pt x="508" y="37"/>
                        </a:lnTo>
                        <a:lnTo>
                          <a:pt x="510" y="38"/>
                        </a:lnTo>
                        <a:lnTo>
                          <a:pt x="516" y="37"/>
                        </a:lnTo>
                        <a:lnTo>
                          <a:pt x="520" y="38"/>
                        </a:lnTo>
                        <a:lnTo>
                          <a:pt x="523" y="38"/>
                        </a:lnTo>
                        <a:lnTo>
                          <a:pt x="523" y="33"/>
                        </a:lnTo>
                        <a:lnTo>
                          <a:pt x="526" y="33"/>
                        </a:lnTo>
                        <a:lnTo>
                          <a:pt x="528" y="37"/>
                        </a:lnTo>
                        <a:lnTo>
                          <a:pt x="531" y="37"/>
                        </a:lnTo>
                        <a:lnTo>
                          <a:pt x="531" y="33"/>
                        </a:lnTo>
                        <a:lnTo>
                          <a:pt x="530" y="30"/>
                        </a:lnTo>
                        <a:lnTo>
                          <a:pt x="531" y="28"/>
                        </a:lnTo>
                        <a:lnTo>
                          <a:pt x="540" y="33"/>
                        </a:lnTo>
                        <a:lnTo>
                          <a:pt x="540" y="42"/>
                        </a:lnTo>
                        <a:lnTo>
                          <a:pt x="543" y="47"/>
                        </a:lnTo>
                        <a:lnTo>
                          <a:pt x="546" y="47"/>
                        </a:lnTo>
                        <a:lnTo>
                          <a:pt x="550" y="43"/>
                        </a:lnTo>
                        <a:lnTo>
                          <a:pt x="548" y="42"/>
                        </a:lnTo>
                        <a:lnTo>
                          <a:pt x="546" y="38"/>
                        </a:lnTo>
                        <a:lnTo>
                          <a:pt x="551" y="38"/>
                        </a:lnTo>
                        <a:lnTo>
                          <a:pt x="560" y="42"/>
                        </a:lnTo>
                        <a:lnTo>
                          <a:pt x="563" y="42"/>
                        </a:lnTo>
                        <a:lnTo>
                          <a:pt x="566" y="40"/>
                        </a:lnTo>
                        <a:lnTo>
                          <a:pt x="569" y="40"/>
                        </a:lnTo>
                        <a:lnTo>
                          <a:pt x="568" y="45"/>
                        </a:lnTo>
                        <a:lnTo>
                          <a:pt x="564" y="47"/>
                        </a:lnTo>
                        <a:lnTo>
                          <a:pt x="564" y="53"/>
                        </a:lnTo>
                        <a:lnTo>
                          <a:pt x="568" y="57"/>
                        </a:lnTo>
                        <a:lnTo>
                          <a:pt x="571" y="57"/>
                        </a:lnTo>
                        <a:lnTo>
                          <a:pt x="574" y="53"/>
                        </a:lnTo>
                        <a:lnTo>
                          <a:pt x="579" y="52"/>
                        </a:lnTo>
                        <a:lnTo>
                          <a:pt x="589" y="55"/>
                        </a:lnTo>
                        <a:lnTo>
                          <a:pt x="591" y="57"/>
                        </a:lnTo>
                        <a:lnTo>
                          <a:pt x="594" y="53"/>
                        </a:lnTo>
                        <a:lnTo>
                          <a:pt x="594" y="48"/>
                        </a:lnTo>
                        <a:lnTo>
                          <a:pt x="598" y="47"/>
                        </a:lnTo>
                        <a:lnTo>
                          <a:pt x="606" y="47"/>
                        </a:lnTo>
                        <a:lnTo>
                          <a:pt x="609" y="43"/>
                        </a:lnTo>
                        <a:lnTo>
                          <a:pt x="611" y="40"/>
                        </a:lnTo>
                        <a:lnTo>
                          <a:pt x="616" y="37"/>
                        </a:lnTo>
                        <a:lnTo>
                          <a:pt x="616" y="33"/>
                        </a:lnTo>
                        <a:lnTo>
                          <a:pt x="621" y="30"/>
                        </a:lnTo>
                        <a:lnTo>
                          <a:pt x="624" y="28"/>
                        </a:lnTo>
                        <a:lnTo>
                          <a:pt x="629" y="25"/>
                        </a:lnTo>
                        <a:lnTo>
                          <a:pt x="634" y="23"/>
                        </a:lnTo>
                        <a:lnTo>
                          <a:pt x="641" y="22"/>
                        </a:lnTo>
                        <a:lnTo>
                          <a:pt x="643" y="23"/>
                        </a:lnTo>
                        <a:lnTo>
                          <a:pt x="643" y="27"/>
                        </a:lnTo>
                        <a:lnTo>
                          <a:pt x="639" y="32"/>
                        </a:lnTo>
                        <a:lnTo>
                          <a:pt x="634" y="32"/>
                        </a:lnTo>
                        <a:lnTo>
                          <a:pt x="638" y="35"/>
                        </a:lnTo>
                        <a:lnTo>
                          <a:pt x="681" y="65"/>
                        </a:lnTo>
                        <a:lnTo>
                          <a:pt x="741" y="131"/>
                        </a:lnTo>
                        <a:lnTo>
                          <a:pt x="746" y="131"/>
                        </a:lnTo>
                        <a:lnTo>
                          <a:pt x="751" y="128"/>
                        </a:lnTo>
                        <a:lnTo>
                          <a:pt x="751" y="126"/>
                        </a:lnTo>
                        <a:lnTo>
                          <a:pt x="749" y="125"/>
                        </a:lnTo>
                        <a:lnTo>
                          <a:pt x="749" y="120"/>
                        </a:lnTo>
                        <a:lnTo>
                          <a:pt x="754" y="118"/>
                        </a:lnTo>
                        <a:lnTo>
                          <a:pt x="760" y="121"/>
                        </a:lnTo>
                        <a:lnTo>
                          <a:pt x="759" y="125"/>
                        </a:lnTo>
                        <a:lnTo>
                          <a:pt x="760" y="128"/>
                        </a:lnTo>
                        <a:lnTo>
                          <a:pt x="765" y="130"/>
                        </a:lnTo>
                        <a:lnTo>
                          <a:pt x="769" y="133"/>
                        </a:lnTo>
                        <a:lnTo>
                          <a:pt x="774" y="133"/>
                        </a:lnTo>
                        <a:lnTo>
                          <a:pt x="777" y="130"/>
                        </a:lnTo>
                        <a:lnTo>
                          <a:pt x="780" y="130"/>
                        </a:lnTo>
                        <a:lnTo>
                          <a:pt x="787" y="133"/>
                        </a:lnTo>
                        <a:lnTo>
                          <a:pt x="792" y="131"/>
                        </a:lnTo>
                        <a:lnTo>
                          <a:pt x="795" y="131"/>
                        </a:lnTo>
                        <a:lnTo>
                          <a:pt x="800" y="130"/>
                        </a:lnTo>
                        <a:lnTo>
                          <a:pt x="802" y="128"/>
                        </a:lnTo>
                        <a:lnTo>
                          <a:pt x="800" y="125"/>
                        </a:lnTo>
                        <a:lnTo>
                          <a:pt x="802" y="123"/>
                        </a:lnTo>
                        <a:lnTo>
                          <a:pt x="809" y="121"/>
                        </a:lnTo>
                        <a:lnTo>
                          <a:pt x="819" y="121"/>
                        </a:lnTo>
                        <a:lnTo>
                          <a:pt x="825" y="125"/>
                        </a:lnTo>
                        <a:lnTo>
                          <a:pt x="832" y="128"/>
                        </a:lnTo>
                        <a:lnTo>
                          <a:pt x="837" y="135"/>
                        </a:lnTo>
                        <a:lnTo>
                          <a:pt x="839" y="140"/>
                        </a:lnTo>
                        <a:lnTo>
                          <a:pt x="842" y="140"/>
                        </a:lnTo>
                        <a:lnTo>
                          <a:pt x="847" y="141"/>
                        </a:lnTo>
                        <a:lnTo>
                          <a:pt x="852" y="145"/>
                        </a:lnTo>
                        <a:lnTo>
                          <a:pt x="854" y="145"/>
                        </a:lnTo>
                        <a:lnTo>
                          <a:pt x="857" y="146"/>
                        </a:lnTo>
                        <a:lnTo>
                          <a:pt x="857" y="150"/>
                        </a:lnTo>
                        <a:lnTo>
                          <a:pt x="857" y="151"/>
                        </a:lnTo>
                        <a:lnTo>
                          <a:pt x="857" y="155"/>
                        </a:lnTo>
                        <a:lnTo>
                          <a:pt x="859" y="158"/>
                        </a:lnTo>
                        <a:lnTo>
                          <a:pt x="860" y="159"/>
                        </a:lnTo>
                        <a:lnTo>
                          <a:pt x="862" y="161"/>
                        </a:lnTo>
                        <a:lnTo>
                          <a:pt x="863" y="161"/>
                        </a:lnTo>
                        <a:lnTo>
                          <a:pt x="868" y="163"/>
                        </a:lnTo>
                        <a:lnTo>
                          <a:pt x="872" y="164"/>
                        </a:lnTo>
                        <a:lnTo>
                          <a:pt x="873" y="161"/>
                        </a:lnTo>
                        <a:lnTo>
                          <a:pt x="877" y="159"/>
                        </a:lnTo>
                        <a:lnTo>
                          <a:pt x="888" y="159"/>
                        </a:lnTo>
                        <a:lnTo>
                          <a:pt x="893" y="158"/>
                        </a:lnTo>
                        <a:lnTo>
                          <a:pt x="897" y="155"/>
                        </a:lnTo>
                        <a:lnTo>
                          <a:pt x="902" y="151"/>
                        </a:lnTo>
                        <a:lnTo>
                          <a:pt x="903" y="153"/>
                        </a:lnTo>
                        <a:lnTo>
                          <a:pt x="902" y="158"/>
                        </a:lnTo>
                        <a:lnTo>
                          <a:pt x="903" y="161"/>
                        </a:lnTo>
                        <a:lnTo>
                          <a:pt x="907" y="163"/>
                        </a:lnTo>
                        <a:lnTo>
                          <a:pt x="912" y="166"/>
                        </a:lnTo>
                        <a:lnTo>
                          <a:pt x="918" y="169"/>
                        </a:lnTo>
                        <a:lnTo>
                          <a:pt x="922" y="171"/>
                        </a:lnTo>
                        <a:lnTo>
                          <a:pt x="917" y="174"/>
                        </a:lnTo>
                        <a:lnTo>
                          <a:pt x="913" y="178"/>
                        </a:lnTo>
                        <a:lnTo>
                          <a:pt x="907" y="183"/>
                        </a:lnTo>
                        <a:lnTo>
                          <a:pt x="907" y="186"/>
                        </a:lnTo>
                        <a:lnTo>
                          <a:pt x="907" y="189"/>
                        </a:lnTo>
                        <a:lnTo>
                          <a:pt x="905" y="194"/>
                        </a:lnTo>
                        <a:lnTo>
                          <a:pt x="897" y="196"/>
                        </a:lnTo>
                        <a:lnTo>
                          <a:pt x="893" y="199"/>
                        </a:lnTo>
                        <a:lnTo>
                          <a:pt x="892" y="204"/>
                        </a:lnTo>
                        <a:lnTo>
                          <a:pt x="892" y="213"/>
                        </a:lnTo>
                        <a:lnTo>
                          <a:pt x="897" y="223"/>
                        </a:lnTo>
                        <a:lnTo>
                          <a:pt x="902" y="228"/>
                        </a:lnTo>
                        <a:lnTo>
                          <a:pt x="902" y="231"/>
                        </a:lnTo>
                        <a:lnTo>
                          <a:pt x="895" y="236"/>
                        </a:lnTo>
                        <a:lnTo>
                          <a:pt x="890" y="238"/>
                        </a:lnTo>
                        <a:lnTo>
                          <a:pt x="885" y="243"/>
                        </a:lnTo>
                        <a:lnTo>
                          <a:pt x="882" y="244"/>
                        </a:lnTo>
                        <a:lnTo>
                          <a:pt x="880" y="243"/>
                        </a:lnTo>
                        <a:lnTo>
                          <a:pt x="878" y="241"/>
                        </a:lnTo>
                        <a:lnTo>
                          <a:pt x="875" y="241"/>
                        </a:lnTo>
                        <a:lnTo>
                          <a:pt x="865" y="243"/>
                        </a:lnTo>
                        <a:lnTo>
                          <a:pt x="859" y="243"/>
                        </a:lnTo>
                        <a:lnTo>
                          <a:pt x="849" y="239"/>
                        </a:lnTo>
                        <a:lnTo>
                          <a:pt x="844" y="238"/>
                        </a:lnTo>
                        <a:lnTo>
                          <a:pt x="840" y="239"/>
                        </a:lnTo>
                        <a:lnTo>
                          <a:pt x="839" y="249"/>
                        </a:lnTo>
                        <a:lnTo>
                          <a:pt x="837" y="254"/>
                        </a:lnTo>
                        <a:lnTo>
                          <a:pt x="835" y="259"/>
                        </a:lnTo>
                        <a:lnTo>
                          <a:pt x="834" y="272"/>
                        </a:lnTo>
                        <a:lnTo>
                          <a:pt x="834" y="282"/>
                        </a:lnTo>
                        <a:lnTo>
                          <a:pt x="832" y="286"/>
                        </a:lnTo>
                        <a:lnTo>
                          <a:pt x="835" y="287"/>
                        </a:lnTo>
                        <a:lnTo>
                          <a:pt x="840" y="289"/>
                        </a:lnTo>
                        <a:lnTo>
                          <a:pt x="839" y="294"/>
                        </a:lnTo>
                        <a:lnTo>
                          <a:pt x="839" y="297"/>
                        </a:lnTo>
                        <a:lnTo>
                          <a:pt x="835" y="297"/>
                        </a:lnTo>
                        <a:lnTo>
                          <a:pt x="832" y="299"/>
                        </a:lnTo>
                        <a:lnTo>
                          <a:pt x="829" y="299"/>
                        </a:lnTo>
                        <a:lnTo>
                          <a:pt x="825" y="297"/>
                        </a:lnTo>
                        <a:lnTo>
                          <a:pt x="822" y="297"/>
                        </a:lnTo>
                        <a:lnTo>
                          <a:pt x="817" y="299"/>
                        </a:lnTo>
                        <a:lnTo>
                          <a:pt x="805" y="301"/>
                        </a:lnTo>
                        <a:lnTo>
                          <a:pt x="799" y="304"/>
                        </a:lnTo>
                        <a:lnTo>
                          <a:pt x="795" y="304"/>
                        </a:lnTo>
                        <a:lnTo>
                          <a:pt x="792" y="302"/>
                        </a:lnTo>
                        <a:lnTo>
                          <a:pt x="789" y="304"/>
                        </a:lnTo>
                        <a:lnTo>
                          <a:pt x="784" y="307"/>
                        </a:lnTo>
                        <a:lnTo>
                          <a:pt x="784" y="311"/>
                        </a:lnTo>
                        <a:lnTo>
                          <a:pt x="787" y="314"/>
                        </a:lnTo>
                        <a:lnTo>
                          <a:pt x="794" y="314"/>
                        </a:lnTo>
                        <a:lnTo>
                          <a:pt x="800" y="314"/>
                        </a:lnTo>
                        <a:lnTo>
                          <a:pt x="800" y="316"/>
                        </a:lnTo>
                        <a:lnTo>
                          <a:pt x="797" y="319"/>
                        </a:lnTo>
                        <a:lnTo>
                          <a:pt x="799" y="326"/>
                        </a:lnTo>
                        <a:lnTo>
                          <a:pt x="799" y="329"/>
                        </a:lnTo>
                        <a:lnTo>
                          <a:pt x="802" y="332"/>
                        </a:lnTo>
                        <a:lnTo>
                          <a:pt x="802" y="336"/>
                        </a:lnTo>
                        <a:lnTo>
                          <a:pt x="807" y="342"/>
                        </a:lnTo>
                        <a:lnTo>
                          <a:pt x="807" y="347"/>
                        </a:lnTo>
                        <a:lnTo>
                          <a:pt x="814" y="351"/>
                        </a:lnTo>
                        <a:lnTo>
                          <a:pt x="815" y="359"/>
                        </a:lnTo>
                        <a:lnTo>
                          <a:pt x="812" y="362"/>
                        </a:lnTo>
                        <a:lnTo>
                          <a:pt x="810" y="365"/>
                        </a:lnTo>
                        <a:lnTo>
                          <a:pt x="815" y="370"/>
                        </a:lnTo>
                        <a:lnTo>
                          <a:pt x="812" y="370"/>
                        </a:lnTo>
                        <a:lnTo>
                          <a:pt x="812" y="374"/>
                        </a:lnTo>
                        <a:lnTo>
                          <a:pt x="807" y="375"/>
                        </a:lnTo>
                        <a:lnTo>
                          <a:pt x="807" y="382"/>
                        </a:lnTo>
                        <a:lnTo>
                          <a:pt x="802" y="384"/>
                        </a:lnTo>
                        <a:lnTo>
                          <a:pt x="792" y="382"/>
                        </a:lnTo>
                        <a:lnTo>
                          <a:pt x="782" y="370"/>
                        </a:lnTo>
                        <a:lnTo>
                          <a:pt x="777" y="372"/>
                        </a:lnTo>
                        <a:lnTo>
                          <a:pt x="767" y="369"/>
                        </a:lnTo>
                        <a:lnTo>
                          <a:pt x="752" y="367"/>
                        </a:lnTo>
                        <a:lnTo>
                          <a:pt x="746" y="370"/>
                        </a:lnTo>
                        <a:lnTo>
                          <a:pt x="732" y="367"/>
                        </a:lnTo>
                        <a:lnTo>
                          <a:pt x="721" y="369"/>
                        </a:lnTo>
                        <a:lnTo>
                          <a:pt x="716" y="370"/>
                        </a:lnTo>
                        <a:lnTo>
                          <a:pt x="709" y="369"/>
                        </a:lnTo>
                        <a:lnTo>
                          <a:pt x="706" y="372"/>
                        </a:lnTo>
                        <a:lnTo>
                          <a:pt x="701" y="374"/>
                        </a:lnTo>
                        <a:lnTo>
                          <a:pt x="687" y="372"/>
                        </a:lnTo>
                        <a:lnTo>
                          <a:pt x="677" y="370"/>
                        </a:lnTo>
                        <a:lnTo>
                          <a:pt x="672" y="367"/>
                        </a:lnTo>
                        <a:lnTo>
                          <a:pt x="664" y="367"/>
                        </a:lnTo>
                        <a:lnTo>
                          <a:pt x="662" y="369"/>
                        </a:lnTo>
                        <a:lnTo>
                          <a:pt x="656" y="369"/>
                        </a:lnTo>
                        <a:lnTo>
                          <a:pt x="653" y="367"/>
                        </a:lnTo>
                        <a:lnTo>
                          <a:pt x="649" y="369"/>
                        </a:lnTo>
                        <a:lnTo>
                          <a:pt x="649" y="374"/>
                        </a:lnTo>
                        <a:lnTo>
                          <a:pt x="651" y="379"/>
                        </a:lnTo>
                        <a:lnTo>
                          <a:pt x="651" y="384"/>
                        </a:lnTo>
                        <a:lnTo>
                          <a:pt x="644" y="385"/>
                        </a:lnTo>
                        <a:lnTo>
                          <a:pt x="629" y="385"/>
                        </a:lnTo>
                        <a:lnTo>
                          <a:pt x="611" y="384"/>
                        </a:lnTo>
                        <a:lnTo>
                          <a:pt x="606" y="382"/>
                        </a:lnTo>
                        <a:lnTo>
                          <a:pt x="599" y="380"/>
                        </a:lnTo>
                        <a:lnTo>
                          <a:pt x="594" y="385"/>
                        </a:lnTo>
                        <a:lnTo>
                          <a:pt x="596" y="387"/>
                        </a:lnTo>
                        <a:lnTo>
                          <a:pt x="591" y="390"/>
                        </a:lnTo>
                        <a:lnTo>
                          <a:pt x="589" y="392"/>
                        </a:lnTo>
                        <a:lnTo>
                          <a:pt x="588" y="392"/>
                        </a:lnTo>
                        <a:lnTo>
                          <a:pt x="583" y="399"/>
                        </a:lnTo>
                        <a:lnTo>
                          <a:pt x="579" y="400"/>
                        </a:lnTo>
                        <a:lnTo>
                          <a:pt x="569" y="410"/>
                        </a:lnTo>
                        <a:lnTo>
                          <a:pt x="566" y="417"/>
                        </a:lnTo>
                        <a:lnTo>
                          <a:pt x="563" y="419"/>
                        </a:lnTo>
                        <a:lnTo>
                          <a:pt x="560" y="427"/>
                        </a:lnTo>
                        <a:lnTo>
                          <a:pt x="550" y="435"/>
                        </a:lnTo>
                        <a:lnTo>
                          <a:pt x="546" y="434"/>
                        </a:lnTo>
                        <a:lnTo>
                          <a:pt x="536" y="429"/>
                        </a:lnTo>
                        <a:lnTo>
                          <a:pt x="528" y="429"/>
                        </a:lnTo>
                        <a:lnTo>
                          <a:pt x="520" y="429"/>
                        </a:lnTo>
                        <a:lnTo>
                          <a:pt x="510" y="435"/>
                        </a:lnTo>
                        <a:lnTo>
                          <a:pt x="505" y="434"/>
                        </a:lnTo>
                        <a:lnTo>
                          <a:pt x="495" y="409"/>
                        </a:lnTo>
                        <a:lnTo>
                          <a:pt x="476" y="407"/>
                        </a:lnTo>
                        <a:lnTo>
                          <a:pt x="476" y="375"/>
                        </a:lnTo>
                        <a:lnTo>
                          <a:pt x="468" y="379"/>
                        </a:lnTo>
                        <a:lnTo>
                          <a:pt x="462" y="365"/>
                        </a:lnTo>
                        <a:lnTo>
                          <a:pt x="450" y="357"/>
                        </a:lnTo>
                        <a:lnTo>
                          <a:pt x="410" y="357"/>
                        </a:lnTo>
                        <a:lnTo>
                          <a:pt x="373" y="360"/>
                        </a:lnTo>
                        <a:lnTo>
                          <a:pt x="354" y="349"/>
                        </a:lnTo>
                        <a:lnTo>
                          <a:pt x="339" y="344"/>
                        </a:lnTo>
                        <a:lnTo>
                          <a:pt x="300" y="319"/>
                        </a:lnTo>
                        <a:lnTo>
                          <a:pt x="236" y="331"/>
                        </a:lnTo>
                        <a:lnTo>
                          <a:pt x="256" y="435"/>
                        </a:lnTo>
                        <a:lnTo>
                          <a:pt x="252" y="435"/>
                        </a:lnTo>
                        <a:lnTo>
                          <a:pt x="242" y="437"/>
                        </a:lnTo>
                        <a:lnTo>
                          <a:pt x="226" y="420"/>
                        </a:lnTo>
                        <a:lnTo>
                          <a:pt x="209" y="412"/>
                        </a:lnTo>
                        <a:lnTo>
                          <a:pt x="194" y="410"/>
                        </a:lnTo>
                        <a:lnTo>
                          <a:pt x="182" y="414"/>
                        </a:lnTo>
                        <a:lnTo>
                          <a:pt x="167" y="425"/>
                        </a:lnTo>
                        <a:lnTo>
                          <a:pt x="166" y="420"/>
                        </a:lnTo>
                        <a:lnTo>
                          <a:pt x="164" y="415"/>
                        </a:lnTo>
                        <a:lnTo>
                          <a:pt x="167" y="409"/>
                        </a:lnTo>
                        <a:lnTo>
                          <a:pt x="169" y="402"/>
                        </a:lnTo>
                        <a:lnTo>
                          <a:pt x="167" y="400"/>
                        </a:lnTo>
                        <a:lnTo>
                          <a:pt x="169" y="399"/>
                        </a:lnTo>
                        <a:lnTo>
                          <a:pt x="167" y="397"/>
                        </a:lnTo>
                        <a:lnTo>
                          <a:pt x="163" y="399"/>
                        </a:lnTo>
                        <a:lnTo>
                          <a:pt x="158" y="397"/>
                        </a:lnTo>
                        <a:lnTo>
                          <a:pt x="154" y="395"/>
                        </a:lnTo>
                        <a:lnTo>
                          <a:pt x="151" y="397"/>
                        </a:lnTo>
                        <a:lnTo>
                          <a:pt x="148" y="397"/>
                        </a:lnTo>
                        <a:lnTo>
                          <a:pt x="146" y="392"/>
                        </a:lnTo>
                        <a:lnTo>
                          <a:pt x="144" y="390"/>
                        </a:lnTo>
                        <a:lnTo>
                          <a:pt x="143" y="387"/>
                        </a:lnTo>
                        <a:lnTo>
                          <a:pt x="139" y="385"/>
                        </a:lnTo>
                        <a:lnTo>
                          <a:pt x="138" y="387"/>
                        </a:lnTo>
                        <a:lnTo>
                          <a:pt x="134" y="389"/>
                        </a:lnTo>
                        <a:lnTo>
                          <a:pt x="131" y="387"/>
                        </a:lnTo>
                        <a:lnTo>
                          <a:pt x="133" y="382"/>
                        </a:lnTo>
                        <a:lnTo>
                          <a:pt x="131" y="379"/>
                        </a:lnTo>
                        <a:lnTo>
                          <a:pt x="124" y="370"/>
                        </a:lnTo>
                        <a:lnTo>
                          <a:pt x="124" y="369"/>
                        </a:lnTo>
                        <a:lnTo>
                          <a:pt x="121" y="367"/>
                        </a:lnTo>
                        <a:lnTo>
                          <a:pt x="119" y="364"/>
                        </a:lnTo>
                        <a:lnTo>
                          <a:pt x="118" y="362"/>
                        </a:lnTo>
                        <a:lnTo>
                          <a:pt x="116" y="359"/>
                        </a:lnTo>
                        <a:lnTo>
                          <a:pt x="111" y="357"/>
                        </a:lnTo>
                        <a:lnTo>
                          <a:pt x="108" y="357"/>
                        </a:lnTo>
                        <a:lnTo>
                          <a:pt x="104" y="354"/>
                        </a:lnTo>
                        <a:lnTo>
                          <a:pt x="104" y="351"/>
                        </a:lnTo>
                        <a:lnTo>
                          <a:pt x="108" y="349"/>
                        </a:lnTo>
                        <a:lnTo>
                          <a:pt x="109" y="351"/>
                        </a:lnTo>
                        <a:lnTo>
                          <a:pt x="116" y="349"/>
                        </a:lnTo>
                        <a:lnTo>
                          <a:pt x="119" y="351"/>
                        </a:lnTo>
                        <a:lnTo>
                          <a:pt x="121" y="351"/>
                        </a:lnTo>
                        <a:lnTo>
                          <a:pt x="123" y="351"/>
                        </a:lnTo>
                        <a:lnTo>
                          <a:pt x="126" y="349"/>
                        </a:lnTo>
                        <a:lnTo>
                          <a:pt x="128" y="349"/>
                        </a:lnTo>
                        <a:lnTo>
                          <a:pt x="133" y="349"/>
                        </a:lnTo>
                        <a:lnTo>
                          <a:pt x="134" y="349"/>
                        </a:lnTo>
                        <a:lnTo>
                          <a:pt x="133" y="347"/>
                        </a:lnTo>
                        <a:lnTo>
                          <a:pt x="128" y="347"/>
                        </a:lnTo>
                        <a:lnTo>
                          <a:pt x="126" y="346"/>
                        </a:lnTo>
                        <a:lnTo>
                          <a:pt x="126" y="342"/>
                        </a:lnTo>
                        <a:lnTo>
                          <a:pt x="121" y="337"/>
                        </a:lnTo>
                        <a:lnTo>
                          <a:pt x="121" y="336"/>
                        </a:lnTo>
                        <a:lnTo>
                          <a:pt x="123" y="334"/>
                        </a:lnTo>
                        <a:lnTo>
                          <a:pt x="123" y="331"/>
                        </a:lnTo>
                        <a:lnTo>
                          <a:pt x="123" y="329"/>
                        </a:lnTo>
                        <a:lnTo>
                          <a:pt x="126" y="326"/>
                        </a:lnTo>
                        <a:lnTo>
                          <a:pt x="131" y="324"/>
                        </a:lnTo>
                        <a:lnTo>
                          <a:pt x="134" y="322"/>
                        </a:lnTo>
                        <a:lnTo>
                          <a:pt x="139" y="324"/>
                        </a:lnTo>
                        <a:lnTo>
                          <a:pt x="144" y="324"/>
                        </a:lnTo>
                        <a:lnTo>
                          <a:pt x="148" y="322"/>
                        </a:lnTo>
                        <a:lnTo>
                          <a:pt x="149" y="324"/>
                        </a:lnTo>
                        <a:lnTo>
                          <a:pt x="151" y="324"/>
                        </a:lnTo>
                        <a:lnTo>
                          <a:pt x="154" y="324"/>
                        </a:lnTo>
                        <a:lnTo>
                          <a:pt x="159" y="327"/>
                        </a:lnTo>
                        <a:lnTo>
                          <a:pt x="163" y="327"/>
                        </a:lnTo>
                        <a:lnTo>
                          <a:pt x="167" y="326"/>
                        </a:lnTo>
                        <a:lnTo>
                          <a:pt x="169" y="324"/>
                        </a:lnTo>
                        <a:lnTo>
                          <a:pt x="166" y="322"/>
                        </a:lnTo>
                        <a:lnTo>
                          <a:pt x="161" y="321"/>
                        </a:lnTo>
                        <a:lnTo>
                          <a:pt x="158" y="316"/>
                        </a:lnTo>
                        <a:lnTo>
                          <a:pt x="158" y="311"/>
                        </a:lnTo>
                        <a:lnTo>
                          <a:pt x="161" y="309"/>
                        </a:lnTo>
                        <a:lnTo>
                          <a:pt x="163" y="307"/>
                        </a:lnTo>
                        <a:lnTo>
                          <a:pt x="161" y="306"/>
                        </a:lnTo>
                        <a:lnTo>
                          <a:pt x="159" y="304"/>
                        </a:lnTo>
                        <a:lnTo>
                          <a:pt x="159" y="302"/>
                        </a:lnTo>
                        <a:lnTo>
                          <a:pt x="163" y="297"/>
                        </a:lnTo>
                        <a:lnTo>
                          <a:pt x="163" y="294"/>
                        </a:lnTo>
                        <a:lnTo>
                          <a:pt x="159" y="291"/>
                        </a:lnTo>
                        <a:lnTo>
                          <a:pt x="158" y="287"/>
                        </a:lnTo>
                        <a:lnTo>
                          <a:pt x="159" y="286"/>
                        </a:lnTo>
                        <a:lnTo>
                          <a:pt x="159" y="284"/>
                        </a:lnTo>
                        <a:lnTo>
                          <a:pt x="156" y="284"/>
                        </a:lnTo>
                        <a:lnTo>
                          <a:pt x="154" y="281"/>
                        </a:lnTo>
                        <a:lnTo>
                          <a:pt x="154" y="279"/>
                        </a:lnTo>
                        <a:lnTo>
                          <a:pt x="146" y="279"/>
                        </a:lnTo>
                        <a:lnTo>
                          <a:pt x="143" y="277"/>
                        </a:lnTo>
                        <a:lnTo>
                          <a:pt x="139" y="279"/>
                        </a:lnTo>
                        <a:lnTo>
                          <a:pt x="138" y="281"/>
                        </a:lnTo>
                        <a:lnTo>
                          <a:pt x="136" y="281"/>
                        </a:lnTo>
                        <a:lnTo>
                          <a:pt x="136" y="284"/>
                        </a:lnTo>
                        <a:lnTo>
                          <a:pt x="133" y="284"/>
                        </a:lnTo>
                        <a:lnTo>
                          <a:pt x="129" y="284"/>
                        </a:lnTo>
                        <a:lnTo>
                          <a:pt x="129" y="282"/>
                        </a:lnTo>
                        <a:lnTo>
                          <a:pt x="126" y="282"/>
                        </a:lnTo>
                        <a:lnTo>
                          <a:pt x="124" y="282"/>
                        </a:lnTo>
                        <a:lnTo>
                          <a:pt x="123" y="281"/>
                        </a:lnTo>
                        <a:lnTo>
                          <a:pt x="123" y="277"/>
                        </a:lnTo>
                        <a:lnTo>
                          <a:pt x="123" y="276"/>
                        </a:lnTo>
                        <a:lnTo>
                          <a:pt x="119" y="277"/>
                        </a:lnTo>
                        <a:lnTo>
                          <a:pt x="118" y="277"/>
                        </a:lnTo>
                        <a:lnTo>
                          <a:pt x="114" y="276"/>
                        </a:lnTo>
                        <a:lnTo>
                          <a:pt x="108" y="276"/>
                        </a:lnTo>
                        <a:lnTo>
                          <a:pt x="104" y="279"/>
                        </a:lnTo>
                        <a:lnTo>
                          <a:pt x="104" y="282"/>
                        </a:lnTo>
                        <a:lnTo>
                          <a:pt x="103" y="284"/>
                        </a:lnTo>
                        <a:lnTo>
                          <a:pt x="101" y="282"/>
                        </a:lnTo>
                        <a:lnTo>
                          <a:pt x="99" y="282"/>
                        </a:lnTo>
                        <a:lnTo>
                          <a:pt x="96" y="286"/>
                        </a:lnTo>
                        <a:lnTo>
                          <a:pt x="93" y="286"/>
                        </a:lnTo>
                        <a:lnTo>
                          <a:pt x="91" y="287"/>
                        </a:lnTo>
                        <a:lnTo>
                          <a:pt x="88" y="291"/>
                        </a:lnTo>
                        <a:lnTo>
                          <a:pt x="84" y="291"/>
                        </a:lnTo>
                        <a:lnTo>
                          <a:pt x="84" y="294"/>
                        </a:lnTo>
                        <a:lnTo>
                          <a:pt x="83" y="296"/>
                        </a:lnTo>
                        <a:lnTo>
                          <a:pt x="81" y="294"/>
                        </a:lnTo>
                        <a:lnTo>
                          <a:pt x="78" y="292"/>
                        </a:lnTo>
                        <a:lnTo>
                          <a:pt x="76" y="296"/>
                        </a:lnTo>
                        <a:lnTo>
                          <a:pt x="73" y="296"/>
                        </a:lnTo>
                        <a:lnTo>
                          <a:pt x="73" y="292"/>
                        </a:lnTo>
                        <a:lnTo>
                          <a:pt x="71" y="294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14" name="Google Shape;2969;p98">
                    <a:extLst>
                      <a:ext uri="{FF2B5EF4-FFF2-40B4-BE49-F238E27FC236}">
                        <a16:creationId xmlns:a16="http://schemas.microsoft.com/office/drawing/2014/main" id="{A837E965-261F-720A-BEFF-070EE604FEBA}"/>
                      </a:ext>
                    </a:extLst>
                  </p:cNvPr>
                  <p:cNvSpPr/>
                  <p:nvPr/>
                </p:nvSpPr>
                <p:spPr>
                  <a:xfrm>
                    <a:off x="7093552" y="2699041"/>
                    <a:ext cx="208698" cy="1141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90" h="221" extrusionOk="0">
                        <a:moveTo>
                          <a:pt x="309" y="219"/>
                        </a:moveTo>
                        <a:lnTo>
                          <a:pt x="310" y="206"/>
                        </a:lnTo>
                        <a:lnTo>
                          <a:pt x="315" y="196"/>
                        </a:lnTo>
                        <a:lnTo>
                          <a:pt x="317" y="193"/>
                        </a:lnTo>
                        <a:lnTo>
                          <a:pt x="317" y="186"/>
                        </a:lnTo>
                        <a:lnTo>
                          <a:pt x="312" y="184"/>
                        </a:lnTo>
                        <a:lnTo>
                          <a:pt x="309" y="179"/>
                        </a:lnTo>
                        <a:lnTo>
                          <a:pt x="312" y="174"/>
                        </a:lnTo>
                        <a:lnTo>
                          <a:pt x="310" y="169"/>
                        </a:lnTo>
                        <a:lnTo>
                          <a:pt x="304" y="169"/>
                        </a:lnTo>
                        <a:lnTo>
                          <a:pt x="299" y="171"/>
                        </a:lnTo>
                        <a:lnTo>
                          <a:pt x="294" y="163"/>
                        </a:lnTo>
                        <a:lnTo>
                          <a:pt x="294" y="156"/>
                        </a:lnTo>
                        <a:lnTo>
                          <a:pt x="299" y="153"/>
                        </a:lnTo>
                        <a:lnTo>
                          <a:pt x="309" y="154"/>
                        </a:lnTo>
                        <a:lnTo>
                          <a:pt x="314" y="153"/>
                        </a:lnTo>
                        <a:lnTo>
                          <a:pt x="314" y="148"/>
                        </a:lnTo>
                        <a:lnTo>
                          <a:pt x="324" y="146"/>
                        </a:lnTo>
                        <a:lnTo>
                          <a:pt x="322" y="143"/>
                        </a:lnTo>
                        <a:lnTo>
                          <a:pt x="320" y="139"/>
                        </a:lnTo>
                        <a:lnTo>
                          <a:pt x="330" y="138"/>
                        </a:lnTo>
                        <a:lnTo>
                          <a:pt x="338" y="134"/>
                        </a:lnTo>
                        <a:lnTo>
                          <a:pt x="338" y="131"/>
                        </a:lnTo>
                        <a:lnTo>
                          <a:pt x="330" y="128"/>
                        </a:lnTo>
                        <a:lnTo>
                          <a:pt x="332" y="121"/>
                        </a:lnTo>
                        <a:lnTo>
                          <a:pt x="337" y="120"/>
                        </a:lnTo>
                        <a:lnTo>
                          <a:pt x="343" y="116"/>
                        </a:lnTo>
                        <a:lnTo>
                          <a:pt x="348" y="116"/>
                        </a:lnTo>
                        <a:lnTo>
                          <a:pt x="357" y="110"/>
                        </a:lnTo>
                        <a:lnTo>
                          <a:pt x="362" y="115"/>
                        </a:lnTo>
                        <a:lnTo>
                          <a:pt x="363" y="116"/>
                        </a:lnTo>
                        <a:lnTo>
                          <a:pt x="375" y="115"/>
                        </a:lnTo>
                        <a:lnTo>
                          <a:pt x="383" y="116"/>
                        </a:lnTo>
                        <a:lnTo>
                          <a:pt x="390" y="108"/>
                        </a:lnTo>
                        <a:lnTo>
                          <a:pt x="390" y="105"/>
                        </a:lnTo>
                        <a:lnTo>
                          <a:pt x="377" y="96"/>
                        </a:lnTo>
                        <a:lnTo>
                          <a:pt x="375" y="95"/>
                        </a:lnTo>
                        <a:lnTo>
                          <a:pt x="373" y="101"/>
                        </a:lnTo>
                        <a:lnTo>
                          <a:pt x="370" y="106"/>
                        </a:lnTo>
                        <a:lnTo>
                          <a:pt x="365" y="105"/>
                        </a:lnTo>
                        <a:lnTo>
                          <a:pt x="360" y="100"/>
                        </a:lnTo>
                        <a:lnTo>
                          <a:pt x="350" y="98"/>
                        </a:lnTo>
                        <a:lnTo>
                          <a:pt x="345" y="95"/>
                        </a:lnTo>
                        <a:lnTo>
                          <a:pt x="348" y="90"/>
                        </a:lnTo>
                        <a:lnTo>
                          <a:pt x="357" y="78"/>
                        </a:lnTo>
                        <a:lnTo>
                          <a:pt x="357" y="75"/>
                        </a:lnTo>
                        <a:lnTo>
                          <a:pt x="352" y="73"/>
                        </a:lnTo>
                        <a:lnTo>
                          <a:pt x="347" y="80"/>
                        </a:lnTo>
                        <a:lnTo>
                          <a:pt x="343" y="81"/>
                        </a:lnTo>
                        <a:lnTo>
                          <a:pt x="333" y="91"/>
                        </a:lnTo>
                        <a:lnTo>
                          <a:pt x="330" y="98"/>
                        </a:lnTo>
                        <a:lnTo>
                          <a:pt x="327" y="100"/>
                        </a:lnTo>
                        <a:lnTo>
                          <a:pt x="324" y="108"/>
                        </a:lnTo>
                        <a:lnTo>
                          <a:pt x="314" y="116"/>
                        </a:lnTo>
                        <a:lnTo>
                          <a:pt x="310" y="115"/>
                        </a:lnTo>
                        <a:lnTo>
                          <a:pt x="300" y="110"/>
                        </a:lnTo>
                        <a:lnTo>
                          <a:pt x="292" y="110"/>
                        </a:lnTo>
                        <a:lnTo>
                          <a:pt x="284" y="110"/>
                        </a:lnTo>
                        <a:lnTo>
                          <a:pt x="274" y="116"/>
                        </a:lnTo>
                        <a:lnTo>
                          <a:pt x="269" y="115"/>
                        </a:lnTo>
                        <a:lnTo>
                          <a:pt x="259" y="90"/>
                        </a:lnTo>
                        <a:lnTo>
                          <a:pt x="240" y="88"/>
                        </a:lnTo>
                        <a:lnTo>
                          <a:pt x="240" y="56"/>
                        </a:lnTo>
                        <a:lnTo>
                          <a:pt x="232" y="60"/>
                        </a:lnTo>
                        <a:lnTo>
                          <a:pt x="226" y="46"/>
                        </a:lnTo>
                        <a:lnTo>
                          <a:pt x="214" y="38"/>
                        </a:lnTo>
                        <a:lnTo>
                          <a:pt x="174" y="38"/>
                        </a:lnTo>
                        <a:lnTo>
                          <a:pt x="137" y="41"/>
                        </a:lnTo>
                        <a:lnTo>
                          <a:pt x="118" y="30"/>
                        </a:lnTo>
                        <a:lnTo>
                          <a:pt x="103" y="25"/>
                        </a:lnTo>
                        <a:lnTo>
                          <a:pt x="64" y="0"/>
                        </a:lnTo>
                        <a:lnTo>
                          <a:pt x="0" y="12"/>
                        </a:lnTo>
                        <a:lnTo>
                          <a:pt x="20" y="116"/>
                        </a:lnTo>
                        <a:lnTo>
                          <a:pt x="31" y="115"/>
                        </a:lnTo>
                        <a:lnTo>
                          <a:pt x="41" y="116"/>
                        </a:lnTo>
                        <a:lnTo>
                          <a:pt x="43" y="111"/>
                        </a:lnTo>
                        <a:lnTo>
                          <a:pt x="39" y="108"/>
                        </a:lnTo>
                        <a:lnTo>
                          <a:pt x="38" y="100"/>
                        </a:lnTo>
                        <a:lnTo>
                          <a:pt x="43" y="90"/>
                        </a:lnTo>
                        <a:lnTo>
                          <a:pt x="49" y="90"/>
                        </a:lnTo>
                        <a:lnTo>
                          <a:pt x="54" y="85"/>
                        </a:lnTo>
                        <a:lnTo>
                          <a:pt x="59" y="81"/>
                        </a:lnTo>
                        <a:lnTo>
                          <a:pt x="64" y="85"/>
                        </a:lnTo>
                        <a:lnTo>
                          <a:pt x="68" y="83"/>
                        </a:lnTo>
                        <a:lnTo>
                          <a:pt x="64" y="78"/>
                        </a:lnTo>
                        <a:lnTo>
                          <a:pt x="74" y="78"/>
                        </a:lnTo>
                        <a:lnTo>
                          <a:pt x="91" y="86"/>
                        </a:lnTo>
                        <a:lnTo>
                          <a:pt x="106" y="93"/>
                        </a:lnTo>
                        <a:lnTo>
                          <a:pt x="108" y="98"/>
                        </a:lnTo>
                        <a:lnTo>
                          <a:pt x="126" y="106"/>
                        </a:lnTo>
                        <a:lnTo>
                          <a:pt x="139" y="113"/>
                        </a:lnTo>
                        <a:lnTo>
                          <a:pt x="144" y="111"/>
                        </a:lnTo>
                        <a:lnTo>
                          <a:pt x="149" y="111"/>
                        </a:lnTo>
                        <a:lnTo>
                          <a:pt x="159" y="118"/>
                        </a:lnTo>
                        <a:lnTo>
                          <a:pt x="162" y="131"/>
                        </a:lnTo>
                        <a:lnTo>
                          <a:pt x="167" y="134"/>
                        </a:lnTo>
                        <a:lnTo>
                          <a:pt x="169" y="141"/>
                        </a:lnTo>
                        <a:lnTo>
                          <a:pt x="176" y="149"/>
                        </a:lnTo>
                        <a:lnTo>
                          <a:pt x="184" y="153"/>
                        </a:lnTo>
                        <a:lnTo>
                          <a:pt x="199" y="163"/>
                        </a:lnTo>
                        <a:lnTo>
                          <a:pt x="216" y="173"/>
                        </a:lnTo>
                        <a:lnTo>
                          <a:pt x="234" y="181"/>
                        </a:lnTo>
                        <a:lnTo>
                          <a:pt x="250" y="191"/>
                        </a:lnTo>
                        <a:lnTo>
                          <a:pt x="264" y="193"/>
                        </a:lnTo>
                        <a:lnTo>
                          <a:pt x="265" y="196"/>
                        </a:lnTo>
                        <a:lnTo>
                          <a:pt x="270" y="194"/>
                        </a:lnTo>
                        <a:lnTo>
                          <a:pt x="279" y="201"/>
                        </a:lnTo>
                        <a:lnTo>
                          <a:pt x="279" y="206"/>
                        </a:lnTo>
                        <a:lnTo>
                          <a:pt x="280" y="216"/>
                        </a:lnTo>
                        <a:lnTo>
                          <a:pt x="287" y="214"/>
                        </a:lnTo>
                        <a:lnTo>
                          <a:pt x="292" y="216"/>
                        </a:lnTo>
                        <a:lnTo>
                          <a:pt x="295" y="221"/>
                        </a:lnTo>
                        <a:lnTo>
                          <a:pt x="299" y="221"/>
                        </a:lnTo>
                        <a:lnTo>
                          <a:pt x="302" y="218"/>
                        </a:lnTo>
                        <a:lnTo>
                          <a:pt x="307" y="218"/>
                        </a:lnTo>
                        <a:lnTo>
                          <a:pt x="309" y="219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15" name="Google Shape;2970;p98">
                    <a:extLst>
                      <a:ext uri="{FF2B5EF4-FFF2-40B4-BE49-F238E27FC236}">
                        <a16:creationId xmlns:a16="http://schemas.microsoft.com/office/drawing/2014/main" id="{A20C5267-7FF7-3C25-74C1-19BC24FDF049}"/>
                      </a:ext>
                    </a:extLst>
                  </p:cNvPr>
                  <p:cNvSpPr/>
                  <p:nvPr/>
                </p:nvSpPr>
                <p:spPr>
                  <a:xfrm>
                    <a:off x="7057163" y="2739507"/>
                    <a:ext cx="186223" cy="10272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49" h="198" extrusionOk="0">
                        <a:moveTo>
                          <a:pt x="349" y="138"/>
                        </a:moveTo>
                        <a:lnTo>
                          <a:pt x="348" y="128"/>
                        </a:lnTo>
                        <a:lnTo>
                          <a:pt x="348" y="123"/>
                        </a:lnTo>
                        <a:lnTo>
                          <a:pt x="339" y="116"/>
                        </a:lnTo>
                        <a:lnTo>
                          <a:pt x="334" y="118"/>
                        </a:lnTo>
                        <a:lnTo>
                          <a:pt x="333" y="115"/>
                        </a:lnTo>
                        <a:lnTo>
                          <a:pt x="319" y="113"/>
                        </a:lnTo>
                        <a:lnTo>
                          <a:pt x="303" y="103"/>
                        </a:lnTo>
                        <a:lnTo>
                          <a:pt x="285" y="95"/>
                        </a:lnTo>
                        <a:lnTo>
                          <a:pt x="268" y="85"/>
                        </a:lnTo>
                        <a:lnTo>
                          <a:pt x="253" y="75"/>
                        </a:lnTo>
                        <a:lnTo>
                          <a:pt x="245" y="71"/>
                        </a:lnTo>
                        <a:lnTo>
                          <a:pt x="238" y="63"/>
                        </a:lnTo>
                        <a:lnTo>
                          <a:pt x="236" y="56"/>
                        </a:lnTo>
                        <a:lnTo>
                          <a:pt x="231" y="53"/>
                        </a:lnTo>
                        <a:lnTo>
                          <a:pt x="228" y="40"/>
                        </a:lnTo>
                        <a:lnTo>
                          <a:pt x="218" y="33"/>
                        </a:lnTo>
                        <a:lnTo>
                          <a:pt x="213" y="33"/>
                        </a:lnTo>
                        <a:lnTo>
                          <a:pt x="208" y="35"/>
                        </a:lnTo>
                        <a:lnTo>
                          <a:pt x="195" y="28"/>
                        </a:lnTo>
                        <a:lnTo>
                          <a:pt x="177" y="20"/>
                        </a:lnTo>
                        <a:lnTo>
                          <a:pt x="175" y="15"/>
                        </a:lnTo>
                        <a:lnTo>
                          <a:pt x="160" y="8"/>
                        </a:lnTo>
                        <a:lnTo>
                          <a:pt x="143" y="0"/>
                        </a:lnTo>
                        <a:lnTo>
                          <a:pt x="133" y="0"/>
                        </a:lnTo>
                        <a:lnTo>
                          <a:pt x="137" y="5"/>
                        </a:lnTo>
                        <a:lnTo>
                          <a:pt x="133" y="7"/>
                        </a:lnTo>
                        <a:lnTo>
                          <a:pt x="128" y="3"/>
                        </a:lnTo>
                        <a:lnTo>
                          <a:pt x="123" y="7"/>
                        </a:lnTo>
                        <a:lnTo>
                          <a:pt x="118" y="12"/>
                        </a:lnTo>
                        <a:lnTo>
                          <a:pt x="112" y="12"/>
                        </a:lnTo>
                        <a:lnTo>
                          <a:pt x="107" y="22"/>
                        </a:lnTo>
                        <a:lnTo>
                          <a:pt x="108" y="30"/>
                        </a:lnTo>
                        <a:lnTo>
                          <a:pt x="112" y="33"/>
                        </a:lnTo>
                        <a:lnTo>
                          <a:pt x="110" y="38"/>
                        </a:lnTo>
                        <a:lnTo>
                          <a:pt x="100" y="37"/>
                        </a:lnTo>
                        <a:lnTo>
                          <a:pt x="85" y="38"/>
                        </a:lnTo>
                        <a:lnTo>
                          <a:pt x="75" y="40"/>
                        </a:lnTo>
                        <a:lnTo>
                          <a:pt x="59" y="23"/>
                        </a:lnTo>
                        <a:lnTo>
                          <a:pt x="42" y="15"/>
                        </a:lnTo>
                        <a:lnTo>
                          <a:pt x="27" y="13"/>
                        </a:lnTo>
                        <a:lnTo>
                          <a:pt x="15" y="17"/>
                        </a:lnTo>
                        <a:lnTo>
                          <a:pt x="0" y="28"/>
                        </a:lnTo>
                        <a:lnTo>
                          <a:pt x="0" y="30"/>
                        </a:lnTo>
                        <a:lnTo>
                          <a:pt x="4" y="33"/>
                        </a:lnTo>
                        <a:lnTo>
                          <a:pt x="5" y="37"/>
                        </a:lnTo>
                        <a:lnTo>
                          <a:pt x="9" y="40"/>
                        </a:lnTo>
                        <a:lnTo>
                          <a:pt x="10" y="43"/>
                        </a:lnTo>
                        <a:lnTo>
                          <a:pt x="15" y="52"/>
                        </a:lnTo>
                        <a:lnTo>
                          <a:pt x="15" y="56"/>
                        </a:lnTo>
                        <a:lnTo>
                          <a:pt x="12" y="61"/>
                        </a:lnTo>
                        <a:lnTo>
                          <a:pt x="12" y="73"/>
                        </a:lnTo>
                        <a:lnTo>
                          <a:pt x="15" y="76"/>
                        </a:lnTo>
                        <a:lnTo>
                          <a:pt x="17" y="80"/>
                        </a:lnTo>
                        <a:lnTo>
                          <a:pt x="25" y="86"/>
                        </a:lnTo>
                        <a:lnTo>
                          <a:pt x="25" y="83"/>
                        </a:lnTo>
                        <a:lnTo>
                          <a:pt x="22" y="81"/>
                        </a:lnTo>
                        <a:lnTo>
                          <a:pt x="24" y="80"/>
                        </a:lnTo>
                        <a:lnTo>
                          <a:pt x="30" y="81"/>
                        </a:lnTo>
                        <a:lnTo>
                          <a:pt x="34" y="78"/>
                        </a:lnTo>
                        <a:lnTo>
                          <a:pt x="35" y="80"/>
                        </a:lnTo>
                        <a:lnTo>
                          <a:pt x="35" y="85"/>
                        </a:lnTo>
                        <a:lnTo>
                          <a:pt x="35" y="90"/>
                        </a:lnTo>
                        <a:lnTo>
                          <a:pt x="39" y="88"/>
                        </a:lnTo>
                        <a:lnTo>
                          <a:pt x="42" y="91"/>
                        </a:lnTo>
                        <a:lnTo>
                          <a:pt x="40" y="93"/>
                        </a:lnTo>
                        <a:lnTo>
                          <a:pt x="37" y="93"/>
                        </a:lnTo>
                        <a:lnTo>
                          <a:pt x="34" y="93"/>
                        </a:lnTo>
                        <a:lnTo>
                          <a:pt x="32" y="91"/>
                        </a:lnTo>
                        <a:lnTo>
                          <a:pt x="27" y="95"/>
                        </a:lnTo>
                        <a:lnTo>
                          <a:pt x="27" y="98"/>
                        </a:lnTo>
                        <a:lnTo>
                          <a:pt x="30" y="103"/>
                        </a:lnTo>
                        <a:lnTo>
                          <a:pt x="30" y="98"/>
                        </a:lnTo>
                        <a:lnTo>
                          <a:pt x="32" y="96"/>
                        </a:lnTo>
                        <a:lnTo>
                          <a:pt x="35" y="98"/>
                        </a:lnTo>
                        <a:lnTo>
                          <a:pt x="39" y="98"/>
                        </a:lnTo>
                        <a:lnTo>
                          <a:pt x="40" y="103"/>
                        </a:lnTo>
                        <a:lnTo>
                          <a:pt x="47" y="106"/>
                        </a:lnTo>
                        <a:lnTo>
                          <a:pt x="49" y="110"/>
                        </a:lnTo>
                        <a:lnTo>
                          <a:pt x="49" y="116"/>
                        </a:lnTo>
                        <a:lnTo>
                          <a:pt x="50" y="120"/>
                        </a:lnTo>
                        <a:lnTo>
                          <a:pt x="49" y="131"/>
                        </a:lnTo>
                        <a:lnTo>
                          <a:pt x="52" y="140"/>
                        </a:lnTo>
                        <a:lnTo>
                          <a:pt x="55" y="150"/>
                        </a:lnTo>
                        <a:lnTo>
                          <a:pt x="60" y="148"/>
                        </a:lnTo>
                        <a:lnTo>
                          <a:pt x="72" y="146"/>
                        </a:lnTo>
                        <a:lnTo>
                          <a:pt x="75" y="141"/>
                        </a:lnTo>
                        <a:lnTo>
                          <a:pt x="79" y="136"/>
                        </a:lnTo>
                        <a:lnTo>
                          <a:pt x="82" y="136"/>
                        </a:lnTo>
                        <a:lnTo>
                          <a:pt x="92" y="130"/>
                        </a:lnTo>
                        <a:lnTo>
                          <a:pt x="102" y="128"/>
                        </a:lnTo>
                        <a:lnTo>
                          <a:pt x="112" y="130"/>
                        </a:lnTo>
                        <a:lnTo>
                          <a:pt x="113" y="125"/>
                        </a:lnTo>
                        <a:lnTo>
                          <a:pt x="118" y="123"/>
                        </a:lnTo>
                        <a:lnTo>
                          <a:pt x="123" y="125"/>
                        </a:lnTo>
                        <a:lnTo>
                          <a:pt x="128" y="125"/>
                        </a:lnTo>
                        <a:lnTo>
                          <a:pt x="137" y="131"/>
                        </a:lnTo>
                        <a:lnTo>
                          <a:pt x="145" y="133"/>
                        </a:lnTo>
                        <a:lnTo>
                          <a:pt x="158" y="141"/>
                        </a:lnTo>
                        <a:lnTo>
                          <a:pt x="163" y="140"/>
                        </a:lnTo>
                        <a:lnTo>
                          <a:pt x="167" y="138"/>
                        </a:lnTo>
                        <a:lnTo>
                          <a:pt x="177" y="141"/>
                        </a:lnTo>
                        <a:lnTo>
                          <a:pt x="182" y="143"/>
                        </a:lnTo>
                        <a:lnTo>
                          <a:pt x="183" y="150"/>
                        </a:lnTo>
                        <a:lnTo>
                          <a:pt x="185" y="151"/>
                        </a:lnTo>
                        <a:lnTo>
                          <a:pt x="190" y="150"/>
                        </a:lnTo>
                        <a:lnTo>
                          <a:pt x="198" y="151"/>
                        </a:lnTo>
                        <a:lnTo>
                          <a:pt x="208" y="163"/>
                        </a:lnTo>
                        <a:lnTo>
                          <a:pt x="220" y="164"/>
                        </a:lnTo>
                        <a:lnTo>
                          <a:pt x="225" y="166"/>
                        </a:lnTo>
                        <a:lnTo>
                          <a:pt x="230" y="173"/>
                        </a:lnTo>
                        <a:lnTo>
                          <a:pt x="228" y="176"/>
                        </a:lnTo>
                        <a:lnTo>
                          <a:pt x="230" y="181"/>
                        </a:lnTo>
                        <a:lnTo>
                          <a:pt x="230" y="184"/>
                        </a:lnTo>
                        <a:lnTo>
                          <a:pt x="231" y="188"/>
                        </a:lnTo>
                        <a:lnTo>
                          <a:pt x="233" y="188"/>
                        </a:lnTo>
                        <a:lnTo>
                          <a:pt x="240" y="189"/>
                        </a:lnTo>
                        <a:lnTo>
                          <a:pt x="243" y="191"/>
                        </a:lnTo>
                        <a:lnTo>
                          <a:pt x="246" y="191"/>
                        </a:lnTo>
                        <a:lnTo>
                          <a:pt x="250" y="189"/>
                        </a:lnTo>
                        <a:lnTo>
                          <a:pt x="255" y="189"/>
                        </a:lnTo>
                        <a:lnTo>
                          <a:pt x="260" y="193"/>
                        </a:lnTo>
                        <a:lnTo>
                          <a:pt x="261" y="196"/>
                        </a:lnTo>
                        <a:lnTo>
                          <a:pt x="263" y="198"/>
                        </a:lnTo>
                        <a:lnTo>
                          <a:pt x="266" y="194"/>
                        </a:lnTo>
                        <a:lnTo>
                          <a:pt x="273" y="194"/>
                        </a:lnTo>
                        <a:lnTo>
                          <a:pt x="276" y="191"/>
                        </a:lnTo>
                        <a:lnTo>
                          <a:pt x="276" y="188"/>
                        </a:lnTo>
                        <a:lnTo>
                          <a:pt x="280" y="184"/>
                        </a:lnTo>
                        <a:lnTo>
                          <a:pt x="280" y="183"/>
                        </a:lnTo>
                        <a:lnTo>
                          <a:pt x="286" y="178"/>
                        </a:lnTo>
                        <a:lnTo>
                          <a:pt x="296" y="176"/>
                        </a:lnTo>
                        <a:lnTo>
                          <a:pt x="296" y="174"/>
                        </a:lnTo>
                        <a:lnTo>
                          <a:pt x="301" y="171"/>
                        </a:lnTo>
                        <a:lnTo>
                          <a:pt x="304" y="171"/>
                        </a:lnTo>
                        <a:lnTo>
                          <a:pt x="306" y="164"/>
                        </a:lnTo>
                        <a:lnTo>
                          <a:pt x="306" y="159"/>
                        </a:lnTo>
                        <a:lnTo>
                          <a:pt x="311" y="154"/>
                        </a:lnTo>
                        <a:lnTo>
                          <a:pt x="311" y="150"/>
                        </a:lnTo>
                        <a:lnTo>
                          <a:pt x="309" y="148"/>
                        </a:lnTo>
                        <a:lnTo>
                          <a:pt x="309" y="145"/>
                        </a:lnTo>
                        <a:lnTo>
                          <a:pt x="313" y="145"/>
                        </a:lnTo>
                        <a:lnTo>
                          <a:pt x="314" y="143"/>
                        </a:lnTo>
                        <a:lnTo>
                          <a:pt x="321" y="141"/>
                        </a:lnTo>
                        <a:lnTo>
                          <a:pt x="323" y="141"/>
                        </a:lnTo>
                        <a:lnTo>
                          <a:pt x="331" y="136"/>
                        </a:lnTo>
                        <a:lnTo>
                          <a:pt x="336" y="135"/>
                        </a:lnTo>
                        <a:lnTo>
                          <a:pt x="341" y="138"/>
                        </a:lnTo>
                        <a:lnTo>
                          <a:pt x="346" y="136"/>
                        </a:lnTo>
                        <a:lnTo>
                          <a:pt x="348" y="138"/>
                        </a:lnTo>
                        <a:lnTo>
                          <a:pt x="349" y="138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16" name="Google Shape;2971;p98">
                    <a:extLst>
                      <a:ext uri="{FF2B5EF4-FFF2-40B4-BE49-F238E27FC236}">
                        <a16:creationId xmlns:a16="http://schemas.microsoft.com/office/drawing/2014/main" id="{97146850-74C6-06EB-D0AB-2DEC259BFBEE}"/>
                      </a:ext>
                    </a:extLst>
                  </p:cNvPr>
                  <p:cNvSpPr/>
                  <p:nvPr/>
                </p:nvSpPr>
                <p:spPr>
                  <a:xfrm>
                    <a:off x="7936908" y="3036257"/>
                    <a:ext cx="128430" cy="17016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1" h="329" extrusionOk="0">
                        <a:moveTo>
                          <a:pt x="85" y="15"/>
                        </a:moveTo>
                        <a:lnTo>
                          <a:pt x="91" y="15"/>
                        </a:lnTo>
                        <a:lnTo>
                          <a:pt x="88" y="17"/>
                        </a:lnTo>
                        <a:lnTo>
                          <a:pt x="85" y="15"/>
                        </a:lnTo>
                        <a:lnTo>
                          <a:pt x="85" y="15"/>
                        </a:lnTo>
                        <a:close/>
                        <a:moveTo>
                          <a:pt x="83" y="5"/>
                        </a:moveTo>
                        <a:lnTo>
                          <a:pt x="86" y="9"/>
                        </a:lnTo>
                        <a:lnTo>
                          <a:pt x="81" y="10"/>
                        </a:lnTo>
                        <a:lnTo>
                          <a:pt x="83" y="5"/>
                        </a:lnTo>
                        <a:lnTo>
                          <a:pt x="83" y="5"/>
                        </a:lnTo>
                        <a:close/>
                        <a:moveTo>
                          <a:pt x="93" y="0"/>
                        </a:moveTo>
                        <a:lnTo>
                          <a:pt x="90" y="2"/>
                        </a:lnTo>
                        <a:lnTo>
                          <a:pt x="91" y="5"/>
                        </a:lnTo>
                        <a:lnTo>
                          <a:pt x="93" y="0"/>
                        </a:lnTo>
                        <a:lnTo>
                          <a:pt x="93" y="0"/>
                        </a:lnTo>
                        <a:close/>
                        <a:moveTo>
                          <a:pt x="103" y="10"/>
                        </a:moveTo>
                        <a:lnTo>
                          <a:pt x="100" y="14"/>
                        </a:lnTo>
                        <a:lnTo>
                          <a:pt x="103" y="17"/>
                        </a:lnTo>
                        <a:lnTo>
                          <a:pt x="105" y="14"/>
                        </a:lnTo>
                        <a:lnTo>
                          <a:pt x="105" y="14"/>
                        </a:lnTo>
                        <a:lnTo>
                          <a:pt x="103" y="10"/>
                        </a:lnTo>
                        <a:lnTo>
                          <a:pt x="103" y="10"/>
                        </a:lnTo>
                        <a:close/>
                        <a:moveTo>
                          <a:pt x="105" y="122"/>
                        </a:moveTo>
                        <a:lnTo>
                          <a:pt x="110" y="125"/>
                        </a:lnTo>
                        <a:lnTo>
                          <a:pt x="111" y="130"/>
                        </a:lnTo>
                        <a:lnTo>
                          <a:pt x="116" y="132"/>
                        </a:lnTo>
                        <a:lnTo>
                          <a:pt x="121" y="130"/>
                        </a:lnTo>
                        <a:lnTo>
                          <a:pt x="121" y="127"/>
                        </a:lnTo>
                        <a:lnTo>
                          <a:pt x="128" y="122"/>
                        </a:lnTo>
                        <a:lnTo>
                          <a:pt x="133" y="122"/>
                        </a:lnTo>
                        <a:lnTo>
                          <a:pt x="139" y="125"/>
                        </a:lnTo>
                        <a:lnTo>
                          <a:pt x="143" y="132"/>
                        </a:lnTo>
                        <a:lnTo>
                          <a:pt x="143" y="135"/>
                        </a:lnTo>
                        <a:lnTo>
                          <a:pt x="144" y="138"/>
                        </a:lnTo>
                        <a:lnTo>
                          <a:pt x="148" y="135"/>
                        </a:lnTo>
                        <a:lnTo>
                          <a:pt x="148" y="132"/>
                        </a:lnTo>
                        <a:lnTo>
                          <a:pt x="149" y="130"/>
                        </a:lnTo>
                        <a:lnTo>
                          <a:pt x="153" y="133"/>
                        </a:lnTo>
                        <a:lnTo>
                          <a:pt x="158" y="135"/>
                        </a:lnTo>
                        <a:lnTo>
                          <a:pt x="163" y="137"/>
                        </a:lnTo>
                        <a:lnTo>
                          <a:pt x="164" y="138"/>
                        </a:lnTo>
                        <a:lnTo>
                          <a:pt x="161" y="138"/>
                        </a:lnTo>
                        <a:lnTo>
                          <a:pt x="158" y="138"/>
                        </a:lnTo>
                        <a:lnTo>
                          <a:pt x="156" y="140"/>
                        </a:lnTo>
                        <a:lnTo>
                          <a:pt x="156" y="143"/>
                        </a:lnTo>
                        <a:lnTo>
                          <a:pt x="159" y="150"/>
                        </a:lnTo>
                        <a:lnTo>
                          <a:pt x="159" y="153"/>
                        </a:lnTo>
                        <a:lnTo>
                          <a:pt x="164" y="153"/>
                        </a:lnTo>
                        <a:lnTo>
                          <a:pt x="168" y="155"/>
                        </a:lnTo>
                        <a:lnTo>
                          <a:pt x="173" y="155"/>
                        </a:lnTo>
                        <a:lnTo>
                          <a:pt x="174" y="158"/>
                        </a:lnTo>
                        <a:lnTo>
                          <a:pt x="171" y="160"/>
                        </a:lnTo>
                        <a:lnTo>
                          <a:pt x="173" y="162"/>
                        </a:lnTo>
                        <a:lnTo>
                          <a:pt x="171" y="168"/>
                        </a:lnTo>
                        <a:lnTo>
                          <a:pt x="166" y="167"/>
                        </a:lnTo>
                        <a:lnTo>
                          <a:pt x="163" y="163"/>
                        </a:lnTo>
                        <a:lnTo>
                          <a:pt x="166" y="160"/>
                        </a:lnTo>
                        <a:lnTo>
                          <a:pt x="166" y="158"/>
                        </a:lnTo>
                        <a:lnTo>
                          <a:pt x="163" y="158"/>
                        </a:lnTo>
                        <a:lnTo>
                          <a:pt x="163" y="160"/>
                        </a:lnTo>
                        <a:lnTo>
                          <a:pt x="158" y="160"/>
                        </a:lnTo>
                        <a:lnTo>
                          <a:pt x="153" y="155"/>
                        </a:lnTo>
                        <a:lnTo>
                          <a:pt x="149" y="153"/>
                        </a:lnTo>
                        <a:lnTo>
                          <a:pt x="149" y="148"/>
                        </a:lnTo>
                        <a:lnTo>
                          <a:pt x="148" y="145"/>
                        </a:lnTo>
                        <a:lnTo>
                          <a:pt x="141" y="142"/>
                        </a:lnTo>
                        <a:lnTo>
                          <a:pt x="138" y="137"/>
                        </a:lnTo>
                        <a:lnTo>
                          <a:pt x="135" y="137"/>
                        </a:lnTo>
                        <a:lnTo>
                          <a:pt x="131" y="133"/>
                        </a:lnTo>
                        <a:lnTo>
                          <a:pt x="130" y="133"/>
                        </a:lnTo>
                        <a:lnTo>
                          <a:pt x="128" y="135"/>
                        </a:lnTo>
                        <a:lnTo>
                          <a:pt x="133" y="143"/>
                        </a:lnTo>
                        <a:lnTo>
                          <a:pt x="135" y="150"/>
                        </a:lnTo>
                        <a:lnTo>
                          <a:pt x="133" y="150"/>
                        </a:lnTo>
                        <a:lnTo>
                          <a:pt x="128" y="143"/>
                        </a:lnTo>
                        <a:lnTo>
                          <a:pt x="123" y="140"/>
                        </a:lnTo>
                        <a:lnTo>
                          <a:pt x="121" y="137"/>
                        </a:lnTo>
                        <a:lnTo>
                          <a:pt x="111" y="133"/>
                        </a:lnTo>
                        <a:lnTo>
                          <a:pt x="105" y="133"/>
                        </a:lnTo>
                        <a:lnTo>
                          <a:pt x="103" y="137"/>
                        </a:lnTo>
                        <a:lnTo>
                          <a:pt x="105" y="140"/>
                        </a:lnTo>
                        <a:lnTo>
                          <a:pt x="100" y="142"/>
                        </a:lnTo>
                        <a:lnTo>
                          <a:pt x="95" y="137"/>
                        </a:lnTo>
                        <a:lnTo>
                          <a:pt x="91" y="140"/>
                        </a:lnTo>
                        <a:lnTo>
                          <a:pt x="86" y="140"/>
                        </a:lnTo>
                        <a:lnTo>
                          <a:pt x="90" y="137"/>
                        </a:lnTo>
                        <a:lnTo>
                          <a:pt x="88" y="133"/>
                        </a:lnTo>
                        <a:lnTo>
                          <a:pt x="85" y="133"/>
                        </a:lnTo>
                        <a:lnTo>
                          <a:pt x="83" y="138"/>
                        </a:lnTo>
                        <a:lnTo>
                          <a:pt x="80" y="133"/>
                        </a:lnTo>
                        <a:lnTo>
                          <a:pt x="80" y="128"/>
                        </a:lnTo>
                        <a:lnTo>
                          <a:pt x="80" y="125"/>
                        </a:lnTo>
                        <a:lnTo>
                          <a:pt x="83" y="123"/>
                        </a:lnTo>
                        <a:lnTo>
                          <a:pt x="88" y="117"/>
                        </a:lnTo>
                        <a:lnTo>
                          <a:pt x="83" y="113"/>
                        </a:lnTo>
                        <a:lnTo>
                          <a:pt x="78" y="113"/>
                        </a:lnTo>
                        <a:lnTo>
                          <a:pt x="78" y="117"/>
                        </a:lnTo>
                        <a:lnTo>
                          <a:pt x="81" y="118"/>
                        </a:lnTo>
                        <a:lnTo>
                          <a:pt x="78" y="122"/>
                        </a:lnTo>
                        <a:lnTo>
                          <a:pt x="75" y="122"/>
                        </a:lnTo>
                        <a:lnTo>
                          <a:pt x="70" y="117"/>
                        </a:lnTo>
                        <a:lnTo>
                          <a:pt x="70" y="112"/>
                        </a:lnTo>
                        <a:lnTo>
                          <a:pt x="68" y="112"/>
                        </a:lnTo>
                        <a:lnTo>
                          <a:pt x="66" y="112"/>
                        </a:lnTo>
                        <a:lnTo>
                          <a:pt x="65" y="112"/>
                        </a:lnTo>
                        <a:lnTo>
                          <a:pt x="65" y="103"/>
                        </a:lnTo>
                        <a:lnTo>
                          <a:pt x="60" y="97"/>
                        </a:lnTo>
                        <a:lnTo>
                          <a:pt x="58" y="90"/>
                        </a:lnTo>
                        <a:lnTo>
                          <a:pt x="60" y="88"/>
                        </a:lnTo>
                        <a:lnTo>
                          <a:pt x="60" y="87"/>
                        </a:lnTo>
                        <a:lnTo>
                          <a:pt x="56" y="87"/>
                        </a:lnTo>
                        <a:lnTo>
                          <a:pt x="55" y="82"/>
                        </a:lnTo>
                        <a:lnTo>
                          <a:pt x="56" y="75"/>
                        </a:lnTo>
                        <a:lnTo>
                          <a:pt x="60" y="80"/>
                        </a:lnTo>
                        <a:lnTo>
                          <a:pt x="63" y="80"/>
                        </a:lnTo>
                        <a:lnTo>
                          <a:pt x="66" y="78"/>
                        </a:lnTo>
                        <a:lnTo>
                          <a:pt x="66" y="75"/>
                        </a:lnTo>
                        <a:lnTo>
                          <a:pt x="63" y="69"/>
                        </a:lnTo>
                        <a:lnTo>
                          <a:pt x="66" y="64"/>
                        </a:lnTo>
                        <a:lnTo>
                          <a:pt x="68" y="52"/>
                        </a:lnTo>
                        <a:lnTo>
                          <a:pt x="68" y="44"/>
                        </a:lnTo>
                        <a:lnTo>
                          <a:pt x="66" y="39"/>
                        </a:lnTo>
                        <a:lnTo>
                          <a:pt x="71" y="29"/>
                        </a:lnTo>
                        <a:lnTo>
                          <a:pt x="73" y="24"/>
                        </a:lnTo>
                        <a:lnTo>
                          <a:pt x="80" y="22"/>
                        </a:lnTo>
                        <a:lnTo>
                          <a:pt x="90" y="24"/>
                        </a:lnTo>
                        <a:lnTo>
                          <a:pt x="93" y="27"/>
                        </a:lnTo>
                        <a:lnTo>
                          <a:pt x="96" y="30"/>
                        </a:lnTo>
                        <a:lnTo>
                          <a:pt x="98" y="27"/>
                        </a:lnTo>
                        <a:lnTo>
                          <a:pt x="105" y="27"/>
                        </a:lnTo>
                        <a:lnTo>
                          <a:pt x="108" y="25"/>
                        </a:lnTo>
                        <a:lnTo>
                          <a:pt x="108" y="24"/>
                        </a:lnTo>
                        <a:lnTo>
                          <a:pt x="110" y="22"/>
                        </a:lnTo>
                        <a:lnTo>
                          <a:pt x="113" y="25"/>
                        </a:lnTo>
                        <a:lnTo>
                          <a:pt x="113" y="29"/>
                        </a:lnTo>
                        <a:lnTo>
                          <a:pt x="110" y="32"/>
                        </a:lnTo>
                        <a:lnTo>
                          <a:pt x="110" y="40"/>
                        </a:lnTo>
                        <a:lnTo>
                          <a:pt x="113" y="47"/>
                        </a:lnTo>
                        <a:lnTo>
                          <a:pt x="116" y="49"/>
                        </a:lnTo>
                        <a:lnTo>
                          <a:pt x="118" y="54"/>
                        </a:lnTo>
                        <a:lnTo>
                          <a:pt x="121" y="57"/>
                        </a:lnTo>
                        <a:lnTo>
                          <a:pt x="118" y="67"/>
                        </a:lnTo>
                        <a:lnTo>
                          <a:pt x="115" y="73"/>
                        </a:lnTo>
                        <a:lnTo>
                          <a:pt x="116" y="78"/>
                        </a:lnTo>
                        <a:lnTo>
                          <a:pt x="113" y="83"/>
                        </a:lnTo>
                        <a:lnTo>
                          <a:pt x="113" y="82"/>
                        </a:lnTo>
                        <a:lnTo>
                          <a:pt x="115" y="78"/>
                        </a:lnTo>
                        <a:lnTo>
                          <a:pt x="111" y="80"/>
                        </a:lnTo>
                        <a:lnTo>
                          <a:pt x="103" y="87"/>
                        </a:lnTo>
                        <a:lnTo>
                          <a:pt x="101" y="90"/>
                        </a:lnTo>
                        <a:lnTo>
                          <a:pt x="103" y="95"/>
                        </a:lnTo>
                        <a:lnTo>
                          <a:pt x="100" y="98"/>
                        </a:lnTo>
                        <a:lnTo>
                          <a:pt x="100" y="105"/>
                        </a:lnTo>
                        <a:lnTo>
                          <a:pt x="101" y="107"/>
                        </a:lnTo>
                        <a:lnTo>
                          <a:pt x="105" y="112"/>
                        </a:lnTo>
                        <a:lnTo>
                          <a:pt x="106" y="115"/>
                        </a:lnTo>
                        <a:lnTo>
                          <a:pt x="105" y="118"/>
                        </a:lnTo>
                        <a:lnTo>
                          <a:pt x="105" y="122"/>
                        </a:lnTo>
                        <a:lnTo>
                          <a:pt x="105" y="122"/>
                        </a:lnTo>
                        <a:close/>
                        <a:moveTo>
                          <a:pt x="115" y="123"/>
                        </a:moveTo>
                        <a:lnTo>
                          <a:pt x="115" y="128"/>
                        </a:lnTo>
                        <a:lnTo>
                          <a:pt x="118" y="130"/>
                        </a:lnTo>
                        <a:lnTo>
                          <a:pt x="118" y="127"/>
                        </a:lnTo>
                        <a:lnTo>
                          <a:pt x="115" y="123"/>
                        </a:lnTo>
                        <a:lnTo>
                          <a:pt x="115" y="123"/>
                        </a:lnTo>
                        <a:close/>
                        <a:moveTo>
                          <a:pt x="110" y="107"/>
                        </a:moveTo>
                        <a:lnTo>
                          <a:pt x="113" y="113"/>
                        </a:lnTo>
                        <a:lnTo>
                          <a:pt x="111" y="115"/>
                        </a:lnTo>
                        <a:lnTo>
                          <a:pt x="113" y="118"/>
                        </a:lnTo>
                        <a:lnTo>
                          <a:pt x="116" y="115"/>
                        </a:lnTo>
                        <a:lnTo>
                          <a:pt x="116" y="108"/>
                        </a:lnTo>
                        <a:lnTo>
                          <a:pt x="120" y="107"/>
                        </a:lnTo>
                        <a:lnTo>
                          <a:pt x="116" y="105"/>
                        </a:lnTo>
                        <a:lnTo>
                          <a:pt x="110" y="107"/>
                        </a:lnTo>
                        <a:lnTo>
                          <a:pt x="110" y="107"/>
                        </a:lnTo>
                        <a:close/>
                        <a:moveTo>
                          <a:pt x="66" y="135"/>
                        </a:moveTo>
                        <a:lnTo>
                          <a:pt x="68" y="138"/>
                        </a:lnTo>
                        <a:lnTo>
                          <a:pt x="73" y="140"/>
                        </a:lnTo>
                        <a:lnTo>
                          <a:pt x="75" y="140"/>
                        </a:lnTo>
                        <a:lnTo>
                          <a:pt x="70" y="135"/>
                        </a:lnTo>
                        <a:lnTo>
                          <a:pt x="66" y="135"/>
                        </a:lnTo>
                        <a:lnTo>
                          <a:pt x="66" y="135"/>
                        </a:lnTo>
                        <a:close/>
                        <a:moveTo>
                          <a:pt x="75" y="145"/>
                        </a:moveTo>
                        <a:lnTo>
                          <a:pt x="76" y="147"/>
                        </a:lnTo>
                        <a:lnTo>
                          <a:pt x="80" y="147"/>
                        </a:lnTo>
                        <a:lnTo>
                          <a:pt x="81" y="152"/>
                        </a:lnTo>
                        <a:lnTo>
                          <a:pt x="85" y="153"/>
                        </a:lnTo>
                        <a:lnTo>
                          <a:pt x="88" y="157"/>
                        </a:lnTo>
                        <a:lnTo>
                          <a:pt x="88" y="163"/>
                        </a:lnTo>
                        <a:lnTo>
                          <a:pt x="91" y="165"/>
                        </a:lnTo>
                        <a:lnTo>
                          <a:pt x="91" y="170"/>
                        </a:lnTo>
                        <a:lnTo>
                          <a:pt x="96" y="175"/>
                        </a:lnTo>
                        <a:lnTo>
                          <a:pt x="100" y="175"/>
                        </a:lnTo>
                        <a:lnTo>
                          <a:pt x="105" y="171"/>
                        </a:lnTo>
                        <a:lnTo>
                          <a:pt x="105" y="168"/>
                        </a:lnTo>
                        <a:lnTo>
                          <a:pt x="106" y="167"/>
                        </a:lnTo>
                        <a:lnTo>
                          <a:pt x="106" y="163"/>
                        </a:lnTo>
                        <a:lnTo>
                          <a:pt x="105" y="160"/>
                        </a:lnTo>
                        <a:lnTo>
                          <a:pt x="106" y="157"/>
                        </a:lnTo>
                        <a:lnTo>
                          <a:pt x="106" y="153"/>
                        </a:lnTo>
                        <a:lnTo>
                          <a:pt x="101" y="152"/>
                        </a:lnTo>
                        <a:lnTo>
                          <a:pt x="91" y="143"/>
                        </a:lnTo>
                        <a:lnTo>
                          <a:pt x="85" y="145"/>
                        </a:lnTo>
                        <a:lnTo>
                          <a:pt x="80" y="143"/>
                        </a:lnTo>
                        <a:lnTo>
                          <a:pt x="75" y="145"/>
                        </a:lnTo>
                        <a:lnTo>
                          <a:pt x="75" y="145"/>
                        </a:lnTo>
                        <a:close/>
                        <a:moveTo>
                          <a:pt x="171" y="130"/>
                        </a:moveTo>
                        <a:lnTo>
                          <a:pt x="169" y="132"/>
                        </a:lnTo>
                        <a:lnTo>
                          <a:pt x="169" y="137"/>
                        </a:lnTo>
                        <a:lnTo>
                          <a:pt x="168" y="140"/>
                        </a:lnTo>
                        <a:lnTo>
                          <a:pt x="166" y="140"/>
                        </a:lnTo>
                        <a:lnTo>
                          <a:pt x="169" y="143"/>
                        </a:lnTo>
                        <a:lnTo>
                          <a:pt x="176" y="142"/>
                        </a:lnTo>
                        <a:lnTo>
                          <a:pt x="178" y="137"/>
                        </a:lnTo>
                        <a:lnTo>
                          <a:pt x="174" y="133"/>
                        </a:lnTo>
                        <a:lnTo>
                          <a:pt x="171" y="130"/>
                        </a:lnTo>
                        <a:lnTo>
                          <a:pt x="171" y="130"/>
                        </a:lnTo>
                        <a:close/>
                        <a:moveTo>
                          <a:pt x="113" y="147"/>
                        </a:moveTo>
                        <a:lnTo>
                          <a:pt x="118" y="150"/>
                        </a:lnTo>
                        <a:lnTo>
                          <a:pt x="120" y="148"/>
                        </a:lnTo>
                        <a:lnTo>
                          <a:pt x="121" y="147"/>
                        </a:lnTo>
                        <a:lnTo>
                          <a:pt x="120" y="142"/>
                        </a:lnTo>
                        <a:lnTo>
                          <a:pt x="115" y="140"/>
                        </a:lnTo>
                        <a:lnTo>
                          <a:pt x="111" y="143"/>
                        </a:lnTo>
                        <a:lnTo>
                          <a:pt x="113" y="147"/>
                        </a:lnTo>
                        <a:lnTo>
                          <a:pt x="113" y="147"/>
                        </a:lnTo>
                        <a:close/>
                        <a:moveTo>
                          <a:pt x="123" y="163"/>
                        </a:moveTo>
                        <a:lnTo>
                          <a:pt x="120" y="168"/>
                        </a:lnTo>
                        <a:lnTo>
                          <a:pt x="118" y="171"/>
                        </a:lnTo>
                        <a:lnTo>
                          <a:pt x="120" y="178"/>
                        </a:lnTo>
                        <a:lnTo>
                          <a:pt x="123" y="176"/>
                        </a:lnTo>
                        <a:lnTo>
                          <a:pt x="125" y="171"/>
                        </a:lnTo>
                        <a:lnTo>
                          <a:pt x="123" y="167"/>
                        </a:lnTo>
                        <a:lnTo>
                          <a:pt x="125" y="162"/>
                        </a:lnTo>
                        <a:lnTo>
                          <a:pt x="123" y="163"/>
                        </a:lnTo>
                        <a:lnTo>
                          <a:pt x="123" y="163"/>
                        </a:lnTo>
                        <a:close/>
                        <a:moveTo>
                          <a:pt x="133" y="167"/>
                        </a:moveTo>
                        <a:lnTo>
                          <a:pt x="131" y="168"/>
                        </a:lnTo>
                        <a:lnTo>
                          <a:pt x="131" y="171"/>
                        </a:lnTo>
                        <a:lnTo>
                          <a:pt x="136" y="171"/>
                        </a:lnTo>
                        <a:lnTo>
                          <a:pt x="136" y="168"/>
                        </a:lnTo>
                        <a:lnTo>
                          <a:pt x="133" y="167"/>
                        </a:lnTo>
                        <a:lnTo>
                          <a:pt x="133" y="167"/>
                        </a:lnTo>
                        <a:close/>
                        <a:moveTo>
                          <a:pt x="148" y="157"/>
                        </a:moveTo>
                        <a:lnTo>
                          <a:pt x="143" y="152"/>
                        </a:lnTo>
                        <a:lnTo>
                          <a:pt x="141" y="152"/>
                        </a:lnTo>
                        <a:lnTo>
                          <a:pt x="141" y="155"/>
                        </a:lnTo>
                        <a:lnTo>
                          <a:pt x="148" y="162"/>
                        </a:lnTo>
                        <a:lnTo>
                          <a:pt x="149" y="158"/>
                        </a:lnTo>
                        <a:lnTo>
                          <a:pt x="148" y="157"/>
                        </a:lnTo>
                        <a:lnTo>
                          <a:pt x="148" y="157"/>
                        </a:lnTo>
                        <a:close/>
                        <a:moveTo>
                          <a:pt x="158" y="165"/>
                        </a:moveTo>
                        <a:lnTo>
                          <a:pt x="159" y="167"/>
                        </a:lnTo>
                        <a:lnTo>
                          <a:pt x="163" y="170"/>
                        </a:lnTo>
                        <a:lnTo>
                          <a:pt x="164" y="170"/>
                        </a:lnTo>
                        <a:lnTo>
                          <a:pt x="161" y="167"/>
                        </a:lnTo>
                        <a:lnTo>
                          <a:pt x="158" y="165"/>
                        </a:lnTo>
                        <a:lnTo>
                          <a:pt x="158" y="165"/>
                        </a:lnTo>
                        <a:close/>
                        <a:moveTo>
                          <a:pt x="149" y="180"/>
                        </a:moveTo>
                        <a:lnTo>
                          <a:pt x="153" y="175"/>
                        </a:lnTo>
                        <a:lnTo>
                          <a:pt x="158" y="175"/>
                        </a:lnTo>
                        <a:lnTo>
                          <a:pt x="163" y="180"/>
                        </a:lnTo>
                        <a:lnTo>
                          <a:pt x="168" y="183"/>
                        </a:lnTo>
                        <a:lnTo>
                          <a:pt x="173" y="181"/>
                        </a:lnTo>
                        <a:lnTo>
                          <a:pt x="173" y="180"/>
                        </a:lnTo>
                        <a:lnTo>
                          <a:pt x="169" y="176"/>
                        </a:lnTo>
                        <a:lnTo>
                          <a:pt x="161" y="171"/>
                        </a:lnTo>
                        <a:lnTo>
                          <a:pt x="158" y="171"/>
                        </a:lnTo>
                        <a:lnTo>
                          <a:pt x="154" y="168"/>
                        </a:lnTo>
                        <a:lnTo>
                          <a:pt x="153" y="168"/>
                        </a:lnTo>
                        <a:lnTo>
                          <a:pt x="153" y="167"/>
                        </a:lnTo>
                        <a:lnTo>
                          <a:pt x="149" y="165"/>
                        </a:lnTo>
                        <a:lnTo>
                          <a:pt x="149" y="170"/>
                        </a:lnTo>
                        <a:lnTo>
                          <a:pt x="151" y="173"/>
                        </a:lnTo>
                        <a:lnTo>
                          <a:pt x="149" y="175"/>
                        </a:lnTo>
                        <a:lnTo>
                          <a:pt x="148" y="178"/>
                        </a:lnTo>
                        <a:lnTo>
                          <a:pt x="149" y="180"/>
                        </a:lnTo>
                        <a:lnTo>
                          <a:pt x="149" y="180"/>
                        </a:lnTo>
                        <a:close/>
                        <a:moveTo>
                          <a:pt x="126" y="213"/>
                        </a:moveTo>
                        <a:lnTo>
                          <a:pt x="125" y="215"/>
                        </a:lnTo>
                        <a:lnTo>
                          <a:pt x="123" y="215"/>
                        </a:lnTo>
                        <a:lnTo>
                          <a:pt x="120" y="208"/>
                        </a:lnTo>
                        <a:lnTo>
                          <a:pt x="123" y="203"/>
                        </a:lnTo>
                        <a:lnTo>
                          <a:pt x="121" y="195"/>
                        </a:lnTo>
                        <a:lnTo>
                          <a:pt x="123" y="191"/>
                        </a:lnTo>
                        <a:lnTo>
                          <a:pt x="123" y="186"/>
                        </a:lnTo>
                        <a:lnTo>
                          <a:pt x="121" y="186"/>
                        </a:lnTo>
                        <a:lnTo>
                          <a:pt x="116" y="185"/>
                        </a:lnTo>
                        <a:lnTo>
                          <a:pt x="116" y="181"/>
                        </a:lnTo>
                        <a:lnTo>
                          <a:pt x="121" y="180"/>
                        </a:lnTo>
                        <a:lnTo>
                          <a:pt x="126" y="185"/>
                        </a:lnTo>
                        <a:lnTo>
                          <a:pt x="130" y="186"/>
                        </a:lnTo>
                        <a:lnTo>
                          <a:pt x="130" y="188"/>
                        </a:lnTo>
                        <a:lnTo>
                          <a:pt x="131" y="188"/>
                        </a:lnTo>
                        <a:lnTo>
                          <a:pt x="136" y="188"/>
                        </a:lnTo>
                        <a:lnTo>
                          <a:pt x="139" y="188"/>
                        </a:lnTo>
                        <a:lnTo>
                          <a:pt x="143" y="193"/>
                        </a:lnTo>
                        <a:lnTo>
                          <a:pt x="146" y="190"/>
                        </a:lnTo>
                        <a:lnTo>
                          <a:pt x="149" y="188"/>
                        </a:lnTo>
                        <a:lnTo>
                          <a:pt x="151" y="190"/>
                        </a:lnTo>
                        <a:lnTo>
                          <a:pt x="151" y="195"/>
                        </a:lnTo>
                        <a:lnTo>
                          <a:pt x="148" y="196"/>
                        </a:lnTo>
                        <a:lnTo>
                          <a:pt x="146" y="201"/>
                        </a:lnTo>
                        <a:lnTo>
                          <a:pt x="139" y="205"/>
                        </a:lnTo>
                        <a:lnTo>
                          <a:pt x="138" y="208"/>
                        </a:lnTo>
                        <a:lnTo>
                          <a:pt x="135" y="208"/>
                        </a:lnTo>
                        <a:lnTo>
                          <a:pt x="135" y="210"/>
                        </a:lnTo>
                        <a:lnTo>
                          <a:pt x="131" y="210"/>
                        </a:lnTo>
                        <a:lnTo>
                          <a:pt x="126" y="213"/>
                        </a:lnTo>
                        <a:lnTo>
                          <a:pt x="126" y="213"/>
                        </a:lnTo>
                        <a:close/>
                        <a:moveTo>
                          <a:pt x="138" y="210"/>
                        </a:moveTo>
                        <a:lnTo>
                          <a:pt x="135" y="211"/>
                        </a:lnTo>
                        <a:lnTo>
                          <a:pt x="133" y="215"/>
                        </a:lnTo>
                        <a:lnTo>
                          <a:pt x="136" y="218"/>
                        </a:lnTo>
                        <a:lnTo>
                          <a:pt x="139" y="213"/>
                        </a:lnTo>
                        <a:lnTo>
                          <a:pt x="139" y="210"/>
                        </a:lnTo>
                        <a:lnTo>
                          <a:pt x="138" y="210"/>
                        </a:lnTo>
                        <a:lnTo>
                          <a:pt x="138" y="210"/>
                        </a:lnTo>
                        <a:close/>
                        <a:moveTo>
                          <a:pt x="179" y="208"/>
                        </a:moveTo>
                        <a:lnTo>
                          <a:pt x="179" y="213"/>
                        </a:lnTo>
                        <a:lnTo>
                          <a:pt x="178" y="210"/>
                        </a:lnTo>
                        <a:lnTo>
                          <a:pt x="179" y="208"/>
                        </a:lnTo>
                        <a:lnTo>
                          <a:pt x="179" y="208"/>
                        </a:lnTo>
                        <a:close/>
                        <a:moveTo>
                          <a:pt x="158" y="238"/>
                        </a:moveTo>
                        <a:lnTo>
                          <a:pt x="161" y="235"/>
                        </a:lnTo>
                        <a:lnTo>
                          <a:pt x="163" y="225"/>
                        </a:lnTo>
                        <a:lnTo>
                          <a:pt x="169" y="218"/>
                        </a:lnTo>
                        <a:lnTo>
                          <a:pt x="171" y="213"/>
                        </a:lnTo>
                        <a:lnTo>
                          <a:pt x="171" y="210"/>
                        </a:lnTo>
                        <a:lnTo>
                          <a:pt x="173" y="206"/>
                        </a:lnTo>
                        <a:lnTo>
                          <a:pt x="173" y="198"/>
                        </a:lnTo>
                        <a:lnTo>
                          <a:pt x="169" y="200"/>
                        </a:lnTo>
                        <a:lnTo>
                          <a:pt x="168" y="208"/>
                        </a:lnTo>
                        <a:lnTo>
                          <a:pt x="163" y="215"/>
                        </a:lnTo>
                        <a:lnTo>
                          <a:pt x="163" y="220"/>
                        </a:lnTo>
                        <a:lnTo>
                          <a:pt x="161" y="225"/>
                        </a:lnTo>
                        <a:lnTo>
                          <a:pt x="158" y="230"/>
                        </a:lnTo>
                        <a:lnTo>
                          <a:pt x="156" y="235"/>
                        </a:lnTo>
                        <a:lnTo>
                          <a:pt x="158" y="238"/>
                        </a:lnTo>
                        <a:lnTo>
                          <a:pt x="158" y="238"/>
                        </a:lnTo>
                        <a:close/>
                        <a:moveTo>
                          <a:pt x="153" y="236"/>
                        </a:moveTo>
                        <a:lnTo>
                          <a:pt x="153" y="226"/>
                        </a:lnTo>
                        <a:lnTo>
                          <a:pt x="154" y="215"/>
                        </a:lnTo>
                        <a:lnTo>
                          <a:pt x="159" y="210"/>
                        </a:lnTo>
                        <a:lnTo>
                          <a:pt x="159" y="206"/>
                        </a:lnTo>
                        <a:lnTo>
                          <a:pt x="156" y="205"/>
                        </a:lnTo>
                        <a:lnTo>
                          <a:pt x="153" y="206"/>
                        </a:lnTo>
                        <a:lnTo>
                          <a:pt x="151" y="205"/>
                        </a:lnTo>
                        <a:lnTo>
                          <a:pt x="146" y="206"/>
                        </a:lnTo>
                        <a:lnTo>
                          <a:pt x="146" y="211"/>
                        </a:lnTo>
                        <a:lnTo>
                          <a:pt x="144" y="215"/>
                        </a:lnTo>
                        <a:lnTo>
                          <a:pt x="144" y="220"/>
                        </a:lnTo>
                        <a:lnTo>
                          <a:pt x="143" y="225"/>
                        </a:lnTo>
                        <a:lnTo>
                          <a:pt x="135" y="228"/>
                        </a:lnTo>
                        <a:lnTo>
                          <a:pt x="133" y="230"/>
                        </a:lnTo>
                        <a:lnTo>
                          <a:pt x="135" y="236"/>
                        </a:lnTo>
                        <a:lnTo>
                          <a:pt x="138" y="238"/>
                        </a:lnTo>
                        <a:lnTo>
                          <a:pt x="143" y="240"/>
                        </a:lnTo>
                        <a:lnTo>
                          <a:pt x="148" y="241"/>
                        </a:lnTo>
                        <a:lnTo>
                          <a:pt x="148" y="246"/>
                        </a:lnTo>
                        <a:lnTo>
                          <a:pt x="151" y="248"/>
                        </a:lnTo>
                        <a:lnTo>
                          <a:pt x="156" y="245"/>
                        </a:lnTo>
                        <a:lnTo>
                          <a:pt x="156" y="241"/>
                        </a:lnTo>
                        <a:lnTo>
                          <a:pt x="153" y="236"/>
                        </a:lnTo>
                        <a:lnTo>
                          <a:pt x="153" y="236"/>
                        </a:lnTo>
                        <a:close/>
                        <a:moveTo>
                          <a:pt x="164" y="243"/>
                        </a:moveTo>
                        <a:lnTo>
                          <a:pt x="166" y="243"/>
                        </a:lnTo>
                        <a:lnTo>
                          <a:pt x="166" y="246"/>
                        </a:lnTo>
                        <a:lnTo>
                          <a:pt x="163" y="248"/>
                        </a:lnTo>
                        <a:lnTo>
                          <a:pt x="159" y="246"/>
                        </a:lnTo>
                        <a:lnTo>
                          <a:pt x="161" y="243"/>
                        </a:lnTo>
                        <a:lnTo>
                          <a:pt x="164" y="243"/>
                        </a:lnTo>
                        <a:lnTo>
                          <a:pt x="164" y="243"/>
                        </a:lnTo>
                        <a:close/>
                        <a:moveTo>
                          <a:pt x="179" y="223"/>
                        </a:moveTo>
                        <a:lnTo>
                          <a:pt x="183" y="223"/>
                        </a:lnTo>
                        <a:lnTo>
                          <a:pt x="186" y="225"/>
                        </a:lnTo>
                        <a:lnTo>
                          <a:pt x="186" y="230"/>
                        </a:lnTo>
                        <a:lnTo>
                          <a:pt x="184" y="233"/>
                        </a:lnTo>
                        <a:lnTo>
                          <a:pt x="176" y="235"/>
                        </a:lnTo>
                        <a:lnTo>
                          <a:pt x="171" y="236"/>
                        </a:lnTo>
                        <a:lnTo>
                          <a:pt x="171" y="233"/>
                        </a:lnTo>
                        <a:lnTo>
                          <a:pt x="169" y="231"/>
                        </a:lnTo>
                        <a:lnTo>
                          <a:pt x="171" y="226"/>
                        </a:lnTo>
                        <a:lnTo>
                          <a:pt x="179" y="223"/>
                        </a:lnTo>
                        <a:lnTo>
                          <a:pt x="179" y="223"/>
                        </a:lnTo>
                        <a:close/>
                        <a:moveTo>
                          <a:pt x="203" y="223"/>
                        </a:moveTo>
                        <a:lnTo>
                          <a:pt x="204" y="226"/>
                        </a:lnTo>
                        <a:lnTo>
                          <a:pt x="204" y="230"/>
                        </a:lnTo>
                        <a:lnTo>
                          <a:pt x="201" y="226"/>
                        </a:lnTo>
                        <a:lnTo>
                          <a:pt x="203" y="223"/>
                        </a:lnTo>
                        <a:lnTo>
                          <a:pt x="203" y="223"/>
                        </a:lnTo>
                        <a:close/>
                        <a:moveTo>
                          <a:pt x="188" y="241"/>
                        </a:moveTo>
                        <a:lnTo>
                          <a:pt x="193" y="243"/>
                        </a:lnTo>
                        <a:lnTo>
                          <a:pt x="193" y="248"/>
                        </a:lnTo>
                        <a:lnTo>
                          <a:pt x="188" y="245"/>
                        </a:lnTo>
                        <a:lnTo>
                          <a:pt x="188" y="243"/>
                        </a:lnTo>
                        <a:lnTo>
                          <a:pt x="188" y="241"/>
                        </a:lnTo>
                        <a:lnTo>
                          <a:pt x="188" y="241"/>
                        </a:lnTo>
                        <a:close/>
                        <a:moveTo>
                          <a:pt x="184" y="188"/>
                        </a:moveTo>
                        <a:lnTo>
                          <a:pt x="184" y="193"/>
                        </a:lnTo>
                        <a:lnTo>
                          <a:pt x="181" y="193"/>
                        </a:lnTo>
                        <a:lnTo>
                          <a:pt x="176" y="190"/>
                        </a:lnTo>
                        <a:lnTo>
                          <a:pt x="179" y="188"/>
                        </a:lnTo>
                        <a:lnTo>
                          <a:pt x="184" y="188"/>
                        </a:lnTo>
                        <a:lnTo>
                          <a:pt x="184" y="188"/>
                        </a:lnTo>
                        <a:close/>
                        <a:moveTo>
                          <a:pt x="194" y="195"/>
                        </a:moveTo>
                        <a:lnTo>
                          <a:pt x="199" y="196"/>
                        </a:lnTo>
                        <a:lnTo>
                          <a:pt x="201" y="200"/>
                        </a:lnTo>
                        <a:lnTo>
                          <a:pt x="208" y="200"/>
                        </a:lnTo>
                        <a:lnTo>
                          <a:pt x="209" y="200"/>
                        </a:lnTo>
                        <a:lnTo>
                          <a:pt x="211" y="200"/>
                        </a:lnTo>
                        <a:lnTo>
                          <a:pt x="213" y="200"/>
                        </a:lnTo>
                        <a:lnTo>
                          <a:pt x="211" y="198"/>
                        </a:lnTo>
                        <a:lnTo>
                          <a:pt x="209" y="193"/>
                        </a:lnTo>
                        <a:lnTo>
                          <a:pt x="206" y="191"/>
                        </a:lnTo>
                        <a:lnTo>
                          <a:pt x="206" y="185"/>
                        </a:lnTo>
                        <a:lnTo>
                          <a:pt x="206" y="178"/>
                        </a:lnTo>
                        <a:lnTo>
                          <a:pt x="206" y="175"/>
                        </a:lnTo>
                        <a:lnTo>
                          <a:pt x="204" y="173"/>
                        </a:lnTo>
                        <a:lnTo>
                          <a:pt x="201" y="168"/>
                        </a:lnTo>
                        <a:lnTo>
                          <a:pt x="198" y="165"/>
                        </a:lnTo>
                        <a:lnTo>
                          <a:pt x="194" y="165"/>
                        </a:lnTo>
                        <a:lnTo>
                          <a:pt x="193" y="165"/>
                        </a:lnTo>
                        <a:lnTo>
                          <a:pt x="191" y="165"/>
                        </a:lnTo>
                        <a:lnTo>
                          <a:pt x="188" y="165"/>
                        </a:lnTo>
                        <a:lnTo>
                          <a:pt x="186" y="167"/>
                        </a:lnTo>
                        <a:lnTo>
                          <a:pt x="183" y="167"/>
                        </a:lnTo>
                        <a:lnTo>
                          <a:pt x="178" y="167"/>
                        </a:lnTo>
                        <a:lnTo>
                          <a:pt x="176" y="165"/>
                        </a:lnTo>
                        <a:lnTo>
                          <a:pt x="176" y="168"/>
                        </a:lnTo>
                        <a:lnTo>
                          <a:pt x="179" y="175"/>
                        </a:lnTo>
                        <a:lnTo>
                          <a:pt x="186" y="180"/>
                        </a:lnTo>
                        <a:lnTo>
                          <a:pt x="191" y="185"/>
                        </a:lnTo>
                        <a:lnTo>
                          <a:pt x="194" y="186"/>
                        </a:lnTo>
                        <a:lnTo>
                          <a:pt x="193" y="190"/>
                        </a:lnTo>
                        <a:lnTo>
                          <a:pt x="191" y="191"/>
                        </a:lnTo>
                        <a:lnTo>
                          <a:pt x="191" y="193"/>
                        </a:lnTo>
                        <a:lnTo>
                          <a:pt x="193" y="191"/>
                        </a:lnTo>
                        <a:lnTo>
                          <a:pt x="193" y="193"/>
                        </a:lnTo>
                        <a:lnTo>
                          <a:pt x="194" y="195"/>
                        </a:lnTo>
                        <a:lnTo>
                          <a:pt x="194" y="195"/>
                        </a:lnTo>
                        <a:close/>
                        <a:moveTo>
                          <a:pt x="191" y="195"/>
                        </a:moveTo>
                        <a:lnTo>
                          <a:pt x="186" y="196"/>
                        </a:lnTo>
                        <a:lnTo>
                          <a:pt x="181" y="195"/>
                        </a:lnTo>
                        <a:lnTo>
                          <a:pt x="178" y="195"/>
                        </a:lnTo>
                        <a:lnTo>
                          <a:pt x="181" y="200"/>
                        </a:lnTo>
                        <a:lnTo>
                          <a:pt x="181" y="203"/>
                        </a:lnTo>
                        <a:lnTo>
                          <a:pt x="183" y="206"/>
                        </a:lnTo>
                        <a:lnTo>
                          <a:pt x="186" y="203"/>
                        </a:lnTo>
                        <a:lnTo>
                          <a:pt x="189" y="206"/>
                        </a:lnTo>
                        <a:lnTo>
                          <a:pt x="188" y="211"/>
                        </a:lnTo>
                        <a:lnTo>
                          <a:pt x="191" y="216"/>
                        </a:lnTo>
                        <a:lnTo>
                          <a:pt x="191" y="223"/>
                        </a:lnTo>
                        <a:lnTo>
                          <a:pt x="196" y="225"/>
                        </a:lnTo>
                        <a:lnTo>
                          <a:pt x="196" y="218"/>
                        </a:lnTo>
                        <a:lnTo>
                          <a:pt x="198" y="221"/>
                        </a:lnTo>
                        <a:lnTo>
                          <a:pt x="203" y="221"/>
                        </a:lnTo>
                        <a:lnTo>
                          <a:pt x="203" y="218"/>
                        </a:lnTo>
                        <a:lnTo>
                          <a:pt x="199" y="211"/>
                        </a:lnTo>
                        <a:lnTo>
                          <a:pt x="196" y="208"/>
                        </a:lnTo>
                        <a:lnTo>
                          <a:pt x="194" y="201"/>
                        </a:lnTo>
                        <a:lnTo>
                          <a:pt x="193" y="196"/>
                        </a:lnTo>
                        <a:lnTo>
                          <a:pt x="191" y="195"/>
                        </a:lnTo>
                        <a:lnTo>
                          <a:pt x="191" y="195"/>
                        </a:lnTo>
                        <a:close/>
                        <a:moveTo>
                          <a:pt x="214" y="206"/>
                        </a:moveTo>
                        <a:lnTo>
                          <a:pt x="218" y="205"/>
                        </a:lnTo>
                        <a:lnTo>
                          <a:pt x="216" y="203"/>
                        </a:lnTo>
                        <a:lnTo>
                          <a:pt x="214" y="205"/>
                        </a:lnTo>
                        <a:lnTo>
                          <a:pt x="214" y="206"/>
                        </a:lnTo>
                        <a:lnTo>
                          <a:pt x="214" y="206"/>
                        </a:lnTo>
                        <a:close/>
                        <a:moveTo>
                          <a:pt x="216" y="210"/>
                        </a:moveTo>
                        <a:lnTo>
                          <a:pt x="213" y="208"/>
                        </a:lnTo>
                        <a:lnTo>
                          <a:pt x="213" y="211"/>
                        </a:lnTo>
                        <a:lnTo>
                          <a:pt x="214" y="211"/>
                        </a:lnTo>
                        <a:lnTo>
                          <a:pt x="216" y="210"/>
                        </a:lnTo>
                        <a:lnTo>
                          <a:pt x="216" y="210"/>
                        </a:lnTo>
                        <a:close/>
                        <a:moveTo>
                          <a:pt x="214" y="231"/>
                        </a:moveTo>
                        <a:lnTo>
                          <a:pt x="216" y="226"/>
                        </a:lnTo>
                        <a:lnTo>
                          <a:pt x="213" y="223"/>
                        </a:lnTo>
                        <a:lnTo>
                          <a:pt x="213" y="218"/>
                        </a:lnTo>
                        <a:lnTo>
                          <a:pt x="214" y="218"/>
                        </a:lnTo>
                        <a:lnTo>
                          <a:pt x="213" y="215"/>
                        </a:lnTo>
                        <a:lnTo>
                          <a:pt x="211" y="216"/>
                        </a:lnTo>
                        <a:lnTo>
                          <a:pt x="209" y="221"/>
                        </a:lnTo>
                        <a:lnTo>
                          <a:pt x="213" y="226"/>
                        </a:lnTo>
                        <a:lnTo>
                          <a:pt x="213" y="228"/>
                        </a:lnTo>
                        <a:lnTo>
                          <a:pt x="213" y="231"/>
                        </a:lnTo>
                        <a:lnTo>
                          <a:pt x="214" y="231"/>
                        </a:lnTo>
                        <a:lnTo>
                          <a:pt x="214" y="231"/>
                        </a:lnTo>
                        <a:close/>
                        <a:moveTo>
                          <a:pt x="219" y="233"/>
                        </a:moveTo>
                        <a:lnTo>
                          <a:pt x="219" y="235"/>
                        </a:lnTo>
                        <a:lnTo>
                          <a:pt x="221" y="236"/>
                        </a:lnTo>
                        <a:lnTo>
                          <a:pt x="223" y="235"/>
                        </a:lnTo>
                        <a:lnTo>
                          <a:pt x="219" y="233"/>
                        </a:lnTo>
                        <a:lnTo>
                          <a:pt x="219" y="233"/>
                        </a:lnTo>
                        <a:close/>
                        <a:moveTo>
                          <a:pt x="224" y="223"/>
                        </a:moveTo>
                        <a:lnTo>
                          <a:pt x="223" y="228"/>
                        </a:lnTo>
                        <a:lnTo>
                          <a:pt x="221" y="230"/>
                        </a:lnTo>
                        <a:lnTo>
                          <a:pt x="224" y="233"/>
                        </a:lnTo>
                        <a:lnTo>
                          <a:pt x="228" y="231"/>
                        </a:lnTo>
                        <a:lnTo>
                          <a:pt x="226" y="226"/>
                        </a:lnTo>
                        <a:lnTo>
                          <a:pt x="224" y="223"/>
                        </a:lnTo>
                        <a:lnTo>
                          <a:pt x="224" y="223"/>
                        </a:lnTo>
                        <a:close/>
                        <a:moveTo>
                          <a:pt x="130" y="299"/>
                        </a:moveTo>
                        <a:lnTo>
                          <a:pt x="125" y="294"/>
                        </a:lnTo>
                        <a:lnTo>
                          <a:pt x="128" y="288"/>
                        </a:lnTo>
                        <a:lnTo>
                          <a:pt x="128" y="283"/>
                        </a:lnTo>
                        <a:lnTo>
                          <a:pt x="128" y="279"/>
                        </a:lnTo>
                        <a:lnTo>
                          <a:pt x="131" y="274"/>
                        </a:lnTo>
                        <a:lnTo>
                          <a:pt x="136" y="273"/>
                        </a:lnTo>
                        <a:lnTo>
                          <a:pt x="139" y="269"/>
                        </a:lnTo>
                        <a:lnTo>
                          <a:pt x="144" y="271"/>
                        </a:lnTo>
                        <a:lnTo>
                          <a:pt x="151" y="269"/>
                        </a:lnTo>
                        <a:lnTo>
                          <a:pt x="149" y="266"/>
                        </a:lnTo>
                        <a:lnTo>
                          <a:pt x="151" y="263"/>
                        </a:lnTo>
                        <a:lnTo>
                          <a:pt x="156" y="260"/>
                        </a:lnTo>
                        <a:lnTo>
                          <a:pt x="159" y="256"/>
                        </a:lnTo>
                        <a:lnTo>
                          <a:pt x="163" y="256"/>
                        </a:lnTo>
                        <a:lnTo>
                          <a:pt x="169" y="261"/>
                        </a:lnTo>
                        <a:lnTo>
                          <a:pt x="169" y="268"/>
                        </a:lnTo>
                        <a:lnTo>
                          <a:pt x="164" y="274"/>
                        </a:lnTo>
                        <a:lnTo>
                          <a:pt x="169" y="271"/>
                        </a:lnTo>
                        <a:lnTo>
                          <a:pt x="174" y="269"/>
                        </a:lnTo>
                        <a:lnTo>
                          <a:pt x="179" y="268"/>
                        </a:lnTo>
                        <a:lnTo>
                          <a:pt x="183" y="260"/>
                        </a:lnTo>
                        <a:lnTo>
                          <a:pt x="188" y="258"/>
                        </a:lnTo>
                        <a:lnTo>
                          <a:pt x="189" y="263"/>
                        </a:lnTo>
                        <a:lnTo>
                          <a:pt x="193" y="261"/>
                        </a:lnTo>
                        <a:lnTo>
                          <a:pt x="193" y="258"/>
                        </a:lnTo>
                        <a:lnTo>
                          <a:pt x="191" y="258"/>
                        </a:lnTo>
                        <a:lnTo>
                          <a:pt x="194" y="248"/>
                        </a:lnTo>
                        <a:lnTo>
                          <a:pt x="199" y="251"/>
                        </a:lnTo>
                        <a:lnTo>
                          <a:pt x="203" y="253"/>
                        </a:lnTo>
                        <a:lnTo>
                          <a:pt x="203" y="251"/>
                        </a:lnTo>
                        <a:lnTo>
                          <a:pt x="203" y="245"/>
                        </a:lnTo>
                        <a:lnTo>
                          <a:pt x="204" y="245"/>
                        </a:lnTo>
                        <a:lnTo>
                          <a:pt x="209" y="248"/>
                        </a:lnTo>
                        <a:lnTo>
                          <a:pt x="209" y="245"/>
                        </a:lnTo>
                        <a:lnTo>
                          <a:pt x="206" y="236"/>
                        </a:lnTo>
                        <a:lnTo>
                          <a:pt x="208" y="231"/>
                        </a:lnTo>
                        <a:lnTo>
                          <a:pt x="211" y="233"/>
                        </a:lnTo>
                        <a:lnTo>
                          <a:pt x="213" y="231"/>
                        </a:lnTo>
                        <a:lnTo>
                          <a:pt x="213" y="236"/>
                        </a:lnTo>
                        <a:lnTo>
                          <a:pt x="219" y="241"/>
                        </a:lnTo>
                        <a:lnTo>
                          <a:pt x="224" y="245"/>
                        </a:lnTo>
                        <a:lnTo>
                          <a:pt x="228" y="243"/>
                        </a:lnTo>
                        <a:lnTo>
                          <a:pt x="228" y="246"/>
                        </a:lnTo>
                        <a:lnTo>
                          <a:pt x="231" y="250"/>
                        </a:lnTo>
                        <a:lnTo>
                          <a:pt x="231" y="256"/>
                        </a:lnTo>
                        <a:lnTo>
                          <a:pt x="228" y="255"/>
                        </a:lnTo>
                        <a:lnTo>
                          <a:pt x="228" y="258"/>
                        </a:lnTo>
                        <a:lnTo>
                          <a:pt x="229" y="261"/>
                        </a:lnTo>
                        <a:lnTo>
                          <a:pt x="233" y="261"/>
                        </a:lnTo>
                        <a:lnTo>
                          <a:pt x="231" y="263"/>
                        </a:lnTo>
                        <a:lnTo>
                          <a:pt x="231" y="269"/>
                        </a:lnTo>
                        <a:lnTo>
                          <a:pt x="233" y="266"/>
                        </a:lnTo>
                        <a:lnTo>
                          <a:pt x="234" y="271"/>
                        </a:lnTo>
                        <a:lnTo>
                          <a:pt x="234" y="276"/>
                        </a:lnTo>
                        <a:lnTo>
                          <a:pt x="237" y="279"/>
                        </a:lnTo>
                        <a:lnTo>
                          <a:pt x="239" y="284"/>
                        </a:lnTo>
                        <a:lnTo>
                          <a:pt x="241" y="291"/>
                        </a:lnTo>
                        <a:lnTo>
                          <a:pt x="237" y="296"/>
                        </a:lnTo>
                        <a:lnTo>
                          <a:pt x="236" y="296"/>
                        </a:lnTo>
                        <a:lnTo>
                          <a:pt x="236" y="299"/>
                        </a:lnTo>
                        <a:lnTo>
                          <a:pt x="234" y="296"/>
                        </a:lnTo>
                        <a:lnTo>
                          <a:pt x="231" y="298"/>
                        </a:lnTo>
                        <a:lnTo>
                          <a:pt x="231" y="299"/>
                        </a:lnTo>
                        <a:lnTo>
                          <a:pt x="233" y="306"/>
                        </a:lnTo>
                        <a:lnTo>
                          <a:pt x="233" y="311"/>
                        </a:lnTo>
                        <a:lnTo>
                          <a:pt x="233" y="314"/>
                        </a:lnTo>
                        <a:lnTo>
                          <a:pt x="231" y="311"/>
                        </a:lnTo>
                        <a:lnTo>
                          <a:pt x="228" y="304"/>
                        </a:lnTo>
                        <a:lnTo>
                          <a:pt x="228" y="301"/>
                        </a:lnTo>
                        <a:lnTo>
                          <a:pt x="226" y="298"/>
                        </a:lnTo>
                        <a:lnTo>
                          <a:pt x="224" y="293"/>
                        </a:lnTo>
                        <a:lnTo>
                          <a:pt x="221" y="288"/>
                        </a:lnTo>
                        <a:lnTo>
                          <a:pt x="218" y="289"/>
                        </a:lnTo>
                        <a:lnTo>
                          <a:pt x="213" y="299"/>
                        </a:lnTo>
                        <a:lnTo>
                          <a:pt x="211" y="303"/>
                        </a:lnTo>
                        <a:lnTo>
                          <a:pt x="216" y="306"/>
                        </a:lnTo>
                        <a:lnTo>
                          <a:pt x="218" y="311"/>
                        </a:lnTo>
                        <a:lnTo>
                          <a:pt x="221" y="314"/>
                        </a:lnTo>
                        <a:lnTo>
                          <a:pt x="219" y="319"/>
                        </a:lnTo>
                        <a:lnTo>
                          <a:pt x="213" y="326"/>
                        </a:lnTo>
                        <a:lnTo>
                          <a:pt x="209" y="329"/>
                        </a:lnTo>
                        <a:lnTo>
                          <a:pt x="208" y="328"/>
                        </a:lnTo>
                        <a:lnTo>
                          <a:pt x="206" y="323"/>
                        </a:lnTo>
                        <a:lnTo>
                          <a:pt x="209" y="321"/>
                        </a:lnTo>
                        <a:lnTo>
                          <a:pt x="208" y="319"/>
                        </a:lnTo>
                        <a:lnTo>
                          <a:pt x="204" y="321"/>
                        </a:lnTo>
                        <a:lnTo>
                          <a:pt x="204" y="323"/>
                        </a:lnTo>
                        <a:lnTo>
                          <a:pt x="199" y="324"/>
                        </a:lnTo>
                        <a:lnTo>
                          <a:pt x="194" y="323"/>
                        </a:lnTo>
                        <a:lnTo>
                          <a:pt x="191" y="319"/>
                        </a:lnTo>
                        <a:lnTo>
                          <a:pt x="186" y="319"/>
                        </a:lnTo>
                        <a:lnTo>
                          <a:pt x="181" y="314"/>
                        </a:lnTo>
                        <a:lnTo>
                          <a:pt x="179" y="311"/>
                        </a:lnTo>
                        <a:lnTo>
                          <a:pt x="176" y="308"/>
                        </a:lnTo>
                        <a:lnTo>
                          <a:pt x="178" y="304"/>
                        </a:lnTo>
                        <a:lnTo>
                          <a:pt x="178" y="301"/>
                        </a:lnTo>
                        <a:lnTo>
                          <a:pt x="174" y="298"/>
                        </a:lnTo>
                        <a:lnTo>
                          <a:pt x="178" y="296"/>
                        </a:lnTo>
                        <a:lnTo>
                          <a:pt x="176" y="293"/>
                        </a:lnTo>
                        <a:lnTo>
                          <a:pt x="179" y="293"/>
                        </a:lnTo>
                        <a:lnTo>
                          <a:pt x="183" y="294"/>
                        </a:lnTo>
                        <a:lnTo>
                          <a:pt x="179" y="291"/>
                        </a:lnTo>
                        <a:lnTo>
                          <a:pt x="178" y="288"/>
                        </a:lnTo>
                        <a:lnTo>
                          <a:pt x="173" y="283"/>
                        </a:lnTo>
                        <a:lnTo>
                          <a:pt x="169" y="283"/>
                        </a:lnTo>
                        <a:lnTo>
                          <a:pt x="164" y="279"/>
                        </a:lnTo>
                        <a:lnTo>
                          <a:pt x="163" y="279"/>
                        </a:lnTo>
                        <a:lnTo>
                          <a:pt x="161" y="281"/>
                        </a:lnTo>
                        <a:lnTo>
                          <a:pt x="161" y="283"/>
                        </a:lnTo>
                        <a:lnTo>
                          <a:pt x="159" y="284"/>
                        </a:lnTo>
                        <a:lnTo>
                          <a:pt x="163" y="288"/>
                        </a:lnTo>
                        <a:lnTo>
                          <a:pt x="161" y="288"/>
                        </a:lnTo>
                        <a:lnTo>
                          <a:pt x="156" y="286"/>
                        </a:lnTo>
                        <a:lnTo>
                          <a:pt x="154" y="286"/>
                        </a:lnTo>
                        <a:lnTo>
                          <a:pt x="156" y="283"/>
                        </a:lnTo>
                        <a:lnTo>
                          <a:pt x="153" y="283"/>
                        </a:lnTo>
                        <a:lnTo>
                          <a:pt x="151" y="283"/>
                        </a:lnTo>
                        <a:lnTo>
                          <a:pt x="151" y="288"/>
                        </a:lnTo>
                        <a:lnTo>
                          <a:pt x="148" y="286"/>
                        </a:lnTo>
                        <a:lnTo>
                          <a:pt x="146" y="288"/>
                        </a:lnTo>
                        <a:lnTo>
                          <a:pt x="144" y="286"/>
                        </a:lnTo>
                        <a:lnTo>
                          <a:pt x="146" y="281"/>
                        </a:lnTo>
                        <a:lnTo>
                          <a:pt x="143" y="279"/>
                        </a:lnTo>
                        <a:lnTo>
                          <a:pt x="139" y="279"/>
                        </a:lnTo>
                        <a:lnTo>
                          <a:pt x="138" y="284"/>
                        </a:lnTo>
                        <a:lnTo>
                          <a:pt x="135" y="288"/>
                        </a:lnTo>
                        <a:lnTo>
                          <a:pt x="131" y="296"/>
                        </a:lnTo>
                        <a:lnTo>
                          <a:pt x="130" y="299"/>
                        </a:lnTo>
                        <a:lnTo>
                          <a:pt x="130" y="299"/>
                        </a:lnTo>
                        <a:close/>
                        <a:moveTo>
                          <a:pt x="121" y="304"/>
                        </a:moveTo>
                        <a:lnTo>
                          <a:pt x="121" y="308"/>
                        </a:lnTo>
                        <a:lnTo>
                          <a:pt x="125" y="311"/>
                        </a:lnTo>
                        <a:lnTo>
                          <a:pt x="128" y="311"/>
                        </a:lnTo>
                        <a:lnTo>
                          <a:pt x="133" y="306"/>
                        </a:lnTo>
                        <a:lnTo>
                          <a:pt x="135" y="306"/>
                        </a:lnTo>
                        <a:lnTo>
                          <a:pt x="131" y="304"/>
                        </a:lnTo>
                        <a:lnTo>
                          <a:pt x="128" y="303"/>
                        </a:lnTo>
                        <a:lnTo>
                          <a:pt x="126" y="304"/>
                        </a:lnTo>
                        <a:lnTo>
                          <a:pt x="121" y="304"/>
                        </a:lnTo>
                        <a:lnTo>
                          <a:pt x="121" y="304"/>
                        </a:lnTo>
                        <a:close/>
                        <a:moveTo>
                          <a:pt x="66" y="178"/>
                        </a:moveTo>
                        <a:lnTo>
                          <a:pt x="65" y="176"/>
                        </a:lnTo>
                        <a:lnTo>
                          <a:pt x="63" y="173"/>
                        </a:lnTo>
                        <a:lnTo>
                          <a:pt x="65" y="171"/>
                        </a:lnTo>
                        <a:lnTo>
                          <a:pt x="68" y="171"/>
                        </a:lnTo>
                        <a:lnTo>
                          <a:pt x="71" y="175"/>
                        </a:lnTo>
                        <a:lnTo>
                          <a:pt x="76" y="176"/>
                        </a:lnTo>
                        <a:lnTo>
                          <a:pt x="76" y="178"/>
                        </a:lnTo>
                        <a:lnTo>
                          <a:pt x="75" y="180"/>
                        </a:lnTo>
                        <a:lnTo>
                          <a:pt x="71" y="180"/>
                        </a:lnTo>
                        <a:lnTo>
                          <a:pt x="66" y="178"/>
                        </a:lnTo>
                        <a:lnTo>
                          <a:pt x="66" y="178"/>
                        </a:lnTo>
                        <a:close/>
                        <a:moveTo>
                          <a:pt x="63" y="181"/>
                        </a:moveTo>
                        <a:lnTo>
                          <a:pt x="68" y="181"/>
                        </a:lnTo>
                        <a:lnTo>
                          <a:pt x="70" y="185"/>
                        </a:lnTo>
                        <a:lnTo>
                          <a:pt x="68" y="186"/>
                        </a:lnTo>
                        <a:lnTo>
                          <a:pt x="66" y="188"/>
                        </a:lnTo>
                        <a:lnTo>
                          <a:pt x="65" y="188"/>
                        </a:lnTo>
                        <a:lnTo>
                          <a:pt x="63" y="183"/>
                        </a:lnTo>
                        <a:lnTo>
                          <a:pt x="63" y="181"/>
                        </a:lnTo>
                        <a:lnTo>
                          <a:pt x="63" y="181"/>
                        </a:lnTo>
                        <a:close/>
                        <a:moveTo>
                          <a:pt x="66" y="213"/>
                        </a:moveTo>
                        <a:lnTo>
                          <a:pt x="68" y="213"/>
                        </a:lnTo>
                        <a:lnTo>
                          <a:pt x="70" y="211"/>
                        </a:lnTo>
                        <a:lnTo>
                          <a:pt x="70" y="213"/>
                        </a:lnTo>
                        <a:lnTo>
                          <a:pt x="73" y="215"/>
                        </a:lnTo>
                        <a:lnTo>
                          <a:pt x="71" y="216"/>
                        </a:lnTo>
                        <a:lnTo>
                          <a:pt x="68" y="216"/>
                        </a:lnTo>
                        <a:lnTo>
                          <a:pt x="65" y="216"/>
                        </a:lnTo>
                        <a:lnTo>
                          <a:pt x="66" y="213"/>
                        </a:lnTo>
                        <a:lnTo>
                          <a:pt x="66" y="213"/>
                        </a:lnTo>
                        <a:close/>
                        <a:moveTo>
                          <a:pt x="7" y="263"/>
                        </a:moveTo>
                        <a:lnTo>
                          <a:pt x="12" y="260"/>
                        </a:lnTo>
                        <a:lnTo>
                          <a:pt x="15" y="258"/>
                        </a:lnTo>
                        <a:lnTo>
                          <a:pt x="18" y="256"/>
                        </a:lnTo>
                        <a:lnTo>
                          <a:pt x="23" y="255"/>
                        </a:lnTo>
                        <a:lnTo>
                          <a:pt x="28" y="246"/>
                        </a:lnTo>
                        <a:lnTo>
                          <a:pt x="35" y="245"/>
                        </a:lnTo>
                        <a:lnTo>
                          <a:pt x="38" y="241"/>
                        </a:lnTo>
                        <a:lnTo>
                          <a:pt x="38" y="240"/>
                        </a:lnTo>
                        <a:lnTo>
                          <a:pt x="41" y="236"/>
                        </a:lnTo>
                        <a:lnTo>
                          <a:pt x="41" y="230"/>
                        </a:lnTo>
                        <a:lnTo>
                          <a:pt x="45" y="226"/>
                        </a:lnTo>
                        <a:lnTo>
                          <a:pt x="51" y="226"/>
                        </a:lnTo>
                        <a:lnTo>
                          <a:pt x="53" y="221"/>
                        </a:lnTo>
                        <a:lnTo>
                          <a:pt x="56" y="218"/>
                        </a:lnTo>
                        <a:lnTo>
                          <a:pt x="61" y="218"/>
                        </a:lnTo>
                        <a:lnTo>
                          <a:pt x="63" y="215"/>
                        </a:lnTo>
                        <a:lnTo>
                          <a:pt x="61" y="208"/>
                        </a:lnTo>
                        <a:lnTo>
                          <a:pt x="56" y="205"/>
                        </a:lnTo>
                        <a:lnTo>
                          <a:pt x="58" y="200"/>
                        </a:lnTo>
                        <a:lnTo>
                          <a:pt x="56" y="195"/>
                        </a:lnTo>
                        <a:lnTo>
                          <a:pt x="55" y="195"/>
                        </a:lnTo>
                        <a:lnTo>
                          <a:pt x="53" y="201"/>
                        </a:lnTo>
                        <a:lnTo>
                          <a:pt x="55" y="208"/>
                        </a:lnTo>
                        <a:lnTo>
                          <a:pt x="51" y="206"/>
                        </a:lnTo>
                        <a:lnTo>
                          <a:pt x="53" y="210"/>
                        </a:lnTo>
                        <a:lnTo>
                          <a:pt x="53" y="213"/>
                        </a:lnTo>
                        <a:lnTo>
                          <a:pt x="50" y="218"/>
                        </a:lnTo>
                        <a:lnTo>
                          <a:pt x="46" y="218"/>
                        </a:lnTo>
                        <a:lnTo>
                          <a:pt x="41" y="221"/>
                        </a:lnTo>
                        <a:lnTo>
                          <a:pt x="41" y="225"/>
                        </a:lnTo>
                        <a:lnTo>
                          <a:pt x="37" y="228"/>
                        </a:lnTo>
                        <a:lnTo>
                          <a:pt x="32" y="238"/>
                        </a:lnTo>
                        <a:lnTo>
                          <a:pt x="25" y="243"/>
                        </a:lnTo>
                        <a:lnTo>
                          <a:pt x="22" y="243"/>
                        </a:lnTo>
                        <a:lnTo>
                          <a:pt x="18" y="250"/>
                        </a:lnTo>
                        <a:lnTo>
                          <a:pt x="15" y="251"/>
                        </a:lnTo>
                        <a:lnTo>
                          <a:pt x="8" y="260"/>
                        </a:lnTo>
                        <a:lnTo>
                          <a:pt x="7" y="261"/>
                        </a:lnTo>
                        <a:lnTo>
                          <a:pt x="7" y="263"/>
                        </a:lnTo>
                        <a:lnTo>
                          <a:pt x="7" y="263"/>
                        </a:lnTo>
                        <a:close/>
                        <a:moveTo>
                          <a:pt x="8" y="265"/>
                        </a:moveTo>
                        <a:lnTo>
                          <a:pt x="5" y="266"/>
                        </a:lnTo>
                        <a:lnTo>
                          <a:pt x="8" y="266"/>
                        </a:lnTo>
                        <a:lnTo>
                          <a:pt x="8" y="265"/>
                        </a:lnTo>
                        <a:lnTo>
                          <a:pt x="8" y="265"/>
                        </a:lnTo>
                        <a:close/>
                        <a:moveTo>
                          <a:pt x="10" y="266"/>
                        </a:moveTo>
                        <a:lnTo>
                          <a:pt x="8" y="268"/>
                        </a:lnTo>
                        <a:lnTo>
                          <a:pt x="12" y="268"/>
                        </a:lnTo>
                        <a:lnTo>
                          <a:pt x="10" y="266"/>
                        </a:lnTo>
                        <a:lnTo>
                          <a:pt x="10" y="266"/>
                        </a:lnTo>
                        <a:close/>
                        <a:moveTo>
                          <a:pt x="3" y="271"/>
                        </a:moveTo>
                        <a:lnTo>
                          <a:pt x="0" y="273"/>
                        </a:lnTo>
                        <a:lnTo>
                          <a:pt x="0" y="274"/>
                        </a:lnTo>
                        <a:lnTo>
                          <a:pt x="2" y="279"/>
                        </a:lnTo>
                        <a:lnTo>
                          <a:pt x="5" y="279"/>
                        </a:lnTo>
                        <a:lnTo>
                          <a:pt x="5" y="273"/>
                        </a:lnTo>
                        <a:lnTo>
                          <a:pt x="5" y="271"/>
                        </a:lnTo>
                        <a:lnTo>
                          <a:pt x="3" y="271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17" name="Google Shape;2972;p98">
                    <a:extLst>
                      <a:ext uri="{FF2B5EF4-FFF2-40B4-BE49-F238E27FC236}">
                        <a16:creationId xmlns:a16="http://schemas.microsoft.com/office/drawing/2014/main" id="{DDF5BF4E-0790-8B4C-ABB9-9A34009B9823}"/>
                      </a:ext>
                    </a:extLst>
                  </p:cNvPr>
                  <p:cNvSpPr/>
                  <p:nvPr/>
                </p:nvSpPr>
                <p:spPr>
                  <a:xfrm>
                    <a:off x="7656503" y="3195008"/>
                    <a:ext cx="597199" cy="20751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16" h="398" extrusionOk="0">
                        <a:moveTo>
                          <a:pt x="1116" y="209"/>
                        </a:moveTo>
                        <a:lnTo>
                          <a:pt x="1113" y="292"/>
                        </a:lnTo>
                        <a:lnTo>
                          <a:pt x="1111" y="297"/>
                        </a:lnTo>
                        <a:lnTo>
                          <a:pt x="1111" y="302"/>
                        </a:lnTo>
                        <a:lnTo>
                          <a:pt x="1113" y="304"/>
                        </a:lnTo>
                        <a:lnTo>
                          <a:pt x="1109" y="357"/>
                        </a:lnTo>
                        <a:lnTo>
                          <a:pt x="1109" y="357"/>
                        </a:lnTo>
                        <a:lnTo>
                          <a:pt x="1103" y="353"/>
                        </a:lnTo>
                        <a:lnTo>
                          <a:pt x="1096" y="349"/>
                        </a:lnTo>
                        <a:lnTo>
                          <a:pt x="1094" y="345"/>
                        </a:lnTo>
                        <a:lnTo>
                          <a:pt x="1094" y="344"/>
                        </a:lnTo>
                        <a:lnTo>
                          <a:pt x="1089" y="339"/>
                        </a:lnTo>
                        <a:lnTo>
                          <a:pt x="1088" y="339"/>
                        </a:lnTo>
                        <a:lnTo>
                          <a:pt x="1086" y="335"/>
                        </a:lnTo>
                        <a:lnTo>
                          <a:pt x="1089" y="332"/>
                        </a:lnTo>
                        <a:lnTo>
                          <a:pt x="1088" y="327"/>
                        </a:lnTo>
                        <a:lnTo>
                          <a:pt x="1088" y="332"/>
                        </a:lnTo>
                        <a:lnTo>
                          <a:pt x="1084" y="334"/>
                        </a:lnTo>
                        <a:lnTo>
                          <a:pt x="1076" y="332"/>
                        </a:lnTo>
                        <a:lnTo>
                          <a:pt x="1073" y="335"/>
                        </a:lnTo>
                        <a:lnTo>
                          <a:pt x="1069" y="335"/>
                        </a:lnTo>
                        <a:lnTo>
                          <a:pt x="1068" y="332"/>
                        </a:lnTo>
                        <a:lnTo>
                          <a:pt x="1061" y="335"/>
                        </a:lnTo>
                        <a:lnTo>
                          <a:pt x="1058" y="332"/>
                        </a:lnTo>
                        <a:lnTo>
                          <a:pt x="1061" y="330"/>
                        </a:lnTo>
                        <a:lnTo>
                          <a:pt x="1063" y="327"/>
                        </a:lnTo>
                        <a:lnTo>
                          <a:pt x="1063" y="325"/>
                        </a:lnTo>
                        <a:lnTo>
                          <a:pt x="1063" y="324"/>
                        </a:lnTo>
                        <a:lnTo>
                          <a:pt x="1064" y="319"/>
                        </a:lnTo>
                        <a:lnTo>
                          <a:pt x="1061" y="317"/>
                        </a:lnTo>
                        <a:lnTo>
                          <a:pt x="1058" y="314"/>
                        </a:lnTo>
                        <a:lnTo>
                          <a:pt x="1061" y="314"/>
                        </a:lnTo>
                        <a:lnTo>
                          <a:pt x="1063" y="314"/>
                        </a:lnTo>
                        <a:lnTo>
                          <a:pt x="1068" y="312"/>
                        </a:lnTo>
                        <a:lnTo>
                          <a:pt x="1071" y="312"/>
                        </a:lnTo>
                        <a:lnTo>
                          <a:pt x="1068" y="310"/>
                        </a:lnTo>
                        <a:lnTo>
                          <a:pt x="1063" y="312"/>
                        </a:lnTo>
                        <a:lnTo>
                          <a:pt x="1058" y="310"/>
                        </a:lnTo>
                        <a:lnTo>
                          <a:pt x="1055" y="307"/>
                        </a:lnTo>
                        <a:lnTo>
                          <a:pt x="1055" y="304"/>
                        </a:lnTo>
                        <a:lnTo>
                          <a:pt x="1058" y="304"/>
                        </a:lnTo>
                        <a:lnTo>
                          <a:pt x="1061" y="304"/>
                        </a:lnTo>
                        <a:lnTo>
                          <a:pt x="1059" y="302"/>
                        </a:lnTo>
                        <a:lnTo>
                          <a:pt x="1053" y="299"/>
                        </a:lnTo>
                        <a:lnTo>
                          <a:pt x="1050" y="295"/>
                        </a:lnTo>
                        <a:lnTo>
                          <a:pt x="1048" y="292"/>
                        </a:lnTo>
                        <a:lnTo>
                          <a:pt x="1048" y="289"/>
                        </a:lnTo>
                        <a:lnTo>
                          <a:pt x="1043" y="284"/>
                        </a:lnTo>
                        <a:lnTo>
                          <a:pt x="1043" y="280"/>
                        </a:lnTo>
                        <a:lnTo>
                          <a:pt x="1048" y="277"/>
                        </a:lnTo>
                        <a:lnTo>
                          <a:pt x="1043" y="277"/>
                        </a:lnTo>
                        <a:lnTo>
                          <a:pt x="1041" y="275"/>
                        </a:lnTo>
                        <a:lnTo>
                          <a:pt x="1041" y="274"/>
                        </a:lnTo>
                        <a:lnTo>
                          <a:pt x="1040" y="272"/>
                        </a:lnTo>
                        <a:lnTo>
                          <a:pt x="1043" y="270"/>
                        </a:lnTo>
                        <a:lnTo>
                          <a:pt x="1038" y="270"/>
                        </a:lnTo>
                        <a:lnTo>
                          <a:pt x="1036" y="269"/>
                        </a:lnTo>
                        <a:lnTo>
                          <a:pt x="1033" y="270"/>
                        </a:lnTo>
                        <a:lnTo>
                          <a:pt x="1031" y="269"/>
                        </a:lnTo>
                        <a:lnTo>
                          <a:pt x="1036" y="264"/>
                        </a:lnTo>
                        <a:lnTo>
                          <a:pt x="1033" y="267"/>
                        </a:lnTo>
                        <a:lnTo>
                          <a:pt x="1028" y="267"/>
                        </a:lnTo>
                        <a:lnTo>
                          <a:pt x="1021" y="264"/>
                        </a:lnTo>
                        <a:lnTo>
                          <a:pt x="1020" y="260"/>
                        </a:lnTo>
                        <a:lnTo>
                          <a:pt x="1013" y="259"/>
                        </a:lnTo>
                        <a:lnTo>
                          <a:pt x="1010" y="259"/>
                        </a:lnTo>
                        <a:lnTo>
                          <a:pt x="995" y="254"/>
                        </a:lnTo>
                        <a:lnTo>
                          <a:pt x="980" y="251"/>
                        </a:lnTo>
                        <a:lnTo>
                          <a:pt x="973" y="251"/>
                        </a:lnTo>
                        <a:lnTo>
                          <a:pt x="966" y="247"/>
                        </a:lnTo>
                        <a:lnTo>
                          <a:pt x="965" y="246"/>
                        </a:lnTo>
                        <a:lnTo>
                          <a:pt x="965" y="244"/>
                        </a:lnTo>
                        <a:lnTo>
                          <a:pt x="960" y="242"/>
                        </a:lnTo>
                        <a:lnTo>
                          <a:pt x="960" y="241"/>
                        </a:lnTo>
                        <a:lnTo>
                          <a:pt x="963" y="239"/>
                        </a:lnTo>
                        <a:lnTo>
                          <a:pt x="965" y="241"/>
                        </a:lnTo>
                        <a:lnTo>
                          <a:pt x="965" y="239"/>
                        </a:lnTo>
                        <a:lnTo>
                          <a:pt x="961" y="239"/>
                        </a:lnTo>
                        <a:lnTo>
                          <a:pt x="958" y="241"/>
                        </a:lnTo>
                        <a:lnTo>
                          <a:pt x="955" y="239"/>
                        </a:lnTo>
                        <a:lnTo>
                          <a:pt x="953" y="237"/>
                        </a:lnTo>
                        <a:lnTo>
                          <a:pt x="952" y="236"/>
                        </a:lnTo>
                        <a:lnTo>
                          <a:pt x="950" y="239"/>
                        </a:lnTo>
                        <a:lnTo>
                          <a:pt x="948" y="234"/>
                        </a:lnTo>
                        <a:lnTo>
                          <a:pt x="947" y="234"/>
                        </a:lnTo>
                        <a:lnTo>
                          <a:pt x="945" y="234"/>
                        </a:lnTo>
                        <a:lnTo>
                          <a:pt x="943" y="236"/>
                        </a:lnTo>
                        <a:lnTo>
                          <a:pt x="940" y="232"/>
                        </a:lnTo>
                        <a:lnTo>
                          <a:pt x="940" y="227"/>
                        </a:lnTo>
                        <a:lnTo>
                          <a:pt x="937" y="222"/>
                        </a:lnTo>
                        <a:lnTo>
                          <a:pt x="940" y="219"/>
                        </a:lnTo>
                        <a:lnTo>
                          <a:pt x="940" y="214"/>
                        </a:lnTo>
                        <a:lnTo>
                          <a:pt x="938" y="219"/>
                        </a:lnTo>
                        <a:lnTo>
                          <a:pt x="935" y="224"/>
                        </a:lnTo>
                        <a:lnTo>
                          <a:pt x="935" y="227"/>
                        </a:lnTo>
                        <a:lnTo>
                          <a:pt x="933" y="227"/>
                        </a:lnTo>
                        <a:lnTo>
                          <a:pt x="930" y="234"/>
                        </a:lnTo>
                        <a:lnTo>
                          <a:pt x="930" y="237"/>
                        </a:lnTo>
                        <a:lnTo>
                          <a:pt x="925" y="242"/>
                        </a:lnTo>
                        <a:lnTo>
                          <a:pt x="920" y="244"/>
                        </a:lnTo>
                        <a:lnTo>
                          <a:pt x="915" y="242"/>
                        </a:lnTo>
                        <a:lnTo>
                          <a:pt x="912" y="236"/>
                        </a:lnTo>
                        <a:lnTo>
                          <a:pt x="912" y="232"/>
                        </a:lnTo>
                        <a:lnTo>
                          <a:pt x="913" y="232"/>
                        </a:lnTo>
                        <a:lnTo>
                          <a:pt x="915" y="229"/>
                        </a:lnTo>
                        <a:lnTo>
                          <a:pt x="913" y="226"/>
                        </a:lnTo>
                        <a:lnTo>
                          <a:pt x="912" y="227"/>
                        </a:lnTo>
                        <a:lnTo>
                          <a:pt x="910" y="226"/>
                        </a:lnTo>
                        <a:lnTo>
                          <a:pt x="907" y="219"/>
                        </a:lnTo>
                        <a:lnTo>
                          <a:pt x="902" y="217"/>
                        </a:lnTo>
                        <a:lnTo>
                          <a:pt x="897" y="217"/>
                        </a:lnTo>
                        <a:lnTo>
                          <a:pt x="895" y="214"/>
                        </a:lnTo>
                        <a:lnTo>
                          <a:pt x="898" y="211"/>
                        </a:lnTo>
                        <a:lnTo>
                          <a:pt x="903" y="211"/>
                        </a:lnTo>
                        <a:lnTo>
                          <a:pt x="905" y="212"/>
                        </a:lnTo>
                        <a:lnTo>
                          <a:pt x="910" y="212"/>
                        </a:lnTo>
                        <a:lnTo>
                          <a:pt x="915" y="214"/>
                        </a:lnTo>
                        <a:lnTo>
                          <a:pt x="920" y="212"/>
                        </a:lnTo>
                        <a:lnTo>
                          <a:pt x="920" y="207"/>
                        </a:lnTo>
                        <a:lnTo>
                          <a:pt x="925" y="206"/>
                        </a:lnTo>
                        <a:lnTo>
                          <a:pt x="932" y="209"/>
                        </a:lnTo>
                        <a:lnTo>
                          <a:pt x="935" y="212"/>
                        </a:lnTo>
                        <a:lnTo>
                          <a:pt x="937" y="209"/>
                        </a:lnTo>
                        <a:lnTo>
                          <a:pt x="940" y="206"/>
                        </a:lnTo>
                        <a:lnTo>
                          <a:pt x="942" y="206"/>
                        </a:lnTo>
                        <a:lnTo>
                          <a:pt x="943" y="202"/>
                        </a:lnTo>
                        <a:lnTo>
                          <a:pt x="942" y="199"/>
                        </a:lnTo>
                        <a:lnTo>
                          <a:pt x="930" y="197"/>
                        </a:lnTo>
                        <a:lnTo>
                          <a:pt x="932" y="199"/>
                        </a:lnTo>
                        <a:lnTo>
                          <a:pt x="928" y="201"/>
                        </a:lnTo>
                        <a:lnTo>
                          <a:pt x="925" y="199"/>
                        </a:lnTo>
                        <a:lnTo>
                          <a:pt x="918" y="201"/>
                        </a:lnTo>
                        <a:lnTo>
                          <a:pt x="915" y="201"/>
                        </a:lnTo>
                        <a:lnTo>
                          <a:pt x="912" y="201"/>
                        </a:lnTo>
                        <a:lnTo>
                          <a:pt x="910" y="201"/>
                        </a:lnTo>
                        <a:lnTo>
                          <a:pt x="905" y="201"/>
                        </a:lnTo>
                        <a:lnTo>
                          <a:pt x="900" y="201"/>
                        </a:lnTo>
                        <a:lnTo>
                          <a:pt x="895" y="196"/>
                        </a:lnTo>
                        <a:lnTo>
                          <a:pt x="893" y="191"/>
                        </a:lnTo>
                        <a:lnTo>
                          <a:pt x="895" y="191"/>
                        </a:lnTo>
                        <a:lnTo>
                          <a:pt x="892" y="186"/>
                        </a:lnTo>
                        <a:lnTo>
                          <a:pt x="885" y="182"/>
                        </a:lnTo>
                        <a:lnTo>
                          <a:pt x="883" y="181"/>
                        </a:lnTo>
                        <a:lnTo>
                          <a:pt x="882" y="182"/>
                        </a:lnTo>
                        <a:lnTo>
                          <a:pt x="878" y="184"/>
                        </a:lnTo>
                        <a:lnTo>
                          <a:pt x="872" y="182"/>
                        </a:lnTo>
                        <a:lnTo>
                          <a:pt x="873" y="181"/>
                        </a:lnTo>
                        <a:lnTo>
                          <a:pt x="878" y="177"/>
                        </a:lnTo>
                        <a:lnTo>
                          <a:pt x="878" y="174"/>
                        </a:lnTo>
                        <a:lnTo>
                          <a:pt x="877" y="171"/>
                        </a:lnTo>
                        <a:lnTo>
                          <a:pt x="882" y="167"/>
                        </a:lnTo>
                        <a:lnTo>
                          <a:pt x="888" y="167"/>
                        </a:lnTo>
                        <a:lnTo>
                          <a:pt x="892" y="166"/>
                        </a:lnTo>
                        <a:lnTo>
                          <a:pt x="895" y="164"/>
                        </a:lnTo>
                        <a:lnTo>
                          <a:pt x="902" y="159"/>
                        </a:lnTo>
                        <a:lnTo>
                          <a:pt x="903" y="157"/>
                        </a:lnTo>
                        <a:lnTo>
                          <a:pt x="910" y="156"/>
                        </a:lnTo>
                        <a:lnTo>
                          <a:pt x="923" y="161"/>
                        </a:lnTo>
                        <a:lnTo>
                          <a:pt x="932" y="166"/>
                        </a:lnTo>
                        <a:lnTo>
                          <a:pt x="938" y="166"/>
                        </a:lnTo>
                        <a:lnTo>
                          <a:pt x="947" y="166"/>
                        </a:lnTo>
                        <a:lnTo>
                          <a:pt x="948" y="167"/>
                        </a:lnTo>
                        <a:lnTo>
                          <a:pt x="947" y="171"/>
                        </a:lnTo>
                        <a:lnTo>
                          <a:pt x="947" y="176"/>
                        </a:lnTo>
                        <a:lnTo>
                          <a:pt x="952" y="179"/>
                        </a:lnTo>
                        <a:lnTo>
                          <a:pt x="953" y="182"/>
                        </a:lnTo>
                        <a:lnTo>
                          <a:pt x="950" y="187"/>
                        </a:lnTo>
                        <a:lnTo>
                          <a:pt x="947" y="191"/>
                        </a:lnTo>
                        <a:lnTo>
                          <a:pt x="948" y="197"/>
                        </a:lnTo>
                        <a:lnTo>
                          <a:pt x="950" y="207"/>
                        </a:lnTo>
                        <a:lnTo>
                          <a:pt x="953" y="212"/>
                        </a:lnTo>
                        <a:lnTo>
                          <a:pt x="955" y="214"/>
                        </a:lnTo>
                        <a:lnTo>
                          <a:pt x="957" y="216"/>
                        </a:lnTo>
                        <a:lnTo>
                          <a:pt x="957" y="209"/>
                        </a:lnTo>
                        <a:lnTo>
                          <a:pt x="958" y="207"/>
                        </a:lnTo>
                        <a:lnTo>
                          <a:pt x="961" y="209"/>
                        </a:lnTo>
                        <a:lnTo>
                          <a:pt x="961" y="212"/>
                        </a:lnTo>
                        <a:lnTo>
                          <a:pt x="963" y="217"/>
                        </a:lnTo>
                        <a:lnTo>
                          <a:pt x="965" y="216"/>
                        </a:lnTo>
                        <a:lnTo>
                          <a:pt x="966" y="221"/>
                        </a:lnTo>
                        <a:lnTo>
                          <a:pt x="971" y="224"/>
                        </a:lnTo>
                        <a:lnTo>
                          <a:pt x="975" y="227"/>
                        </a:lnTo>
                        <a:lnTo>
                          <a:pt x="978" y="227"/>
                        </a:lnTo>
                        <a:lnTo>
                          <a:pt x="983" y="226"/>
                        </a:lnTo>
                        <a:lnTo>
                          <a:pt x="985" y="221"/>
                        </a:lnTo>
                        <a:lnTo>
                          <a:pt x="986" y="219"/>
                        </a:lnTo>
                        <a:lnTo>
                          <a:pt x="990" y="219"/>
                        </a:lnTo>
                        <a:lnTo>
                          <a:pt x="990" y="212"/>
                        </a:lnTo>
                        <a:lnTo>
                          <a:pt x="993" y="209"/>
                        </a:lnTo>
                        <a:lnTo>
                          <a:pt x="998" y="207"/>
                        </a:lnTo>
                        <a:lnTo>
                          <a:pt x="1003" y="206"/>
                        </a:lnTo>
                        <a:lnTo>
                          <a:pt x="1003" y="201"/>
                        </a:lnTo>
                        <a:lnTo>
                          <a:pt x="1005" y="199"/>
                        </a:lnTo>
                        <a:lnTo>
                          <a:pt x="1006" y="201"/>
                        </a:lnTo>
                        <a:lnTo>
                          <a:pt x="1010" y="201"/>
                        </a:lnTo>
                        <a:lnTo>
                          <a:pt x="1015" y="199"/>
                        </a:lnTo>
                        <a:lnTo>
                          <a:pt x="1021" y="197"/>
                        </a:lnTo>
                        <a:lnTo>
                          <a:pt x="1021" y="194"/>
                        </a:lnTo>
                        <a:lnTo>
                          <a:pt x="1020" y="191"/>
                        </a:lnTo>
                        <a:lnTo>
                          <a:pt x="1021" y="189"/>
                        </a:lnTo>
                        <a:lnTo>
                          <a:pt x="1033" y="182"/>
                        </a:lnTo>
                        <a:lnTo>
                          <a:pt x="1038" y="182"/>
                        </a:lnTo>
                        <a:lnTo>
                          <a:pt x="1043" y="186"/>
                        </a:lnTo>
                        <a:lnTo>
                          <a:pt x="1050" y="189"/>
                        </a:lnTo>
                        <a:lnTo>
                          <a:pt x="1058" y="191"/>
                        </a:lnTo>
                        <a:lnTo>
                          <a:pt x="1063" y="194"/>
                        </a:lnTo>
                        <a:lnTo>
                          <a:pt x="1068" y="194"/>
                        </a:lnTo>
                        <a:lnTo>
                          <a:pt x="1074" y="196"/>
                        </a:lnTo>
                        <a:lnTo>
                          <a:pt x="1088" y="202"/>
                        </a:lnTo>
                        <a:lnTo>
                          <a:pt x="1091" y="201"/>
                        </a:lnTo>
                        <a:lnTo>
                          <a:pt x="1094" y="202"/>
                        </a:lnTo>
                        <a:lnTo>
                          <a:pt x="1101" y="202"/>
                        </a:lnTo>
                        <a:lnTo>
                          <a:pt x="1106" y="202"/>
                        </a:lnTo>
                        <a:lnTo>
                          <a:pt x="1109" y="206"/>
                        </a:lnTo>
                        <a:lnTo>
                          <a:pt x="1108" y="207"/>
                        </a:lnTo>
                        <a:lnTo>
                          <a:pt x="1108" y="209"/>
                        </a:lnTo>
                        <a:lnTo>
                          <a:pt x="1111" y="211"/>
                        </a:lnTo>
                        <a:lnTo>
                          <a:pt x="1116" y="209"/>
                        </a:lnTo>
                        <a:lnTo>
                          <a:pt x="1116" y="209"/>
                        </a:lnTo>
                        <a:lnTo>
                          <a:pt x="1116" y="209"/>
                        </a:lnTo>
                        <a:close/>
                        <a:moveTo>
                          <a:pt x="827" y="149"/>
                        </a:moveTo>
                        <a:lnTo>
                          <a:pt x="837" y="153"/>
                        </a:lnTo>
                        <a:lnTo>
                          <a:pt x="837" y="154"/>
                        </a:lnTo>
                        <a:lnTo>
                          <a:pt x="830" y="151"/>
                        </a:lnTo>
                        <a:lnTo>
                          <a:pt x="827" y="149"/>
                        </a:lnTo>
                        <a:lnTo>
                          <a:pt x="827" y="149"/>
                        </a:lnTo>
                        <a:close/>
                        <a:moveTo>
                          <a:pt x="875" y="157"/>
                        </a:moveTo>
                        <a:lnTo>
                          <a:pt x="878" y="157"/>
                        </a:lnTo>
                        <a:lnTo>
                          <a:pt x="882" y="157"/>
                        </a:lnTo>
                        <a:lnTo>
                          <a:pt x="882" y="154"/>
                        </a:lnTo>
                        <a:lnTo>
                          <a:pt x="875" y="151"/>
                        </a:lnTo>
                        <a:lnTo>
                          <a:pt x="867" y="151"/>
                        </a:lnTo>
                        <a:lnTo>
                          <a:pt x="863" y="153"/>
                        </a:lnTo>
                        <a:lnTo>
                          <a:pt x="859" y="154"/>
                        </a:lnTo>
                        <a:lnTo>
                          <a:pt x="857" y="154"/>
                        </a:lnTo>
                        <a:lnTo>
                          <a:pt x="859" y="156"/>
                        </a:lnTo>
                        <a:lnTo>
                          <a:pt x="855" y="156"/>
                        </a:lnTo>
                        <a:lnTo>
                          <a:pt x="863" y="157"/>
                        </a:lnTo>
                        <a:lnTo>
                          <a:pt x="867" y="159"/>
                        </a:lnTo>
                        <a:lnTo>
                          <a:pt x="872" y="159"/>
                        </a:lnTo>
                        <a:lnTo>
                          <a:pt x="872" y="157"/>
                        </a:lnTo>
                        <a:lnTo>
                          <a:pt x="867" y="156"/>
                        </a:lnTo>
                        <a:lnTo>
                          <a:pt x="867" y="154"/>
                        </a:lnTo>
                        <a:lnTo>
                          <a:pt x="868" y="154"/>
                        </a:lnTo>
                        <a:lnTo>
                          <a:pt x="875" y="157"/>
                        </a:lnTo>
                        <a:lnTo>
                          <a:pt x="875" y="157"/>
                        </a:lnTo>
                        <a:close/>
                        <a:moveTo>
                          <a:pt x="867" y="171"/>
                        </a:moveTo>
                        <a:lnTo>
                          <a:pt x="862" y="169"/>
                        </a:lnTo>
                        <a:lnTo>
                          <a:pt x="859" y="169"/>
                        </a:lnTo>
                        <a:lnTo>
                          <a:pt x="862" y="171"/>
                        </a:lnTo>
                        <a:lnTo>
                          <a:pt x="867" y="171"/>
                        </a:lnTo>
                        <a:lnTo>
                          <a:pt x="867" y="171"/>
                        </a:lnTo>
                        <a:close/>
                        <a:moveTo>
                          <a:pt x="872" y="167"/>
                        </a:moveTo>
                        <a:lnTo>
                          <a:pt x="868" y="169"/>
                        </a:lnTo>
                        <a:lnTo>
                          <a:pt x="867" y="167"/>
                        </a:lnTo>
                        <a:lnTo>
                          <a:pt x="872" y="167"/>
                        </a:lnTo>
                        <a:lnTo>
                          <a:pt x="872" y="167"/>
                        </a:lnTo>
                        <a:close/>
                        <a:moveTo>
                          <a:pt x="870" y="171"/>
                        </a:moveTo>
                        <a:lnTo>
                          <a:pt x="865" y="174"/>
                        </a:lnTo>
                        <a:lnTo>
                          <a:pt x="865" y="179"/>
                        </a:lnTo>
                        <a:lnTo>
                          <a:pt x="870" y="181"/>
                        </a:lnTo>
                        <a:lnTo>
                          <a:pt x="873" y="179"/>
                        </a:lnTo>
                        <a:lnTo>
                          <a:pt x="873" y="172"/>
                        </a:lnTo>
                        <a:lnTo>
                          <a:pt x="870" y="171"/>
                        </a:lnTo>
                        <a:lnTo>
                          <a:pt x="870" y="171"/>
                        </a:lnTo>
                        <a:close/>
                        <a:moveTo>
                          <a:pt x="736" y="63"/>
                        </a:moveTo>
                        <a:lnTo>
                          <a:pt x="741" y="68"/>
                        </a:lnTo>
                        <a:lnTo>
                          <a:pt x="742" y="73"/>
                        </a:lnTo>
                        <a:lnTo>
                          <a:pt x="739" y="76"/>
                        </a:lnTo>
                        <a:lnTo>
                          <a:pt x="736" y="71"/>
                        </a:lnTo>
                        <a:lnTo>
                          <a:pt x="734" y="66"/>
                        </a:lnTo>
                        <a:lnTo>
                          <a:pt x="736" y="63"/>
                        </a:lnTo>
                        <a:lnTo>
                          <a:pt x="736" y="63"/>
                        </a:lnTo>
                        <a:close/>
                        <a:moveTo>
                          <a:pt x="764" y="48"/>
                        </a:moveTo>
                        <a:lnTo>
                          <a:pt x="767" y="53"/>
                        </a:lnTo>
                        <a:lnTo>
                          <a:pt x="767" y="58"/>
                        </a:lnTo>
                        <a:lnTo>
                          <a:pt x="769" y="56"/>
                        </a:lnTo>
                        <a:lnTo>
                          <a:pt x="770" y="53"/>
                        </a:lnTo>
                        <a:lnTo>
                          <a:pt x="770" y="48"/>
                        </a:lnTo>
                        <a:lnTo>
                          <a:pt x="767" y="46"/>
                        </a:lnTo>
                        <a:lnTo>
                          <a:pt x="764" y="48"/>
                        </a:lnTo>
                        <a:lnTo>
                          <a:pt x="764" y="48"/>
                        </a:lnTo>
                        <a:close/>
                        <a:moveTo>
                          <a:pt x="764" y="58"/>
                        </a:moveTo>
                        <a:lnTo>
                          <a:pt x="767" y="59"/>
                        </a:lnTo>
                        <a:lnTo>
                          <a:pt x="769" y="63"/>
                        </a:lnTo>
                        <a:lnTo>
                          <a:pt x="767" y="63"/>
                        </a:lnTo>
                        <a:lnTo>
                          <a:pt x="767" y="63"/>
                        </a:lnTo>
                        <a:lnTo>
                          <a:pt x="764" y="58"/>
                        </a:lnTo>
                        <a:lnTo>
                          <a:pt x="764" y="58"/>
                        </a:lnTo>
                        <a:close/>
                        <a:moveTo>
                          <a:pt x="804" y="99"/>
                        </a:moveTo>
                        <a:lnTo>
                          <a:pt x="805" y="106"/>
                        </a:lnTo>
                        <a:lnTo>
                          <a:pt x="807" y="104"/>
                        </a:lnTo>
                        <a:lnTo>
                          <a:pt x="812" y="104"/>
                        </a:lnTo>
                        <a:lnTo>
                          <a:pt x="815" y="101"/>
                        </a:lnTo>
                        <a:lnTo>
                          <a:pt x="814" y="98"/>
                        </a:lnTo>
                        <a:lnTo>
                          <a:pt x="810" y="96"/>
                        </a:lnTo>
                        <a:lnTo>
                          <a:pt x="807" y="98"/>
                        </a:lnTo>
                        <a:lnTo>
                          <a:pt x="804" y="99"/>
                        </a:lnTo>
                        <a:lnTo>
                          <a:pt x="804" y="99"/>
                        </a:lnTo>
                        <a:close/>
                        <a:moveTo>
                          <a:pt x="799" y="157"/>
                        </a:moveTo>
                        <a:lnTo>
                          <a:pt x="800" y="164"/>
                        </a:lnTo>
                        <a:lnTo>
                          <a:pt x="807" y="169"/>
                        </a:lnTo>
                        <a:lnTo>
                          <a:pt x="809" y="171"/>
                        </a:lnTo>
                        <a:lnTo>
                          <a:pt x="807" y="171"/>
                        </a:lnTo>
                        <a:lnTo>
                          <a:pt x="807" y="174"/>
                        </a:lnTo>
                        <a:lnTo>
                          <a:pt x="805" y="171"/>
                        </a:lnTo>
                        <a:lnTo>
                          <a:pt x="800" y="169"/>
                        </a:lnTo>
                        <a:lnTo>
                          <a:pt x="797" y="162"/>
                        </a:lnTo>
                        <a:lnTo>
                          <a:pt x="792" y="159"/>
                        </a:lnTo>
                        <a:lnTo>
                          <a:pt x="789" y="154"/>
                        </a:lnTo>
                        <a:lnTo>
                          <a:pt x="790" y="149"/>
                        </a:lnTo>
                        <a:lnTo>
                          <a:pt x="790" y="148"/>
                        </a:lnTo>
                        <a:lnTo>
                          <a:pt x="790" y="144"/>
                        </a:lnTo>
                        <a:lnTo>
                          <a:pt x="785" y="141"/>
                        </a:lnTo>
                        <a:lnTo>
                          <a:pt x="787" y="136"/>
                        </a:lnTo>
                        <a:lnTo>
                          <a:pt x="789" y="134"/>
                        </a:lnTo>
                        <a:lnTo>
                          <a:pt x="785" y="129"/>
                        </a:lnTo>
                        <a:lnTo>
                          <a:pt x="784" y="126"/>
                        </a:lnTo>
                        <a:lnTo>
                          <a:pt x="785" y="121"/>
                        </a:lnTo>
                        <a:lnTo>
                          <a:pt x="789" y="119"/>
                        </a:lnTo>
                        <a:lnTo>
                          <a:pt x="787" y="113"/>
                        </a:lnTo>
                        <a:lnTo>
                          <a:pt x="789" y="108"/>
                        </a:lnTo>
                        <a:lnTo>
                          <a:pt x="797" y="101"/>
                        </a:lnTo>
                        <a:lnTo>
                          <a:pt x="799" y="99"/>
                        </a:lnTo>
                        <a:lnTo>
                          <a:pt x="799" y="103"/>
                        </a:lnTo>
                        <a:lnTo>
                          <a:pt x="795" y="108"/>
                        </a:lnTo>
                        <a:lnTo>
                          <a:pt x="795" y="109"/>
                        </a:lnTo>
                        <a:lnTo>
                          <a:pt x="800" y="111"/>
                        </a:lnTo>
                        <a:lnTo>
                          <a:pt x="800" y="118"/>
                        </a:lnTo>
                        <a:lnTo>
                          <a:pt x="799" y="123"/>
                        </a:lnTo>
                        <a:lnTo>
                          <a:pt x="794" y="123"/>
                        </a:lnTo>
                        <a:lnTo>
                          <a:pt x="790" y="126"/>
                        </a:lnTo>
                        <a:lnTo>
                          <a:pt x="792" y="131"/>
                        </a:lnTo>
                        <a:lnTo>
                          <a:pt x="795" y="129"/>
                        </a:lnTo>
                        <a:lnTo>
                          <a:pt x="797" y="126"/>
                        </a:lnTo>
                        <a:lnTo>
                          <a:pt x="802" y="124"/>
                        </a:lnTo>
                        <a:lnTo>
                          <a:pt x="804" y="123"/>
                        </a:lnTo>
                        <a:lnTo>
                          <a:pt x="800" y="123"/>
                        </a:lnTo>
                        <a:lnTo>
                          <a:pt x="802" y="119"/>
                        </a:lnTo>
                        <a:lnTo>
                          <a:pt x="809" y="116"/>
                        </a:lnTo>
                        <a:lnTo>
                          <a:pt x="817" y="113"/>
                        </a:lnTo>
                        <a:lnTo>
                          <a:pt x="819" y="116"/>
                        </a:lnTo>
                        <a:lnTo>
                          <a:pt x="820" y="119"/>
                        </a:lnTo>
                        <a:lnTo>
                          <a:pt x="815" y="128"/>
                        </a:lnTo>
                        <a:lnTo>
                          <a:pt x="807" y="129"/>
                        </a:lnTo>
                        <a:lnTo>
                          <a:pt x="804" y="133"/>
                        </a:lnTo>
                        <a:lnTo>
                          <a:pt x="805" y="136"/>
                        </a:lnTo>
                        <a:lnTo>
                          <a:pt x="809" y="136"/>
                        </a:lnTo>
                        <a:lnTo>
                          <a:pt x="815" y="141"/>
                        </a:lnTo>
                        <a:lnTo>
                          <a:pt x="815" y="143"/>
                        </a:lnTo>
                        <a:lnTo>
                          <a:pt x="819" y="144"/>
                        </a:lnTo>
                        <a:lnTo>
                          <a:pt x="814" y="146"/>
                        </a:lnTo>
                        <a:lnTo>
                          <a:pt x="810" y="143"/>
                        </a:lnTo>
                        <a:lnTo>
                          <a:pt x="804" y="143"/>
                        </a:lnTo>
                        <a:lnTo>
                          <a:pt x="799" y="141"/>
                        </a:lnTo>
                        <a:lnTo>
                          <a:pt x="795" y="143"/>
                        </a:lnTo>
                        <a:lnTo>
                          <a:pt x="795" y="151"/>
                        </a:lnTo>
                        <a:lnTo>
                          <a:pt x="799" y="157"/>
                        </a:lnTo>
                        <a:lnTo>
                          <a:pt x="799" y="157"/>
                        </a:lnTo>
                        <a:close/>
                        <a:moveTo>
                          <a:pt x="779" y="167"/>
                        </a:moveTo>
                        <a:lnTo>
                          <a:pt x="780" y="171"/>
                        </a:lnTo>
                        <a:lnTo>
                          <a:pt x="775" y="169"/>
                        </a:lnTo>
                        <a:lnTo>
                          <a:pt x="779" y="166"/>
                        </a:lnTo>
                        <a:lnTo>
                          <a:pt x="779" y="167"/>
                        </a:lnTo>
                        <a:lnTo>
                          <a:pt x="779" y="167"/>
                        </a:lnTo>
                        <a:close/>
                        <a:moveTo>
                          <a:pt x="779" y="159"/>
                        </a:moveTo>
                        <a:lnTo>
                          <a:pt x="777" y="159"/>
                        </a:lnTo>
                        <a:lnTo>
                          <a:pt x="775" y="162"/>
                        </a:lnTo>
                        <a:lnTo>
                          <a:pt x="779" y="164"/>
                        </a:lnTo>
                        <a:lnTo>
                          <a:pt x="779" y="161"/>
                        </a:lnTo>
                        <a:lnTo>
                          <a:pt x="779" y="159"/>
                        </a:lnTo>
                        <a:lnTo>
                          <a:pt x="779" y="159"/>
                        </a:lnTo>
                        <a:close/>
                        <a:moveTo>
                          <a:pt x="784" y="161"/>
                        </a:moveTo>
                        <a:lnTo>
                          <a:pt x="782" y="162"/>
                        </a:lnTo>
                        <a:lnTo>
                          <a:pt x="782" y="164"/>
                        </a:lnTo>
                        <a:lnTo>
                          <a:pt x="785" y="169"/>
                        </a:lnTo>
                        <a:lnTo>
                          <a:pt x="789" y="169"/>
                        </a:lnTo>
                        <a:lnTo>
                          <a:pt x="792" y="171"/>
                        </a:lnTo>
                        <a:lnTo>
                          <a:pt x="794" y="169"/>
                        </a:lnTo>
                        <a:lnTo>
                          <a:pt x="792" y="167"/>
                        </a:lnTo>
                        <a:lnTo>
                          <a:pt x="789" y="166"/>
                        </a:lnTo>
                        <a:lnTo>
                          <a:pt x="789" y="162"/>
                        </a:lnTo>
                        <a:lnTo>
                          <a:pt x="787" y="161"/>
                        </a:lnTo>
                        <a:lnTo>
                          <a:pt x="784" y="161"/>
                        </a:lnTo>
                        <a:lnTo>
                          <a:pt x="784" y="161"/>
                        </a:lnTo>
                        <a:close/>
                        <a:moveTo>
                          <a:pt x="782" y="186"/>
                        </a:moveTo>
                        <a:lnTo>
                          <a:pt x="789" y="182"/>
                        </a:lnTo>
                        <a:lnTo>
                          <a:pt x="795" y="182"/>
                        </a:lnTo>
                        <a:lnTo>
                          <a:pt x="800" y="187"/>
                        </a:lnTo>
                        <a:lnTo>
                          <a:pt x="800" y="191"/>
                        </a:lnTo>
                        <a:lnTo>
                          <a:pt x="797" y="191"/>
                        </a:lnTo>
                        <a:lnTo>
                          <a:pt x="792" y="191"/>
                        </a:lnTo>
                        <a:lnTo>
                          <a:pt x="789" y="191"/>
                        </a:lnTo>
                        <a:lnTo>
                          <a:pt x="785" y="189"/>
                        </a:lnTo>
                        <a:lnTo>
                          <a:pt x="782" y="186"/>
                        </a:lnTo>
                        <a:lnTo>
                          <a:pt x="782" y="186"/>
                        </a:lnTo>
                        <a:close/>
                        <a:moveTo>
                          <a:pt x="852" y="189"/>
                        </a:moveTo>
                        <a:lnTo>
                          <a:pt x="844" y="191"/>
                        </a:lnTo>
                        <a:lnTo>
                          <a:pt x="840" y="192"/>
                        </a:lnTo>
                        <a:lnTo>
                          <a:pt x="842" y="194"/>
                        </a:lnTo>
                        <a:lnTo>
                          <a:pt x="850" y="196"/>
                        </a:lnTo>
                        <a:lnTo>
                          <a:pt x="857" y="194"/>
                        </a:lnTo>
                        <a:lnTo>
                          <a:pt x="855" y="194"/>
                        </a:lnTo>
                        <a:lnTo>
                          <a:pt x="855" y="191"/>
                        </a:lnTo>
                        <a:lnTo>
                          <a:pt x="852" y="189"/>
                        </a:lnTo>
                        <a:lnTo>
                          <a:pt x="852" y="189"/>
                        </a:lnTo>
                        <a:close/>
                        <a:moveTo>
                          <a:pt x="810" y="231"/>
                        </a:moveTo>
                        <a:lnTo>
                          <a:pt x="814" y="231"/>
                        </a:lnTo>
                        <a:lnTo>
                          <a:pt x="814" y="232"/>
                        </a:lnTo>
                        <a:lnTo>
                          <a:pt x="812" y="232"/>
                        </a:lnTo>
                        <a:lnTo>
                          <a:pt x="810" y="231"/>
                        </a:lnTo>
                        <a:lnTo>
                          <a:pt x="810" y="231"/>
                        </a:lnTo>
                        <a:close/>
                        <a:moveTo>
                          <a:pt x="807" y="232"/>
                        </a:moveTo>
                        <a:lnTo>
                          <a:pt x="809" y="232"/>
                        </a:lnTo>
                        <a:lnTo>
                          <a:pt x="809" y="234"/>
                        </a:lnTo>
                        <a:lnTo>
                          <a:pt x="807" y="234"/>
                        </a:lnTo>
                        <a:lnTo>
                          <a:pt x="807" y="232"/>
                        </a:lnTo>
                        <a:lnTo>
                          <a:pt x="807" y="232"/>
                        </a:lnTo>
                        <a:close/>
                        <a:moveTo>
                          <a:pt x="794" y="234"/>
                        </a:moveTo>
                        <a:lnTo>
                          <a:pt x="799" y="232"/>
                        </a:lnTo>
                        <a:lnTo>
                          <a:pt x="802" y="231"/>
                        </a:lnTo>
                        <a:lnTo>
                          <a:pt x="804" y="232"/>
                        </a:lnTo>
                        <a:lnTo>
                          <a:pt x="802" y="236"/>
                        </a:lnTo>
                        <a:lnTo>
                          <a:pt x="800" y="234"/>
                        </a:lnTo>
                        <a:lnTo>
                          <a:pt x="797" y="236"/>
                        </a:lnTo>
                        <a:lnTo>
                          <a:pt x="794" y="234"/>
                        </a:lnTo>
                        <a:lnTo>
                          <a:pt x="794" y="234"/>
                        </a:lnTo>
                        <a:close/>
                        <a:moveTo>
                          <a:pt x="792" y="221"/>
                        </a:moveTo>
                        <a:lnTo>
                          <a:pt x="789" y="222"/>
                        </a:lnTo>
                        <a:lnTo>
                          <a:pt x="792" y="224"/>
                        </a:lnTo>
                        <a:lnTo>
                          <a:pt x="792" y="221"/>
                        </a:lnTo>
                        <a:lnTo>
                          <a:pt x="792" y="221"/>
                        </a:lnTo>
                        <a:close/>
                        <a:moveTo>
                          <a:pt x="797" y="216"/>
                        </a:moveTo>
                        <a:lnTo>
                          <a:pt x="794" y="216"/>
                        </a:lnTo>
                        <a:lnTo>
                          <a:pt x="794" y="217"/>
                        </a:lnTo>
                        <a:lnTo>
                          <a:pt x="797" y="217"/>
                        </a:lnTo>
                        <a:lnTo>
                          <a:pt x="797" y="216"/>
                        </a:lnTo>
                        <a:lnTo>
                          <a:pt x="797" y="216"/>
                        </a:lnTo>
                        <a:close/>
                        <a:moveTo>
                          <a:pt x="799" y="229"/>
                        </a:moveTo>
                        <a:lnTo>
                          <a:pt x="802" y="222"/>
                        </a:lnTo>
                        <a:lnTo>
                          <a:pt x="807" y="226"/>
                        </a:lnTo>
                        <a:lnTo>
                          <a:pt x="809" y="229"/>
                        </a:lnTo>
                        <a:lnTo>
                          <a:pt x="814" y="227"/>
                        </a:lnTo>
                        <a:lnTo>
                          <a:pt x="817" y="224"/>
                        </a:lnTo>
                        <a:lnTo>
                          <a:pt x="820" y="224"/>
                        </a:lnTo>
                        <a:lnTo>
                          <a:pt x="824" y="227"/>
                        </a:lnTo>
                        <a:lnTo>
                          <a:pt x="834" y="229"/>
                        </a:lnTo>
                        <a:lnTo>
                          <a:pt x="835" y="226"/>
                        </a:lnTo>
                        <a:lnTo>
                          <a:pt x="840" y="226"/>
                        </a:lnTo>
                        <a:lnTo>
                          <a:pt x="850" y="232"/>
                        </a:lnTo>
                        <a:lnTo>
                          <a:pt x="855" y="232"/>
                        </a:lnTo>
                        <a:lnTo>
                          <a:pt x="860" y="237"/>
                        </a:lnTo>
                        <a:lnTo>
                          <a:pt x="865" y="237"/>
                        </a:lnTo>
                        <a:lnTo>
                          <a:pt x="867" y="234"/>
                        </a:lnTo>
                        <a:lnTo>
                          <a:pt x="865" y="226"/>
                        </a:lnTo>
                        <a:lnTo>
                          <a:pt x="852" y="219"/>
                        </a:lnTo>
                        <a:lnTo>
                          <a:pt x="842" y="217"/>
                        </a:lnTo>
                        <a:lnTo>
                          <a:pt x="837" y="214"/>
                        </a:lnTo>
                        <a:lnTo>
                          <a:pt x="832" y="214"/>
                        </a:lnTo>
                        <a:lnTo>
                          <a:pt x="829" y="217"/>
                        </a:lnTo>
                        <a:lnTo>
                          <a:pt x="824" y="216"/>
                        </a:lnTo>
                        <a:lnTo>
                          <a:pt x="820" y="216"/>
                        </a:lnTo>
                        <a:lnTo>
                          <a:pt x="812" y="216"/>
                        </a:lnTo>
                        <a:lnTo>
                          <a:pt x="802" y="216"/>
                        </a:lnTo>
                        <a:lnTo>
                          <a:pt x="800" y="217"/>
                        </a:lnTo>
                        <a:lnTo>
                          <a:pt x="800" y="221"/>
                        </a:lnTo>
                        <a:lnTo>
                          <a:pt x="795" y="222"/>
                        </a:lnTo>
                        <a:lnTo>
                          <a:pt x="794" y="226"/>
                        </a:lnTo>
                        <a:lnTo>
                          <a:pt x="795" y="229"/>
                        </a:lnTo>
                        <a:lnTo>
                          <a:pt x="799" y="229"/>
                        </a:lnTo>
                        <a:lnTo>
                          <a:pt x="799" y="229"/>
                        </a:lnTo>
                        <a:close/>
                        <a:moveTo>
                          <a:pt x="751" y="221"/>
                        </a:moveTo>
                        <a:lnTo>
                          <a:pt x="756" y="222"/>
                        </a:lnTo>
                        <a:lnTo>
                          <a:pt x="759" y="221"/>
                        </a:lnTo>
                        <a:lnTo>
                          <a:pt x="769" y="221"/>
                        </a:lnTo>
                        <a:lnTo>
                          <a:pt x="775" y="222"/>
                        </a:lnTo>
                        <a:lnTo>
                          <a:pt x="775" y="226"/>
                        </a:lnTo>
                        <a:lnTo>
                          <a:pt x="779" y="231"/>
                        </a:lnTo>
                        <a:lnTo>
                          <a:pt x="779" y="234"/>
                        </a:lnTo>
                        <a:lnTo>
                          <a:pt x="775" y="234"/>
                        </a:lnTo>
                        <a:lnTo>
                          <a:pt x="770" y="237"/>
                        </a:lnTo>
                        <a:lnTo>
                          <a:pt x="765" y="237"/>
                        </a:lnTo>
                        <a:lnTo>
                          <a:pt x="759" y="237"/>
                        </a:lnTo>
                        <a:lnTo>
                          <a:pt x="757" y="236"/>
                        </a:lnTo>
                        <a:lnTo>
                          <a:pt x="751" y="234"/>
                        </a:lnTo>
                        <a:lnTo>
                          <a:pt x="746" y="229"/>
                        </a:lnTo>
                        <a:lnTo>
                          <a:pt x="747" y="224"/>
                        </a:lnTo>
                        <a:lnTo>
                          <a:pt x="751" y="221"/>
                        </a:lnTo>
                        <a:lnTo>
                          <a:pt x="751" y="221"/>
                        </a:lnTo>
                        <a:close/>
                        <a:moveTo>
                          <a:pt x="616" y="312"/>
                        </a:moveTo>
                        <a:lnTo>
                          <a:pt x="613" y="310"/>
                        </a:lnTo>
                        <a:lnTo>
                          <a:pt x="611" y="312"/>
                        </a:lnTo>
                        <a:lnTo>
                          <a:pt x="614" y="314"/>
                        </a:lnTo>
                        <a:lnTo>
                          <a:pt x="616" y="312"/>
                        </a:lnTo>
                        <a:lnTo>
                          <a:pt x="616" y="312"/>
                        </a:lnTo>
                        <a:close/>
                        <a:moveTo>
                          <a:pt x="611" y="280"/>
                        </a:moveTo>
                        <a:lnTo>
                          <a:pt x="616" y="289"/>
                        </a:lnTo>
                        <a:lnTo>
                          <a:pt x="614" y="292"/>
                        </a:lnTo>
                        <a:lnTo>
                          <a:pt x="611" y="295"/>
                        </a:lnTo>
                        <a:lnTo>
                          <a:pt x="611" y="292"/>
                        </a:lnTo>
                        <a:lnTo>
                          <a:pt x="609" y="290"/>
                        </a:lnTo>
                        <a:lnTo>
                          <a:pt x="611" y="287"/>
                        </a:lnTo>
                        <a:lnTo>
                          <a:pt x="611" y="284"/>
                        </a:lnTo>
                        <a:lnTo>
                          <a:pt x="611" y="280"/>
                        </a:lnTo>
                        <a:lnTo>
                          <a:pt x="611" y="280"/>
                        </a:lnTo>
                        <a:close/>
                        <a:moveTo>
                          <a:pt x="746" y="197"/>
                        </a:moveTo>
                        <a:lnTo>
                          <a:pt x="746" y="201"/>
                        </a:lnTo>
                        <a:lnTo>
                          <a:pt x="749" y="206"/>
                        </a:lnTo>
                        <a:lnTo>
                          <a:pt x="749" y="207"/>
                        </a:lnTo>
                        <a:lnTo>
                          <a:pt x="747" y="206"/>
                        </a:lnTo>
                        <a:lnTo>
                          <a:pt x="746" y="201"/>
                        </a:lnTo>
                        <a:lnTo>
                          <a:pt x="744" y="197"/>
                        </a:lnTo>
                        <a:lnTo>
                          <a:pt x="746" y="197"/>
                        </a:lnTo>
                        <a:lnTo>
                          <a:pt x="746" y="197"/>
                        </a:lnTo>
                        <a:close/>
                        <a:moveTo>
                          <a:pt x="732" y="191"/>
                        </a:moveTo>
                        <a:lnTo>
                          <a:pt x="736" y="191"/>
                        </a:lnTo>
                        <a:lnTo>
                          <a:pt x="739" y="191"/>
                        </a:lnTo>
                        <a:lnTo>
                          <a:pt x="742" y="191"/>
                        </a:lnTo>
                        <a:lnTo>
                          <a:pt x="752" y="191"/>
                        </a:lnTo>
                        <a:lnTo>
                          <a:pt x="757" y="192"/>
                        </a:lnTo>
                        <a:lnTo>
                          <a:pt x="751" y="194"/>
                        </a:lnTo>
                        <a:lnTo>
                          <a:pt x="741" y="196"/>
                        </a:lnTo>
                        <a:lnTo>
                          <a:pt x="736" y="194"/>
                        </a:lnTo>
                        <a:lnTo>
                          <a:pt x="734" y="192"/>
                        </a:lnTo>
                        <a:lnTo>
                          <a:pt x="732" y="191"/>
                        </a:lnTo>
                        <a:lnTo>
                          <a:pt x="732" y="191"/>
                        </a:lnTo>
                        <a:close/>
                        <a:moveTo>
                          <a:pt x="709" y="192"/>
                        </a:moveTo>
                        <a:lnTo>
                          <a:pt x="712" y="189"/>
                        </a:lnTo>
                        <a:lnTo>
                          <a:pt x="714" y="189"/>
                        </a:lnTo>
                        <a:lnTo>
                          <a:pt x="717" y="189"/>
                        </a:lnTo>
                        <a:lnTo>
                          <a:pt x="722" y="189"/>
                        </a:lnTo>
                        <a:lnTo>
                          <a:pt x="726" y="191"/>
                        </a:lnTo>
                        <a:lnTo>
                          <a:pt x="729" y="189"/>
                        </a:lnTo>
                        <a:lnTo>
                          <a:pt x="731" y="191"/>
                        </a:lnTo>
                        <a:lnTo>
                          <a:pt x="731" y="194"/>
                        </a:lnTo>
                        <a:lnTo>
                          <a:pt x="727" y="194"/>
                        </a:lnTo>
                        <a:lnTo>
                          <a:pt x="724" y="196"/>
                        </a:lnTo>
                        <a:lnTo>
                          <a:pt x="721" y="194"/>
                        </a:lnTo>
                        <a:lnTo>
                          <a:pt x="714" y="197"/>
                        </a:lnTo>
                        <a:lnTo>
                          <a:pt x="711" y="196"/>
                        </a:lnTo>
                        <a:lnTo>
                          <a:pt x="709" y="194"/>
                        </a:lnTo>
                        <a:lnTo>
                          <a:pt x="709" y="192"/>
                        </a:lnTo>
                        <a:lnTo>
                          <a:pt x="709" y="192"/>
                        </a:lnTo>
                        <a:close/>
                        <a:moveTo>
                          <a:pt x="666" y="272"/>
                        </a:moveTo>
                        <a:lnTo>
                          <a:pt x="671" y="265"/>
                        </a:lnTo>
                        <a:lnTo>
                          <a:pt x="672" y="259"/>
                        </a:lnTo>
                        <a:lnTo>
                          <a:pt x="672" y="252"/>
                        </a:lnTo>
                        <a:lnTo>
                          <a:pt x="674" y="251"/>
                        </a:lnTo>
                        <a:lnTo>
                          <a:pt x="677" y="252"/>
                        </a:lnTo>
                        <a:lnTo>
                          <a:pt x="679" y="254"/>
                        </a:lnTo>
                        <a:lnTo>
                          <a:pt x="679" y="257"/>
                        </a:lnTo>
                        <a:lnTo>
                          <a:pt x="679" y="259"/>
                        </a:lnTo>
                        <a:lnTo>
                          <a:pt x="679" y="257"/>
                        </a:lnTo>
                        <a:lnTo>
                          <a:pt x="677" y="259"/>
                        </a:lnTo>
                        <a:lnTo>
                          <a:pt x="674" y="262"/>
                        </a:lnTo>
                        <a:lnTo>
                          <a:pt x="674" y="264"/>
                        </a:lnTo>
                        <a:lnTo>
                          <a:pt x="674" y="267"/>
                        </a:lnTo>
                        <a:lnTo>
                          <a:pt x="677" y="267"/>
                        </a:lnTo>
                        <a:lnTo>
                          <a:pt x="679" y="269"/>
                        </a:lnTo>
                        <a:lnTo>
                          <a:pt x="677" y="270"/>
                        </a:lnTo>
                        <a:lnTo>
                          <a:pt x="674" y="272"/>
                        </a:lnTo>
                        <a:lnTo>
                          <a:pt x="672" y="275"/>
                        </a:lnTo>
                        <a:lnTo>
                          <a:pt x="669" y="277"/>
                        </a:lnTo>
                        <a:lnTo>
                          <a:pt x="666" y="275"/>
                        </a:lnTo>
                        <a:lnTo>
                          <a:pt x="666" y="272"/>
                        </a:lnTo>
                        <a:lnTo>
                          <a:pt x="666" y="272"/>
                        </a:lnTo>
                        <a:close/>
                        <a:moveTo>
                          <a:pt x="654" y="269"/>
                        </a:moveTo>
                        <a:lnTo>
                          <a:pt x="654" y="269"/>
                        </a:lnTo>
                        <a:lnTo>
                          <a:pt x="656" y="270"/>
                        </a:lnTo>
                        <a:lnTo>
                          <a:pt x="658" y="272"/>
                        </a:lnTo>
                        <a:lnTo>
                          <a:pt x="661" y="270"/>
                        </a:lnTo>
                        <a:lnTo>
                          <a:pt x="662" y="269"/>
                        </a:lnTo>
                        <a:lnTo>
                          <a:pt x="664" y="269"/>
                        </a:lnTo>
                        <a:lnTo>
                          <a:pt x="664" y="265"/>
                        </a:lnTo>
                        <a:lnTo>
                          <a:pt x="667" y="262"/>
                        </a:lnTo>
                        <a:lnTo>
                          <a:pt x="667" y="260"/>
                        </a:lnTo>
                        <a:lnTo>
                          <a:pt x="666" y="255"/>
                        </a:lnTo>
                        <a:lnTo>
                          <a:pt x="661" y="259"/>
                        </a:lnTo>
                        <a:lnTo>
                          <a:pt x="658" y="260"/>
                        </a:lnTo>
                        <a:lnTo>
                          <a:pt x="659" y="264"/>
                        </a:lnTo>
                        <a:lnTo>
                          <a:pt x="654" y="269"/>
                        </a:lnTo>
                        <a:lnTo>
                          <a:pt x="654" y="269"/>
                        </a:lnTo>
                        <a:close/>
                        <a:moveTo>
                          <a:pt x="644" y="265"/>
                        </a:moveTo>
                        <a:lnTo>
                          <a:pt x="644" y="267"/>
                        </a:lnTo>
                        <a:lnTo>
                          <a:pt x="643" y="269"/>
                        </a:lnTo>
                        <a:lnTo>
                          <a:pt x="644" y="274"/>
                        </a:lnTo>
                        <a:lnTo>
                          <a:pt x="646" y="275"/>
                        </a:lnTo>
                        <a:lnTo>
                          <a:pt x="651" y="272"/>
                        </a:lnTo>
                        <a:lnTo>
                          <a:pt x="649" y="269"/>
                        </a:lnTo>
                        <a:lnTo>
                          <a:pt x="646" y="264"/>
                        </a:lnTo>
                        <a:lnTo>
                          <a:pt x="646" y="264"/>
                        </a:lnTo>
                        <a:lnTo>
                          <a:pt x="644" y="265"/>
                        </a:lnTo>
                        <a:lnTo>
                          <a:pt x="644" y="265"/>
                        </a:lnTo>
                        <a:close/>
                        <a:moveTo>
                          <a:pt x="679" y="194"/>
                        </a:moveTo>
                        <a:lnTo>
                          <a:pt x="676" y="194"/>
                        </a:lnTo>
                        <a:lnTo>
                          <a:pt x="679" y="196"/>
                        </a:lnTo>
                        <a:lnTo>
                          <a:pt x="679" y="196"/>
                        </a:lnTo>
                        <a:lnTo>
                          <a:pt x="679" y="194"/>
                        </a:lnTo>
                        <a:lnTo>
                          <a:pt x="679" y="194"/>
                        </a:lnTo>
                        <a:close/>
                        <a:moveTo>
                          <a:pt x="684" y="191"/>
                        </a:moveTo>
                        <a:lnTo>
                          <a:pt x="682" y="192"/>
                        </a:lnTo>
                        <a:lnTo>
                          <a:pt x="686" y="192"/>
                        </a:lnTo>
                        <a:lnTo>
                          <a:pt x="684" y="191"/>
                        </a:lnTo>
                        <a:lnTo>
                          <a:pt x="684" y="191"/>
                        </a:lnTo>
                        <a:close/>
                        <a:moveTo>
                          <a:pt x="691" y="186"/>
                        </a:moveTo>
                        <a:lnTo>
                          <a:pt x="689" y="187"/>
                        </a:lnTo>
                        <a:lnTo>
                          <a:pt x="692" y="189"/>
                        </a:lnTo>
                        <a:lnTo>
                          <a:pt x="691" y="186"/>
                        </a:lnTo>
                        <a:lnTo>
                          <a:pt x="691" y="186"/>
                        </a:lnTo>
                        <a:close/>
                        <a:moveTo>
                          <a:pt x="671" y="181"/>
                        </a:moveTo>
                        <a:lnTo>
                          <a:pt x="676" y="177"/>
                        </a:lnTo>
                        <a:lnTo>
                          <a:pt x="682" y="179"/>
                        </a:lnTo>
                        <a:lnTo>
                          <a:pt x="684" y="181"/>
                        </a:lnTo>
                        <a:lnTo>
                          <a:pt x="682" y="182"/>
                        </a:lnTo>
                        <a:lnTo>
                          <a:pt x="686" y="182"/>
                        </a:lnTo>
                        <a:lnTo>
                          <a:pt x="687" y="179"/>
                        </a:lnTo>
                        <a:lnTo>
                          <a:pt x="691" y="182"/>
                        </a:lnTo>
                        <a:lnTo>
                          <a:pt x="689" y="186"/>
                        </a:lnTo>
                        <a:lnTo>
                          <a:pt x="686" y="186"/>
                        </a:lnTo>
                        <a:lnTo>
                          <a:pt x="684" y="184"/>
                        </a:lnTo>
                        <a:lnTo>
                          <a:pt x="682" y="187"/>
                        </a:lnTo>
                        <a:lnTo>
                          <a:pt x="677" y="184"/>
                        </a:lnTo>
                        <a:lnTo>
                          <a:pt x="674" y="187"/>
                        </a:lnTo>
                        <a:lnTo>
                          <a:pt x="671" y="186"/>
                        </a:lnTo>
                        <a:lnTo>
                          <a:pt x="671" y="181"/>
                        </a:lnTo>
                        <a:lnTo>
                          <a:pt x="671" y="181"/>
                        </a:lnTo>
                        <a:close/>
                        <a:moveTo>
                          <a:pt x="646" y="159"/>
                        </a:moveTo>
                        <a:lnTo>
                          <a:pt x="649" y="161"/>
                        </a:lnTo>
                        <a:lnTo>
                          <a:pt x="649" y="159"/>
                        </a:lnTo>
                        <a:lnTo>
                          <a:pt x="649" y="159"/>
                        </a:lnTo>
                        <a:lnTo>
                          <a:pt x="646" y="159"/>
                        </a:lnTo>
                        <a:lnTo>
                          <a:pt x="646" y="159"/>
                        </a:lnTo>
                        <a:close/>
                        <a:moveTo>
                          <a:pt x="643" y="161"/>
                        </a:moveTo>
                        <a:lnTo>
                          <a:pt x="644" y="161"/>
                        </a:lnTo>
                        <a:lnTo>
                          <a:pt x="648" y="162"/>
                        </a:lnTo>
                        <a:lnTo>
                          <a:pt x="644" y="162"/>
                        </a:lnTo>
                        <a:lnTo>
                          <a:pt x="643" y="161"/>
                        </a:lnTo>
                        <a:lnTo>
                          <a:pt x="643" y="161"/>
                        </a:lnTo>
                        <a:close/>
                        <a:moveTo>
                          <a:pt x="611" y="141"/>
                        </a:moveTo>
                        <a:lnTo>
                          <a:pt x="618" y="139"/>
                        </a:lnTo>
                        <a:lnTo>
                          <a:pt x="624" y="143"/>
                        </a:lnTo>
                        <a:lnTo>
                          <a:pt x="631" y="143"/>
                        </a:lnTo>
                        <a:lnTo>
                          <a:pt x="641" y="139"/>
                        </a:lnTo>
                        <a:lnTo>
                          <a:pt x="646" y="139"/>
                        </a:lnTo>
                        <a:lnTo>
                          <a:pt x="648" y="143"/>
                        </a:lnTo>
                        <a:lnTo>
                          <a:pt x="653" y="143"/>
                        </a:lnTo>
                        <a:lnTo>
                          <a:pt x="656" y="141"/>
                        </a:lnTo>
                        <a:lnTo>
                          <a:pt x="666" y="141"/>
                        </a:lnTo>
                        <a:lnTo>
                          <a:pt x="672" y="141"/>
                        </a:lnTo>
                        <a:lnTo>
                          <a:pt x="672" y="139"/>
                        </a:lnTo>
                        <a:lnTo>
                          <a:pt x="679" y="141"/>
                        </a:lnTo>
                        <a:lnTo>
                          <a:pt x="682" y="143"/>
                        </a:lnTo>
                        <a:lnTo>
                          <a:pt x="684" y="144"/>
                        </a:lnTo>
                        <a:lnTo>
                          <a:pt x="689" y="146"/>
                        </a:lnTo>
                        <a:lnTo>
                          <a:pt x="707" y="143"/>
                        </a:lnTo>
                        <a:lnTo>
                          <a:pt x="714" y="138"/>
                        </a:lnTo>
                        <a:lnTo>
                          <a:pt x="717" y="134"/>
                        </a:lnTo>
                        <a:lnTo>
                          <a:pt x="721" y="133"/>
                        </a:lnTo>
                        <a:lnTo>
                          <a:pt x="722" y="131"/>
                        </a:lnTo>
                        <a:lnTo>
                          <a:pt x="726" y="128"/>
                        </a:lnTo>
                        <a:lnTo>
                          <a:pt x="727" y="124"/>
                        </a:lnTo>
                        <a:lnTo>
                          <a:pt x="729" y="121"/>
                        </a:lnTo>
                        <a:lnTo>
                          <a:pt x="732" y="119"/>
                        </a:lnTo>
                        <a:lnTo>
                          <a:pt x="729" y="118"/>
                        </a:lnTo>
                        <a:lnTo>
                          <a:pt x="729" y="114"/>
                        </a:lnTo>
                        <a:lnTo>
                          <a:pt x="722" y="114"/>
                        </a:lnTo>
                        <a:lnTo>
                          <a:pt x="717" y="114"/>
                        </a:lnTo>
                        <a:lnTo>
                          <a:pt x="717" y="119"/>
                        </a:lnTo>
                        <a:lnTo>
                          <a:pt x="712" y="121"/>
                        </a:lnTo>
                        <a:lnTo>
                          <a:pt x="712" y="124"/>
                        </a:lnTo>
                        <a:lnTo>
                          <a:pt x="707" y="128"/>
                        </a:lnTo>
                        <a:lnTo>
                          <a:pt x="704" y="128"/>
                        </a:lnTo>
                        <a:lnTo>
                          <a:pt x="701" y="131"/>
                        </a:lnTo>
                        <a:lnTo>
                          <a:pt x="696" y="133"/>
                        </a:lnTo>
                        <a:lnTo>
                          <a:pt x="684" y="131"/>
                        </a:lnTo>
                        <a:lnTo>
                          <a:pt x="674" y="129"/>
                        </a:lnTo>
                        <a:lnTo>
                          <a:pt x="672" y="133"/>
                        </a:lnTo>
                        <a:lnTo>
                          <a:pt x="671" y="133"/>
                        </a:lnTo>
                        <a:lnTo>
                          <a:pt x="666" y="128"/>
                        </a:lnTo>
                        <a:lnTo>
                          <a:pt x="662" y="128"/>
                        </a:lnTo>
                        <a:lnTo>
                          <a:pt x="658" y="128"/>
                        </a:lnTo>
                        <a:lnTo>
                          <a:pt x="653" y="128"/>
                        </a:lnTo>
                        <a:lnTo>
                          <a:pt x="648" y="126"/>
                        </a:lnTo>
                        <a:lnTo>
                          <a:pt x="644" y="128"/>
                        </a:lnTo>
                        <a:lnTo>
                          <a:pt x="639" y="126"/>
                        </a:lnTo>
                        <a:lnTo>
                          <a:pt x="634" y="123"/>
                        </a:lnTo>
                        <a:lnTo>
                          <a:pt x="628" y="121"/>
                        </a:lnTo>
                        <a:lnTo>
                          <a:pt x="624" y="121"/>
                        </a:lnTo>
                        <a:lnTo>
                          <a:pt x="624" y="126"/>
                        </a:lnTo>
                        <a:lnTo>
                          <a:pt x="619" y="128"/>
                        </a:lnTo>
                        <a:lnTo>
                          <a:pt x="618" y="133"/>
                        </a:lnTo>
                        <a:lnTo>
                          <a:pt x="614" y="134"/>
                        </a:lnTo>
                        <a:lnTo>
                          <a:pt x="608" y="133"/>
                        </a:lnTo>
                        <a:lnTo>
                          <a:pt x="603" y="134"/>
                        </a:lnTo>
                        <a:lnTo>
                          <a:pt x="601" y="136"/>
                        </a:lnTo>
                        <a:lnTo>
                          <a:pt x="601" y="138"/>
                        </a:lnTo>
                        <a:lnTo>
                          <a:pt x="594" y="143"/>
                        </a:lnTo>
                        <a:lnTo>
                          <a:pt x="594" y="149"/>
                        </a:lnTo>
                        <a:lnTo>
                          <a:pt x="596" y="153"/>
                        </a:lnTo>
                        <a:lnTo>
                          <a:pt x="596" y="161"/>
                        </a:lnTo>
                        <a:lnTo>
                          <a:pt x="594" y="162"/>
                        </a:lnTo>
                        <a:lnTo>
                          <a:pt x="596" y="167"/>
                        </a:lnTo>
                        <a:lnTo>
                          <a:pt x="598" y="172"/>
                        </a:lnTo>
                        <a:lnTo>
                          <a:pt x="596" y="171"/>
                        </a:lnTo>
                        <a:lnTo>
                          <a:pt x="594" y="167"/>
                        </a:lnTo>
                        <a:lnTo>
                          <a:pt x="591" y="167"/>
                        </a:lnTo>
                        <a:lnTo>
                          <a:pt x="588" y="171"/>
                        </a:lnTo>
                        <a:lnTo>
                          <a:pt x="584" y="172"/>
                        </a:lnTo>
                        <a:lnTo>
                          <a:pt x="583" y="177"/>
                        </a:lnTo>
                        <a:lnTo>
                          <a:pt x="584" y="182"/>
                        </a:lnTo>
                        <a:lnTo>
                          <a:pt x="583" y="186"/>
                        </a:lnTo>
                        <a:lnTo>
                          <a:pt x="583" y="194"/>
                        </a:lnTo>
                        <a:lnTo>
                          <a:pt x="583" y="197"/>
                        </a:lnTo>
                        <a:lnTo>
                          <a:pt x="581" y="201"/>
                        </a:lnTo>
                        <a:lnTo>
                          <a:pt x="578" y="202"/>
                        </a:lnTo>
                        <a:lnTo>
                          <a:pt x="578" y="207"/>
                        </a:lnTo>
                        <a:lnTo>
                          <a:pt x="573" y="211"/>
                        </a:lnTo>
                        <a:lnTo>
                          <a:pt x="571" y="217"/>
                        </a:lnTo>
                        <a:lnTo>
                          <a:pt x="573" y="219"/>
                        </a:lnTo>
                        <a:lnTo>
                          <a:pt x="569" y="221"/>
                        </a:lnTo>
                        <a:lnTo>
                          <a:pt x="573" y="229"/>
                        </a:lnTo>
                        <a:lnTo>
                          <a:pt x="576" y="232"/>
                        </a:lnTo>
                        <a:lnTo>
                          <a:pt x="578" y="231"/>
                        </a:lnTo>
                        <a:lnTo>
                          <a:pt x="581" y="231"/>
                        </a:lnTo>
                        <a:lnTo>
                          <a:pt x="583" y="229"/>
                        </a:lnTo>
                        <a:lnTo>
                          <a:pt x="586" y="231"/>
                        </a:lnTo>
                        <a:lnTo>
                          <a:pt x="588" y="236"/>
                        </a:lnTo>
                        <a:lnTo>
                          <a:pt x="591" y="246"/>
                        </a:lnTo>
                        <a:lnTo>
                          <a:pt x="589" y="249"/>
                        </a:lnTo>
                        <a:lnTo>
                          <a:pt x="588" y="254"/>
                        </a:lnTo>
                        <a:lnTo>
                          <a:pt x="584" y="259"/>
                        </a:lnTo>
                        <a:lnTo>
                          <a:pt x="584" y="269"/>
                        </a:lnTo>
                        <a:lnTo>
                          <a:pt x="584" y="275"/>
                        </a:lnTo>
                        <a:lnTo>
                          <a:pt x="588" y="275"/>
                        </a:lnTo>
                        <a:lnTo>
                          <a:pt x="591" y="277"/>
                        </a:lnTo>
                        <a:lnTo>
                          <a:pt x="596" y="277"/>
                        </a:lnTo>
                        <a:lnTo>
                          <a:pt x="598" y="275"/>
                        </a:lnTo>
                        <a:lnTo>
                          <a:pt x="603" y="275"/>
                        </a:lnTo>
                        <a:lnTo>
                          <a:pt x="608" y="275"/>
                        </a:lnTo>
                        <a:lnTo>
                          <a:pt x="609" y="277"/>
                        </a:lnTo>
                        <a:lnTo>
                          <a:pt x="611" y="274"/>
                        </a:lnTo>
                        <a:lnTo>
                          <a:pt x="611" y="269"/>
                        </a:lnTo>
                        <a:lnTo>
                          <a:pt x="608" y="267"/>
                        </a:lnTo>
                        <a:lnTo>
                          <a:pt x="606" y="262"/>
                        </a:lnTo>
                        <a:lnTo>
                          <a:pt x="609" y="257"/>
                        </a:lnTo>
                        <a:lnTo>
                          <a:pt x="609" y="251"/>
                        </a:lnTo>
                        <a:lnTo>
                          <a:pt x="609" y="244"/>
                        </a:lnTo>
                        <a:lnTo>
                          <a:pt x="608" y="242"/>
                        </a:lnTo>
                        <a:lnTo>
                          <a:pt x="613" y="236"/>
                        </a:lnTo>
                        <a:lnTo>
                          <a:pt x="613" y="231"/>
                        </a:lnTo>
                        <a:lnTo>
                          <a:pt x="613" y="224"/>
                        </a:lnTo>
                        <a:lnTo>
                          <a:pt x="609" y="221"/>
                        </a:lnTo>
                        <a:lnTo>
                          <a:pt x="609" y="219"/>
                        </a:lnTo>
                        <a:lnTo>
                          <a:pt x="614" y="216"/>
                        </a:lnTo>
                        <a:lnTo>
                          <a:pt x="616" y="212"/>
                        </a:lnTo>
                        <a:lnTo>
                          <a:pt x="621" y="212"/>
                        </a:lnTo>
                        <a:lnTo>
                          <a:pt x="626" y="214"/>
                        </a:lnTo>
                        <a:lnTo>
                          <a:pt x="626" y="216"/>
                        </a:lnTo>
                        <a:lnTo>
                          <a:pt x="628" y="219"/>
                        </a:lnTo>
                        <a:lnTo>
                          <a:pt x="628" y="224"/>
                        </a:lnTo>
                        <a:lnTo>
                          <a:pt x="624" y="227"/>
                        </a:lnTo>
                        <a:lnTo>
                          <a:pt x="623" y="232"/>
                        </a:lnTo>
                        <a:lnTo>
                          <a:pt x="626" y="236"/>
                        </a:lnTo>
                        <a:lnTo>
                          <a:pt x="629" y="236"/>
                        </a:lnTo>
                        <a:lnTo>
                          <a:pt x="633" y="239"/>
                        </a:lnTo>
                        <a:lnTo>
                          <a:pt x="638" y="242"/>
                        </a:lnTo>
                        <a:lnTo>
                          <a:pt x="638" y="247"/>
                        </a:lnTo>
                        <a:lnTo>
                          <a:pt x="636" y="247"/>
                        </a:lnTo>
                        <a:lnTo>
                          <a:pt x="634" y="254"/>
                        </a:lnTo>
                        <a:lnTo>
                          <a:pt x="638" y="259"/>
                        </a:lnTo>
                        <a:lnTo>
                          <a:pt x="641" y="260"/>
                        </a:lnTo>
                        <a:lnTo>
                          <a:pt x="643" y="259"/>
                        </a:lnTo>
                        <a:lnTo>
                          <a:pt x="648" y="260"/>
                        </a:lnTo>
                        <a:lnTo>
                          <a:pt x="653" y="260"/>
                        </a:lnTo>
                        <a:lnTo>
                          <a:pt x="653" y="259"/>
                        </a:lnTo>
                        <a:lnTo>
                          <a:pt x="651" y="255"/>
                        </a:lnTo>
                        <a:lnTo>
                          <a:pt x="654" y="252"/>
                        </a:lnTo>
                        <a:lnTo>
                          <a:pt x="659" y="252"/>
                        </a:lnTo>
                        <a:lnTo>
                          <a:pt x="664" y="249"/>
                        </a:lnTo>
                        <a:lnTo>
                          <a:pt x="672" y="249"/>
                        </a:lnTo>
                        <a:lnTo>
                          <a:pt x="674" y="247"/>
                        </a:lnTo>
                        <a:lnTo>
                          <a:pt x="676" y="247"/>
                        </a:lnTo>
                        <a:lnTo>
                          <a:pt x="681" y="247"/>
                        </a:lnTo>
                        <a:lnTo>
                          <a:pt x="682" y="244"/>
                        </a:lnTo>
                        <a:lnTo>
                          <a:pt x="681" y="242"/>
                        </a:lnTo>
                        <a:lnTo>
                          <a:pt x="676" y="242"/>
                        </a:lnTo>
                        <a:lnTo>
                          <a:pt x="672" y="242"/>
                        </a:lnTo>
                        <a:lnTo>
                          <a:pt x="671" y="242"/>
                        </a:lnTo>
                        <a:lnTo>
                          <a:pt x="666" y="242"/>
                        </a:lnTo>
                        <a:lnTo>
                          <a:pt x="666" y="239"/>
                        </a:lnTo>
                        <a:lnTo>
                          <a:pt x="664" y="239"/>
                        </a:lnTo>
                        <a:lnTo>
                          <a:pt x="664" y="237"/>
                        </a:lnTo>
                        <a:lnTo>
                          <a:pt x="662" y="237"/>
                        </a:lnTo>
                        <a:lnTo>
                          <a:pt x="659" y="237"/>
                        </a:lnTo>
                        <a:lnTo>
                          <a:pt x="659" y="236"/>
                        </a:lnTo>
                        <a:lnTo>
                          <a:pt x="656" y="234"/>
                        </a:lnTo>
                        <a:lnTo>
                          <a:pt x="654" y="232"/>
                        </a:lnTo>
                        <a:lnTo>
                          <a:pt x="658" y="229"/>
                        </a:lnTo>
                        <a:lnTo>
                          <a:pt x="658" y="227"/>
                        </a:lnTo>
                        <a:lnTo>
                          <a:pt x="659" y="227"/>
                        </a:lnTo>
                        <a:lnTo>
                          <a:pt x="658" y="226"/>
                        </a:lnTo>
                        <a:lnTo>
                          <a:pt x="661" y="224"/>
                        </a:lnTo>
                        <a:lnTo>
                          <a:pt x="661" y="222"/>
                        </a:lnTo>
                        <a:lnTo>
                          <a:pt x="659" y="221"/>
                        </a:lnTo>
                        <a:lnTo>
                          <a:pt x="656" y="219"/>
                        </a:lnTo>
                        <a:lnTo>
                          <a:pt x="658" y="217"/>
                        </a:lnTo>
                        <a:lnTo>
                          <a:pt x="658" y="216"/>
                        </a:lnTo>
                        <a:lnTo>
                          <a:pt x="653" y="212"/>
                        </a:lnTo>
                        <a:lnTo>
                          <a:pt x="649" y="212"/>
                        </a:lnTo>
                        <a:lnTo>
                          <a:pt x="649" y="207"/>
                        </a:lnTo>
                        <a:lnTo>
                          <a:pt x="643" y="201"/>
                        </a:lnTo>
                        <a:lnTo>
                          <a:pt x="638" y="199"/>
                        </a:lnTo>
                        <a:lnTo>
                          <a:pt x="636" y="194"/>
                        </a:lnTo>
                        <a:lnTo>
                          <a:pt x="636" y="192"/>
                        </a:lnTo>
                        <a:lnTo>
                          <a:pt x="638" y="194"/>
                        </a:lnTo>
                        <a:lnTo>
                          <a:pt x="639" y="196"/>
                        </a:lnTo>
                        <a:lnTo>
                          <a:pt x="643" y="196"/>
                        </a:lnTo>
                        <a:lnTo>
                          <a:pt x="648" y="192"/>
                        </a:lnTo>
                        <a:lnTo>
                          <a:pt x="648" y="191"/>
                        </a:lnTo>
                        <a:lnTo>
                          <a:pt x="658" y="187"/>
                        </a:lnTo>
                        <a:lnTo>
                          <a:pt x="664" y="182"/>
                        </a:lnTo>
                        <a:lnTo>
                          <a:pt x="667" y="177"/>
                        </a:lnTo>
                        <a:lnTo>
                          <a:pt x="672" y="176"/>
                        </a:lnTo>
                        <a:lnTo>
                          <a:pt x="672" y="172"/>
                        </a:lnTo>
                        <a:lnTo>
                          <a:pt x="677" y="171"/>
                        </a:lnTo>
                        <a:lnTo>
                          <a:pt x="682" y="172"/>
                        </a:lnTo>
                        <a:lnTo>
                          <a:pt x="686" y="174"/>
                        </a:lnTo>
                        <a:lnTo>
                          <a:pt x="689" y="167"/>
                        </a:lnTo>
                        <a:lnTo>
                          <a:pt x="689" y="164"/>
                        </a:lnTo>
                        <a:lnTo>
                          <a:pt x="684" y="162"/>
                        </a:lnTo>
                        <a:lnTo>
                          <a:pt x="674" y="164"/>
                        </a:lnTo>
                        <a:lnTo>
                          <a:pt x="669" y="167"/>
                        </a:lnTo>
                        <a:lnTo>
                          <a:pt x="662" y="167"/>
                        </a:lnTo>
                        <a:lnTo>
                          <a:pt x="659" y="167"/>
                        </a:lnTo>
                        <a:lnTo>
                          <a:pt x="654" y="172"/>
                        </a:lnTo>
                        <a:lnTo>
                          <a:pt x="649" y="171"/>
                        </a:lnTo>
                        <a:lnTo>
                          <a:pt x="646" y="172"/>
                        </a:lnTo>
                        <a:lnTo>
                          <a:pt x="643" y="169"/>
                        </a:lnTo>
                        <a:lnTo>
                          <a:pt x="638" y="169"/>
                        </a:lnTo>
                        <a:lnTo>
                          <a:pt x="633" y="174"/>
                        </a:lnTo>
                        <a:lnTo>
                          <a:pt x="629" y="181"/>
                        </a:lnTo>
                        <a:lnTo>
                          <a:pt x="624" y="184"/>
                        </a:lnTo>
                        <a:lnTo>
                          <a:pt x="619" y="182"/>
                        </a:lnTo>
                        <a:lnTo>
                          <a:pt x="619" y="181"/>
                        </a:lnTo>
                        <a:lnTo>
                          <a:pt x="613" y="174"/>
                        </a:lnTo>
                        <a:lnTo>
                          <a:pt x="606" y="169"/>
                        </a:lnTo>
                        <a:lnTo>
                          <a:pt x="603" y="162"/>
                        </a:lnTo>
                        <a:lnTo>
                          <a:pt x="603" y="154"/>
                        </a:lnTo>
                        <a:lnTo>
                          <a:pt x="608" y="146"/>
                        </a:lnTo>
                        <a:lnTo>
                          <a:pt x="611" y="141"/>
                        </a:lnTo>
                        <a:lnTo>
                          <a:pt x="611" y="141"/>
                        </a:lnTo>
                        <a:close/>
                        <a:moveTo>
                          <a:pt x="616" y="0"/>
                        </a:moveTo>
                        <a:lnTo>
                          <a:pt x="613" y="3"/>
                        </a:lnTo>
                        <a:lnTo>
                          <a:pt x="616" y="5"/>
                        </a:lnTo>
                        <a:lnTo>
                          <a:pt x="618" y="1"/>
                        </a:lnTo>
                        <a:lnTo>
                          <a:pt x="616" y="0"/>
                        </a:lnTo>
                        <a:lnTo>
                          <a:pt x="616" y="0"/>
                        </a:lnTo>
                        <a:close/>
                        <a:moveTo>
                          <a:pt x="623" y="15"/>
                        </a:moveTo>
                        <a:lnTo>
                          <a:pt x="626" y="15"/>
                        </a:lnTo>
                        <a:lnTo>
                          <a:pt x="629" y="13"/>
                        </a:lnTo>
                        <a:lnTo>
                          <a:pt x="631" y="15"/>
                        </a:lnTo>
                        <a:lnTo>
                          <a:pt x="634" y="13"/>
                        </a:lnTo>
                        <a:lnTo>
                          <a:pt x="634" y="11"/>
                        </a:lnTo>
                        <a:lnTo>
                          <a:pt x="629" y="10"/>
                        </a:lnTo>
                        <a:lnTo>
                          <a:pt x="623" y="11"/>
                        </a:lnTo>
                        <a:lnTo>
                          <a:pt x="621" y="13"/>
                        </a:lnTo>
                        <a:lnTo>
                          <a:pt x="623" y="15"/>
                        </a:lnTo>
                        <a:lnTo>
                          <a:pt x="623" y="15"/>
                        </a:lnTo>
                        <a:close/>
                        <a:moveTo>
                          <a:pt x="586" y="36"/>
                        </a:moveTo>
                        <a:lnTo>
                          <a:pt x="584" y="40"/>
                        </a:lnTo>
                        <a:lnTo>
                          <a:pt x="586" y="43"/>
                        </a:lnTo>
                        <a:lnTo>
                          <a:pt x="586" y="40"/>
                        </a:lnTo>
                        <a:lnTo>
                          <a:pt x="586" y="36"/>
                        </a:lnTo>
                        <a:lnTo>
                          <a:pt x="586" y="36"/>
                        </a:lnTo>
                        <a:close/>
                        <a:moveTo>
                          <a:pt x="594" y="33"/>
                        </a:moveTo>
                        <a:lnTo>
                          <a:pt x="603" y="26"/>
                        </a:lnTo>
                        <a:lnTo>
                          <a:pt x="606" y="26"/>
                        </a:lnTo>
                        <a:lnTo>
                          <a:pt x="606" y="30"/>
                        </a:lnTo>
                        <a:lnTo>
                          <a:pt x="601" y="33"/>
                        </a:lnTo>
                        <a:lnTo>
                          <a:pt x="596" y="33"/>
                        </a:lnTo>
                        <a:lnTo>
                          <a:pt x="594" y="33"/>
                        </a:lnTo>
                        <a:lnTo>
                          <a:pt x="594" y="33"/>
                        </a:lnTo>
                        <a:close/>
                        <a:moveTo>
                          <a:pt x="545" y="56"/>
                        </a:moveTo>
                        <a:lnTo>
                          <a:pt x="546" y="58"/>
                        </a:lnTo>
                        <a:lnTo>
                          <a:pt x="543" y="58"/>
                        </a:lnTo>
                        <a:lnTo>
                          <a:pt x="545" y="56"/>
                        </a:lnTo>
                        <a:lnTo>
                          <a:pt x="545" y="56"/>
                        </a:lnTo>
                        <a:close/>
                        <a:moveTo>
                          <a:pt x="545" y="55"/>
                        </a:moveTo>
                        <a:lnTo>
                          <a:pt x="545" y="55"/>
                        </a:lnTo>
                        <a:lnTo>
                          <a:pt x="546" y="56"/>
                        </a:lnTo>
                        <a:lnTo>
                          <a:pt x="550" y="56"/>
                        </a:lnTo>
                        <a:lnTo>
                          <a:pt x="550" y="56"/>
                        </a:lnTo>
                        <a:lnTo>
                          <a:pt x="545" y="55"/>
                        </a:lnTo>
                        <a:lnTo>
                          <a:pt x="545" y="55"/>
                        </a:lnTo>
                        <a:close/>
                        <a:moveTo>
                          <a:pt x="548" y="66"/>
                        </a:moveTo>
                        <a:lnTo>
                          <a:pt x="543" y="68"/>
                        </a:lnTo>
                        <a:lnTo>
                          <a:pt x="546" y="68"/>
                        </a:lnTo>
                        <a:lnTo>
                          <a:pt x="548" y="66"/>
                        </a:lnTo>
                        <a:lnTo>
                          <a:pt x="548" y="66"/>
                        </a:lnTo>
                        <a:close/>
                        <a:moveTo>
                          <a:pt x="541" y="71"/>
                        </a:moveTo>
                        <a:lnTo>
                          <a:pt x="545" y="71"/>
                        </a:lnTo>
                        <a:lnTo>
                          <a:pt x="545" y="76"/>
                        </a:lnTo>
                        <a:lnTo>
                          <a:pt x="543" y="74"/>
                        </a:lnTo>
                        <a:lnTo>
                          <a:pt x="541" y="71"/>
                        </a:lnTo>
                        <a:lnTo>
                          <a:pt x="541" y="71"/>
                        </a:lnTo>
                        <a:close/>
                        <a:moveTo>
                          <a:pt x="511" y="229"/>
                        </a:moveTo>
                        <a:lnTo>
                          <a:pt x="513" y="229"/>
                        </a:lnTo>
                        <a:lnTo>
                          <a:pt x="513" y="236"/>
                        </a:lnTo>
                        <a:lnTo>
                          <a:pt x="511" y="236"/>
                        </a:lnTo>
                        <a:lnTo>
                          <a:pt x="511" y="231"/>
                        </a:lnTo>
                        <a:lnTo>
                          <a:pt x="511" y="229"/>
                        </a:lnTo>
                        <a:lnTo>
                          <a:pt x="511" y="229"/>
                        </a:lnTo>
                        <a:close/>
                        <a:moveTo>
                          <a:pt x="510" y="229"/>
                        </a:moveTo>
                        <a:lnTo>
                          <a:pt x="510" y="236"/>
                        </a:lnTo>
                        <a:lnTo>
                          <a:pt x="508" y="241"/>
                        </a:lnTo>
                        <a:lnTo>
                          <a:pt x="505" y="242"/>
                        </a:lnTo>
                        <a:lnTo>
                          <a:pt x="503" y="241"/>
                        </a:lnTo>
                        <a:lnTo>
                          <a:pt x="503" y="234"/>
                        </a:lnTo>
                        <a:lnTo>
                          <a:pt x="506" y="229"/>
                        </a:lnTo>
                        <a:lnTo>
                          <a:pt x="508" y="227"/>
                        </a:lnTo>
                        <a:lnTo>
                          <a:pt x="510" y="229"/>
                        </a:lnTo>
                        <a:lnTo>
                          <a:pt x="510" y="229"/>
                        </a:lnTo>
                        <a:close/>
                        <a:moveTo>
                          <a:pt x="342" y="159"/>
                        </a:moveTo>
                        <a:lnTo>
                          <a:pt x="347" y="161"/>
                        </a:lnTo>
                        <a:lnTo>
                          <a:pt x="349" y="162"/>
                        </a:lnTo>
                        <a:lnTo>
                          <a:pt x="347" y="164"/>
                        </a:lnTo>
                        <a:lnTo>
                          <a:pt x="342" y="162"/>
                        </a:lnTo>
                        <a:lnTo>
                          <a:pt x="340" y="161"/>
                        </a:lnTo>
                        <a:lnTo>
                          <a:pt x="342" y="159"/>
                        </a:lnTo>
                        <a:lnTo>
                          <a:pt x="342" y="159"/>
                        </a:lnTo>
                        <a:close/>
                        <a:moveTo>
                          <a:pt x="344" y="169"/>
                        </a:moveTo>
                        <a:lnTo>
                          <a:pt x="350" y="169"/>
                        </a:lnTo>
                        <a:lnTo>
                          <a:pt x="354" y="172"/>
                        </a:lnTo>
                        <a:lnTo>
                          <a:pt x="355" y="172"/>
                        </a:lnTo>
                        <a:lnTo>
                          <a:pt x="355" y="174"/>
                        </a:lnTo>
                        <a:lnTo>
                          <a:pt x="350" y="174"/>
                        </a:lnTo>
                        <a:lnTo>
                          <a:pt x="347" y="174"/>
                        </a:lnTo>
                        <a:lnTo>
                          <a:pt x="344" y="171"/>
                        </a:lnTo>
                        <a:lnTo>
                          <a:pt x="344" y="169"/>
                        </a:lnTo>
                        <a:lnTo>
                          <a:pt x="344" y="169"/>
                        </a:lnTo>
                        <a:close/>
                        <a:moveTo>
                          <a:pt x="349" y="176"/>
                        </a:moveTo>
                        <a:lnTo>
                          <a:pt x="355" y="176"/>
                        </a:lnTo>
                        <a:lnTo>
                          <a:pt x="359" y="179"/>
                        </a:lnTo>
                        <a:lnTo>
                          <a:pt x="354" y="182"/>
                        </a:lnTo>
                        <a:lnTo>
                          <a:pt x="350" y="184"/>
                        </a:lnTo>
                        <a:lnTo>
                          <a:pt x="349" y="181"/>
                        </a:lnTo>
                        <a:lnTo>
                          <a:pt x="350" y="179"/>
                        </a:lnTo>
                        <a:lnTo>
                          <a:pt x="350" y="179"/>
                        </a:lnTo>
                        <a:lnTo>
                          <a:pt x="349" y="176"/>
                        </a:lnTo>
                        <a:lnTo>
                          <a:pt x="349" y="176"/>
                        </a:lnTo>
                        <a:close/>
                        <a:moveTo>
                          <a:pt x="337" y="124"/>
                        </a:moveTo>
                        <a:lnTo>
                          <a:pt x="342" y="118"/>
                        </a:lnTo>
                        <a:lnTo>
                          <a:pt x="347" y="111"/>
                        </a:lnTo>
                        <a:lnTo>
                          <a:pt x="350" y="108"/>
                        </a:lnTo>
                        <a:lnTo>
                          <a:pt x="354" y="106"/>
                        </a:lnTo>
                        <a:lnTo>
                          <a:pt x="359" y="114"/>
                        </a:lnTo>
                        <a:lnTo>
                          <a:pt x="367" y="119"/>
                        </a:lnTo>
                        <a:lnTo>
                          <a:pt x="367" y="121"/>
                        </a:lnTo>
                        <a:lnTo>
                          <a:pt x="372" y="126"/>
                        </a:lnTo>
                        <a:lnTo>
                          <a:pt x="375" y="129"/>
                        </a:lnTo>
                        <a:lnTo>
                          <a:pt x="378" y="129"/>
                        </a:lnTo>
                        <a:lnTo>
                          <a:pt x="385" y="128"/>
                        </a:lnTo>
                        <a:lnTo>
                          <a:pt x="385" y="126"/>
                        </a:lnTo>
                        <a:lnTo>
                          <a:pt x="392" y="126"/>
                        </a:lnTo>
                        <a:lnTo>
                          <a:pt x="395" y="124"/>
                        </a:lnTo>
                        <a:lnTo>
                          <a:pt x="408" y="124"/>
                        </a:lnTo>
                        <a:lnTo>
                          <a:pt x="422" y="119"/>
                        </a:lnTo>
                        <a:lnTo>
                          <a:pt x="425" y="118"/>
                        </a:lnTo>
                        <a:lnTo>
                          <a:pt x="437" y="116"/>
                        </a:lnTo>
                        <a:lnTo>
                          <a:pt x="443" y="119"/>
                        </a:lnTo>
                        <a:lnTo>
                          <a:pt x="445" y="123"/>
                        </a:lnTo>
                        <a:lnTo>
                          <a:pt x="452" y="123"/>
                        </a:lnTo>
                        <a:lnTo>
                          <a:pt x="462" y="118"/>
                        </a:lnTo>
                        <a:lnTo>
                          <a:pt x="473" y="116"/>
                        </a:lnTo>
                        <a:lnTo>
                          <a:pt x="471" y="113"/>
                        </a:lnTo>
                        <a:lnTo>
                          <a:pt x="481" y="99"/>
                        </a:lnTo>
                        <a:lnTo>
                          <a:pt x="485" y="89"/>
                        </a:lnTo>
                        <a:lnTo>
                          <a:pt x="493" y="79"/>
                        </a:lnTo>
                        <a:lnTo>
                          <a:pt x="498" y="63"/>
                        </a:lnTo>
                        <a:lnTo>
                          <a:pt x="498" y="59"/>
                        </a:lnTo>
                        <a:lnTo>
                          <a:pt x="500" y="56"/>
                        </a:lnTo>
                        <a:lnTo>
                          <a:pt x="500" y="53"/>
                        </a:lnTo>
                        <a:lnTo>
                          <a:pt x="505" y="48"/>
                        </a:lnTo>
                        <a:lnTo>
                          <a:pt x="510" y="50"/>
                        </a:lnTo>
                        <a:lnTo>
                          <a:pt x="516" y="48"/>
                        </a:lnTo>
                        <a:lnTo>
                          <a:pt x="528" y="48"/>
                        </a:lnTo>
                        <a:lnTo>
                          <a:pt x="530" y="51"/>
                        </a:lnTo>
                        <a:lnTo>
                          <a:pt x="536" y="50"/>
                        </a:lnTo>
                        <a:lnTo>
                          <a:pt x="541" y="51"/>
                        </a:lnTo>
                        <a:lnTo>
                          <a:pt x="541" y="53"/>
                        </a:lnTo>
                        <a:lnTo>
                          <a:pt x="540" y="53"/>
                        </a:lnTo>
                        <a:lnTo>
                          <a:pt x="540" y="56"/>
                        </a:lnTo>
                        <a:lnTo>
                          <a:pt x="538" y="58"/>
                        </a:lnTo>
                        <a:lnTo>
                          <a:pt x="543" y="59"/>
                        </a:lnTo>
                        <a:lnTo>
                          <a:pt x="548" y="64"/>
                        </a:lnTo>
                        <a:lnTo>
                          <a:pt x="543" y="66"/>
                        </a:lnTo>
                        <a:lnTo>
                          <a:pt x="536" y="64"/>
                        </a:lnTo>
                        <a:lnTo>
                          <a:pt x="535" y="66"/>
                        </a:lnTo>
                        <a:lnTo>
                          <a:pt x="538" y="69"/>
                        </a:lnTo>
                        <a:lnTo>
                          <a:pt x="541" y="71"/>
                        </a:lnTo>
                        <a:lnTo>
                          <a:pt x="541" y="73"/>
                        </a:lnTo>
                        <a:lnTo>
                          <a:pt x="540" y="74"/>
                        </a:lnTo>
                        <a:lnTo>
                          <a:pt x="538" y="78"/>
                        </a:lnTo>
                        <a:lnTo>
                          <a:pt x="541" y="81"/>
                        </a:lnTo>
                        <a:lnTo>
                          <a:pt x="543" y="84"/>
                        </a:lnTo>
                        <a:lnTo>
                          <a:pt x="551" y="93"/>
                        </a:lnTo>
                        <a:lnTo>
                          <a:pt x="555" y="96"/>
                        </a:lnTo>
                        <a:lnTo>
                          <a:pt x="553" y="99"/>
                        </a:lnTo>
                        <a:lnTo>
                          <a:pt x="546" y="101"/>
                        </a:lnTo>
                        <a:lnTo>
                          <a:pt x="545" y="104"/>
                        </a:lnTo>
                        <a:lnTo>
                          <a:pt x="548" y="106"/>
                        </a:lnTo>
                        <a:lnTo>
                          <a:pt x="548" y="109"/>
                        </a:lnTo>
                        <a:lnTo>
                          <a:pt x="551" y="111"/>
                        </a:lnTo>
                        <a:lnTo>
                          <a:pt x="563" y="119"/>
                        </a:lnTo>
                        <a:lnTo>
                          <a:pt x="566" y="119"/>
                        </a:lnTo>
                        <a:lnTo>
                          <a:pt x="569" y="124"/>
                        </a:lnTo>
                        <a:lnTo>
                          <a:pt x="571" y="126"/>
                        </a:lnTo>
                        <a:lnTo>
                          <a:pt x="574" y="128"/>
                        </a:lnTo>
                        <a:lnTo>
                          <a:pt x="573" y="131"/>
                        </a:lnTo>
                        <a:lnTo>
                          <a:pt x="571" y="133"/>
                        </a:lnTo>
                        <a:lnTo>
                          <a:pt x="568" y="131"/>
                        </a:lnTo>
                        <a:lnTo>
                          <a:pt x="564" y="134"/>
                        </a:lnTo>
                        <a:lnTo>
                          <a:pt x="558" y="133"/>
                        </a:lnTo>
                        <a:lnTo>
                          <a:pt x="551" y="126"/>
                        </a:lnTo>
                        <a:lnTo>
                          <a:pt x="553" y="133"/>
                        </a:lnTo>
                        <a:lnTo>
                          <a:pt x="551" y="134"/>
                        </a:lnTo>
                        <a:lnTo>
                          <a:pt x="548" y="131"/>
                        </a:lnTo>
                        <a:lnTo>
                          <a:pt x="543" y="136"/>
                        </a:lnTo>
                        <a:lnTo>
                          <a:pt x="543" y="139"/>
                        </a:lnTo>
                        <a:lnTo>
                          <a:pt x="541" y="141"/>
                        </a:lnTo>
                        <a:lnTo>
                          <a:pt x="540" y="149"/>
                        </a:lnTo>
                        <a:lnTo>
                          <a:pt x="538" y="153"/>
                        </a:lnTo>
                        <a:lnTo>
                          <a:pt x="536" y="161"/>
                        </a:lnTo>
                        <a:lnTo>
                          <a:pt x="530" y="166"/>
                        </a:lnTo>
                        <a:lnTo>
                          <a:pt x="533" y="171"/>
                        </a:lnTo>
                        <a:lnTo>
                          <a:pt x="530" y="174"/>
                        </a:lnTo>
                        <a:lnTo>
                          <a:pt x="525" y="179"/>
                        </a:lnTo>
                        <a:lnTo>
                          <a:pt x="523" y="174"/>
                        </a:lnTo>
                        <a:lnTo>
                          <a:pt x="521" y="174"/>
                        </a:lnTo>
                        <a:lnTo>
                          <a:pt x="521" y="176"/>
                        </a:lnTo>
                        <a:lnTo>
                          <a:pt x="521" y="181"/>
                        </a:lnTo>
                        <a:lnTo>
                          <a:pt x="518" y="186"/>
                        </a:lnTo>
                        <a:lnTo>
                          <a:pt x="516" y="189"/>
                        </a:lnTo>
                        <a:lnTo>
                          <a:pt x="513" y="191"/>
                        </a:lnTo>
                        <a:lnTo>
                          <a:pt x="510" y="191"/>
                        </a:lnTo>
                        <a:lnTo>
                          <a:pt x="510" y="192"/>
                        </a:lnTo>
                        <a:lnTo>
                          <a:pt x="508" y="194"/>
                        </a:lnTo>
                        <a:lnTo>
                          <a:pt x="515" y="194"/>
                        </a:lnTo>
                        <a:lnTo>
                          <a:pt x="515" y="196"/>
                        </a:lnTo>
                        <a:lnTo>
                          <a:pt x="515" y="199"/>
                        </a:lnTo>
                        <a:lnTo>
                          <a:pt x="511" y="201"/>
                        </a:lnTo>
                        <a:lnTo>
                          <a:pt x="513" y="202"/>
                        </a:lnTo>
                        <a:lnTo>
                          <a:pt x="516" y="202"/>
                        </a:lnTo>
                        <a:lnTo>
                          <a:pt x="516" y="204"/>
                        </a:lnTo>
                        <a:lnTo>
                          <a:pt x="515" y="207"/>
                        </a:lnTo>
                        <a:lnTo>
                          <a:pt x="511" y="207"/>
                        </a:lnTo>
                        <a:lnTo>
                          <a:pt x="510" y="206"/>
                        </a:lnTo>
                        <a:lnTo>
                          <a:pt x="510" y="207"/>
                        </a:lnTo>
                        <a:lnTo>
                          <a:pt x="513" y="209"/>
                        </a:lnTo>
                        <a:lnTo>
                          <a:pt x="513" y="211"/>
                        </a:lnTo>
                        <a:lnTo>
                          <a:pt x="510" y="217"/>
                        </a:lnTo>
                        <a:lnTo>
                          <a:pt x="508" y="217"/>
                        </a:lnTo>
                        <a:lnTo>
                          <a:pt x="506" y="216"/>
                        </a:lnTo>
                        <a:lnTo>
                          <a:pt x="505" y="222"/>
                        </a:lnTo>
                        <a:lnTo>
                          <a:pt x="505" y="226"/>
                        </a:lnTo>
                        <a:lnTo>
                          <a:pt x="500" y="234"/>
                        </a:lnTo>
                        <a:lnTo>
                          <a:pt x="491" y="239"/>
                        </a:lnTo>
                        <a:lnTo>
                          <a:pt x="485" y="239"/>
                        </a:lnTo>
                        <a:lnTo>
                          <a:pt x="475" y="244"/>
                        </a:lnTo>
                        <a:lnTo>
                          <a:pt x="470" y="244"/>
                        </a:lnTo>
                        <a:lnTo>
                          <a:pt x="468" y="239"/>
                        </a:lnTo>
                        <a:lnTo>
                          <a:pt x="470" y="236"/>
                        </a:lnTo>
                        <a:lnTo>
                          <a:pt x="466" y="232"/>
                        </a:lnTo>
                        <a:lnTo>
                          <a:pt x="466" y="231"/>
                        </a:lnTo>
                        <a:lnTo>
                          <a:pt x="465" y="231"/>
                        </a:lnTo>
                        <a:lnTo>
                          <a:pt x="462" y="227"/>
                        </a:lnTo>
                        <a:lnTo>
                          <a:pt x="460" y="229"/>
                        </a:lnTo>
                        <a:lnTo>
                          <a:pt x="455" y="227"/>
                        </a:lnTo>
                        <a:lnTo>
                          <a:pt x="453" y="224"/>
                        </a:lnTo>
                        <a:lnTo>
                          <a:pt x="452" y="227"/>
                        </a:lnTo>
                        <a:lnTo>
                          <a:pt x="453" y="231"/>
                        </a:lnTo>
                        <a:lnTo>
                          <a:pt x="448" y="229"/>
                        </a:lnTo>
                        <a:lnTo>
                          <a:pt x="447" y="227"/>
                        </a:lnTo>
                        <a:lnTo>
                          <a:pt x="447" y="224"/>
                        </a:lnTo>
                        <a:lnTo>
                          <a:pt x="445" y="222"/>
                        </a:lnTo>
                        <a:lnTo>
                          <a:pt x="442" y="224"/>
                        </a:lnTo>
                        <a:lnTo>
                          <a:pt x="437" y="221"/>
                        </a:lnTo>
                        <a:lnTo>
                          <a:pt x="435" y="222"/>
                        </a:lnTo>
                        <a:lnTo>
                          <a:pt x="430" y="226"/>
                        </a:lnTo>
                        <a:lnTo>
                          <a:pt x="425" y="226"/>
                        </a:lnTo>
                        <a:lnTo>
                          <a:pt x="423" y="227"/>
                        </a:lnTo>
                        <a:lnTo>
                          <a:pt x="420" y="229"/>
                        </a:lnTo>
                        <a:lnTo>
                          <a:pt x="418" y="227"/>
                        </a:lnTo>
                        <a:lnTo>
                          <a:pt x="415" y="227"/>
                        </a:lnTo>
                        <a:lnTo>
                          <a:pt x="410" y="234"/>
                        </a:lnTo>
                        <a:lnTo>
                          <a:pt x="405" y="234"/>
                        </a:lnTo>
                        <a:lnTo>
                          <a:pt x="407" y="231"/>
                        </a:lnTo>
                        <a:lnTo>
                          <a:pt x="405" y="222"/>
                        </a:lnTo>
                        <a:lnTo>
                          <a:pt x="403" y="217"/>
                        </a:lnTo>
                        <a:lnTo>
                          <a:pt x="405" y="214"/>
                        </a:lnTo>
                        <a:lnTo>
                          <a:pt x="403" y="211"/>
                        </a:lnTo>
                        <a:lnTo>
                          <a:pt x="403" y="212"/>
                        </a:lnTo>
                        <a:lnTo>
                          <a:pt x="402" y="217"/>
                        </a:lnTo>
                        <a:lnTo>
                          <a:pt x="398" y="219"/>
                        </a:lnTo>
                        <a:lnTo>
                          <a:pt x="395" y="217"/>
                        </a:lnTo>
                        <a:lnTo>
                          <a:pt x="392" y="219"/>
                        </a:lnTo>
                        <a:lnTo>
                          <a:pt x="385" y="221"/>
                        </a:lnTo>
                        <a:lnTo>
                          <a:pt x="382" y="219"/>
                        </a:lnTo>
                        <a:lnTo>
                          <a:pt x="377" y="219"/>
                        </a:lnTo>
                        <a:lnTo>
                          <a:pt x="375" y="216"/>
                        </a:lnTo>
                        <a:lnTo>
                          <a:pt x="372" y="219"/>
                        </a:lnTo>
                        <a:lnTo>
                          <a:pt x="368" y="219"/>
                        </a:lnTo>
                        <a:lnTo>
                          <a:pt x="365" y="212"/>
                        </a:lnTo>
                        <a:lnTo>
                          <a:pt x="365" y="207"/>
                        </a:lnTo>
                        <a:lnTo>
                          <a:pt x="363" y="197"/>
                        </a:lnTo>
                        <a:lnTo>
                          <a:pt x="360" y="196"/>
                        </a:lnTo>
                        <a:lnTo>
                          <a:pt x="359" y="192"/>
                        </a:lnTo>
                        <a:lnTo>
                          <a:pt x="362" y="189"/>
                        </a:lnTo>
                        <a:lnTo>
                          <a:pt x="365" y="186"/>
                        </a:lnTo>
                        <a:lnTo>
                          <a:pt x="363" y="181"/>
                        </a:lnTo>
                        <a:lnTo>
                          <a:pt x="362" y="177"/>
                        </a:lnTo>
                        <a:lnTo>
                          <a:pt x="355" y="171"/>
                        </a:lnTo>
                        <a:lnTo>
                          <a:pt x="349" y="167"/>
                        </a:lnTo>
                        <a:lnTo>
                          <a:pt x="344" y="167"/>
                        </a:lnTo>
                        <a:lnTo>
                          <a:pt x="344" y="166"/>
                        </a:lnTo>
                        <a:lnTo>
                          <a:pt x="347" y="164"/>
                        </a:lnTo>
                        <a:lnTo>
                          <a:pt x="352" y="161"/>
                        </a:lnTo>
                        <a:lnTo>
                          <a:pt x="360" y="159"/>
                        </a:lnTo>
                        <a:lnTo>
                          <a:pt x="365" y="156"/>
                        </a:lnTo>
                        <a:lnTo>
                          <a:pt x="370" y="156"/>
                        </a:lnTo>
                        <a:lnTo>
                          <a:pt x="365" y="154"/>
                        </a:lnTo>
                        <a:lnTo>
                          <a:pt x="359" y="159"/>
                        </a:lnTo>
                        <a:lnTo>
                          <a:pt x="352" y="159"/>
                        </a:lnTo>
                        <a:lnTo>
                          <a:pt x="349" y="161"/>
                        </a:lnTo>
                        <a:lnTo>
                          <a:pt x="344" y="159"/>
                        </a:lnTo>
                        <a:lnTo>
                          <a:pt x="340" y="154"/>
                        </a:lnTo>
                        <a:lnTo>
                          <a:pt x="342" y="153"/>
                        </a:lnTo>
                        <a:lnTo>
                          <a:pt x="345" y="154"/>
                        </a:lnTo>
                        <a:lnTo>
                          <a:pt x="342" y="151"/>
                        </a:lnTo>
                        <a:lnTo>
                          <a:pt x="335" y="143"/>
                        </a:lnTo>
                        <a:lnTo>
                          <a:pt x="335" y="134"/>
                        </a:lnTo>
                        <a:lnTo>
                          <a:pt x="339" y="133"/>
                        </a:lnTo>
                        <a:lnTo>
                          <a:pt x="339" y="129"/>
                        </a:lnTo>
                        <a:lnTo>
                          <a:pt x="337" y="126"/>
                        </a:lnTo>
                        <a:lnTo>
                          <a:pt x="337" y="124"/>
                        </a:lnTo>
                        <a:lnTo>
                          <a:pt x="337" y="124"/>
                        </a:lnTo>
                        <a:close/>
                        <a:moveTo>
                          <a:pt x="965" y="171"/>
                        </a:moveTo>
                        <a:lnTo>
                          <a:pt x="961" y="171"/>
                        </a:lnTo>
                        <a:lnTo>
                          <a:pt x="965" y="174"/>
                        </a:lnTo>
                        <a:lnTo>
                          <a:pt x="968" y="174"/>
                        </a:lnTo>
                        <a:lnTo>
                          <a:pt x="965" y="171"/>
                        </a:lnTo>
                        <a:lnTo>
                          <a:pt x="965" y="171"/>
                        </a:lnTo>
                        <a:close/>
                        <a:moveTo>
                          <a:pt x="975" y="184"/>
                        </a:moveTo>
                        <a:lnTo>
                          <a:pt x="970" y="184"/>
                        </a:lnTo>
                        <a:lnTo>
                          <a:pt x="973" y="186"/>
                        </a:lnTo>
                        <a:lnTo>
                          <a:pt x="975" y="184"/>
                        </a:lnTo>
                        <a:lnTo>
                          <a:pt x="975" y="184"/>
                        </a:lnTo>
                        <a:close/>
                        <a:moveTo>
                          <a:pt x="980" y="186"/>
                        </a:moveTo>
                        <a:lnTo>
                          <a:pt x="980" y="186"/>
                        </a:lnTo>
                        <a:lnTo>
                          <a:pt x="981" y="187"/>
                        </a:lnTo>
                        <a:lnTo>
                          <a:pt x="988" y="191"/>
                        </a:lnTo>
                        <a:lnTo>
                          <a:pt x="1000" y="192"/>
                        </a:lnTo>
                        <a:lnTo>
                          <a:pt x="1010" y="191"/>
                        </a:lnTo>
                        <a:lnTo>
                          <a:pt x="1013" y="189"/>
                        </a:lnTo>
                        <a:lnTo>
                          <a:pt x="1005" y="187"/>
                        </a:lnTo>
                        <a:lnTo>
                          <a:pt x="1000" y="189"/>
                        </a:lnTo>
                        <a:lnTo>
                          <a:pt x="993" y="187"/>
                        </a:lnTo>
                        <a:lnTo>
                          <a:pt x="988" y="189"/>
                        </a:lnTo>
                        <a:lnTo>
                          <a:pt x="980" y="186"/>
                        </a:lnTo>
                        <a:lnTo>
                          <a:pt x="980" y="186"/>
                        </a:lnTo>
                        <a:close/>
                        <a:moveTo>
                          <a:pt x="980" y="166"/>
                        </a:moveTo>
                        <a:lnTo>
                          <a:pt x="983" y="169"/>
                        </a:lnTo>
                        <a:lnTo>
                          <a:pt x="983" y="166"/>
                        </a:lnTo>
                        <a:lnTo>
                          <a:pt x="985" y="166"/>
                        </a:lnTo>
                        <a:lnTo>
                          <a:pt x="990" y="171"/>
                        </a:lnTo>
                        <a:lnTo>
                          <a:pt x="990" y="174"/>
                        </a:lnTo>
                        <a:lnTo>
                          <a:pt x="993" y="174"/>
                        </a:lnTo>
                        <a:lnTo>
                          <a:pt x="995" y="174"/>
                        </a:lnTo>
                        <a:lnTo>
                          <a:pt x="996" y="176"/>
                        </a:lnTo>
                        <a:lnTo>
                          <a:pt x="1001" y="174"/>
                        </a:lnTo>
                        <a:lnTo>
                          <a:pt x="1000" y="172"/>
                        </a:lnTo>
                        <a:lnTo>
                          <a:pt x="996" y="171"/>
                        </a:lnTo>
                        <a:lnTo>
                          <a:pt x="993" y="167"/>
                        </a:lnTo>
                        <a:lnTo>
                          <a:pt x="990" y="164"/>
                        </a:lnTo>
                        <a:lnTo>
                          <a:pt x="985" y="164"/>
                        </a:lnTo>
                        <a:lnTo>
                          <a:pt x="978" y="162"/>
                        </a:lnTo>
                        <a:lnTo>
                          <a:pt x="980" y="166"/>
                        </a:lnTo>
                        <a:lnTo>
                          <a:pt x="980" y="166"/>
                        </a:lnTo>
                        <a:close/>
                        <a:moveTo>
                          <a:pt x="908" y="274"/>
                        </a:moveTo>
                        <a:lnTo>
                          <a:pt x="910" y="279"/>
                        </a:lnTo>
                        <a:lnTo>
                          <a:pt x="910" y="282"/>
                        </a:lnTo>
                        <a:lnTo>
                          <a:pt x="912" y="284"/>
                        </a:lnTo>
                        <a:lnTo>
                          <a:pt x="912" y="279"/>
                        </a:lnTo>
                        <a:lnTo>
                          <a:pt x="908" y="274"/>
                        </a:lnTo>
                        <a:lnTo>
                          <a:pt x="908" y="274"/>
                        </a:lnTo>
                        <a:close/>
                        <a:moveTo>
                          <a:pt x="922" y="270"/>
                        </a:moveTo>
                        <a:lnTo>
                          <a:pt x="917" y="272"/>
                        </a:lnTo>
                        <a:lnTo>
                          <a:pt x="915" y="282"/>
                        </a:lnTo>
                        <a:lnTo>
                          <a:pt x="913" y="284"/>
                        </a:lnTo>
                        <a:lnTo>
                          <a:pt x="917" y="284"/>
                        </a:lnTo>
                        <a:lnTo>
                          <a:pt x="920" y="274"/>
                        </a:lnTo>
                        <a:lnTo>
                          <a:pt x="922" y="270"/>
                        </a:lnTo>
                        <a:lnTo>
                          <a:pt x="922" y="270"/>
                        </a:lnTo>
                        <a:close/>
                        <a:moveTo>
                          <a:pt x="960" y="300"/>
                        </a:moveTo>
                        <a:lnTo>
                          <a:pt x="958" y="302"/>
                        </a:lnTo>
                        <a:lnTo>
                          <a:pt x="960" y="302"/>
                        </a:lnTo>
                        <a:lnTo>
                          <a:pt x="960" y="302"/>
                        </a:lnTo>
                        <a:lnTo>
                          <a:pt x="960" y="300"/>
                        </a:lnTo>
                        <a:lnTo>
                          <a:pt x="960" y="300"/>
                        </a:lnTo>
                        <a:close/>
                        <a:moveTo>
                          <a:pt x="947" y="292"/>
                        </a:moveTo>
                        <a:lnTo>
                          <a:pt x="943" y="290"/>
                        </a:lnTo>
                        <a:lnTo>
                          <a:pt x="945" y="292"/>
                        </a:lnTo>
                        <a:lnTo>
                          <a:pt x="945" y="297"/>
                        </a:lnTo>
                        <a:lnTo>
                          <a:pt x="947" y="299"/>
                        </a:lnTo>
                        <a:lnTo>
                          <a:pt x="948" y="300"/>
                        </a:lnTo>
                        <a:lnTo>
                          <a:pt x="947" y="299"/>
                        </a:lnTo>
                        <a:lnTo>
                          <a:pt x="945" y="299"/>
                        </a:lnTo>
                        <a:lnTo>
                          <a:pt x="943" y="304"/>
                        </a:lnTo>
                        <a:lnTo>
                          <a:pt x="947" y="305"/>
                        </a:lnTo>
                        <a:lnTo>
                          <a:pt x="948" y="305"/>
                        </a:lnTo>
                        <a:lnTo>
                          <a:pt x="953" y="302"/>
                        </a:lnTo>
                        <a:lnTo>
                          <a:pt x="953" y="299"/>
                        </a:lnTo>
                        <a:lnTo>
                          <a:pt x="952" y="299"/>
                        </a:lnTo>
                        <a:lnTo>
                          <a:pt x="950" y="295"/>
                        </a:lnTo>
                        <a:lnTo>
                          <a:pt x="947" y="292"/>
                        </a:lnTo>
                        <a:lnTo>
                          <a:pt x="947" y="292"/>
                        </a:lnTo>
                        <a:close/>
                        <a:moveTo>
                          <a:pt x="955" y="294"/>
                        </a:moveTo>
                        <a:lnTo>
                          <a:pt x="955" y="294"/>
                        </a:lnTo>
                        <a:lnTo>
                          <a:pt x="953" y="294"/>
                        </a:lnTo>
                        <a:lnTo>
                          <a:pt x="953" y="297"/>
                        </a:lnTo>
                        <a:lnTo>
                          <a:pt x="955" y="297"/>
                        </a:lnTo>
                        <a:lnTo>
                          <a:pt x="958" y="297"/>
                        </a:lnTo>
                        <a:lnTo>
                          <a:pt x="957" y="295"/>
                        </a:lnTo>
                        <a:lnTo>
                          <a:pt x="955" y="294"/>
                        </a:lnTo>
                        <a:lnTo>
                          <a:pt x="955" y="294"/>
                        </a:lnTo>
                        <a:close/>
                        <a:moveTo>
                          <a:pt x="948" y="287"/>
                        </a:moveTo>
                        <a:lnTo>
                          <a:pt x="945" y="285"/>
                        </a:lnTo>
                        <a:lnTo>
                          <a:pt x="945" y="289"/>
                        </a:lnTo>
                        <a:lnTo>
                          <a:pt x="948" y="292"/>
                        </a:lnTo>
                        <a:lnTo>
                          <a:pt x="952" y="294"/>
                        </a:lnTo>
                        <a:lnTo>
                          <a:pt x="953" y="292"/>
                        </a:lnTo>
                        <a:lnTo>
                          <a:pt x="948" y="289"/>
                        </a:lnTo>
                        <a:lnTo>
                          <a:pt x="948" y="287"/>
                        </a:lnTo>
                        <a:lnTo>
                          <a:pt x="948" y="287"/>
                        </a:lnTo>
                        <a:close/>
                        <a:moveTo>
                          <a:pt x="957" y="284"/>
                        </a:moveTo>
                        <a:lnTo>
                          <a:pt x="953" y="285"/>
                        </a:lnTo>
                        <a:lnTo>
                          <a:pt x="950" y="287"/>
                        </a:lnTo>
                        <a:lnTo>
                          <a:pt x="950" y="289"/>
                        </a:lnTo>
                        <a:lnTo>
                          <a:pt x="955" y="292"/>
                        </a:lnTo>
                        <a:lnTo>
                          <a:pt x="957" y="292"/>
                        </a:lnTo>
                        <a:lnTo>
                          <a:pt x="960" y="290"/>
                        </a:lnTo>
                        <a:lnTo>
                          <a:pt x="960" y="287"/>
                        </a:lnTo>
                        <a:lnTo>
                          <a:pt x="960" y="287"/>
                        </a:lnTo>
                        <a:lnTo>
                          <a:pt x="960" y="285"/>
                        </a:lnTo>
                        <a:lnTo>
                          <a:pt x="958" y="284"/>
                        </a:lnTo>
                        <a:lnTo>
                          <a:pt x="957" y="284"/>
                        </a:lnTo>
                        <a:lnTo>
                          <a:pt x="957" y="284"/>
                        </a:lnTo>
                        <a:close/>
                        <a:moveTo>
                          <a:pt x="948" y="279"/>
                        </a:moveTo>
                        <a:lnTo>
                          <a:pt x="947" y="279"/>
                        </a:lnTo>
                        <a:lnTo>
                          <a:pt x="945" y="280"/>
                        </a:lnTo>
                        <a:lnTo>
                          <a:pt x="948" y="280"/>
                        </a:lnTo>
                        <a:lnTo>
                          <a:pt x="948" y="279"/>
                        </a:lnTo>
                        <a:lnTo>
                          <a:pt x="948" y="279"/>
                        </a:lnTo>
                        <a:close/>
                        <a:moveTo>
                          <a:pt x="955" y="272"/>
                        </a:moveTo>
                        <a:lnTo>
                          <a:pt x="957" y="275"/>
                        </a:lnTo>
                        <a:lnTo>
                          <a:pt x="960" y="275"/>
                        </a:lnTo>
                        <a:lnTo>
                          <a:pt x="957" y="272"/>
                        </a:lnTo>
                        <a:lnTo>
                          <a:pt x="955" y="272"/>
                        </a:lnTo>
                        <a:lnTo>
                          <a:pt x="955" y="272"/>
                        </a:lnTo>
                        <a:close/>
                        <a:moveTo>
                          <a:pt x="955" y="274"/>
                        </a:moveTo>
                        <a:lnTo>
                          <a:pt x="952" y="274"/>
                        </a:lnTo>
                        <a:lnTo>
                          <a:pt x="950" y="277"/>
                        </a:lnTo>
                        <a:lnTo>
                          <a:pt x="948" y="277"/>
                        </a:lnTo>
                        <a:lnTo>
                          <a:pt x="950" y="279"/>
                        </a:lnTo>
                        <a:lnTo>
                          <a:pt x="950" y="280"/>
                        </a:lnTo>
                        <a:lnTo>
                          <a:pt x="953" y="279"/>
                        </a:lnTo>
                        <a:lnTo>
                          <a:pt x="950" y="282"/>
                        </a:lnTo>
                        <a:lnTo>
                          <a:pt x="950" y="284"/>
                        </a:lnTo>
                        <a:lnTo>
                          <a:pt x="952" y="284"/>
                        </a:lnTo>
                        <a:lnTo>
                          <a:pt x="955" y="282"/>
                        </a:lnTo>
                        <a:lnTo>
                          <a:pt x="958" y="282"/>
                        </a:lnTo>
                        <a:lnTo>
                          <a:pt x="960" y="280"/>
                        </a:lnTo>
                        <a:lnTo>
                          <a:pt x="958" y="275"/>
                        </a:lnTo>
                        <a:lnTo>
                          <a:pt x="957" y="275"/>
                        </a:lnTo>
                        <a:lnTo>
                          <a:pt x="955" y="274"/>
                        </a:lnTo>
                        <a:lnTo>
                          <a:pt x="955" y="274"/>
                        </a:lnTo>
                        <a:close/>
                        <a:moveTo>
                          <a:pt x="890" y="309"/>
                        </a:moveTo>
                        <a:lnTo>
                          <a:pt x="895" y="307"/>
                        </a:lnTo>
                        <a:lnTo>
                          <a:pt x="893" y="305"/>
                        </a:lnTo>
                        <a:lnTo>
                          <a:pt x="890" y="309"/>
                        </a:lnTo>
                        <a:lnTo>
                          <a:pt x="890" y="309"/>
                        </a:lnTo>
                        <a:close/>
                        <a:moveTo>
                          <a:pt x="887" y="310"/>
                        </a:moveTo>
                        <a:lnTo>
                          <a:pt x="892" y="314"/>
                        </a:lnTo>
                        <a:lnTo>
                          <a:pt x="890" y="310"/>
                        </a:lnTo>
                        <a:lnTo>
                          <a:pt x="887" y="310"/>
                        </a:lnTo>
                        <a:lnTo>
                          <a:pt x="887" y="310"/>
                        </a:lnTo>
                        <a:close/>
                        <a:moveTo>
                          <a:pt x="865" y="319"/>
                        </a:moveTo>
                        <a:lnTo>
                          <a:pt x="863" y="320"/>
                        </a:lnTo>
                        <a:lnTo>
                          <a:pt x="865" y="320"/>
                        </a:lnTo>
                        <a:lnTo>
                          <a:pt x="865" y="320"/>
                        </a:lnTo>
                        <a:lnTo>
                          <a:pt x="865" y="319"/>
                        </a:lnTo>
                        <a:lnTo>
                          <a:pt x="865" y="319"/>
                        </a:lnTo>
                        <a:close/>
                        <a:moveTo>
                          <a:pt x="872" y="317"/>
                        </a:moveTo>
                        <a:lnTo>
                          <a:pt x="865" y="317"/>
                        </a:lnTo>
                        <a:lnTo>
                          <a:pt x="868" y="319"/>
                        </a:lnTo>
                        <a:lnTo>
                          <a:pt x="872" y="319"/>
                        </a:lnTo>
                        <a:lnTo>
                          <a:pt x="872" y="317"/>
                        </a:lnTo>
                        <a:lnTo>
                          <a:pt x="872" y="317"/>
                        </a:lnTo>
                        <a:close/>
                        <a:moveTo>
                          <a:pt x="872" y="334"/>
                        </a:moveTo>
                        <a:lnTo>
                          <a:pt x="870" y="332"/>
                        </a:lnTo>
                        <a:lnTo>
                          <a:pt x="865" y="335"/>
                        </a:lnTo>
                        <a:lnTo>
                          <a:pt x="865" y="337"/>
                        </a:lnTo>
                        <a:lnTo>
                          <a:pt x="868" y="337"/>
                        </a:lnTo>
                        <a:lnTo>
                          <a:pt x="872" y="334"/>
                        </a:lnTo>
                        <a:lnTo>
                          <a:pt x="872" y="334"/>
                        </a:lnTo>
                        <a:lnTo>
                          <a:pt x="872" y="334"/>
                        </a:lnTo>
                        <a:close/>
                        <a:moveTo>
                          <a:pt x="880" y="315"/>
                        </a:moveTo>
                        <a:lnTo>
                          <a:pt x="873" y="320"/>
                        </a:lnTo>
                        <a:lnTo>
                          <a:pt x="873" y="322"/>
                        </a:lnTo>
                        <a:lnTo>
                          <a:pt x="873" y="324"/>
                        </a:lnTo>
                        <a:lnTo>
                          <a:pt x="872" y="325"/>
                        </a:lnTo>
                        <a:lnTo>
                          <a:pt x="872" y="329"/>
                        </a:lnTo>
                        <a:lnTo>
                          <a:pt x="875" y="332"/>
                        </a:lnTo>
                        <a:lnTo>
                          <a:pt x="878" y="330"/>
                        </a:lnTo>
                        <a:lnTo>
                          <a:pt x="883" y="325"/>
                        </a:lnTo>
                        <a:lnTo>
                          <a:pt x="885" y="319"/>
                        </a:lnTo>
                        <a:lnTo>
                          <a:pt x="883" y="315"/>
                        </a:lnTo>
                        <a:lnTo>
                          <a:pt x="885" y="314"/>
                        </a:lnTo>
                        <a:lnTo>
                          <a:pt x="885" y="312"/>
                        </a:lnTo>
                        <a:lnTo>
                          <a:pt x="882" y="312"/>
                        </a:lnTo>
                        <a:lnTo>
                          <a:pt x="880" y="314"/>
                        </a:lnTo>
                        <a:lnTo>
                          <a:pt x="880" y="315"/>
                        </a:lnTo>
                        <a:lnTo>
                          <a:pt x="880" y="315"/>
                        </a:lnTo>
                        <a:close/>
                        <a:moveTo>
                          <a:pt x="844" y="294"/>
                        </a:moveTo>
                        <a:lnTo>
                          <a:pt x="847" y="292"/>
                        </a:lnTo>
                        <a:lnTo>
                          <a:pt x="844" y="290"/>
                        </a:lnTo>
                        <a:lnTo>
                          <a:pt x="844" y="294"/>
                        </a:lnTo>
                        <a:lnTo>
                          <a:pt x="844" y="294"/>
                        </a:lnTo>
                        <a:close/>
                        <a:moveTo>
                          <a:pt x="832" y="300"/>
                        </a:moveTo>
                        <a:lnTo>
                          <a:pt x="830" y="302"/>
                        </a:lnTo>
                        <a:lnTo>
                          <a:pt x="834" y="302"/>
                        </a:lnTo>
                        <a:lnTo>
                          <a:pt x="832" y="300"/>
                        </a:lnTo>
                        <a:lnTo>
                          <a:pt x="832" y="300"/>
                        </a:lnTo>
                        <a:close/>
                        <a:moveTo>
                          <a:pt x="840" y="334"/>
                        </a:moveTo>
                        <a:lnTo>
                          <a:pt x="835" y="335"/>
                        </a:lnTo>
                        <a:lnTo>
                          <a:pt x="839" y="335"/>
                        </a:lnTo>
                        <a:lnTo>
                          <a:pt x="840" y="334"/>
                        </a:lnTo>
                        <a:lnTo>
                          <a:pt x="840" y="334"/>
                        </a:lnTo>
                        <a:close/>
                        <a:moveTo>
                          <a:pt x="834" y="327"/>
                        </a:moveTo>
                        <a:lnTo>
                          <a:pt x="835" y="325"/>
                        </a:lnTo>
                        <a:lnTo>
                          <a:pt x="839" y="327"/>
                        </a:lnTo>
                        <a:lnTo>
                          <a:pt x="840" y="330"/>
                        </a:lnTo>
                        <a:lnTo>
                          <a:pt x="837" y="332"/>
                        </a:lnTo>
                        <a:lnTo>
                          <a:pt x="834" y="329"/>
                        </a:lnTo>
                        <a:lnTo>
                          <a:pt x="834" y="327"/>
                        </a:lnTo>
                        <a:lnTo>
                          <a:pt x="834" y="327"/>
                        </a:lnTo>
                        <a:close/>
                        <a:moveTo>
                          <a:pt x="807" y="312"/>
                        </a:moveTo>
                        <a:lnTo>
                          <a:pt x="809" y="310"/>
                        </a:lnTo>
                        <a:lnTo>
                          <a:pt x="812" y="312"/>
                        </a:lnTo>
                        <a:lnTo>
                          <a:pt x="810" y="314"/>
                        </a:lnTo>
                        <a:lnTo>
                          <a:pt x="807" y="314"/>
                        </a:lnTo>
                        <a:lnTo>
                          <a:pt x="807" y="312"/>
                        </a:lnTo>
                        <a:lnTo>
                          <a:pt x="807" y="312"/>
                        </a:lnTo>
                        <a:close/>
                        <a:moveTo>
                          <a:pt x="812" y="337"/>
                        </a:moveTo>
                        <a:lnTo>
                          <a:pt x="817" y="337"/>
                        </a:lnTo>
                        <a:lnTo>
                          <a:pt x="819" y="339"/>
                        </a:lnTo>
                        <a:lnTo>
                          <a:pt x="815" y="339"/>
                        </a:lnTo>
                        <a:lnTo>
                          <a:pt x="812" y="337"/>
                        </a:lnTo>
                        <a:lnTo>
                          <a:pt x="812" y="337"/>
                        </a:lnTo>
                        <a:close/>
                        <a:moveTo>
                          <a:pt x="775" y="322"/>
                        </a:moveTo>
                        <a:lnTo>
                          <a:pt x="780" y="319"/>
                        </a:lnTo>
                        <a:lnTo>
                          <a:pt x="777" y="319"/>
                        </a:lnTo>
                        <a:lnTo>
                          <a:pt x="775" y="320"/>
                        </a:lnTo>
                        <a:lnTo>
                          <a:pt x="775" y="322"/>
                        </a:lnTo>
                        <a:lnTo>
                          <a:pt x="775" y="322"/>
                        </a:lnTo>
                        <a:close/>
                        <a:moveTo>
                          <a:pt x="789" y="335"/>
                        </a:moveTo>
                        <a:lnTo>
                          <a:pt x="795" y="335"/>
                        </a:lnTo>
                        <a:lnTo>
                          <a:pt x="799" y="334"/>
                        </a:lnTo>
                        <a:lnTo>
                          <a:pt x="799" y="337"/>
                        </a:lnTo>
                        <a:lnTo>
                          <a:pt x="794" y="339"/>
                        </a:lnTo>
                        <a:lnTo>
                          <a:pt x="789" y="337"/>
                        </a:lnTo>
                        <a:lnTo>
                          <a:pt x="789" y="335"/>
                        </a:lnTo>
                        <a:lnTo>
                          <a:pt x="789" y="335"/>
                        </a:lnTo>
                        <a:close/>
                        <a:moveTo>
                          <a:pt x="780" y="337"/>
                        </a:moveTo>
                        <a:lnTo>
                          <a:pt x="784" y="335"/>
                        </a:lnTo>
                        <a:lnTo>
                          <a:pt x="784" y="339"/>
                        </a:lnTo>
                        <a:lnTo>
                          <a:pt x="780" y="337"/>
                        </a:lnTo>
                        <a:lnTo>
                          <a:pt x="780" y="337"/>
                        </a:lnTo>
                        <a:close/>
                        <a:moveTo>
                          <a:pt x="770" y="335"/>
                        </a:moveTo>
                        <a:lnTo>
                          <a:pt x="774" y="334"/>
                        </a:lnTo>
                        <a:lnTo>
                          <a:pt x="775" y="335"/>
                        </a:lnTo>
                        <a:lnTo>
                          <a:pt x="772" y="337"/>
                        </a:lnTo>
                        <a:lnTo>
                          <a:pt x="770" y="335"/>
                        </a:lnTo>
                        <a:lnTo>
                          <a:pt x="770" y="335"/>
                        </a:lnTo>
                        <a:close/>
                        <a:moveTo>
                          <a:pt x="679" y="382"/>
                        </a:moveTo>
                        <a:lnTo>
                          <a:pt x="677" y="385"/>
                        </a:lnTo>
                        <a:lnTo>
                          <a:pt x="681" y="387"/>
                        </a:lnTo>
                        <a:lnTo>
                          <a:pt x="689" y="387"/>
                        </a:lnTo>
                        <a:lnTo>
                          <a:pt x="696" y="383"/>
                        </a:lnTo>
                        <a:lnTo>
                          <a:pt x="699" y="382"/>
                        </a:lnTo>
                        <a:lnTo>
                          <a:pt x="704" y="382"/>
                        </a:lnTo>
                        <a:lnTo>
                          <a:pt x="709" y="378"/>
                        </a:lnTo>
                        <a:lnTo>
                          <a:pt x="711" y="375"/>
                        </a:lnTo>
                        <a:lnTo>
                          <a:pt x="721" y="368"/>
                        </a:lnTo>
                        <a:lnTo>
                          <a:pt x="722" y="367"/>
                        </a:lnTo>
                        <a:lnTo>
                          <a:pt x="726" y="365"/>
                        </a:lnTo>
                        <a:lnTo>
                          <a:pt x="719" y="360"/>
                        </a:lnTo>
                        <a:lnTo>
                          <a:pt x="714" y="355"/>
                        </a:lnTo>
                        <a:lnTo>
                          <a:pt x="712" y="357"/>
                        </a:lnTo>
                        <a:lnTo>
                          <a:pt x="707" y="357"/>
                        </a:lnTo>
                        <a:lnTo>
                          <a:pt x="707" y="363"/>
                        </a:lnTo>
                        <a:lnTo>
                          <a:pt x="704" y="363"/>
                        </a:lnTo>
                        <a:lnTo>
                          <a:pt x="697" y="365"/>
                        </a:lnTo>
                        <a:lnTo>
                          <a:pt x="694" y="362"/>
                        </a:lnTo>
                        <a:lnTo>
                          <a:pt x="692" y="363"/>
                        </a:lnTo>
                        <a:lnTo>
                          <a:pt x="689" y="365"/>
                        </a:lnTo>
                        <a:lnTo>
                          <a:pt x="687" y="370"/>
                        </a:lnTo>
                        <a:lnTo>
                          <a:pt x="682" y="377"/>
                        </a:lnTo>
                        <a:lnTo>
                          <a:pt x="681" y="378"/>
                        </a:lnTo>
                        <a:lnTo>
                          <a:pt x="684" y="380"/>
                        </a:lnTo>
                        <a:lnTo>
                          <a:pt x="684" y="382"/>
                        </a:lnTo>
                        <a:lnTo>
                          <a:pt x="682" y="382"/>
                        </a:lnTo>
                        <a:lnTo>
                          <a:pt x="679" y="382"/>
                        </a:lnTo>
                        <a:lnTo>
                          <a:pt x="679" y="382"/>
                        </a:lnTo>
                        <a:close/>
                        <a:moveTo>
                          <a:pt x="674" y="387"/>
                        </a:moveTo>
                        <a:lnTo>
                          <a:pt x="677" y="382"/>
                        </a:lnTo>
                        <a:lnTo>
                          <a:pt x="674" y="382"/>
                        </a:lnTo>
                        <a:lnTo>
                          <a:pt x="672" y="385"/>
                        </a:lnTo>
                        <a:lnTo>
                          <a:pt x="674" y="387"/>
                        </a:lnTo>
                        <a:lnTo>
                          <a:pt x="674" y="387"/>
                        </a:lnTo>
                        <a:close/>
                        <a:moveTo>
                          <a:pt x="676" y="388"/>
                        </a:moveTo>
                        <a:lnTo>
                          <a:pt x="671" y="392"/>
                        </a:lnTo>
                        <a:lnTo>
                          <a:pt x="672" y="392"/>
                        </a:lnTo>
                        <a:lnTo>
                          <a:pt x="664" y="395"/>
                        </a:lnTo>
                        <a:lnTo>
                          <a:pt x="661" y="398"/>
                        </a:lnTo>
                        <a:lnTo>
                          <a:pt x="664" y="398"/>
                        </a:lnTo>
                        <a:lnTo>
                          <a:pt x="676" y="395"/>
                        </a:lnTo>
                        <a:lnTo>
                          <a:pt x="676" y="392"/>
                        </a:lnTo>
                        <a:lnTo>
                          <a:pt x="676" y="388"/>
                        </a:lnTo>
                        <a:lnTo>
                          <a:pt x="676" y="388"/>
                        </a:lnTo>
                        <a:close/>
                        <a:moveTo>
                          <a:pt x="639" y="388"/>
                        </a:moveTo>
                        <a:lnTo>
                          <a:pt x="643" y="390"/>
                        </a:lnTo>
                        <a:lnTo>
                          <a:pt x="643" y="392"/>
                        </a:lnTo>
                        <a:lnTo>
                          <a:pt x="639" y="393"/>
                        </a:lnTo>
                        <a:lnTo>
                          <a:pt x="634" y="393"/>
                        </a:lnTo>
                        <a:lnTo>
                          <a:pt x="638" y="390"/>
                        </a:lnTo>
                        <a:lnTo>
                          <a:pt x="639" y="388"/>
                        </a:lnTo>
                        <a:lnTo>
                          <a:pt x="639" y="388"/>
                        </a:lnTo>
                        <a:close/>
                        <a:moveTo>
                          <a:pt x="569" y="365"/>
                        </a:moveTo>
                        <a:lnTo>
                          <a:pt x="579" y="360"/>
                        </a:lnTo>
                        <a:lnTo>
                          <a:pt x="586" y="365"/>
                        </a:lnTo>
                        <a:lnTo>
                          <a:pt x="591" y="365"/>
                        </a:lnTo>
                        <a:lnTo>
                          <a:pt x="594" y="362"/>
                        </a:lnTo>
                        <a:lnTo>
                          <a:pt x="601" y="365"/>
                        </a:lnTo>
                        <a:lnTo>
                          <a:pt x="603" y="368"/>
                        </a:lnTo>
                        <a:lnTo>
                          <a:pt x="608" y="368"/>
                        </a:lnTo>
                        <a:lnTo>
                          <a:pt x="611" y="373"/>
                        </a:lnTo>
                        <a:lnTo>
                          <a:pt x="614" y="378"/>
                        </a:lnTo>
                        <a:lnTo>
                          <a:pt x="616" y="380"/>
                        </a:lnTo>
                        <a:lnTo>
                          <a:pt x="609" y="383"/>
                        </a:lnTo>
                        <a:lnTo>
                          <a:pt x="603" y="383"/>
                        </a:lnTo>
                        <a:lnTo>
                          <a:pt x="596" y="382"/>
                        </a:lnTo>
                        <a:lnTo>
                          <a:pt x="593" y="377"/>
                        </a:lnTo>
                        <a:lnTo>
                          <a:pt x="589" y="375"/>
                        </a:lnTo>
                        <a:lnTo>
                          <a:pt x="584" y="372"/>
                        </a:lnTo>
                        <a:lnTo>
                          <a:pt x="579" y="372"/>
                        </a:lnTo>
                        <a:lnTo>
                          <a:pt x="573" y="372"/>
                        </a:lnTo>
                        <a:lnTo>
                          <a:pt x="569" y="368"/>
                        </a:lnTo>
                        <a:lnTo>
                          <a:pt x="569" y="365"/>
                        </a:lnTo>
                        <a:lnTo>
                          <a:pt x="569" y="365"/>
                        </a:lnTo>
                        <a:close/>
                        <a:moveTo>
                          <a:pt x="495" y="315"/>
                        </a:moveTo>
                        <a:lnTo>
                          <a:pt x="498" y="315"/>
                        </a:lnTo>
                        <a:lnTo>
                          <a:pt x="500" y="314"/>
                        </a:lnTo>
                        <a:lnTo>
                          <a:pt x="498" y="315"/>
                        </a:lnTo>
                        <a:lnTo>
                          <a:pt x="495" y="315"/>
                        </a:lnTo>
                        <a:lnTo>
                          <a:pt x="495" y="315"/>
                        </a:lnTo>
                        <a:lnTo>
                          <a:pt x="495" y="315"/>
                        </a:lnTo>
                        <a:close/>
                        <a:moveTo>
                          <a:pt x="480" y="309"/>
                        </a:moveTo>
                        <a:lnTo>
                          <a:pt x="483" y="310"/>
                        </a:lnTo>
                        <a:lnTo>
                          <a:pt x="486" y="307"/>
                        </a:lnTo>
                        <a:lnTo>
                          <a:pt x="490" y="309"/>
                        </a:lnTo>
                        <a:lnTo>
                          <a:pt x="491" y="309"/>
                        </a:lnTo>
                        <a:lnTo>
                          <a:pt x="490" y="307"/>
                        </a:lnTo>
                        <a:lnTo>
                          <a:pt x="486" y="305"/>
                        </a:lnTo>
                        <a:lnTo>
                          <a:pt x="481" y="305"/>
                        </a:lnTo>
                        <a:lnTo>
                          <a:pt x="480" y="307"/>
                        </a:lnTo>
                        <a:lnTo>
                          <a:pt x="480" y="309"/>
                        </a:lnTo>
                        <a:lnTo>
                          <a:pt x="480" y="309"/>
                        </a:lnTo>
                        <a:close/>
                        <a:moveTo>
                          <a:pt x="741" y="330"/>
                        </a:moveTo>
                        <a:lnTo>
                          <a:pt x="746" y="327"/>
                        </a:lnTo>
                        <a:lnTo>
                          <a:pt x="754" y="329"/>
                        </a:lnTo>
                        <a:lnTo>
                          <a:pt x="756" y="330"/>
                        </a:lnTo>
                        <a:lnTo>
                          <a:pt x="757" y="329"/>
                        </a:lnTo>
                        <a:lnTo>
                          <a:pt x="760" y="327"/>
                        </a:lnTo>
                        <a:lnTo>
                          <a:pt x="764" y="325"/>
                        </a:lnTo>
                        <a:lnTo>
                          <a:pt x="764" y="322"/>
                        </a:lnTo>
                        <a:lnTo>
                          <a:pt x="760" y="320"/>
                        </a:lnTo>
                        <a:lnTo>
                          <a:pt x="756" y="324"/>
                        </a:lnTo>
                        <a:lnTo>
                          <a:pt x="747" y="324"/>
                        </a:lnTo>
                        <a:lnTo>
                          <a:pt x="746" y="322"/>
                        </a:lnTo>
                        <a:lnTo>
                          <a:pt x="742" y="324"/>
                        </a:lnTo>
                        <a:lnTo>
                          <a:pt x="741" y="329"/>
                        </a:lnTo>
                        <a:lnTo>
                          <a:pt x="741" y="330"/>
                        </a:lnTo>
                        <a:lnTo>
                          <a:pt x="741" y="330"/>
                        </a:lnTo>
                        <a:close/>
                        <a:moveTo>
                          <a:pt x="732" y="335"/>
                        </a:moveTo>
                        <a:lnTo>
                          <a:pt x="731" y="339"/>
                        </a:lnTo>
                        <a:lnTo>
                          <a:pt x="732" y="339"/>
                        </a:lnTo>
                        <a:lnTo>
                          <a:pt x="734" y="337"/>
                        </a:lnTo>
                        <a:lnTo>
                          <a:pt x="732" y="335"/>
                        </a:lnTo>
                        <a:lnTo>
                          <a:pt x="732" y="335"/>
                        </a:lnTo>
                        <a:close/>
                        <a:moveTo>
                          <a:pt x="711" y="335"/>
                        </a:moveTo>
                        <a:lnTo>
                          <a:pt x="706" y="337"/>
                        </a:lnTo>
                        <a:lnTo>
                          <a:pt x="707" y="339"/>
                        </a:lnTo>
                        <a:lnTo>
                          <a:pt x="706" y="340"/>
                        </a:lnTo>
                        <a:lnTo>
                          <a:pt x="707" y="342"/>
                        </a:lnTo>
                        <a:lnTo>
                          <a:pt x="711" y="344"/>
                        </a:lnTo>
                        <a:lnTo>
                          <a:pt x="719" y="340"/>
                        </a:lnTo>
                        <a:lnTo>
                          <a:pt x="722" y="337"/>
                        </a:lnTo>
                        <a:lnTo>
                          <a:pt x="719" y="335"/>
                        </a:lnTo>
                        <a:lnTo>
                          <a:pt x="712" y="337"/>
                        </a:lnTo>
                        <a:lnTo>
                          <a:pt x="711" y="335"/>
                        </a:lnTo>
                        <a:lnTo>
                          <a:pt x="711" y="335"/>
                        </a:lnTo>
                        <a:close/>
                        <a:moveTo>
                          <a:pt x="694" y="344"/>
                        </a:moveTo>
                        <a:lnTo>
                          <a:pt x="697" y="344"/>
                        </a:lnTo>
                        <a:lnTo>
                          <a:pt x="699" y="345"/>
                        </a:lnTo>
                        <a:lnTo>
                          <a:pt x="702" y="342"/>
                        </a:lnTo>
                        <a:lnTo>
                          <a:pt x="702" y="340"/>
                        </a:lnTo>
                        <a:lnTo>
                          <a:pt x="701" y="342"/>
                        </a:lnTo>
                        <a:lnTo>
                          <a:pt x="696" y="342"/>
                        </a:lnTo>
                        <a:lnTo>
                          <a:pt x="694" y="344"/>
                        </a:lnTo>
                        <a:lnTo>
                          <a:pt x="694" y="344"/>
                        </a:lnTo>
                        <a:close/>
                        <a:moveTo>
                          <a:pt x="677" y="345"/>
                        </a:moveTo>
                        <a:lnTo>
                          <a:pt x="682" y="342"/>
                        </a:lnTo>
                        <a:lnTo>
                          <a:pt x="682" y="340"/>
                        </a:lnTo>
                        <a:lnTo>
                          <a:pt x="684" y="339"/>
                        </a:lnTo>
                        <a:lnTo>
                          <a:pt x="687" y="340"/>
                        </a:lnTo>
                        <a:lnTo>
                          <a:pt x="691" y="339"/>
                        </a:lnTo>
                        <a:lnTo>
                          <a:pt x="692" y="339"/>
                        </a:lnTo>
                        <a:lnTo>
                          <a:pt x="687" y="344"/>
                        </a:lnTo>
                        <a:lnTo>
                          <a:pt x="686" y="345"/>
                        </a:lnTo>
                        <a:lnTo>
                          <a:pt x="681" y="347"/>
                        </a:lnTo>
                        <a:lnTo>
                          <a:pt x="677" y="345"/>
                        </a:lnTo>
                        <a:lnTo>
                          <a:pt x="677" y="345"/>
                        </a:lnTo>
                        <a:close/>
                        <a:moveTo>
                          <a:pt x="674" y="344"/>
                        </a:moveTo>
                        <a:lnTo>
                          <a:pt x="669" y="345"/>
                        </a:lnTo>
                        <a:lnTo>
                          <a:pt x="667" y="349"/>
                        </a:lnTo>
                        <a:lnTo>
                          <a:pt x="671" y="345"/>
                        </a:lnTo>
                        <a:lnTo>
                          <a:pt x="674" y="344"/>
                        </a:lnTo>
                        <a:lnTo>
                          <a:pt x="674" y="344"/>
                        </a:lnTo>
                        <a:close/>
                        <a:moveTo>
                          <a:pt x="677" y="337"/>
                        </a:moveTo>
                        <a:lnTo>
                          <a:pt x="674" y="340"/>
                        </a:lnTo>
                        <a:lnTo>
                          <a:pt x="676" y="340"/>
                        </a:lnTo>
                        <a:lnTo>
                          <a:pt x="677" y="339"/>
                        </a:lnTo>
                        <a:lnTo>
                          <a:pt x="677" y="337"/>
                        </a:lnTo>
                        <a:lnTo>
                          <a:pt x="677" y="337"/>
                        </a:lnTo>
                        <a:close/>
                        <a:moveTo>
                          <a:pt x="591" y="347"/>
                        </a:moveTo>
                        <a:lnTo>
                          <a:pt x="591" y="347"/>
                        </a:lnTo>
                        <a:lnTo>
                          <a:pt x="593" y="342"/>
                        </a:lnTo>
                        <a:lnTo>
                          <a:pt x="599" y="339"/>
                        </a:lnTo>
                        <a:lnTo>
                          <a:pt x="611" y="337"/>
                        </a:lnTo>
                        <a:lnTo>
                          <a:pt x="618" y="339"/>
                        </a:lnTo>
                        <a:lnTo>
                          <a:pt x="621" y="339"/>
                        </a:lnTo>
                        <a:lnTo>
                          <a:pt x="626" y="340"/>
                        </a:lnTo>
                        <a:lnTo>
                          <a:pt x="633" y="344"/>
                        </a:lnTo>
                        <a:lnTo>
                          <a:pt x="638" y="342"/>
                        </a:lnTo>
                        <a:lnTo>
                          <a:pt x="646" y="342"/>
                        </a:lnTo>
                        <a:lnTo>
                          <a:pt x="649" y="344"/>
                        </a:lnTo>
                        <a:lnTo>
                          <a:pt x="654" y="344"/>
                        </a:lnTo>
                        <a:lnTo>
                          <a:pt x="658" y="340"/>
                        </a:lnTo>
                        <a:lnTo>
                          <a:pt x="661" y="339"/>
                        </a:lnTo>
                        <a:lnTo>
                          <a:pt x="664" y="335"/>
                        </a:lnTo>
                        <a:lnTo>
                          <a:pt x="662" y="335"/>
                        </a:lnTo>
                        <a:lnTo>
                          <a:pt x="666" y="332"/>
                        </a:lnTo>
                        <a:lnTo>
                          <a:pt x="671" y="334"/>
                        </a:lnTo>
                        <a:lnTo>
                          <a:pt x="672" y="339"/>
                        </a:lnTo>
                        <a:lnTo>
                          <a:pt x="669" y="342"/>
                        </a:lnTo>
                        <a:lnTo>
                          <a:pt x="666" y="344"/>
                        </a:lnTo>
                        <a:lnTo>
                          <a:pt x="662" y="347"/>
                        </a:lnTo>
                        <a:lnTo>
                          <a:pt x="658" y="347"/>
                        </a:lnTo>
                        <a:lnTo>
                          <a:pt x="656" y="350"/>
                        </a:lnTo>
                        <a:lnTo>
                          <a:pt x="653" y="349"/>
                        </a:lnTo>
                        <a:lnTo>
                          <a:pt x="644" y="349"/>
                        </a:lnTo>
                        <a:lnTo>
                          <a:pt x="638" y="352"/>
                        </a:lnTo>
                        <a:lnTo>
                          <a:pt x="631" y="350"/>
                        </a:lnTo>
                        <a:lnTo>
                          <a:pt x="624" y="352"/>
                        </a:lnTo>
                        <a:lnTo>
                          <a:pt x="624" y="353"/>
                        </a:lnTo>
                        <a:lnTo>
                          <a:pt x="621" y="353"/>
                        </a:lnTo>
                        <a:lnTo>
                          <a:pt x="618" y="352"/>
                        </a:lnTo>
                        <a:lnTo>
                          <a:pt x="613" y="353"/>
                        </a:lnTo>
                        <a:lnTo>
                          <a:pt x="611" y="352"/>
                        </a:lnTo>
                        <a:lnTo>
                          <a:pt x="606" y="350"/>
                        </a:lnTo>
                        <a:lnTo>
                          <a:pt x="603" y="352"/>
                        </a:lnTo>
                        <a:lnTo>
                          <a:pt x="599" y="350"/>
                        </a:lnTo>
                        <a:lnTo>
                          <a:pt x="596" y="350"/>
                        </a:lnTo>
                        <a:lnTo>
                          <a:pt x="593" y="350"/>
                        </a:lnTo>
                        <a:lnTo>
                          <a:pt x="591" y="347"/>
                        </a:lnTo>
                        <a:lnTo>
                          <a:pt x="591" y="347"/>
                        </a:lnTo>
                        <a:close/>
                        <a:moveTo>
                          <a:pt x="588" y="345"/>
                        </a:moveTo>
                        <a:lnTo>
                          <a:pt x="586" y="350"/>
                        </a:lnTo>
                        <a:lnTo>
                          <a:pt x="589" y="350"/>
                        </a:lnTo>
                        <a:lnTo>
                          <a:pt x="589" y="347"/>
                        </a:lnTo>
                        <a:lnTo>
                          <a:pt x="588" y="345"/>
                        </a:lnTo>
                        <a:lnTo>
                          <a:pt x="588" y="345"/>
                        </a:lnTo>
                        <a:close/>
                        <a:moveTo>
                          <a:pt x="586" y="344"/>
                        </a:moveTo>
                        <a:lnTo>
                          <a:pt x="581" y="342"/>
                        </a:lnTo>
                        <a:lnTo>
                          <a:pt x="579" y="347"/>
                        </a:lnTo>
                        <a:lnTo>
                          <a:pt x="583" y="350"/>
                        </a:lnTo>
                        <a:lnTo>
                          <a:pt x="583" y="345"/>
                        </a:lnTo>
                        <a:lnTo>
                          <a:pt x="586" y="344"/>
                        </a:lnTo>
                        <a:lnTo>
                          <a:pt x="586" y="344"/>
                        </a:lnTo>
                        <a:close/>
                        <a:moveTo>
                          <a:pt x="516" y="347"/>
                        </a:moveTo>
                        <a:lnTo>
                          <a:pt x="515" y="349"/>
                        </a:lnTo>
                        <a:lnTo>
                          <a:pt x="516" y="350"/>
                        </a:lnTo>
                        <a:lnTo>
                          <a:pt x="516" y="353"/>
                        </a:lnTo>
                        <a:lnTo>
                          <a:pt x="518" y="355"/>
                        </a:lnTo>
                        <a:lnTo>
                          <a:pt x="523" y="357"/>
                        </a:lnTo>
                        <a:lnTo>
                          <a:pt x="528" y="355"/>
                        </a:lnTo>
                        <a:lnTo>
                          <a:pt x="531" y="357"/>
                        </a:lnTo>
                        <a:lnTo>
                          <a:pt x="538" y="355"/>
                        </a:lnTo>
                        <a:lnTo>
                          <a:pt x="540" y="353"/>
                        </a:lnTo>
                        <a:lnTo>
                          <a:pt x="543" y="353"/>
                        </a:lnTo>
                        <a:lnTo>
                          <a:pt x="550" y="352"/>
                        </a:lnTo>
                        <a:lnTo>
                          <a:pt x="555" y="353"/>
                        </a:lnTo>
                        <a:lnTo>
                          <a:pt x="560" y="349"/>
                        </a:lnTo>
                        <a:lnTo>
                          <a:pt x="561" y="352"/>
                        </a:lnTo>
                        <a:lnTo>
                          <a:pt x="564" y="352"/>
                        </a:lnTo>
                        <a:lnTo>
                          <a:pt x="571" y="352"/>
                        </a:lnTo>
                        <a:lnTo>
                          <a:pt x="569" y="350"/>
                        </a:lnTo>
                        <a:lnTo>
                          <a:pt x="574" y="350"/>
                        </a:lnTo>
                        <a:lnTo>
                          <a:pt x="576" y="345"/>
                        </a:lnTo>
                        <a:lnTo>
                          <a:pt x="574" y="347"/>
                        </a:lnTo>
                        <a:lnTo>
                          <a:pt x="573" y="344"/>
                        </a:lnTo>
                        <a:lnTo>
                          <a:pt x="573" y="340"/>
                        </a:lnTo>
                        <a:lnTo>
                          <a:pt x="568" y="339"/>
                        </a:lnTo>
                        <a:lnTo>
                          <a:pt x="568" y="342"/>
                        </a:lnTo>
                        <a:lnTo>
                          <a:pt x="566" y="342"/>
                        </a:lnTo>
                        <a:lnTo>
                          <a:pt x="566" y="339"/>
                        </a:lnTo>
                        <a:lnTo>
                          <a:pt x="561" y="337"/>
                        </a:lnTo>
                        <a:lnTo>
                          <a:pt x="556" y="339"/>
                        </a:lnTo>
                        <a:lnTo>
                          <a:pt x="551" y="335"/>
                        </a:lnTo>
                        <a:lnTo>
                          <a:pt x="548" y="334"/>
                        </a:lnTo>
                        <a:lnTo>
                          <a:pt x="541" y="337"/>
                        </a:lnTo>
                        <a:lnTo>
                          <a:pt x="541" y="339"/>
                        </a:lnTo>
                        <a:lnTo>
                          <a:pt x="551" y="342"/>
                        </a:lnTo>
                        <a:lnTo>
                          <a:pt x="555" y="347"/>
                        </a:lnTo>
                        <a:lnTo>
                          <a:pt x="548" y="347"/>
                        </a:lnTo>
                        <a:lnTo>
                          <a:pt x="545" y="349"/>
                        </a:lnTo>
                        <a:lnTo>
                          <a:pt x="540" y="345"/>
                        </a:lnTo>
                        <a:lnTo>
                          <a:pt x="538" y="342"/>
                        </a:lnTo>
                        <a:lnTo>
                          <a:pt x="535" y="340"/>
                        </a:lnTo>
                        <a:lnTo>
                          <a:pt x="531" y="342"/>
                        </a:lnTo>
                        <a:lnTo>
                          <a:pt x="526" y="340"/>
                        </a:lnTo>
                        <a:lnTo>
                          <a:pt x="520" y="344"/>
                        </a:lnTo>
                        <a:lnTo>
                          <a:pt x="520" y="344"/>
                        </a:lnTo>
                        <a:lnTo>
                          <a:pt x="516" y="347"/>
                        </a:lnTo>
                        <a:lnTo>
                          <a:pt x="516" y="347"/>
                        </a:lnTo>
                        <a:close/>
                        <a:moveTo>
                          <a:pt x="501" y="342"/>
                        </a:moveTo>
                        <a:lnTo>
                          <a:pt x="506" y="339"/>
                        </a:lnTo>
                        <a:lnTo>
                          <a:pt x="515" y="340"/>
                        </a:lnTo>
                        <a:lnTo>
                          <a:pt x="513" y="345"/>
                        </a:lnTo>
                        <a:lnTo>
                          <a:pt x="511" y="349"/>
                        </a:lnTo>
                        <a:lnTo>
                          <a:pt x="511" y="352"/>
                        </a:lnTo>
                        <a:lnTo>
                          <a:pt x="508" y="350"/>
                        </a:lnTo>
                        <a:lnTo>
                          <a:pt x="503" y="352"/>
                        </a:lnTo>
                        <a:lnTo>
                          <a:pt x="496" y="350"/>
                        </a:lnTo>
                        <a:lnTo>
                          <a:pt x="495" y="349"/>
                        </a:lnTo>
                        <a:lnTo>
                          <a:pt x="496" y="347"/>
                        </a:lnTo>
                        <a:lnTo>
                          <a:pt x="501" y="347"/>
                        </a:lnTo>
                        <a:lnTo>
                          <a:pt x="501" y="342"/>
                        </a:lnTo>
                        <a:lnTo>
                          <a:pt x="501" y="342"/>
                        </a:lnTo>
                        <a:close/>
                        <a:moveTo>
                          <a:pt x="486" y="349"/>
                        </a:moveTo>
                        <a:lnTo>
                          <a:pt x="488" y="345"/>
                        </a:lnTo>
                        <a:lnTo>
                          <a:pt x="490" y="349"/>
                        </a:lnTo>
                        <a:lnTo>
                          <a:pt x="488" y="350"/>
                        </a:lnTo>
                        <a:lnTo>
                          <a:pt x="486" y="349"/>
                        </a:lnTo>
                        <a:lnTo>
                          <a:pt x="486" y="349"/>
                        </a:lnTo>
                        <a:close/>
                        <a:moveTo>
                          <a:pt x="463" y="335"/>
                        </a:moveTo>
                        <a:lnTo>
                          <a:pt x="463" y="339"/>
                        </a:lnTo>
                        <a:lnTo>
                          <a:pt x="465" y="340"/>
                        </a:lnTo>
                        <a:lnTo>
                          <a:pt x="471" y="342"/>
                        </a:lnTo>
                        <a:lnTo>
                          <a:pt x="478" y="347"/>
                        </a:lnTo>
                        <a:lnTo>
                          <a:pt x="480" y="349"/>
                        </a:lnTo>
                        <a:lnTo>
                          <a:pt x="481" y="345"/>
                        </a:lnTo>
                        <a:lnTo>
                          <a:pt x="485" y="344"/>
                        </a:lnTo>
                        <a:lnTo>
                          <a:pt x="486" y="342"/>
                        </a:lnTo>
                        <a:lnTo>
                          <a:pt x="491" y="342"/>
                        </a:lnTo>
                        <a:lnTo>
                          <a:pt x="493" y="339"/>
                        </a:lnTo>
                        <a:lnTo>
                          <a:pt x="486" y="334"/>
                        </a:lnTo>
                        <a:lnTo>
                          <a:pt x="481" y="332"/>
                        </a:lnTo>
                        <a:lnTo>
                          <a:pt x="475" y="335"/>
                        </a:lnTo>
                        <a:lnTo>
                          <a:pt x="468" y="334"/>
                        </a:lnTo>
                        <a:lnTo>
                          <a:pt x="463" y="335"/>
                        </a:lnTo>
                        <a:lnTo>
                          <a:pt x="463" y="335"/>
                        </a:lnTo>
                        <a:close/>
                        <a:moveTo>
                          <a:pt x="1051" y="339"/>
                        </a:moveTo>
                        <a:lnTo>
                          <a:pt x="1053" y="339"/>
                        </a:lnTo>
                        <a:lnTo>
                          <a:pt x="1058" y="340"/>
                        </a:lnTo>
                        <a:lnTo>
                          <a:pt x="1059" y="339"/>
                        </a:lnTo>
                        <a:lnTo>
                          <a:pt x="1058" y="334"/>
                        </a:lnTo>
                        <a:lnTo>
                          <a:pt x="1056" y="334"/>
                        </a:lnTo>
                        <a:lnTo>
                          <a:pt x="1053" y="334"/>
                        </a:lnTo>
                        <a:lnTo>
                          <a:pt x="1051" y="339"/>
                        </a:lnTo>
                        <a:lnTo>
                          <a:pt x="1051" y="339"/>
                        </a:lnTo>
                        <a:close/>
                        <a:moveTo>
                          <a:pt x="1028" y="339"/>
                        </a:moveTo>
                        <a:lnTo>
                          <a:pt x="1028" y="339"/>
                        </a:lnTo>
                        <a:lnTo>
                          <a:pt x="1036" y="339"/>
                        </a:lnTo>
                        <a:lnTo>
                          <a:pt x="1040" y="337"/>
                        </a:lnTo>
                        <a:lnTo>
                          <a:pt x="1046" y="339"/>
                        </a:lnTo>
                        <a:lnTo>
                          <a:pt x="1050" y="337"/>
                        </a:lnTo>
                        <a:lnTo>
                          <a:pt x="1053" y="332"/>
                        </a:lnTo>
                        <a:lnTo>
                          <a:pt x="1056" y="332"/>
                        </a:lnTo>
                        <a:lnTo>
                          <a:pt x="1058" y="330"/>
                        </a:lnTo>
                        <a:lnTo>
                          <a:pt x="1058" y="327"/>
                        </a:lnTo>
                        <a:lnTo>
                          <a:pt x="1059" y="327"/>
                        </a:lnTo>
                        <a:lnTo>
                          <a:pt x="1061" y="322"/>
                        </a:lnTo>
                        <a:lnTo>
                          <a:pt x="1061" y="320"/>
                        </a:lnTo>
                        <a:lnTo>
                          <a:pt x="1058" y="319"/>
                        </a:lnTo>
                        <a:lnTo>
                          <a:pt x="1056" y="317"/>
                        </a:lnTo>
                        <a:lnTo>
                          <a:pt x="1048" y="317"/>
                        </a:lnTo>
                        <a:lnTo>
                          <a:pt x="1043" y="319"/>
                        </a:lnTo>
                        <a:lnTo>
                          <a:pt x="1040" y="325"/>
                        </a:lnTo>
                        <a:lnTo>
                          <a:pt x="1038" y="330"/>
                        </a:lnTo>
                        <a:lnTo>
                          <a:pt x="1028" y="339"/>
                        </a:lnTo>
                        <a:lnTo>
                          <a:pt x="1028" y="339"/>
                        </a:lnTo>
                        <a:close/>
                        <a:moveTo>
                          <a:pt x="427" y="305"/>
                        </a:moveTo>
                        <a:lnTo>
                          <a:pt x="423" y="310"/>
                        </a:lnTo>
                        <a:lnTo>
                          <a:pt x="428" y="314"/>
                        </a:lnTo>
                        <a:lnTo>
                          <a:pt x="432" y="315"/>
                        </a:lnTo>
                        <a:lnTo>
                          <a:pt x="435" y="314"/>
                        </a:lnTo>
                        <a:lnTo>
                          <a:pt x="443" y="314"/>
                        </a:lnTo>
                        <a:lnTo>
                          <a:pt x="447" y="312"/>
                        </a:lnTo>
                        <a:lnTo>
                          <a:pt x="452" y="312"/>
                        </a:lnTo>
                        <a:lnTo>
                          <a:pt x="455" y="309"/>
                        </a:lnTo>
                        <a:lnTo>
                          <a:pt x="452" y="307"/>
                        </a:lnTo>
                        <a:lnTo>
                          <a:pt x="445" y="309"/>
                        </a:lnTo>
                        <a:lnTo>
                          <a:pt x="442" y="307"/>
                        </a:lnTo>
                        <a:lnTo>
                          <a:pt x="428" y="307"/>
                        </a:lnTo>
                        <a:lnTo>
                          <a:pt x="427" y="305"/>
                        </a:lnTo>
                        <a:lnTo>
                          <a:pt x="427" y="305"/>
                        </a:lnTo>
                        <a:close/>
                        <a:moveTo>
                          <a:pt x="244" y="299"/>
                        </a:moveTo>
                        <a:lnTo>
                          <a:pt x="244" y="300"/>
                        </a:lnTo>
                        <a:lnTo>
                          <a:pt x="246" y="300"/>
                        </a:lnTo>
                        <a:lnTo>
                          <a:pt x="246" y="299"/>
                        </a:lnTo>
                        <a:lnTo>
                          <a:pt x="244" y="299"/>
                        </a:lnTo>
                        <a:lnTo>
                          <a:pt x="244" y="299"/>
                        </a:lnTo>
                        <a:close/>
                        <a:moveTo>
                          <a:pt x="247" y="302"/>
                        </a:moveTo>
                        <a:lnTo>
                          <a:pt x="249" y="304"/>
                        </a:lnTo>
                        <a:lnTo>
                          <a:pt x="252" y="302"/>
                        </a:lnTo>
                        <a:lnTo>
                          <a:pt x="254" y="297"/>
                        </a:lnTo>
                        <a:lnTo>
                          <a:pt x="259" y="297"/>
                        </a:lnTo>
                        <a:lnTo>
                          <a:pt x="261" y="292"/>
                        </a:lnTo>
                        <a:lnTo>
                          <a:pt x="261" y="287"/>
                        </a:lnTo>
                        <a:lnTo>
                          <a:pt x="265" y="282"/>
                        </a:lnTo>
                        <a:lnTo>
                          <a:pt x="267" y="284"/>
                        </a:lnTo>
                        <a:lnTo>
                          <a:pt x="274" y="284"/>
                        </a:lnTo>
                        <a:lnTo>
                          <a:pt x="280" y="285"/>
                        </a:lnTo>
                        <a:lnTo>
                          <a:pt x="285" y="289"/>
                        </a:lnTo>
                        <a:lnTo>
                          <a:pt x="287" y="287"/>
                        </a:lnTo>
                        <a:lnTo>
                          <a:pt x="289" y="284"/>
                        </a:lnTo>
                        <a:lnTo>
                          <a:pt x="297" y="285"/>
                        </a:lnTo>
                        <a:lnTo>
                          <a:pt x="300" y="289"/>
                        </a:lnTo>
                        <a:lnTo>
                          <a:pt x="310" y="290"/>
                        </a:lnTo>
                        <a:lnTo>
                          <a:pt x="320" y="290"/>
                        </a:lnTo>
                        <a:lnTo>
                          <a:pt x="324" y="295"/>
                        </a:lnTo>
                        <a:lnTo>
                          <a:pt x="322" y="300"/>
                        </a:lnTo>
                        <a:lnTo>
                          <a:pt x="324" y="302"/>
                        </a:lnTo>
                        <a:lnTo>
                          <a:pt x="332" y="305"/>
                        </a:lnTo>
                        <a:lnTo>
                          <a:pt x="347" y="305"/>
                        </a:lnTo>
                        <a:lnTo>
                          <a:pt x="360" y="307"/>
                        </a:lnTo>
                        <a:lnTo>
                          <a:pt x="370" y="305"/>
                        </a:lnTo>
                        <a:lnTo>
                          <a:pt x="373" y="302"/>
                        </a:lnTo>
                        <a:lnTo>
                          <a:pt x="375" y="294"/>
                        </a:lnTo>
                        <a:lnTo>
                          <a:pt x="380" y="292"/>
                        </a:lnTo>
                        <a:lnTo>
                          <a:pt x="385" y="299"/>
                        </a:lnTo>
                        <a:lnTo>
                          <a:pt x="390" y="299"/>
                        </a:lnTo>
                        <a:lnTo>
                          <a:pt x="393" y="297"/>
                        </a:lnTo>
                        <a:lnTo>
                          <a:pt x="397" y="300"/>
                        </a:lnTo>
                        <a:lnTo>
                          <a:pt x="402" y="304"/>
                        </a:lnTo>
                        <a:lnTo>
                          <a:pt x="407" y="304"/>
                        </a:lnTo>
                        <a:lnTo>
                          <a:pt x="410" y="307"/>
                        </a:lnTo>
                        <a:lnTo>
                          <a:pt x="413" y="305"/>
                        </a:lnTo>
                        <a:lnTo>
                          <a:pt x="420" y="305"/>
                        </a:lnTo>
                        <a:lnTo>
                          <a:pt x="420" y="312"/>
                        </a:lnTo>
                        <a:lnTo>
                          <a:pt x="425" y="317"/>
                        </a:lnTo>
                        <a:lnTo>
                          <a:pt x="425" y="320"/>
                        </a:lnTo>
                        <a:lnTo>
                          <a:pt x="428" y="324"/>
                        </a:lnTo>
                        <a:lnTo>
                          <a:pt x="433" y="325"/>
                        </a:lnTo>
                        <a:lnTo>
                          <a:pt x="438" y="324"/>
                        </a:lnTo>
                        <a:lnTo>
                          <a:pt x="443" y="325"/>
                        </a:lnTo>
                        <a:lnTo>
                          <a:pt x="447" y="325"/>
                        </a:lnTo>
                        <a:lnTo>
                          <a:pt x="450" y="324"/>
                        </a:lnTo>
                        <a:lnTo>
                          <a:pt x="453" y="324"/>
                        </a:lnTo>
                        <a:lnTo>
                          <a:pt x="455" y="325"/>
                        </a:lnTo>
                        <a:lnTo>
                          <a:pt x="458" y="325"/>
                        </a:lnTo>
                        <a:lnTo>
                          <a:pt x="462" y="329"/>
                        </a:lnTo>
                        <a:lnTo>
                          <a:pt x="460" y="339"/>
                        </a:lnTo>
                        <a:lnTo>
                          <a:pt x="458" y="342"/>
                        </a:lnTo>
                        <a:lnTo>
                          <a:pt x="460" y="344"/>
                        </a:lnTo>
                        <a:lnTo>
                          <a:pt x="462" y="350"/>
                        </a:lnTo>
                        <a:lnTo>
                          <a:pt x="458" y="350"/>
                        </a:lnTo>
                        <a:lnTo>
                          <a:pt x="455" y="347"/>
                        </a:lnTo>
                        <a:lnTo>
                          <a:pt x="450" y="347"/>
                        </a:lnTo>
                        <a:lnTo>
                          <a:pt x="443" y="344"/>
                        </a:lnTo>
                        <a:lnTo>
                          <a:pt x="438" y="342"/>
                        </a:lnTo>
                        <a:lnTo>
                          <a:pt x="435" y="337"/>
                        </a:lnTo>
                        <a:lnTo>
                          <a:pt x="430" y="337"/>
                        </a:lnTo>
                        <a:lnTo>
                          <a:pt x="423" y="340"/>
                        </a:lnTo>
                        <a:lnTo>
                          <a:pt x="417" y="340"/>
                        </a:lnTo>
                        <a:lnTo>
                          <a:pt x="410" y="337"/>
                        </a:lnTo>
                        <a:lnTo>
                          <a:pt x="403" y="337"/>
                        </a:lnTo>
                        <a:lnTo>
                          <a:pt x="398" y="340"/>
                        </a:lnTo>
                        <a:lnTo>
                          <a:pt x="392" y="337"/>
                        </a:lnTo>
                        <a:lnTo>
                          <a:pt x="383" y="335"/>
                        </a:lnTo>
                        <a:lnTo>
                          <a:pt x="378" y="339"/>
                        </a:lnTo>
                        <a:lnTo>
                          <a:pt x="365" y="334"/>
                        </a:lnTo>
                        <a:lnTo>
                          <a:pt x="354" y="327"/>
                        </a:lnTo>
                        <a:lnTo>
                          <a:pt x="347" y="327"/>
                        </a:lnTo>
                        <a:lnTo>
                          <a:pt x="340" y="324"/>
                        </a:lnTo>
                        <a:lnTo>
                          <a:pt x="337" y="324"/>
                        </a:lnTo>
                        <a:lnTo>
                          <a:pt x="334" y="327"/>
                        </a:lnTo>
                        <a:lnTo>
                          <a:pt x="329" y="327"/>
                        </a:lnTo>
                        <a:lnTo>
                          <a:pt x="325" y="324"/>
                        </a:lnTo>
                        <a:lnTo>
                          <a:pt x="322" y="324"/>
                        </a:lnTo>
                        <a:lnTo>
                          <a:pt x="319" y="329"/>
                        </a:lnTo>
                        <a:lnTo>
                          <a:pt x="307" y="325"/>
                        </a:lnTo>
                        <a:lnTo>
                          <a:pt x="300" y="320"/>
                        </a:lnTo>
                        <a:lnTo>
                          <a:pt x="292" y="319"/>
                        </a:lnTo>
                        <a:lnTo>
                          <a:pt x="289" y="319"/>
                        </a:lnTo>
                        <a:lnTo>
                          <a:pt x="285" y="320"/>
                        </a:lnTo>
                        <a:lnTo>
                          <a:pt x="279" y="319"/>
                        </a:lnTo>
                        <a:lnTo>
                          <a:pt x="272" y="317"/>
                        </a:lnTo>
                        <a:lnTo>
                          <a:pt x="270" y="315"/>
                        </a:lnTo>
                        <a:lnTo>
                          <a:pt x="274" y="310"/>
                        </a:lnTo>
                        <a:lnTo>
                          <a:pt x="275" y="309"/>
                        </a:lnTo>
                        <a:lnTo>
                          <a:pt x="272" y="309"/>
                        </a:lnTo>
                        <a:lnTo>
                          <a:pt x="269" y="310"/>
                        </a:lnTo>
                        <a:lnTo>
                          <a:pt x="265" y="307"/>
                        </a:lnTo>
                        <a:lnTo>
                          <a:pt x="264" y="304"/>
                        </a:lnTo>
                        <a:lnTo>
                          <a:pt x="259" y="305"/>
                        </a:lnTo>
                        <a:lnTo>
                          <a:pt x="249" y="305"/>
                        </a:lnTo>
                        <a:lnTo>
                          <a:pt x="246" y="304"/>
                        </a:lnTo>
                        <a:lnTo>
                          <a:pt x="246" y="302"/>
                        </a:lnTo>
                        <a:lnTo>
                          <a:pt x="247" y="302"/>
                        </a:lnTo>
                        <a:lnTo>
                          <a:pt x="247" y="302"/>
                        </a:lnTo>
                        <a:close/>
                        <a:moveTo>
                          <a:pt x="310" y="55"/>
                        </a:moveTo>
                        <a:lnTo>
                          <a:pt x="315" y="59"/>
                        </a:lnTo>
                        <a:lnTo>
                          <a:pt x="317" y="59"/>
                        </a:lnTo>
                        <a:lnTo>
                          <a:pt x="317" y="63"/>
                        </a:lnTo>
                        <a:lnTo>
                          <a:pt x="320" y="63"/>
                        </a:lnTo>
                        <a:lnTo>
                          <a:pt x="322" y="56"/>
                        </a:lnTo>
                        <a:lnTo>
                          <a:pt x="317" y="50"/>
                        </a:lnTo>
                        <a:lnTo>
                          <a:pt x="312" y="51"/>
                        </a:lnTo>
                        <a:lnTo>
                          <a:pt x="310" y="55"/>
                        </a:lnTo>
                        <a:lnTo>
                          <a:pt x="310" y="55"/>
                        </a:lnTo>
                        <a:close/>
                        <a:moveTo>
                          <a:pt x="270" y="81"/>
                        </a:moveTo>
                        <a:lnTo>
                          <a:pt x="270" y="86"/>
                        </a:lnTo>
                        <a:lnTo>
                          <a:pt x="272" y="84"/>
                        </a:lnTo>
                        <a:lnTo>
                          <a:pt x="270" y="81"/>
                        </a:lnTo>
                        <a:lnTo>
                          <a:pt x="270" y="81"/>
                        </a:lnTo>
                        <a:close/>
                        <a:moveTo>
                          <a:pt x="270" y="73"/>
                        </a:moveTo>
                        <a:lnTo>
                          <a:pt x="272" y="69"/>
                        </a:lnTo>
                        <a:lnTo>
                          <a:pt x="269" y="69"/>
                        </a:lnTo>
                        <a:lnTo>
                          <a:pt x="270" y="73"/>
                        </a:lnTo>
                        <a:lnTo>
                          <a:pt x="270" y="73"/>
                        </a:lnTo>
                        <a:close/>
                        <a:moveTo>
                          <a:pt x="270" y="74"/>
                        </a:moveTo>
                        <a:lnTo>
                          <a:pt x="269" y="78"/>
                        </a:lnTo>
                        <a:lnTo>
                          <a:pt x="272" y="78"/>
                        </a:lnTo>
                        <a:lnTo>
                          <a:pt x="270" y="74"/>
                        </a:lnTo>
                        <a:lnTo>
                          <a:pt x="270" y="74"/>
                        </a:lnTo>
                        <a:close/>
                        <a:moveTo>
                          <a:pt x="256" y="79"/>
                        </a:moveTo>
                        <a:lnTo>
                          <a:pt x="256" y="83"/>
                        </a:lnTo>
                        <a:lnTo>
                          <a:pt x="257" y="84"/>
                        </a:lnTo>
                        <a:lnTo>
                          <a:pt x="262" y="79"/>
                        </a:lnTo>
                        <a:lnTo>
                          <a:pt x="259" y="78"/>
                        </a:lnTo>
                        <a:lnTo>
                          <a:pt x="256" y="79"/>
                        </a:lnTo>
                        <a:lnTo>
                          <a:pt x="256" y="79"/>
                        </a:lnTo>
                        <a:close/>
                        <a:moveTo>
                          <a:pt x="214" y="128"/>
                        </a:moveTo>
                        <a:lnTo>
                          <a:pt x="219" y="128"/>
                        </a:lnTo>
                        <a:lnTo>
                          <a:pt x="221" y="124"/>
                        </a:lnTo>
                        <a:lnTo>
                          <a:pt x="221" y="121"/>
                        </a:lnTo>
                        <a:lnTo>
                          <a:pt x="214" y="128"/>
                        </a:lnTo>
                        <a:lnTo>
                          <a:pt x="214" y="128"/>
                        </a:lnTo>
                        <a:close/>
                        <a:moveTo>
                          <a:pt x="226" y="123"/>
                        </a:moveTo>
                        <a:lnTo>
                          <a:pt x="224" y="128"/>
                        </a:lnTo>
                        <a:lnTo>
                          <a:pt x="229" y="129"/>
                        </a:lnTo>
                        <a:lnTo>
                          <a:pt x="231" y="134"/>
                        </a:lnTo>
                        <a:lnTo>
                          <a:pt x="234" y="133"/>
                        </a:lnTo>
                        <a:lnTo>
                          <a:pt x="234" y="126"/>
                        </a:lnTo>
                        <a:lnTo>
                          <a:pt x="232" y="124"/>
                        </a:lnTo>
                        <a:lnTo>
                          <a:pt x="234" y="121"/>
                        </a:lnTo>
                        <a:lnTo>
                          <a:pt x="232" y="121"/>
                        </a:lnTo>
                        <a:lnTo>
                          <a:pt x="229" y="123"/>
                        </a:lnTo>
                        <a:lnTo>
                          <a:pt x="226" y="123"/>
                        </a:lnTo>
                        <a:lnTo>
                          <a:pt x="226" y="123"/>
                        </a:lnTo>
                        <a:close/>
                        <a:moveTo>
                          <a:pt x="334" y="189"/>
                        </a:moveTo>
                        <a:lnTo>
                          <a:pt x="334" y="191"/>
                        </a:lnTo>
                        <a:lnTo>
                          <a:pt x="337" y="192"/>
                        </a:lnTo>
                        <a:lnTo>
                          <a:pt x="339" y="191"/>
                        </a:lnTo>
                        <a:lnTo>
                          <a:pt x="337" y="189"/>
                        </a:lnTo>
                        <a:lnTo>
                          <a:pt x="334" y="189"/>
                        </a:lnTo>
                        <a:lnTo>
                          <a:pt x="334" y="189"/>
                        </a:lnTo>
                        <a:close/>
                        <a:moveTo>
                          <a:pt x="302" y="209"/>
                        </a:moveTo>
                        <a:lnTo>
                          <a:pt x="304" y="212"/>
                        </a:lnTo>
                        <a:lnTo>
                          <a:pt x="302" y="214"/>
                        </a:lnTo>
                        <a:lnTo>
                          <a:pt x="297" y="216"/>
                        </a:lnTo>
                        <a:lnTo>
                          <a:pt x="295" y="217"/>
                        </a:lnTo>
                        <a:lnTo>
                          <a:pt x="300" y="219"/>
                        </a:lnTo>
                        <a:lnTo>
                          <a:pt x="300" y="217"/>
                        </a:lnTo>
                        <a:lnTo>
                          <a:pt x="304" y="216"/>
                        </a:lnTo>
                        <a:lnTo>
                          <a:pt x="304" y="221"/>
                        </a:lnTo>
                        <a:lnTo>
                          <a:pt x="307" y="226"/>
                        </a:lnTo>
                        <a:lnTo>
                          <a:pt x="310" y="219"/>
                        </a:lnTo>
                        <a:lnTo>
                          <a:pt x="314" y="222"/>
                        </a:lnTo>
                        <a:lnTo>
                          <a:pt x="317" y="224"/>
                        </a:lnTo>
                        <a:lnTo>
                          <a:pt x="319" y="221"/>
                        </a:lnTo>
                        <a:lnTo>
                          <a:pt x="322" y="219"/>
                        </a:lnTo>
                        <a:lnTo>
                          <a:pt x="320" y="214"/>
                        </a:lnTo>
                        <a:lnTo>
                          <a:pt x="312" y="209"/>
                        </a:lnTo>
                        <a:lnTo>
                          <a:pt x="304" y="207"/>
                        </a:lnTo>
                        <a:lnTo>
                          <a:pt x="302" y="209"/>
                        </a:lnTo>
                        <a:lnTo>
                          <a:pt x="302" y="209"/>
                        </a:lnTo>
                        <a:close/>
                        <a:moveTo>
                          <a:pt x="285" y="217"/>
                        </a:moveTo>
                        <a:lnTo>
                          <a:pt x="285" y="221"/>
                        </a:lnTo>
                        <a:lnTo>
                          <a:pt x="287" y="219"/>
                        </a:lnTo>
                        <a:lnTo>
                          <a:pt x="285" y="217"/>
                        </a:lnTo>
                        <a:lnTo>
                          <a:pt x="285" y="217"/>
                        </a:lnTo>
                        <a:close/>
                        <a:moveTo>
                          <a:pt x="251" y="189"/>
                        </a:moveTo>
                        <a:lnTo>
                          <a:pt x="251" y="192"/>
                        </a:lnTo>
                        <a:lnTo>
                          <a:pt x="246" y="196"/>
                        </a:lnTo>
                        <a:lnTo>
                          <a:pt x="249" y="199"/>
                        </a:lnTo>
                        <a:lnTo>
                          <a:pt x="257" y="199"/>
                        </a:lnTo>
                        <a:lnTo>
                          <a:pt x="261" y="202"/>
                        </a:lnTo>
                        <a:lnTo>
                          <a:pt x="261" y="206"/>
                        </a:lnTo>
                        <a:lnTo>
                          <a:pt x="264" y="207"/>
                        </a:lnTo>
                        <a:lnTo>
                          <a:pt x="265" y="214"/>
                        </a:lnTo>
                        <a:lnTo>
                          <a:pt x="270" y="217"/>
                        </a:lnTo>
                        <a:lnTo>
                          <a:pt x="275" y="216"/>
                        </a:lnTo>
                        <a:lnTo>
                          <a:pt x="277" y="221"/>
                        </a:lnTo>
                        <a:lnTo>
                          <a:pt x="279" y="222"/>
                        </a:lnTo>
                        <a:lnTo>
                          <a:pt x="280" y="219"/>
                        </a:lnTo>
                        <a:lnTo>
                          <a:pt x="279" y="214"/>
                        </a:lnTo>
                        <a:lnTo>
                          <a:pt x="282" y="209"/>
                        </a:lnTo>
                        <a:lnTo>
                          <a:pt x="274" y="207"/>
                        </a:lnTo>
                        <a:lnTo>
                          <a:pt x="269" y="202"/>
                        </a:lnTo>
                        <a:lnTo>
                          <a:pt x="267" y="192"/>
                        </a:lnTo>
                        <a:lnTo>
                          <a:pt x="265" y="191"/>
                        </a:lnTo>
                        <a:lnTo>
                          <a:pt x="264" y="187"/>
                        </a:lnTo>
                        <a:lnTo>
                          <a:pt x="261" y="186"/>
                        </a:lnTo>
                        <a:lnTo>
                          <a:pt x="257" y="186"/>
                        </a:lnTo>
                        <a:lnTo>
                          <a:pt x="259" y="189"/>
                        </a:lnTo>
                        <a:lnTo>
                          <a:pt x="261" y="192"/>
                        </a:lnTo>
                        <a:lnTo>
                          <a:pt x="256" y="191"/>
                        </a:lnTo>
                        <a:lnTo>
                          <a:pt x="252" y="187"/>
                        </a:lnTo>
                        <a:lnTo>
                          <a:pt x="251" y="189"/>
                        </a:lnTo>
                        <a:lnTo>
                          <a:pt x="251" y="189"/>
                        </a:lnTo>
                        <a:close/>
                        <a:moveTo>
                          <a:pt x="227" y="162"/>
                        </a:moveTo>
                        <a:lnTo>
                          <a:pt x="226" y="166"/>
                        </a:lnTo>
                        <a:lnTo>
                          <a:pt x="229" y="169"/>
                        </a:lnTo>
                        <a:lnTo>
                          <a:pt x="234" y="166"/>
                        </a:lnTo>
                        <a:lnTo>
                          <a:pt x="232" y="162"/>
                        </a:lnTo>
                        <a:lnTo>
                          <a:pt x="227" y="162"/>
                        </a:lnTo>
                        <a:lnTo>
                          <a:pt x="227" y="162"/>
                        </a:lnTo>
                        <a:close/>
                        <a:moveTo>
                          <a:pt x="231" y="153"/>
                        </a:moveTo>
                        <a:lnTo>
                          <a:pt x="229" y="157"/>
                        </a:lnTo>
                        <a:lnTo>
                          <a:pt x="231" y="159"/>
                        </a:lnTo>
                        <a:lnTo>
                          <a:pt x="236" y="159"/>
                        </a:lnTo>
                        <a:lnTo>
                          <a:pt x="241" y="161"/>
                        </a:lnTo>
                        <a:lnTo>
                          <a:pt x="242" y="159"/>
                        </a:lnTo>
                        <a:lnTo>
                          <a:pt x="236" y="154"/>
                        </a:lnTo>
                        <a:lnTo>
                          <a:pt x="231" y="153"/>
                        </a:lnTo>
                        <a:lnTo>
                          <a:pt x="231" y="153"/>
                        </a:lnTo>
                        <a:close/>
                        <a:moveTo>
                          <a:pt x="182" y="123"/>
                        </a:moveTo>
                        <a:lnTo>
                          <a:pt x="179" y="129"/>
                        </a:lnTo>
                        <a:lnTo>
                          <a:pt x="181" y="133"/>
                        </a:lnTo>
                        <a:lnTo>
                          <a:pt x="189" y="134"/>
                        </a:lnTo>
                        <a:lnTo>
                          <a:pt x="194" y="136"/>
                        </a:lnTo>
                        <a:lnTo>
                          <a:pt x="196" y="134"/>
                        </a:lnTo>
                        <a:lnTo>
                          <a:pt x="194" y="129"/>
                        </a:lnTo>
                        <a:lnTo>
                          <a:pt x="189" y="124"/>
                        </a:lnTo>
                        <a:lnTo>
                          <a:pt x="182" y="123"/>
                        </a:lnTo>
                        <a:lnTo>
                          <a:pt x="182" y="123"/>
                        </a:lnTo>
                        <a:close/>
                        <a:moveTo>
                          <a:pt x="169" y="116"/>
                        </a:moveTo>
                        <a:lnTo>
                          <a:pt x="172" y="116"/>
                        </a:lnTo>
                        <a:lnTo>
                          <a:pt x="177" y="118"/>
                        </a:lnTo>
                        <a:lnTo>
                          <a:pt x="181" y="121"/>
                        </a:lnTo>
                        <a:lnTo>
                          <a:pt x="177" y="126"/>
                        </a:lnTo>
                        <a:lnTo>
                          <a:pt x="176" y="124"/>
                        </a:lnTo>
                        <a:lnTo>
                          <a:pt x="169" y="116"/>
                        </a:lnTo>
                        <a:lnTo>
                          <a:pt x="169" y="116"/>
                        </a:lnTo>
                        <a:close/>
                        <a:moveTo>
                          <a:pt x="153" y="106"/>
                        </a:moveTo>
                        <a:lnTo>
                          <a:pt x="156" y="113"/>
                        </a:lnTo>
                        <a:lnTo>
                          <a:pt x="159" y="111"/>
                        </a:lnTo>
                        <a:lnTo>
                          <a:pt x="164" y="108"/>
                        </a:lnTo>
                        <a:lnTo>
                          <a:pt x="159" y="103"/>
                        </a:lnTo>
                        <a:lnTo>
                          <a:pt x="156" y="104"/>
                        </a:lnTo>
                        <a:lnTo>
                          <a:pt x="153" y="106"/>
                        </a:lnTo>
                        <a:lnTo>
                          <a:pt x="153" y="106"/>
                        </a:lnTo>
                        <a:close/>
                        <a:moveTo>
                          <a:pt x="169" y="270"/>
                        </a:moveTo>
                        <a:lnTo>
                          <a:pt x="176" y="274"/>
                        </a:lnTo>
                        <a:lnTo>
                          <a:pt x="176" y="270"/>
                        </a:lnTo>
                        <a:lnTo>
                          <a:pt x="172" y="269"/>
                        </a:lnTo>
                        <a:lnTo>
                          <a:pt x="169" y="270"/>
                        </a:lnTo>
                        <a:lnTo>
                          <a:pt x="169" y="270"/>
                        </a:lnTo>
                        <a:close/>
                        <a:moveTo>
                          <a:pt x="124" y="214"/>
                        </a:moveTo>
                        <a:lnTo>
                          <a:pt x="121" y="219"/>
                        </a:lnTo>
                        <a:lnTo>
                          <a:pt x="131" y="226"/>
                        </a:lnTo>
                        <a:lnTo>
                          <a:pt x="129" y="222"/>
                        </a:lnTo>
                        <a:lnTo>
                          <a:pt x="129" y="219"/>
                        </a:lnTo>
                        <a:lnTo>
                          <a:pt x="124" y="214"/>
                        </a:lnTo>
                        <a:lnTo>
                          <a:pt x="124" y="214"/>
                        </a:lnTo>
                        <a:close/>
                        <a:moveTo>
                          <a:pt x="118" y="211"/>
                        </a:moveTo>
                        <a:lnTo>
                          <a:pt x="121" y="212"/>
                        </a:lnTo>
                        <a:lnTo>
                          <a:pt x="118" y="216"/>
                        </a:lnTo>
                        <a:lnTo>
                          <a:pt x="118" y="211"/>
                        </a:lnTo>
                        <a:lnTo>
                          <a:pt x="118" y="211"/>
                        </a:lnTo>
                        <a:close/>
                        <a:moveTo>
                          <a:pt x="108" y="197"/>
                        </a:moveTo>
                        <a:lnTo>
                          <a:pt x="106" y="199"/>
                        </a:lnTo>
                        <a:lnTo>
                          <a:pt x="109" y="202"/>
                        </a:lnTo>
                        <a:lnTo>
                          <a:pt x="114" y="204"/>
                        </a:lnTo>
                        <a:lnTo>
                          <a:pt x="108" y="197"/>
                        </a:lnTo>
                        <a:lnTo>
                          <a:pt x="108" y="197"/>
                        </a:lnTo>
                        <a:close/>
                        <a:moveTo>
                          <a:pt x="83" y="177"/>
                        </a:moveTo>
                        <a:lnTo>
                          <a:pt x="83" y="181"/>
                        </a:lnTo>
                        <a:lnTo>
                          <a:pt x="88" y="182"/>
                        </a:lnTo>
                        <a:lnTo>
                          <a:pt x="94" y="191"/>
                        </a:lnTo>
                        <a:lnTo>
                          <a:pt x="99" y="192"/>
                        </a:lnTo>
                        <a:lnTo>
                          <a:pt x="99" y="184"/>
                        </a:lnTo>
                        <a:lnTo>
                          <a:pt x="93" y="174"/>
                        </a:lnTo>
                        <a:lnTo>
                          <a:pt x="88" y="172"/>
                        </a:lnTo>
                        <a:lnTo>
                          <a:pt x="83" y="177"/>
                        </a:lnTo>
                        <a:lnTo>
                          <a:pt x="83" y="177"/>
                        </a:lnTo>
                        <a:close/>
                        <a:moveTo>
                          <a:pt x="79" y="161"/>
                        </a:moveTo>
                        <a:lnTo>
                          <a:pt x="76" y="166"/>
                        </a:lnTo>
                        <a:lnTo>
                          <a:pt x="79" y="167"/>
                        </a:lnTo>
                        <a:lnTo>
                          <a:pt x="83" y="166"/>
                        </a:lnTo>
                        <a:lnTo>
                          <a:pt x="83" y="162"/>
                        </a:lnTo>
                        <a:lnTo>
                          <a:pt x="79" y="161"/>
                        </a:lnTo>
                        <a:lnTo>
                          <a:pt x="79" y="161"/>
                        </a:lnTo>
                        <a:close/>
                        <a:moveTo>
                          <a:pt x="83" y="149"/>
                        </a:moveTo>
                        <a:lnTo>
                          <a:pt x="88" y="149"/>
                        </a:lnTo>
                        <a:lnTo>
                          <a:pt x="89" y="149"/>
                        </a:lnTo>
                        <a:lnTo>
                          <a:pt x="91" y="148"/>
                        </a:lnTo>
                        <a:lnTo>
                          <a:pt x="84" y="146"/>
                        </a:lnTo>
                        <a:lnTo>
                          <a:pt x="83" y="149"/>
                        </a:lnTo>
                        <a:lnTo>
                          <a:pt x="83" y="149"/>
                        </a:lnTo>
                        <a:close/>
                        <a:moveTo>
                          <a:pt x="48" y="119"/>
                        </a:moveTo>
                        <a:lnTo>
                          <a:pt x="53" y="119"/>
                        </a:lnTo>
                        <a:lnTo>
                          <a:pt x="55" y="116"/>
                        </a:lnTo>
                        <a:lnTo>
                          <a:pt x="58" y="118"/>
                        </a:lnTo>
                        <a:lnTo>
                          <a:pt x="61" y="124"/>
                        </a:lnTo>
                        <a:lnTo>
                          <a:pt x="66" y="128"/>
                        </a:lnTo>
                        <a:lnTo>
                          <a:pt x="66" y="131"/>
                        </a:lnTo>
                        <a:lnTo>
                          <a:pt x="65" y="136"/>
                        </a:lnTo>
                        <a:lnTo>
                          <a:pt x="63" y="138"/>
                        </a:lnTo>
                        <a:lnTo>
                          <a:pt x="58" y="129"/>
                        </a:lnTo>
                        <a:lnTo>
                          <a:pt x="55" y="129"/>
                        </a:lnTo>
                        <a:lnTo>
                          <a:pt x="53" y="124"/>
                        </a:lnTo>
                        <a:lnTo>
                          <a:pt x="48" y="119"/>
                        </a:lnTo>
                        <a:lnTo>
                          <a:pt x="48" y="119"/>
                        </a:lnTo>
                        <a:close/>
                        <a:moveTo>
                          <a:pt x="48" y="103"/>
                        </a:moveTo>
                        <a:lnTo>
                          <a:pt x="53" y="104"/>
                        </a:lnTo>
                        <a:lnTo>
                          <a:pt x="51" y="101"/>
                        </a:lnTo>
                        <a:lnTo>
                          <a:pt x="48" y="103"/>
                        </a:lnTo>
                        <a:lnTo>
                          <a:pt x="48" y="103"/>
                        </a:lnTo>
                        <a:close/>
                        <a:moveTo>
                          <a:pt x="15" y="83"/>
                        </a:moveTo>
                        <a:lnTo>
                          <a:pt x="13" y="84"/>
                        </a:lnTo>
                        <a:lnTo>
                          <a:pt x="11" y="88"/>
                        </a:lnTo>
                        <a:lnTo>
                          <a:pt x="16" y="91"/>
                        </a:lnTo>
                        <a:lnTo>
                          <a:pt x="21" y="89"/>
                        </a:lnTo>
                        <a:lnTo>
                          <a:pt x="18" y="86"/>
                        </a:lnTo>
                        <a:lnTo>
                          <a:pt x="15" y="83"/>
                        </a:lnTo>
                        <a:lnTo>
                          <a:pt x="15" y="83"/>
                        </a:lnTo>
                        <a:close/>
                        <a:moveTo>
                          <a:pt x="0" y="21"/>
                        </a:moveTo>
                        <a:lnTo>
                          <a:pt x="0" y="25"/>
                        </a:lnTo>
                        <a:lnTo>
                          <a:pt x="1" y="30"/>
                        </a:lnTo>
                        <a:lnTo>
                          <a:pt x="6" y="43"/>
                        </a:lnTo>
                        <a:lnTo>
                          <a:pt x="11" y="45"/>
                        </a:lnTo>
                        <a:lnTo>
                          <a:pt x="21" y="55"/>
                        </a:lnTo>
                        <a:lnTo>
                          <a:pt x="25" y="55"/>
                        </a:lnTo>
                        <a:lnTo>
                          <a:pt x="31" y="61"/>
                        </a:lnTo>
                        <a:lnTo>
                          <a:pt x="35" y="63"/>
                        </a:lnTo>
                        <a:lnTo>
                          <a:pt x="38" y="61"/>
                        </a:lnTo>
                        <a:lnTo>
                          <a:pt x="45" y="68"/>
                        </a:lnTo>
                        <a:lnTo>
                          <a:pt x="55" y="79"/>
                        </a:lnTo>
                        <a:lnTo>
                          <a:pt x="63" y="88"/>
                        </a:lnTo>
                        <a:lnTo>
                          <a:pt x="65" y="88"/>
                        </a:lnTo>
                        <a:lnTo>
                          <a:pt x="65" y="93"/>
                        </a:lnTo>
                        <a:lnTo>
                          <a:pt x="68" y="94"/>
                        </a:lnTo>
                        <a:lnTo>
                          <a:pt x="68" y="101"/>
                        </a:lnTo>
                        <a:lnTo>
                          <a:pt x="71" y="103"/>
                        </a:lnTo>
                        <a:lnTo>
                          <a:pt x="76" y="103"/>
                        </a:lnTo>
                        <a:lnTo>
                          <a:pt x="83" y="111"/>
                        </a:lnTo>
                        <a:lnTo>
                          <a:pt x="86" y="113"/>
                        </a:lnTo>
                        <a:lnTo>
                          <a:pt x="89" y="111"/>
                        </a:lnTo>
                        <a:lnTo>
                          <a:pt x="89" y="114"/>
                        </a:lnTo>
                        <a:lnTo>
                          <a:pt x="88" y="118"/>
                        </a:lnTo>
                        <a:lnTo>
                          <a:pt x="91" y="119"/>
                        </a:lnTo>
                        <a:lnTo>
                          <a:pt x="93" y="126"/>
                        </a:lnTo>
                        <a:lnTo>
                          <a:pt x="93" y="128"/>
                        </a:lnTo>
                        <a:lnTo>
                          <a:pt x="98" y="139"/>
                        </a:lnTo>
                        <a:lnTo>
                          <a:pt x="99" y="146"/>
                        </a:lnTo>
                        <a:lnTo>
                          <a:pt x="106" y="148"/>
                        </a:lnTo>
                        <a:lnTo>
                          <a:pt x="114" y="151"/>
                        </a:lnTo>
                        <a:lnTo>
                          <a:pt x="114" y="154"/>
                        </a:lnTo>
                        <a:lnTo>
                          <a:pt x="119" y="164"/>
                        </a:lnTo>
                        <a:lnTo>
                          <a:pt x="124" y="167"/>
                        </a:lnTo>
                        <a:lnTo>
                          <a:pt x="126" y="179"/>
                        </a:lnTo>
                        <a:lnTo>
                          <a:pt x="136" y="194"/>
                        </a:lnTo>
                        <a:lnTo>
                          <a:pt x="134" y="201"/>
                        </a:lnTo>
                        <a:lnTo>
                          <a:pt x="138" y="206"/>
                        </a:lnTo>
                        <a:lnTo>
                          <a:pt x="146" y="212"/>
                        </a:lnTo>
                        <a:lnTo>
                          <a:pt x="154" y="222"/>
                        </a:lnTo>
                        <a:lnTo>
                          <a:pt x="158" y="227"/>
                        </a:lnTo>
                        <a:lnTo>
                          <a:pt x="164" y="229"/>
                        </a:lnTo>
                        <a:lnTo>
                          <a:pt x="166" y="231"/>
                        </a:lnTo>
                        <a:lnTo>
                          <a:pt x="172" y="234"/>
                        </a:lnTo>
                        <a:lnTo>
                          <a:pt x="172" y="241"/>
                        </a:lnTo>
                        <a:lnTo>
                          <a:pt x="177" y="244"/>
                        </a:lnTo>
                        <a:lnTo>
                          <a:pt x="184" y="251"/>
                        </a:lnTo>
                        <a:lnTo>
                          <a:pt x="196" y="255"/>
                        </a:lnTo>
                        <a:lnTo>
                          <a:pt x="197" y="260"/>
                        </a:lnTo>
                        <a:lnTo>
                          <a:pt x="204" y="262"/>
                        </a:lnTo>
                        <a:lnTo>
                          <a:pt x="219" y="274"/>
                        </a:lnTo>
                        <a:lnTo>
                          <a:pt x="221" y="279"/>
                        </a:lnTo>
                        <a:lnTo>
                          <a:pt x="224" y="280"/>
                        </a:lnTo>
                        <a:lnTo>
                          <a:pt x="227" y="285"/>
                        </a:lnTo>
                        <a:lnTo>
                          <a:pt x="229" y="284"/>
                        </a:lnTo>
                        <a:lnTo>
                          <a:pt x="229" y="279"/>
                        </a:lnTo>
                        <a:lnTo>
                          <a:pt x="227" y="277"/>
                        </a:lnTo>
                        <a:lnTo>
                          <a:pt x="227" y="274"/>
                        </a:lnTo>
                        <a:lnTo>
                          <a:pt x="232" y="275"/>
                        </a:lnTo>
                        <a:lnTo>
                          <a:pt x="241" y="282"/>
                        </a:lnTo>
                        <a:lnTo>
                          <a:pt x="242" y="282"/>
                        </a:lnTo>
                        <a:lnTo>
                          <a:pt x="242" y="275"/>
                        </a:lnTo>
                        <a:lnTo>
                          <a:pt x="246" y="272"/>
                        </a:lnTo>
                        <a:lnTo>
                          <a:pt x="249" y="274"/>
                        </a:lnTo>
                        <a:lnTo>
                          <a:pt x="254" y="280"/>
                        </a:lnTo>
                        <a:lnTo>
                          <a:pt x="256" y="280"/>
                        </a:lnTo>
                        <a:lnTo>
                          <a:pt x="259" y="277"/>
                        </a:lnTo>
                        <a:lnTo>
                          <a:pt x="259" y="267"/>
                        </a:lnTo>
                        <a:lnTo>
                          <a:pt x="262" y="255"/>
                        </a:lnTo>
                        <a:lnTo>
                          <a:pt x="259" y="247"/>
                        </a:lnTo>
                        <a:lnTo>
                          <a:pt x="262" y="239"/>
                        </a:lnTo>
                        <a:lnTo>
                          <a:pt x="261" y="236"/>
                        </a:lnTo>
                        <a:lnTo>
                          <a:pt x="261" y="229"/>
                        </a:lnTo>
                        <a:lnTo>
                          <a:pt x="265" y="227"/>
                        </a:lnTo>
                        <a:lnTo>
                          <a:pt x="267" y="224"/>
                        </a:lnTo>
                        <a:lnTo>
                          <a:pt x="267" y="221"/>
                        </a:lnTo>
                        <a:lnTo>
                          <a:pt x="262" y="219"/>
                        </a:lnTo>
                        <a:lnTo>
                          <a:pt x="259" y="216"/>
                        </a:lnTo>
                        <a:lnTo>
                          <a:pt x="257" y="211"/>
                        </a:lnTo>
                        <a:lnTo>
                          <a:pt x="254" y="209"/>
                        </a:lnTo>
                        <a:lnTo>
                          <a:pt x="252" y="206"/>
                        </a:lnTo>
                        <a:lnTo>
                          <a:pt x="247" y="204"/>
                        </a:lnTo>
                        <a:lnTo>
                          <a:pt x="241" y="204"/>
                        </a:lnTo>
                        <a:lnTo>
                          <a:pt x="236" y="204"/>
                        </a:lnTo>
                        <a:lnTo>
                          <a:pt x="236" y="197"/>
                        </a:lnTo>
                        <a:lnTo>
                          <a:pt x="232" y="192"/>
                        </a:lnTo>
                        <a:lnTo>
                          <a:pt x="229" y="194"/>
                        </a:lnTo>
                        <a:lnTo>
                          <a:pt x="231" y="191"/>
                        </a:lnTo>
                        <a:lnTo>
                          <a:pt x="229" y="186"/>
                        </a:lnTo>
                        <a:lnTo>
                          <a:pt x="227" y="176"/>
                        </a:lnTo>
                        <a:lnTo>
                          <a:pt x="222" y="177"/>
                        </a:lnTo>
                        <a:lnTo>
                          <a:pt x="219" y="176"/>
                        </a:lnTo>
                        <a:lnTo>
                          <a:pt x="211" y="174"/>
                        </a:lnTo>
                        <a:lnTo>
                          <a:pt x="202" y="169"/>
                        </a:lnTo>
                        <a:lnTo>
                          <a:pt x="202" y="166"/>
                        </a:lnTo>
                        <a:lnTo>
                          <a:pt x="207" y="164"/>
                        </a:lnTo>
                        <a:lnTo>
                          <a:pt x="212" y="161"/>
                        </a:lnTo>
                        <a:lnTo>
                          <a:pt x="209" y="159"/>
                        </a:lnTo>
                        <a:lnTo>
                          <a:pt x="204" y="161"/>
                        </a:lnTo>
                        <a:lnTo>
                          <a:pt x="201" y="159"/>
                        </a:lnTo>
                        <a:lnTo>
                          <a:pt x="196" y="161"/>
                        </a:lnTo>
                        <a:lnTo>
                          <a:pt x="199" y="157"/>
                        </a:lnTo>
                        <a:lnTo>
                          <a:pt x="206" y="154"/>
                        </a:lnTo>
                        <a:lnTo>
                          <a:pt x="212" y="153"/>
                        </a:lnTo>
                        <a:lnTo>
                          <a:pt x="211" y="149"/>
                        </a:lnTo>
                        <a:lnTo>
                          <a:pt x="204" y="141"/>
                        </a:lnTo>
                        <a:lnTo>
                          <a:pt x="199" y="141"/>
                        </a:lnTo>
                        <a:lnTo>
                          <a:pt x="194" y="144"/>
                        </a:lnTo>
                        <a:lnTo>
                          <a:pt x="189" y="148"/>
                        </a:lnTo>
                        <a:lnTo>
                          <a:pt x="182" y="148"/>
                        </a:lnTo>
                        <a:lnTo>
                          <a:pt x="186" y="146"/>
                        </a:lnTo>
                        <a:lnTo>
                          <a:pt x="189" y="144"/>
                        </a:lnTo>
                        <a:lnTo>
                          <a:pt x="191" y="144"/>
                        </a:lnTo>
                        <a:lnTo>
                          <a:pt x="192" y="141"/>
                        </a:lnTo>
                        <a:lnTo>
                          <a:pt x="192" y="138"/>
                        </a:lnTo>
                        <a:lnTo>
                          <a:pt x="186" y="136"/>
                        </a:lnTo>
                        <a:lnTo>
                          <a:pt x="177" y="136"/>
                        </a:lnTo>
                        <a:lnTo>
                          <a:pt x="172" y="131"/>
                        </a:lnTo>
                        <a:lnTo>
                          <a:pt x="172" y="129"/>
                        </a:lnTo>
                        <a:lnTo>
                          <a:pt x="171" y="123"/>
                        </a:lnTo>
                        <a:lnTo>
                          <a:pt x="161" y="114"/>
                        </a:lnTo>
                        <a:lnTo>
                          <a:pt x="158" y="113"/>
                        </a:lnTo>
                        <a:lnTo>
                          <a:pt x="154" y="114"/>
                        </a:lnTo>
                        <a:lnTo>
                          <a:pt x="151" y="111"/>
                        </a:lnTo>
                        <a:lnTo>
                          <a:pt x="149" y="103"/>
                        </a:lnTo>
                        <a:lnTo>
                          <a:pt x="143" y="98"/>
                        </a:lnTo>
                        <a:lnTo>
                          <a:pt x="133" y="93"/>
                        </a:lnTo>
                        <a:lnTo>
                          <a:pt x="128" y="93"/>
                        </a:lnTo>
                        <a:lnTo>
                          <a:pt x="126" y="94"/>
                        </a:lnTo>
                        <a:lnTo>
                          <a:pt x="124" y="93"/>
                        </a:lnTo>
                        <a:lnTo>
                          <a:pt x="123" y="86"/>
                        </a:lnTo>
                        <a:lnTo>
                          <a:pt x="119" y="89"/>
                        </a:lnTo>
                        <a:lnTo>
                          <a:pt x="116" y="86"/>
                        </a:lnTo>
                        <a:lnTo>
                          <a:pt x="116" y="79"/>
                        </a:lnTo>
                        <a:lnTo>
                          <a:pt x="111" y="74"/>
                        </a:lnTo>
                        <a:lnTo>
                          <a:pt x="106" y="74"/>
                        </a:lnTo>
                        <a:lnTo>
                          <a:pt x="104" y="71"/>
                        </a:lnTo>
                        <a:lnTo>
                          <a:pt x="91" y="63"/>
                        </a:lnTo>
                        <a:lnTo>
                          <a:pt x="86" y="63"/>
                        </a:lnTo>
                        <a:lnTo>
                          <a:pt x="79" y="56"/>
                        </a:lnTo>
                        <a:lnTo>
                          <a:pt x="74" y="56"/>
                        </a:lnTo>
                        <a:lnTo>
                          <a:pt x="73" y="53"/>
                        </a:lnTo>
                        <a:lnTo>
                          <a:pt x="71" y="45"/>
                        </a:lnTo>
                        <a:lnTo>
                          <a:pt x="66" y="43"/>
                        </a:lnTo>
                        <a:lnTo>
                          <a:pt x="65" y="38"/>
                        </a:lnTo>
                        <a:lnTo>
                          <a:pt x="61" y="36"/>
                        </a:lnTo>
                        <a:lnTo>
                          <a:pt x="58" y="31"/>
                        </a:lnTo>
                        <a:lnTo>
                          <a:pt x="53" y="30"/>
                        </a:lnTo>
                        <a:lnTo>
                          <a:pt x="48" y="30"/>
                        </a:lnTo>
                        <a:lnTo>
                          <a:pt x="45" y="30"/>
                        </a:lnTo>
                        <a:lnTo>
                          <a:pt x="41" y="28"/>
                        </a:lnTo>
                        <a:lnTo>
                          <a:pt x="36" y="28"/>
                        </a:lnTo>
                        <a:lnTo>
                          <a:pt x="28" y="30"/>
                        </a:lnTo>
                        <a:lnTo>
                          <a:pt x="25" y="28"/>
                        </a:lnTo>
                        <a:lnTo>
                          <a:pt x="15" y="21"/>
                        </a:lnTo>
                        <a:lnTo>
                          <a:pt x="5" y="20"/>
                        </a:lnTo>
                        <a:lnTo>
                          <a:pt x="0" y="21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18" name="Google Shape;2973;p98">
                    <a:extLst>
                      <a:ext uri="{FF2B5EF4-FFF2-40B4-BE49-F238E27FC236}">
                        <a16:creationId xmlns:a16="http://schemas.microsoft.com/office/drawing/2014/main" id="{198E2EBF-56A5-62A2-529C-B440E984DCFB}"/>
                      </a:ext>
                    </a:extLst>
                  </p:cNvPr>
                  <p:cNvSpPr/>
                  <p:nvPr/>
                </p:nvSpPr>
                <p:spPr>
                  <a:xfrm>
                    <a:off x="8028949" y="3373473"/>
                    <a:ext cx="41739" cy="114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78" h="21" extrusionOk="0">
                        <a:moveTo>
                          <a:pt x="0" y="18"/>
                        </a:moveTo>
                        <a:lnTo>
                          <a:pt x="3" y="21"/>
                        </a:lnTo>
                        <a:lnTo>
                          <a:pt x="10" y="19"/>
                        </a:lnTo>
                        <a:lnTo>
                          <a:pt x="13" y="19"/>
                        </a:lnTo>
                        <a:lnTo>
                          <a:pt x="13" y="13"/>
                        </a:lnTo>
                        <a:lnTo>
                          <a:pt x="12" y="14"/>
                        </a:lnTo>
                        <a:lnTo>
                          <a:pt x="5" y="14"/>
                        </a:lnTo>
                        <a:lnTo>
                          <a:pt x="0" y="18"/>
                        </a:lnTo>
                        <a:lnTo>
                          <a:pt x="0" y="18"/>
                        </a:lnTo>
                        <a:close/>
                        <a:moveTo>
                          <a:pt x="20" y="11"/>
                        </a:moveTo>
                        <a:lnTo>
                          <a:pt x="25" y="16"/>
                        </a:lnTo>
                        <a:lnTo>
                          <a:pt x="32" y="21"/>
                        </a:lnTo>
                        <a:lnTo>
                          <a:pt x="32" y="21"/>
                        </a:lnTo>
                        <a:lnTo>
                          <a:pt x="37" y="16"/>
                        </a:lnTo>
                        <a:lnTo>
                          <a:pt x="40" y="16"/>
                        </a:lnTo>
                        <a:lnTo>
                          <a:pt x="45" y="16"/>
                        </a:lnTo>
                        <a:lnTo>
                          <a:pt x="55" y="14"/>
                        </a:lnTo>
                        <a:lnTo>
                          <a:pt x="62" y="11"/>
                        </a:lnTo>
                        <a:lnTo>
                          <a:pt x="68" y="9"/>
                        </a:lnTo>
                        <a:lnTo>
                          <a:pt x="70" y="6"/>
                        </a:lnTo>
                        <a:lnTo>
                          <a:pt x="73" y="6"/>
                        </a:lnTo>
                        <a:lnTo>
                          <a:pt x="78" y="3"/>
                        </a:lnTo>
                        <a:lnTo>
                          <a:pt x="78" y="1"/>
                        </a:lnTo>
                        <a:lnTo>
                          <a:pt x="75" y="0"/>
                        </a:lnTo>
                        <a:lnTo>
                          <a:pt x="66" y="1"/>
                        </a:lnTo>
                        <a:lnTo>
                          <a:pt x="60" y="1"/>
                        </a:lnTo>
                        <a:lnTo>
                          <a:pt x="55" y="1"/>
                        </a:lnTo>
                        <a:lnTo>
                          <a:pt x="50" y="1"/>
                        </a:lnTo>
                        <a:lnTo>
                          <a:pt x="43" y="3"/>
                        </a:lnTo>
                        <a:lnTo>
                          <a:pt x="33" y="3"/>
                        </a:lnTo>
                        <a:lnTo>
                          <a:pt x="27" y="8"/>
                        </a:lnTo>
                        <a:lnTo>
                          <a:pt x="20" y="11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19" name="Google Shape;2974;p98">
                    <a:extLst>
                      <a:ext uri="{FF2B5EF4-FFF2-40B4-BE49-F238E27FC236}">
                        <a16:creationId xmlns:a16="http://schemas.microsoft.com/office/drawing/2014/main" id="{38AC4918-2650-1F73-500C-E73017BE16F2}"/>
                      </a:ext>
                    </a:extLst>
                  </p:cNvPr>
                  <p:cNvSpPr/>
                  <p:nvPr/>
                </p:nvSpPr>
                <p:spPr>
                  <a:xfrm>
                    <a:off x="7719647" y="3185670"/>
                    <a:ext cx="249368" cy="7678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65" h="148" extrusionOk="0">
                        <a:moveTo>
                          <a:pt x="280" y="108"/>
                        </a:moveTo>
                        <a:lnTo>
                          <a:pt x="280" y="112"/>
                        </a:lnTo>
                        <a:lnTo>
                          <a:pt x="279" y="112"/>
                        </a:lnTo>
                        <a:lnTo>
                          <a:pt x="279" y="110"/>
                        </a:lnTo>
                        <a:lnTo>
                          <a:pt x="280" y="107"/>
                        </a:lnTo>
                        <a:lnTo>
                          <a:pt x="280" y="108"/>
                        </a:lnTo>
                        <a:lnTo>
                          <a:pt x="280" y="108"/>
                        </a:lnTo>
                        <a:close/>
                        <a:moveTo>
                          <a:pt x="0" y="40"/>
                        </a:moveTo>
                        <a:lnTo>
                          <a:pt x="0" y="45"/>
                        </a:lnTo>
                        <a:lnTo>
                          <a:pt x="3" y="49"/>
                        </a:lnTo>
                        <a:lnTo>
                          <a:pt x="5" y="47"/>
                        </a:lnTo>
                        <a:lnTo>
                          <a:pt x="5" y="44"/>
                        </a:lnTo>
                        <a:lnTo>
                          <a:pt x="1" y="40"/>
                        </a:lnTo>
                        <a:lnTo>
                          <a:pt x="0" y="40"/>
                        </a:lnTo>
                        <a:lnTo>
                          <a:pt x="0" y="40"/>
                        </a:lnTo>
                        <a:close/>
                        <a:moveTo>
                          <a:pt x="236" y="125"/>
                        </a:moveTo>
                        <a:lnTo>
                          <a:pt x="241" y="133"/>
                        </a:lnTo>
                        <a:lnTo>
                          <a:pt x="249" y="138"/>
                        </a:lnTo>
                        <a:lnTo>
                          <a:pt x="249" y="140"/>
                        </a:lnTo>
                        <a:lnTo>
                          <a:pt x="254" y="145"/>
                        </a:lnTo>
                        <a:lnTo>
                          <a:pt x="257" y="148"/>
                        </a:lnTo>
                        <a:lnTo>
                          <a:pt x="260" y="148"/>
                        </a:lnTo>
                        <a:lnTo>
                          <a:pt x="267" y="147"/>
                        </a:lnTo>
                        <a:lnTo>
                          <a:pt x="267" y="145"/>
                        </a:lnTo>
                        <a:lnTo>
                          <a:pt x="274" y="145"/>
                        </a:lnTo>
                        <a:lnTo>
                          <a:pt x="277" y="143"/>
                        </a:lnTo>
                        <a:lnTo>
                          <a:pt x="290" y="143"/>
                        </a:lnTo>
                        <a:lnTo>
                          <a:pt x="304" y="138"/>
                        </a:lnTo>
                        <a:lnTo>
                          <a:pt x="307" y="137"/>
                        </a:lnTo>
                        <a:lnTo>
                          <a:pt x="319" y="135"/>
                        </a:lnTo>
                        <a:lnTo>
                          <a:pt x="325" y="138"/>
                        </a:lnTo>
                        <a:lnTo>
                          <a:pt x="327" y="142"/>
                        </a:lnTo>
                        <a:lnTo>
                          <a:pt x="334" y="142"/>
                        </a:lnTo>
                        <a:lnTo>
                          <a:pt x="344" y="137"/>
                        </a:lnTo>
                        <a:lnTo>
                          <a:pt x="355" y="135"/>
                        </a:lnTo>
                        <a:lnTo>
                          <a:pt x="353" y="132"/>
                        </a:lnTo>
                        <a:lnTo>
                          <a:pt x="363" y="118"/>
                        </a:lnTo>
                        <a:lnTo>
                          <a:pt x="367" y="108"/>
                        </a:lnTo>
                        <a:lnTo>
                          <a:pt x="375" y="98"/>
                        </a:lnTo>
                        <a:lnTo>
                          <a:pt x="380" y="82"/>
                        </a:lnTo>
                        <a:lnTo>
                          <a:pt x="380" y="78"/>
                        </a:lnTo>
                        <a:lnTo>
                          <a:pt x="382" y="75"/>
                        </a:lnTo>
                        <a:lnTo>
                          <a:pt x="382" y="72"/>
                        </a:lnTo>
                        <a:lnTo>
                          <a:pt x="387" y="67"/>
                        </a:lnTo>
                        <a:lnTo>
                          <a:pt x="392" y="69"/>
                        </a:lnTo>
                        <a:lnTo>
                          <a:pt x="398" y="67"/>
                        </a:lnTo>
                        <a:lnTo>
                          <a:pt x="410" y="67"/>
                        </a:lnTo>
                        <a:lnTo>
                          <a:pt x="412" y="70"/>
                        </a:lnTo>
                        <a:lnTo>
                          <a:pt x="418" y="69"/>
                        </a:lnTo>
                        <a:lnTo>
                          <a:pt x="423" y="70"/>
                        </a:lnTo>
                        <a:lnTo>
                          <a:pt x="425" y="69"/>
                        </a:lnTo>
                        <a:lnTo>
                          <a:pt x="430" y="72"/>
                        </a:lnTo>
                        <a:lnTo>
                          <a:pt x="435" y="74"/>
                        </a:lnTo>
                        <a:lnTo>
                          <a:pt x="440" y="70"/>
                        </a:lnTo>
                        <a:lnTo>
                          <a:pt x="445" y="70"/>
                        </a:lnTo>
                        <a:lnTo>
                          <a:pt x="445" y="67"/>
                        </a:lnTo>
                        <a:lnTo>
                          <a:pt x="440" y="62"/>
                        </a:lnTo>
                        <a:lnTo>
                          <a:pt x="440" y="57"/>
                        </a:lnTo>
                        <a:lnTo>
                          <a:pt x="442" y="55"/>
                        </a:lnTo>
                        <a:lnTo>
                          <a:pt x="451" y="55"/>
                        </a:lnTo>
                        <a:lnTo>
                          <a:pt x="460" y="54"/>
                        </a:lnTo>
                        <a:lnTo>
                          <a:pt x="465" y="50"/>
                        </a:lnTo>
                        <a:lnTo>
                          <a:pt x="463" y="47"/>
                        </a:lnTo>
                        <a:lnTo>
                          <a:pt x="460" y="47"/>
                        </a:lnTo>
                        <a:lnTo>
                          <a:pt x="455" y="45"/>
                        </a:lnTo>
                        <a:lnTo>
                          <a:pt x="450" y="42"/>
                        </a:lnTo>
                        <a:lnTo>
                          <a:pt x="446" y="42"/>
                        </a:lnTo>
                        <a:lnTo>
                          <a:pt x="440" y="37"/>
                        </a:lnTo>
                        <a:lnTo>
                          <a:pt x="437" y="37"/>
                        </a:lnTo>
                        <a:lnTo>
                          <a:pt x="433" y="40"/>
                        </a:lnTo>
                        <a:lnTo>
                          <a:pt x="430" y="39"/>
                        </a:lnTo>
                        <a:lnTo>
                          <a:pt x="437" y="35"/>
                        </a:lnTo>
                        <a:lnTo>
                          <a:pt x="433" y="32"/>
                        </a:lnTo>
                        <a:lnTo>
                          <a:pt x="432" y="32"/>
                        </a:lnTo>
                        <a:lnTo>
                          <a:pt x="428" y="37"/>
                        </a:lnTo>
                        <a:lnTo>
                          <a:pt x="427" y="34"/>
                        </a:lnTo>
                        <a:lnTo>
                          <a:pt x="423" y="34"/>
                        </a:lnTo>
                        <a:lnTo>
                          <a:pt x="423" y="27"/>
                        </a:lnTo>
                        <a:lnTo>
                          <a:pt x="428" y="25"/>
                        </a:lnTo>
                        <a:lnTo>
                          <a:pt x="428" y="22"/>
                        </a:lnTo>
                        <a:lnTo>
                          <a:pt x="422" y="19"/>
                        </a:lnTo>
                        <a:lnTo>
                          <a:pt x="420" y="20"/>
                        </a:lnTo>
                        <a:lnTo>
                          <a:pt x="415" y="17"/>
                        </a:lnTo>
                        <a:lnTo>
                          <a:pt x="415" y="10"/>
                        </a:lnTo>
                        <a:lnTo>
                          <a:pt x="410" y="7"/>
                        </a:lnTo>
                        <a:lnTo>
                          <a:pt x="408" y="9"/>
                        </a:lnTo>
                        <a:lnTo>
                          <a:pt x="410" y="14"/>
                        </a:lnTo>
                        <a:lnTo>
                          <a:pt x="405" y="17"/>
                        </a:lnTo>
                        <a:lnTo>
                          <a:pt x="402" y="17"/>
                        </a:lnTo>
                        <a:lnTo>
                          <a:pt x="403" y="14"/>
                        </a:lnTo>
                        <a:lnTo>
                          <a:pt x="403" y="10"/>
                        </a:lnTo>
                        <a:lnTo>
                          <a:pt x="400" y="10"/>
                        </a:lnTo>
                        <a:lnTo>
                          <a:pt x="397" y="19"/>
                        </a:lnTo>
                        <a:lnTo>
                          <a:pt x="393" y="20"/>
                        </a:lnTo>
                        <a:lnTo>
                          <a:pt x="388" y="30"/>
                        </a:lnTo>
                        <a:lnTo>
                          <a:pt x="387" y="37"/>
                        </a:lnTo>
                        <a:lnTo>
                          <a:pt x="378" y="45"/>
                        </a:lnTo>
                        <a:lnTo>
                          <a:pt x="375" y="45"/>
                        </a:lnTo>
                        <a:lnTo>
                          <a:pt x="367" y="47"/>
                        </a:lnTo>
                        <a:lnTo>
                          <a:pt x="365" y="50"/>
                        </a:lnTo>
                        <a:lnTo>
                          <a:pt x="367" y="50"/>
                        </a:lnTo>
                        <a:lnTo>
                          <a:pt x="365" y="52"/>
                        </a:lnTo>
                        <a:lnTo>
                          <a:pt x="368" y="54"/>
                        </a:lnTo>
                        <a:lnTo>
                          <a:pt x="373" y="52"/>
                        </a:lnTo>
                        <a:lnTo>
                          <a:pt x="372" y="55"/>
                        </a:lnTo>
                        <a:lnTo>
                          <a:pt x="367" y="57"/>
                        </a:lnTo>
                        <a:lnTo>
                          <a:pt x="367" y="57"/>
                        </a:lnTo>
                        <a:lnTo>
                          <a:pt x="367" y="59"/>
                        </a:lnTo>
                        <a:lnTo>
                          <a:pt x="370" y="67"/>
                        </a:lnTo>
                        <a:lnTo>
                          <a:pt x="368" y="70"/>
                        </a:lnTo>
                        <a:lnTo>
                          <a:pt x="365" y="69"/>
                        </a:lnTo>
                        <a:lnTo>
                          <a:pt x="365" y="64"/>
                        </a:lnTo>
                        <a:lnTo>
                          <a:pt x="363" y="59"/>
                        </a:lnTo>
                        <a:lnTo>
                          <a:pt x="363" y="60"/>
                        </a:lnTo>
                        <a:lnTo>
                          <a:pt x="363" y="59"/>
                        </a:lnTo>
                        <a:lnTo>
                          <a:pt x="360" y="59"/>
                        </a:lnTo>
                        <a:lnTo>
                          <a:pt x="358" y="62"/>
                        </a:lnTo>
                        <a:lnTo>
                          <a:pt x="360" y="72"/>
                        </a:lnTo>
                        <a:lnTo>
                          <a:pt x="357" y="74"/>
                        </a:lnTo>
                        <a:lnTo>
                          <a:pt x="352" y="70"/>
                        </a:lnTo>
                        <a:lnTo>
                          <a:pt x="348" y="64"/>
                        </a:lnTo>
                        <a:lnTo>
                          <a:pt x="345" y="64"/>
                        </a:lnTo>
                        <a:lnTo>
                          <a:pt x="342" y="62"/>
                        </a:lnTo>
                        <a:lnTo>
                          <a:pt x="339" y="65"/>
                        </a:lnTo>
                        <a:lnTo>
                          <a:pt x="339" y="70"/>
                        </a:lnTo>
                        <a:lnTo>
                          <a:pt x="332" y="75"/>
                        </a:lnTo>
                        <a:lnTo>
                          <a:pt x="330" y="80"/>
                        </a:lnTo>
                        <a:lnTo>
                          <a:pt x="324" y="85"/>
                        </a:lnTo>
                        <a:lnTo>
                          <a:pt x="322" y="90"/>
                        </a:lnTo>
                        <a:lnTo>
                          <a:pt x="315" y="97"/>
                        </a:lnTo>
                        <a:lnTo>
                          <a:pt x="309" y="102"/>
                        </a:lnTo>
                        <a:lnTo>
                          <a:pt x="290" y="105"/>
                        </a:lnTo>
                        <a:lnTo>
                          <a:pt x="287" y="107"/>
                        </a:lnTo>
                        <a:lnTo>
                          <a:pt x="289" y="112"/>
                        </a:lnTo>
                        <a:lnTo>
                          <a:pt x="290" y="115"/>
                        </a:lnTo>
                        <a:lnTo>
                          <a:pt x="289" y="113"/>
                        </a:lnTo>
                        <a:lnTo>
                          <a:pt x="285" y="115"/>
                        </a:lnTo>
                        <a:lnTo>
                          <a:pt x="279" y="117"/>
                        </a:lnTo>
                        <a:lnTo>
                          <a:pt x="275" y="118"/>
                        </a:lnTo>
                        <a:lnTo>
                          <a:pt x="275" y="123"/>
                        </a:lnTo>
                        <a:lnTo>
                          <a:pt x="274" y="130"/>
                        </a:lnTo>
                        <a:lnTo>
                          <a:pt x="270" y="135"/>
                        </a:lnTo>
                        <a:lnTo>
                          <a:pt x="270" y="137"/>
                        </a:lnTo>
                        <a:lnTo>
                          <a:pt x="260" y="135"/>
                        </a:lnTo>
                        <a:lnTo>
                          <a:pt x="250" y="132"/>
                        </a:lnTo>
                        <a:lnTo>
                          <a:pt x="244" y="132"/>
                        </a:lnTo>
                        <a:lnTo>
                          <a:pt x="242" y="128"/>
                        </a:lnTo>
                        <a:lnTo>
                          <a:pt x="237" y="125"/>
                        </a:lnTo>
                        <a:lnTo>
                          <a:pt x="236" y="125"/>
                        </a:lnTo>
                        <a:lnTo>
                          <a:pt x="236" y="125"/>
                        </a:lnTo>
                        <a:close/>
                        <a:moveTo>
                          <a:pt x="408" y="0"/>
                        </a:moveTo>
                        <a:lnTo>
                          <a:pt x="402" y="4"/>
                        </a:lnTo>
                        <a:lnTo>
                          <a:pt x="405" y="4"/>
                        </a:lnTo>
                        <a:lnTo>
                          <a:pt x="408" y="2"/>
                        </a:lnTo>
                        <a:lnTo>
                          <a:pt x="408" y="0"/>
                        </a:lnTo>
                        <a:lnTo>
                          <a:pt x="408" y="0"/>
                        </a:lnTo>
                        <a:close/>
                        <a:moveTo>
                          <a:pt x="415" y="0"/>
                        </a:moveTo>
                        <a:lnTo>
                          <a:pt x="410" y="4"/>
                        </a:lnTo>
                        <a:lnTo>
                          <a:pt x="412" y="5"/>
                        </a:lnTo>
                        <a:lnTo>
                          <a:pt x="417" y="4"/>
                        </a:lnTo>
                        <a:lnTo>
                          <a:pt x="417" y="0"/>
                        </a:lnTo>
                        <a:lnTo>
                          <a:pt x="415" y="0"/>
                        </a:lnTo>
                        <a:lnTo>
                          <a:pt x="415" y="0"/>
                        </a:lnTo>
                        <a:close/>
                        <a:moveTo>
                          <a:pt x="280" y="115"/>
                        </a:moveTo>
                        <a:lnTo>
                          <a:pt x="275" y="117"/>
                        </a:lnTo>
                        <a:lnTo>
                          <a:pt x="279" y="113"/>
                        </a:lnTo>
                        <a:lnTo>
                          <a:pt x="280" y="115"/>
                        </a:lnTo>
                        <a:lnTo>
                          <a:pt x="280" y="115"/>
                        </a:lnTo>
                        <a:close/>
                        <a:moveTo>
                          <a:pt x="284" y="113"/>
                        </a:moveTo>
                        <a:lnTo>
                          <a:pt x="280" y="115"/>
                        </a:lnTo>
                        <a:lnTo>
                          <a:pt x="280" y="113"/>
                        </a:lnTo>
                        <a:lnTo>
                          <a:pt x="280" y="112"/>
                        </a:lnTo>
                        <a:lnTo>
                          <a:pt x="284" y="113"/>
                        </a:lnTo>
                        <a:lnTo>
                          <a:pt x="284" y="113"/>
                        </a:lnTo>
                        <a:close/>
                        <a:moveTo>
                          <a:pt x="285" y="107"/>
                        </a:moveTo>
                        <a:lnTo>
                          <a:pt x="287" y="112"/>
                        </a:lnTo>
                        <a:lnTo>
                          <a:pt x="285" y="113"/>
                        </a:lnTo>
                        <a:lnTo>
                          <a:pt x="282" y="110"/>
                        </a:lnTo>
                        <a:lnTo>
                          <a:pt x="282" y="108"/>
                        </a:lnTo>
                        <a:lnTo>
                          <a:pt x="282" y="108"/>
                        </a:lnTo>
                        <a:lnTo>
                          <a:pt x="284" y="108"/>
                        </a:lnTo>
                        <a:lnTo>
                          <a:pt x="285" y="107"/>
                        </a:lnTo>
                        <a:lnTo>
                          <a:pt x="285" y="107"/>
                        </a:lnTo>
                        <a:close/>
                        <a:moveTo>
                          <a:pt x="0" y="22"/>
                        </a:moveTo>
                        <a:lnTo>
                          <a:pt x="1" y="15"/>
                        </a:lnTo>
                        <a:lnTo>
                          <a:pt x="5" y="12"/>
                        </a:lnTo>
                        <a:lnTo>
                          <a:pt x="10" y="15"/>
                        </a:lnTo>
                        <a:lnTo>
                          <a:pt x="16" y="19"/>
                        </a:lnTo>
                        <a:lnTo>
                          <a:pt x="18" y="20"/>
                        </a:lnTo>
                        <a:lnTo>
                          <a:pt x="23" y="20"/>
                        </a:lnTo>
                        <a:lnTo>
                          <a:pt x="26" y="24"/>
                        </a:lnTo>
                        <a:lnTo>
                          <a:pt x="25" y="30"/>
                        </a:lnTo>
                        <a:lnTo>
                          <a:pt x="21" y="32"/>
                        </a:lnTo>
                        <a:lnTo>
                          <a:pt x="21" y="35"/>
                        </a:lnTo>
                        <a:lnTo>
                          <a:pt x="28" y="37"/>
                        </a:lnTo>
                        <a:lnTo>
                          <a:pt x="35" y="34"/>
                        </a:lnTo>
                        <a:lnTo>
                          <a:pt x="38" y="32"/>
                        </a:lnTo>
                        <a:lnTo>
                          <a:pt x="41" y="35"/>
                        </a:lnTo>
                        <a:lnTo>
                          <a:pt x="45" y="34"/>
                        </a:lnTo>
                        <a:lnTo>
                          <a:pt x="45" y="29"/>
                        </a:lnTo>
                        <a:lnTo>
                          <a:pt x="46" y="29"/>
                        </a:lnTo>
                        <a:lnTo>
                          <a:pt x="46" y="29"/>
                        </a:lnTo>
                        <a:lnTo>
                          <a:pt x="49" y="27"/>
                        </a:lnTo>
                        <a:lnTo>
                          <a:pt x="51" y="25"/>
                        </a:lnTo>
                        <a:lnTo>
                          <a:pt x="53" y="25"/>
                        </a:lnTo>
                        <a:lnTo>
                          <a:pt x="58" y="30"/>
                        </a:lnTo>
                        <a:lnTo>
                          <a:pt x="74" y="47"/>
                        </a:lnTo>
                        <a:lnTo>
                          <a:pt x="79" y="55"/>
                        </a:lnTo>
                        <a:lnTo>
                          <a:pt x="83" y="64"/>
                        </a:lnTo>
                        <a:lnTo>
                          <a:pt x="81" y="67"/>
                        </a:lnTo>
                        <a:lnTo>
                          <a:pt x="81" y="77"/>
                        </a:lnTo>
                        <a:lnTo>
                          <a:pt x="79" y="78"/>
                        </a:lnTo>
                        <a:lnTo>
                          <a:pt x="79" y="83"/>
                        </a:lnTo>
                        <a:lnTo>
                          <a:pt x="81" y="85"/>
                        </a:lnTo>
                        <a:lnTo>
                          <a:pt x="81" y="97"/>
                        </a:lnTo>
                        <a:lnTo>
                          <a:pt x="84" y="102"/>
                        </a:lnTo>
                        <a:lnTo>
                          <a:pt x="91" y="107"/>
                        </a:lnTo>
                        <a:lnTo>
                          <a:pt x="94" y="107"/>
                        </a:lnTo>
                        <a:lnTo>
                          <a:pt x="96" y="108"/>
                        </a:lnTo>
                        <a:lnTo>
                          <a:pt x="94" y="110"/>
                        </a:lnTo>
                        <a:lnTo>
                          <a:pt x="96" y="117"/>
                        </a:lnTo>
                        <a:lnTo>
                          <a:pt x="98" y="118"/>
                        </a:lnTo>
                        <a:lnTo>
                          <a:pt x="98" y="120"/>
                        </a:lnTo>
                        <a:lnTo>
                          <a:pt x="98" y="122"/>
                        </a:lnTo>
                        <a:lnTo>
                          <a:pt x="99" y="122"/>
                        </a:lnTo>
                        <a:lnTo>
                          <a:pt x="104" y="132"/>
                        </a:lnTo>
                        <a:lnTo>
                          <a:pt x="104" y="137"/>
                        </a:lnTo>
                        <a:lnTo>
                          <a:pt x="101" y="135"/>
                        </a:lnTo>
                        <a:lnTo>
                          <a:pt x="101" y="133"/>
                        </a:lnTo>
                        <a:lnTo>
                          <a:pt x="101" y="132"/>
                        </a:lnTo>
                        <a:lnTo>
                          <a:pt x="98" y="130"/>
                        </a:lnTo>
                        <a:lnTo>
                          <a:pt x="99" y="132"/>
                        </a:lnTo>
                        <a:lnTo>
                          <a:pt x="99" y="133"/>
                        </a:lnTo>
                        <a:lnTo>
                          <a:pt x="98" y="135"/>
                        </a:lnTo>
                        <a:lnTo>
                          <a:pt x="99" y="135"/>
                        </a:lnTo>
                        <a:lnTo>
                          <a:pt x="99" y="135"/>
                        </a:lnTo>
                        <a:lnTo>
                          <a:pt x="94" y="138"/>
                        </a:lnTo>
                        <a:lnTo>
                          <a:pt x="93" y="137"/>
                        </a:lnTo>
                        <a:lnTo>
                          <a:pt x="91" y="138"/>
                        </a:lnTo>
                        <a:lnTo>
                          <a:pt x="86" y="135"/>
                        </a:lnTo>
                        <a:lnTo>
                          <a:pt x="84" y="132"/>
                        </a:lnTo>
                        <a:lnTo>
                          <a:pt x="76" y="132"/>
                        </a:lnTo>
                        <a:lnTo>
                          <a:pt x="68" y="127"/>
                        </a:lnTo>
                        <a:lnTo>
                          <a:pt x="64" y="123"/>
                        </a:lnTo>
                        <a:lnTo>
                          <a:pt x="63" y="122"/>
                        </a:lnTo>
                        <a:lnTo>
                          <a:pt x="59" y="123"/>
                        </a:lnTo>
                        <a:lnTo>
                          <a:pt x="56" y="122"/>
                        </a:lnTo>
                        <a:lnTo>
                          <a:pt x="49" y="117"/>
                        </a:lnTo>
                        <a:lnTo>
                          <a:pt x="49" y="113"/>
                        </a:lnTo>
                        <a:lnTo>
                          <a:pt x="43" y="107"/>
                        </a:lnTo>
                        <a:lnTo>
                          <a:pt x="35" y="105"/>
                        </a:lnTo>
                        <a:lnTo>
                          <a:pt x="31" y="102"/>
                        </a:lnTo>
                        <a:lnTo>
                          <a:pt x="31" y="98"/>
                        </a:lnTo>
                        <a:lnTo>
                          <a:pt x="35" y="95"/>
                        </a:lnTo>
                        <a:lnTo>
                          <a:pt x="33" y="92"/>
                        </a:lnTo>
                        <a:lnTo>
                          <a:pt x="28" y="90"/>
                        </a:lnTo>
                        <a:lnTo>
                          <a:pt x="23" y="83"/>
                        </a:lnTo>
                        <a:lnTo>
                          <a:pt x="16" y="80"/>
                        </a:lnTo>
                        <a:lnTo>
                          <a:pt x="15" y="77"/>
                        </a:lnTo>
                        <a:lnTo>
                          <a:pt x="15" y="74"/>
                        </a:lnTo>
                        <a:lnTo>
                          <a:pt x="11" y="72"/>
                        </a:lnTo>
                        <a:lnTo>
                          <a:pt x="11" y="67"/>
                        </a:lnTo>
                        <a:lnTo>
                          <a:pt x="13" y="65"/>
                        </a:lnTo>
                        <a:lnTo>
                          <a:pt x="13" y="59"/>
                        </a:lnTo>
                        <a:lnTo>
                          <a:pt x="11" y="52"/>
                        </a:lnTo>
                        <a:lnTo>
                          <a:pt x="8" y="47"/>
                        </a:lnTo>
                        <a:lnTo>
                          <a:pt x="5" y="29"/>
                        </a:lnTo>
                        <a:lnTo>
                          <a:pt x="0" y="22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20" name="Google Shape;2975;p98">
                    <a:extLst>
                      <a:ext uri="{FF2B5EF4-FFF2-40B4-BE49-F238E27FC236}">
                        <a16:creationId xmlns:a16="http://schemas.microsoft.com/office/drawing/2014/main" id="{8550178E-F21E-14A1-2F58-C7C863F04321}"/>
                      </a:ext>
                    </a:extLst>
                  </p:cNvPr>
                  <p:cNvSpPr/>
                  <p:nvPr/>
                </p:nvSpPr>
                <p:spPr>
                  <a:xfrm>
                    <a:off x="7902660" y="3212647"/>
                    <a:ext cx="16053" cy="114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" h="22" extrusionOk="0">
                        <a:moveTo>
                          <a:pt x="0" y="10"/>
                        </a:moveTo>
                        <a:lnTo>
                          <a:pt x="3" y="12"/>
                        </a:lnTo>
                        <a:lnTo>
                          <a:pt x="6" y="12"/>
                        </a:lnTo>
                        <a:lnTo>
                          <a:pt x="10" y="18"/>
                        </a:lnTo>
                        <a:lnTo>
                          <a:pt x="15" y="22"/>
                        </a:lnTo>
                        <a:lnTo>
                          <a:pt x="18" y="20"/>
                        </a:lnTo>
                        <a:lnTo>
                          <a:pt x="16" y="10"/>
                        </a:lnTo>
                        <a:lnTo>
                          <a:pt x="18" y="7"/>
                        </a:lnTo>
                        <a:lnTo>
                          <a:pt x="21" y="7"/>
                        </a:lnTo>
                        <a:lnTo>
                          <a:pt x="21" y="5"/>
                        </a:lnTo>
                        <a:lnTo>
                          <a:pt x="20" y="0"/>
                        </a:lnTo>
                        <a:lnTo>
                          <a:pt x="16" y="2"/>
                        </a:lnTo>
                        <a:lnTo>
                          <a:pt x="10" y="7"/>
                        </a:lnTo>
                        <a:lnTo>
                          <a:pt x="2" y="8"/>
                        </a:lnTo>
                        <a:lnTo>
                          <a:pt x="0" y="10"/>
                        </a:lnTo>
                        <a:lnTo>
                          <a:pt x="0" y="10"/>
                        </a:lnTo>
                        <a:close/>
                        <a:moveTo>
                          <a:pt x="21" y="7"/>
                        </a:moveTo>
                        <a:lnTo>
                          <a:pt x="23" y="12"/>
                        </a:lnTo>
                        <a:lnTo>
                          <a:pt x="23" y="17"/>
                        </a:lnTo>
                        <a:lnTo>
                          <a:pt x="26" y="18"/>
                        </a:lnTo>
                        <a:lnTo>
                          <a:pt x="28" y="15"/>
                        </a:lnTo>
                        <a:lnTo>
                          <a:pt x="25" y="7"/>
                        </a:lnTo>
                        <a:lnTo>
                          <a:pt x="25" y="5"/>
                        </a:lnTo>
                        <a:lnTo>
                          <a:pt x="23" y="7"/>
                        </a:lnTo>
                        <a:lnTo>
                          <a:pt x="21" y="7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21" name="Google Shape;2976;p98">
                    <a:extLst>
                      <a:ext uri="{FF2B5EF4-FFF2-40B4-BE49-F238E27FC236}">
                        <a16:creationId xmlns:a16="http://schemas.microsoft.com/office/drawing/2014/main" id="{D895075A-A265-BCA0-B9BA-B1B0EBBF03B1}"/>
                      </a:ext>
                    </a:extLst>
                  </p:cNvPr>
                  <p:cNvSpPr/>
                  <p:nvPr/>
                </p:nvSpPr>
                <p:spPr>
                  <a:xfrm>
                    <a:off x="7730349" y="2988528"/>
                    <a:ext cx="107025" cy="18261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99" h="352" extrusionOk="0">
                        <a:moveTo>
                          <a:pt x="0" y="25"/>
                        </a:moveTo>
                        <a:lnTo>
                          <a:pt x="1" y="23"/>
                        </a:lnTo>
                        <a:lnTo>
                          <a:pt x="3" y="23"/>
                        </a:lnTo>
                        <a:lnTo>
                          <a:pt x="5" y="20"/>
                        </a:lnTo>
                        <a:lnTo>
                          <a:pt x="8" y="18"/>
                        </a:lnTo>
                        <a:lnTo>
                          <a:pt x="13" y="17"/>
                        </a:lnTo>
                        <a:lnTo>
                          <a:pt x="16" y="17"/>
                        </a:lnTo>
                        <a:lnTo>
                          <a:pt x="15" y="20"/>
                        </a:lnTo>
                        <a:lnTo>
                          <a:pt x="18" y="22"/>
                        </a:lnTo>
                        <a:lnTo>
                          <a:pt x="21" y="22"/>
                        </a:lnTo>
                        <a:lnTo>
                          <a:pt x="21" y="18"/>
                        </a:lnTo>
                        <a:lnTo>
                          <a:pt x="25" y="15"/>
                        </a:lnTo>
                        <a:lnTo>
                          <a:pt x="29" y="20"/>
                        </a:lnTo>
                        <a:lnTo>
                          <a:pt x="33" y="17"/>
                        </a:lnTo>
                        <a:lnTo>
                          <a:pt x="36" y="17"/>
                        </a:lnTo>
                        <a:lnTo>
                          <a:pt x="36" y="20"/>
                        </a:lnTo>
                        <a:lnTo>
                          <a:pt x="43" y="17"/>
                        </a:lnTo>
                        <a:lnTo>
                          <a:pt x="43" y="15"/>
                        </a:lnTo>
                        <a:lnTo>
                          <a:pt x="49" y="13"/>
                        </a:lnTo>
                        <a:lnTo>
                          <a:pt x="54" y="15"/>
                        </a:lnTo>
                        <a:lnTo>
                          <a:pt x="61" y="13"/>
                        </a:lnTo>
                        <a:lnTo>
                          <a:pt x="61" y="7"/>
                        </a:lnTo>
                        <a:lnTo>
                          <a:pt x="66" y="3"/>
                        </a:lnTo>
                        <a:lnTo>
                          <a:pt x="73" y="3"/>
                        </a:lnTo>
                        <a:lnTo>
                          <a:pt x="76" y="0"/>
                        </a:lnTo>
                        <a:lnTo>
                          <a:pt x="81" y="3"/>
                        </a:lnTo>
                        <a:lnTo>
                          <a:pt x="81" y="7"/>
                        </a:lnTo>
                        <a:lnTo>
                          <a:pt x="86" y="8"/>
                        </a:lnTo>
                        <a:lnTo>
                          <a:pt x="89" y="10"/>
                        </a:lnTo>
                        <a:lnTo>
                          <a:pt x="99" y="10"/>
                        </a:lnTo>
                        <a:lnTo>
                          <a:pt x="101" y="13"/>
                        </a:lnTo>
                        <a:lnTo>
                          <a:pt x="108" y="10"/>
                        </a:lnTo>
                        <a:lnTo>
                          <a:pt x="113" y="13"/>
                        </a:lnTo>
                        <a:lnTo>
                          <a:pt x="111" y="18"/>
                        </a:lnTo>
                        <a:lnTo>
                          <a:pt x="108" y="18"/>
                        </a:lnTo>
                        <a:lnTo>
                          <a:pt x="106" y="27"/>
                        </a:lnTo>
                        <a:lnTo>
                          <a:pt x="108" y="27"/>
                        </a:lnTo>
                        <a:lnTo>
                          <a:pt x="109" y="32"/>
                        </a:lnTo>
                        <a:lnTo>
                          <a:pt x="119" y="35"/>
                        </a:lnTo>
                        <a:lnTo>
                          <a:pt x="121" y="38"/>
                        </a:lnTo>
                        <a:lnTo>
                          <a:pt x="126" y="40"/>
                        </a:lnTo>
                        <a:lnTo>
                          <a:pt x="131" y="42"/>
                        </a:lnTo>
                        <a:lnTo>
                          <a:pt x="136" y="40"/>
                        </a:lnTo>
                        <a:lnTo>
                          <a:pt x="137" y="42"/>
                        </a:lnTo>
                        <a:lnTo>
                          <a:pt x="141" y="42"/>
                        </a:lnTo>
                        <a:lnTo>
                          <a:pt x="144" y="43"/>
                        </a:lnTo>
                        <a:lnTo>
                          <a:pt x="144" y="43"/>
                        </a:lnTo>
                        <a:lnTo>
                          <a:pt x="146" y="45"/>
                        </a:lnTo>
                        <a:lnTo>
                          <a:pt x="144" y="48"/>
                        </a:lnTo>
                        <a:lnTo>
                          <a:pt x="141" y="48"/>
                        </a:lnTo>
                        <a:lnTo>
                          <a:pt x="139" y="48"/>
                        </a:lnTo>
                        <a:lnTo>
                          <a:pt x="134" y="52"/>
                        </a:lnTo>
                        <a:lnTo>
                          <a:pt x="131" y="50"/>
                        </a:lnTo>
                        <a:lnTo>
                          <a:pt x="126" y="52"/>
                        </a:lnTo>
                        <a:lnTo>
                          <a:pt x="124" y="53"/>
                        </a:lnTo>
                        <a:lnTo>
                          <a:pt x="126" y="57"/>
                        </a:lnTo>
                        <a:lnTo>
                          <a:pt x="124" y="58"/>
                        </a:lnTo>
                        <a:lnTo>
                          <a:pt x="123" y="60"/>
                        </a:lnTo>
                        <a:lnTo>
                          <a:pt x="121" y="58"/>
                        </a:lnTo>
                        <a:lnTo>
                          <a:pt x="116" y="58"/>
                        </a:lnTo>
                        <a:lnTo>
                          <a:pt x="114" y="62"/>
                        </a:lnTo>
                        <a:lnTo>
                          <a:pt x="113" y="62"/>
                        </a:lnTo>
                        <a:lnTo>
                          <a:pt x="111" y="60"/>
                        </a:lnTo>
                        <a:lnTo>
                          <a:pt x="109" y="58"/>
                        </a:lnTo>
                        <a:lnTo>
                          <a:pt x="109" y="62"/>
                        </a:lnTo>
                        <a:lnTo>
                          <a:pt x="108" y="65"/>
                        </a:lnTo>
                        <a:lnTo>
                          <a:pt x="109" y="65"/>
                        </a:lnTo>
                        <a:lnTo>
                          <a:pt x="108" y="68"/>
                        </a:lnTo>
                        <a:lnTo>
                          <a:pt x="108" y="73"/>
                        </a:lnTo>
                        <a:lnTo>
                          <a:pt x="108" y="73"/>
                        </a:lnTo>
                        <a:lnTo>
                          <a:pt x="109" y="76"/>
                        </a:lnTo>
                        <a:lnTo>
                          <a:pt x="108" y="78"/>
                        </a:lnTo>
                        <a:lnTo>
                          <a:pt x="106" y="78"/>
                        </a:lnTo>
                        <a:lnTo>
                          <a:pt x="103" y="83"/>
                        </a:lnTo>
                        <a:lnTo>
                          <a:pt x="99" y="83"/>
                        </a:lnTo>
                        <a:lnTo>
                          <a:pt x="98" y="81"/>
                        </a:lnTo>
                        <a:lnTo>
                          <a:pt x="98" y="83"/>
                        </a:lnTo>
                        <a:lnTo>
                          <a:pt x="96" y="85"/>
                        </a:lnTo>
                        <a:lnTo>
                          <a:pt x="94" y="90"/>
                        </a:lnTo>
                        <a:lnTo>
                          <a:pt x="93" y="91"/>
                        </a:lnTo>
                        <a:lnTo>
                          <a:pt x="93" y="95"/>
                        </a:lnTo>
                        <a:lnTo>
                          <a:pt x="94" y="95"/>
                        </a:lnTo>
                        <a:lnTo>
                          <a:pt x="96" y="96"/>
                        </a:lnTo>
                        <a:lnTo>
                          <a:pt x="93" y="105"/>
                        </a:lnTo>
                        <a:lnTo>
                          <a:pt x="91" y="108"/>
                        </a:lnTo>
                        <a:lnTo>
                          <a:pt x="96" y="111"/>
                        </a:lnTo>
                        <a:lnTo>
                          <a:pt x="96" y="115"/>
                        </a:lnTo>
                        <a:lnTo>
                          <a:pt x="91" y="115"/>
                        </a:lnTo>
                        <a:lnTo>
                          <a:pt x="96" y="116"/>
                        </a:lnTo>
                        <a:lnTo>
                          <a:pt x="103" y="120"/>
                        </a:lnTo>
                        <a:lnTo>
                          <a:pt x="109" y="126"/>
                        </a:lnTo>
                        <a:lnTo>
                          <a:pt x="111" y="126"/>
                        </a:lnTo>
                        <a:lnTo>
                          <a:pt x="114" y="131"/>
                        </a:lnTo>
                        <a:lnTo>
                          <a:pt x="114" y="133"/>
                        </a:lnTo>
                        <a:lnTo>
                          <a:pt x="114" y="135"/>
                        </a:lnTo>
                        <a:lnTo>
                          <a:pt x="116" y="140"/>
                        </a:lnTo>
                        <a:lnTo>
                          <a:pt x="116" y="143"/>
                        </a:lnTo>
                        <a:lnTo>
                          <a:pt x="126" y="150"/>
                        </a:lnTo>
                        <a:lnTo>
                          <a:pt x="131" y="153"/>
                        </a:lnTo>
                        <a:lnTo>
                          <a:pt x="132" y="153"/>
                        </a:lnTo>
                        <a:lnTo>
                          <a:pt x="144" y="160"/>
                        </a:lnTo>
                        <a:lnTo>
                          <a:pt x="156" y="168"/>
                        </a:lnTo>
                        <a:lnTo>
                          <a:pt x="159" y="171"/>
                        </a:lnTo>
                        <a:lnTo>
                          <a:pt x="171" y="179"/>
                        </a:lnTo>
                        <a:lnTo>
                          <a:pt x="174" y="184"/>
                        </a:lnTo>
                        <a:lnTo>
                          <a:pt x="174" y="188"/>
                        </a:lnTo>
                        <a:lnTo>
                          <a:pt x="176" y="188"/>
                        </a:lnTo>
                        <a:lnTo>
                          <a:pt x="176" y="191"/>
                        </a:lnTo>
                        <a:lnTo>
                          <a:pt x="181" y="196"/>
                        </a:lnTo>
                        <a:lnTo>
                          <a:pt x="181" y="199"/>
                        </a:lnTo>
                        <a:lnTo>
                          <a:pt x="182" y="201"/>
                        </a:lnTo>
                        <a:lnTo>
                          <a:pt x="181" y="203"/>
                        </a:lnTo>
                        <a:lnTo>
                          <a:pt x="186" y="208"/>
                        </a:lnTo>
                        <a:lnTo>
                          <a:pt x="186" y="214"/>
                        </a:lnTo>
                        <a:lnTo>
                          <a:pt x="189" y="216"/>
                        </a:lnTo>
                        <a:lnTo>
                          <a:pt x="191" y="223"/>
                        </a:lnTo>
                        <a:lnTo>
                          <a:pt x="192" y="224"/>
                        </a:lnTo>
                        <a:lnTo>
                          <a:pt x="192" y="229"/>
                        </a:lnTo>
                        <a:lnTo>
                          <a:pt x="191" y="231"/>
                        </a:lnTo>
                        <a:lnTo>
                          <a:pt x="192" y="234"/>
                        </a:lnTo>
                        <a:lnTo>
                          <a:pt x="192" y="236"/>
                        </a:lnTo>
                        <a:lnTo>
                          <a:pt x="194" y="243"/>
                        </a:lnTo>
                        <a:lnTo>
                          <a:pt x="194" y="244"/>
                        </a:lnTo>
                        <a:lnTo>
                          <a:pt x="196" y="244"/>
                        </a:lnTo>
                        <a:lnTo>
                          <a:pt x="197" y="248"/>
                        </a:lnTo>
                        <a:lnTo>
                          <a:pt x="199" y="253"/>
                        </a:lnTo>
                        <a:lnTo>
                          <a:pt x="199" y="256"/>
                        </a:lnTo>
                        <a:lnTo>
                          <a:pt x="197" y="256"/>
                        </a:lnTo>
                        <a:lnTo>
                          <a:pt x="197" y="254"/>
                        </a:lnTo>
                        <a:lnTo>
                          <a:pt x="196" y="253"/>
                        </a:lnTo>
                        <a:lnTo>
                          <a:pt x="194" y="254"/>
                        </a:lnTo>
                        <a:lnTo>
                          <a:pt x="194" y="258"/>
                        </a:lnTo>
                        <a:lnTo>
                          <a:pt x="197" y="259"/>
                        </a:lnTo>
                        <a:lnTo>
                          <a:pt x="196" y="261"/>
                        </a:lnTo>
                        <a:lnTo>
                          <a:pt x="194" y="262"/>
                        </a:lnTo>
                        <a:lnTo>
                          <a:pt x="194" y="266"/>
                        </a:lnTo>
                        <a:lnTo>
                          <a:pt x="191" y="269"/>
                        </a:lnTo>
                        <a:lnTo>
                          <a:pt x="194" y="272"/>
                        </a:lnTo>
                        <a:lnTo>
                          <a:pt x="191" y="277"/>
                        </a:lnTo>
                        <a:lnTo>
                          <a:pt x="192" y="279"/>
                        </a:lnTo>
                        <a:lnTo>
                          <a:pt x="189" y="281"/>
                        </a:lnTo>
                        <a:lnTo>
                          <a:pt x="187" y="282"/>
                        </a:lnTo>
                        <a:lnTo>
                          <a:pt x="186" y="287"/>
                        </a:lnTo>
                        <a:lnTo>
                          <a:pt x="184" y="289"/>
                        </a:lnTo>
                        <a:lnTo>
                          <a:pt x="179" y="294"/>
                        </a:lnTo>
                        <a:lnTo>
                          <a:pt x="174" y="296"/>
                        </a:lnTo>
                        <a:lnTo>
                          <a:pt x="171" y="299"/>
                        </a:lnTo>
                        <a:lnTo>
                          <a:pt x="169" y="302"/>
                        </a:lnTo>
                        <a:lnTo>
                          <a:pt x="166" y="302"/>
                        </a:lnTo>
                        <a:lnTo>
                          <a:pt x="162" y="306"/>
                        </a:lnTo>
                        <a:lnTo>
                          <a:pt x="152" y="311"/>
                        </a:lnTo>
                        <a:lnTo>
                          <a:pt x="146" y="311"/>
                        </a:lnTo>
                        <a:lnTo>
                          <a:pt x="142" y="311"/>
                        </a:lnTo>
                        <a:lnTo>
                          <a:pt x="137" y="311"/>
                        </a:lnTo>
                        <a:lnTo>
                          <a:pt x="137" y="311"/>
                        </a:lnTo>
                        <a:lnTo>
                          <a:pt x="137" y="307"/>
                        </a:lnTo>
                        <a:lnTo>
                          <a:pt x="137" y="304"/>
                        </a:lnTo>
                        <a:lnTo>
                          <a:pt x="136" y="307"/>
                        </a:lnTo>
                        <a:lnTo>
                          <a:pt x="136" y="309"/>
                        </a:lnTo>
                        <a:lnTo>
                          <a:pt x="131" y="307"/>
                        </a:lnTo>
                        <a:lnTo>
                          <a:pt x="134" y="309"/>
                        </a:lnTo>
                        <a:lnTo>
                          <a:pt x="134" y="311"/>
                        </a:lnTo>
                        <a:lnTo>
                          <a:pt x="132" y="312"/>
                        </a:lnTo>
                        <a:lnTo>
                          <a:pt x="129" y="311"/>
                        </a:lnTo>
                        <a:lnTo>
                          <a:pt x="136" y="314"/>
                        </a:lnTo>
                        <a:lnTo>
                          <a:pt x="134" y="316"/>
                        </a:lnTo>
                        <a:lnTo>
                          <a:pt x="136" y="319"/>
                        </a:lnTo>
                        <a:lnTo>
                          <a:pt x="132" y="321"/>
                        </a:lnTo>
                        <a:lnTo>
                          <a:pt x="127" y="317"/>
                        </a:lnTo>
                        <a:lnTo>
                          <a:pt x="131" y="322"/>
                        </a:lnTo>
                        <a:lnTo>
                          <a:pt x="131" y="324"/>
                        </a:lnTo>
                        <a:lnTo>
                          <a:pt x="129" y="326"/>
                        </a:lnTo>
                        <a:lnTo>
                          <a:pt x="127" y="326"/>
                        </a:lnTo>
                        <a:lnTo>
                          <a:pt x="126" y="324"/>
                        </a:lnTo>
                        <a:lnTo>
                          <a:pt x="123" y="324"/>
                        </a:lnTo>
                        <a:lnTo>
                          <a:pt x="124" y="327"/>
                        </a:lnTo>
                        <a:lnTo>
                          <a:pt x="124" y="327"/>
                        </a:lnTo>
                        <a:lnTo>
                          <a:pt x="124" y="329"/>
                        </a:lnTo>
                        <a:lnTo>
                          <a:pt x="123" y="331"/>
                        </a:lnTo>
                        <a:lnTo>
                          <a:pt x="121" y="332"/>
                        </a:lnTo>
                        <a:lnTo>
                          <a:pt x="119" y="332"/>
                        </a:lnTo>
                        <a:lnTo>
                          <a:pt x="114" y="336"/>
                        </a:lnTo>
                        <a:lnTo>
                          <a:pt x="113" y="337"/>
                        </a:lnTo>
                        <a:lnTo>
                          <a:pt x="109" y="337"/>
                        </a:lnTo>
                        <a:lnTo>
                          <a:pt x="108" y="339"/>
                        </a:lnTo>
                        <a:lnTo>
                          <a:pt x="108" y="344"/>
                        </a:lnTo>
                        <a:lnTo>
                          <a:pt x="104" y="346"/>
                        </a:lnTo>
                        <a:lnTo>
                          <a:pt x="103" y="346"/>
                        </a:lnTo>
                        <a:lnTo>
                          <a:pt x="103" y="347"/>
                        </a:lnTo>
                        <a:lnTo>
                          <a:pt x="93" y="352"/>
                        </a:lnTo>
                        <a:lnTo>
                          <a:pt x="88" y="351"/>
                        </a:lnTo>
                        <a:lnTo>
                          <a:pt x="91" y="349"/>
                        </a:lnTo>
                        <a:lnTo>
                          <a:pt x="94" y="347"/>
                        </a:lnTo>
                        <a:lnTo>
                          <a:pt x="98" y="344"/>
                        </a:lnTo>
                        <a:lnTo>
                          <a:pt x="94" y="346"/>
                        </a:lnTo>
                        <a:lnTo>
                          <a:pt x="91" y="344"/>
                        </a:lnTo>
                        <a:lnTo>
                          <a:pt x="93" y="337"/>
                        </a:lnTo>
                        <a:lnTo>
                          <a:pt x="93" y="337"/>
                        </a:lnTo>
                        <a:lnTo>
                          <a:pt x="91" y="336"/>
                        </a:lnTo>
                        <a:lnTo>
                          <a:pt x="93" y="334"/>
                        </a:lnTo>
                        <a:lnTo>
                          <a:pt x="91" y="326"/>
                        </a:lnTo>
                        <a:lnTo>
                          <a:pt x="96" y="321"/>
                        </a:lnTo>
                        <a:lnTo>
                          <a:pt x="103" y="316"/>
                        </a:lnTo>
                        <a:lnTo>
                          <a:pt x="104" y="314"/>
                        </a:lnTo>
                        <a:lnTo>
                          <a:pt x="101" y="316"/>
                        </a:lnTo>
                        <a:lnTo>
                          <a:pt x="96" y="314"/>
                        </a:lnTo>
                        <a:lnTo>
                          <a:pt x="93" y="316"/>
                        </a:lnTo>
                        <a:lnTo>
                          <a:pt x="89" y="314"/>
                        </a:lnTo>
                        <a:lnTo>
                          <a:pt x="88" y="316"/>
                        </a:lnTo>
                        <a:lnTo>
                          <a:pt x="83" y="314"/>
                        </a:lnTo>
                        <a:lnTo>
                          <a:pt x="83" y="312"/>
                        </a:lnTo>
                        <a:lnTo>
                          <a:pt x="83" y="309"/>
                        </a:lnTo>
                        <a:lnTo>
                          <a:pt x="83" y="309"/>
                        </a:lnTo>
                        <a:lnTo>
                          <a:pt x="86" y="304"/>
                        </a:lnTo>
                        <a:lnTo>
                          <a:pt x="93" y="302"/>
                        </a:lnTo>
                        <a:lnTo>
                          <a:pt x="94" y="297"/>
                        </a:lnTo>
                        <a:lnTo>
                          <a:pt x="99" y="296"/>
                        </a:lnTo>
                        <a:lnTo>
                          <a:pt x="103" y="297"/>
                        </a:lnTo>
                        <a:lnTo>
                          <a:pt x="114" y="296"/>
                        </a:lnTo>
                        <a:lnTo>
                          <a:pt x="118" y="297"/>
                        </a:lnTo>
                        <a:lnTo>
                          <a:pt x="119" y="301"/>
                        </a:lnTo>
                        <a:lnTo>
                          <a:pt x="127" y="301"/>
                        </a:lnTo>
                        <a:lnTo>
                          <a:pt x="124" y="296"/>
                        </a:lnTo>
                        <a:lnTo>
                          <a:pt x="126" y="292"/>
                        </a:lnTo>
                        <a:lnTo>
                          <a:pt x="121" y="289"/>
                        </a:lnTo>
                        <a:lnTo>
                          <a:pt x="116" y="287"/>
                        </a:lnTo>
                        <a:lnTo>
                          <a:pt x="114" y="279"/>
                        </a:lnTo>
                        <a:lnTo>
                          <a:pt x="119" y="277"/>
                        </a:lnTo>
                        <a:lnTo>
                          <a:pt x="129" y="277"/>
                        </a:lnTo>
                        <a:lnTo>
                          <a:pt x="131" y="272"/>
                        </a:lnTo>
                        <a:lnTo>
                          <a:pt x="137" y="269"/>
                        </a:lnTo>
                        <a:lnTo>
                          <a:pt x="144" y="267"/>
                        </a:lnTo>
                        <a:lnTo>
                          <a:pt x="146" y="264"/>
                        </a:lnTo>
                        <a:lnTo>
                          <a:pt x="149" y="262"/>
                        </a:lnTo>
                        <a:lnTo>
                          <a:pt x="152" y="256"/>
                        </a:lnTo>
                        <a:lnTo>
                          <a:pt x="152" y="251"/>
                        </a:lnTo>
                        <a:lnTo>
                          <a:pt x="154" y="246"/>
                        </a:lnTo>
                        <a:lnTo>
                          <a:pt x="152" y="241"/>
                        </a:lnTo>
                        <a:lnTo>
                          <a:pt x="152" y="234"/>
                        </a:lnTo>
                        <a:lnTo>
                          <a:pt x="149" y="226"/>
                        </a:lnTo>
                        <a:lnTo>
                          <a:pt x="144" y="223"/>
                        </a:lnTo>
                        <a:lnTo>
                          <a:pt x="141" y="216"/>
                        </a:lnTo>
                        <a:lnTo>
                          <a:pt x="142" y="216"/>
                        </a:lnTo>
                        <a:lnTo>
                          <a:pt x="147" y="214"/>
                        </a:lnTo>
                        <a:lnTo>
                          <a:pt x="146" y="208"/>
                        </a:lnTo>
                        <a:lnTo>
                          <a:pt x="144" y="204"/>
                        </a:lnTo>
                        <a:lnTo>
                          <a:pt x="144" y="199"/>
                        </a:lnTo>
                        <a:lnTo>
                          <a:pt x="151" y="194"/>
                        </a:lnTo>
                        <a:lnTo>
                          <a:pt x="151" y="189"/>
                        </a:lnTo>
                        <a:lnTo>
                          <a:pt x="146" y="188"/>
                        </a:lnTo>
                        <a:lnTo>
                          <a:pt x="144" y="186"/>
                        </a:lnTo>
                        <a:lnTo>
                          <a:pt x="146" y="179"/>
                        </a:lnTo>
                        <a:lnTo>
                          <a:pt x="149" y="176"/>
                        </a:lnTo>
                        <a:lnTo>
                          <a:pt x="147" y="173"/>
                        </a:lnTo>
                        <a:lnTo>
                          <a:pt x="142" y="174"/>
                        </a:lnTo>
                        <a:lnTo>
                          <a:pt x="141" y="174"/>
                        </a:lnTo>
                        <a:lnTo>
                          <a:pt x="137" y="171"/>
                        </a:lnTo>
                        <a:lnTo>
                          <a:pt x="132" y="171"/>
                        </a:lnTo>
                        <a:lnTo>
                          <a:pt x="129" y="168"/>
                        </a:lnTo>
                        <a:lnTo>
                          <a:pt x="131" y="164"/>
                        </a:lnTo>
                        <a:lnTo>
                          <a:pt x="127" y="163"/>
                        </a:lnTo>
                        <a:lnTo>
                          <a:pt x="124" y="164"/>
                        </a:lnTo>
                        <a:lnTo>
                          <a:pt x="123" y="161"/>
                        </a:lnTo>
                        <a:lnTo>
                          <a:pt x="121" y="158"/>
                        </a:lnTo>
                        <a:lnTo>
                          <a:pt x="119" y="153"/>
                        </a:lnTo>
                        <a:lnTo>
                          <a:pt x="113" y="153"/>
                        </a:lnTo>
                        <a:lnTo>
                          <a:pt x="109" y="151"/>
                        </a:lnTo>
                        <a:lnTo>
                          <a:pt x="108" y="146"/>
                        </a:lnTo>
                        <a:lnTo>
                          <a:pt x="99" y="140"/>
                        </a:lnTo>
                        <a:lnTo>
                          <a:pt x="101" y="136"/>
                        </a:lnTo>
                        <a:lnTo>
                          <a:pt x="96" y="130"/>
                        </a:lnTo>
                        <a:lnTo>
                          <a:pt x="88" y="126"/>
                        </a:lnTo>
                        <a:lnTo>
                          <a:pt x="83" y="120"/>
                        </a:lnTo>
                        <a:lnTo>
                          <a:pt x="78" y="118"/>
                        </a:lnTo>
                        <a:lnTo>
                          <a:pt x="69" y="115"/>
                        </a:lnTo>
                        <a:lnTo>
                          <a:pt x="63" y="115"/>
                        </a:lnTo>
                        <a:lnTo>
                          <a:pt x="59" y="110"/>
                        </a:lnTo>
                        <a:lnTo>
                          <a:pt x="56" y="110"/>
                        </a:lnTo>
                        <a:lnTo>
                          <a:pt x="54" y="106"/>
                        </a:lnTo>
                        <a:lnTo>
                          <a:pt x="58" y="103"/>
                        </a:lnTo>
                        <a:lnTo>
                          <a:pt x="53" y="98"/>
                        </a:lnTo>
                        <a:lnTo>
                          <a:pt x="53" y="93"/>
                        </a:lnTo>
                        <a:lnTo>
                          <a:pt x="56" y="93"/>
                        </a:lnTo>
                        <a:lnTo>
                          <a:pt x="63" y="91"/>
                        </a:lnTo>
                        <a:lnTo>
                          <a:pt x="68" y="91"/>
                        </a:lnTo>
                        <a:lnTo>
                          <a:pt x="69" y="88"/>
                        </a:lnTo>
                        <a:lnTo>
                          <a:pt x="73" y="80"/>
                        </a:lnTo>
                        <a:lnTo>
                          <a:pt x="76" y="78"/>
                        </a:lnTo>
                        <a:lnTo>
                          <a:pt x="76" y="76"/>
                        </a:lnTo>
                        <a:lnTo>
                          <a:pt x="69" y="75"/>
                        </a:lnTo>
                        <a:lnTo>
                          <a:pt x="69" y="70"/>
                        </a:lnTo>
                        <a:lnTo>
                          <a:pt x="69" y="66"/>
                        </a:lnTo>
                        <a:lnTo>
                          <a:pt x="63" y="65"/>
                        </a:lnTo>
                        <a:lnTo>
                          <a:pt x="59" y="62"/>
                        </a:lnTo>
                        <a:lnTo>
                          <a:pt x="53" y="62"/>
                        </a:lnTo>
                        <a:lnTo>
                          <a:pt x="46" y="63"/>
                        </a:lnTo>
                        <a:lnTo>
                          <a:pt x="41" y="62"/>
                        </a:lnTo>
                        <a:lnTo>
                          <a:pt x="31" y="62"/>
                        </a:lnTo>
                        <a:lnTo>
                          <a:pt x="26" y="55"/>
                        </a:lnTo>
                        <a:lnTo>
                          <a:pt x="18" y="48"/>
                        </a:lnTo>
                        <a:lnTo>
                          <a:pt x="20" y="43"/>
                        </a:lnTo>
                        <a:lnTo>
                          <a:pt x="18" y="40"/>
                        </a:lnTo>
                        <a:lnTo>
                          <a:pt x="15" y="37"/>
                        </a:lnTo>
                        <a:lnTo>
                          <a:pt x="10" y="30"/>
                        </a:lnTo>
                        <a:lnTo>
                          <a:pt x="1" y="27"/>
                        </a:lnTo>
                        <a:lnTo>
                          <a:pt x="0" y="25"/>
                        </a:lnTo>
                        <a:lnTo>
                          <a:pt x="0" y="25"/>
                        </a:lnTo>
                        <a:close/>
                        <a:moveTo>
                          <a:pt x="66" y="311"/>
                        </a:moveTo>
                        <a:lnTo>
                          <a:pt x="69" y="314"/>
                        </a:lnTo>
                        <a:lnTo>
                          <a:pt x="68" y="316"/>
                        </a:lnTo>
                        <a:lnTo>
                          <a:pt x="71" y="319"/>
                        </a:lnTo>
                        <a:lnTo>
                          <a:pt x="73" y="319"/>
                        </a:lnTo>
                        <a:lnTo>
                          <a:pt x="74" y="312"/>
                        </a:lnTo>
                        <a:lnTo>
                          <a:pt x="73" y="311"/>
                        </a:lnTo>
                        <a:lnTo>
                          <a:pt x="71" y="307"/>
                        </a:lnTo>
                        <a:lnTo>
                          <a:pt x="66" y="311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22" name="Google Shape;2977;p98">
                    <a:extLst>
                      <a:ext uri="{FF2B5EF4-FFF2-40B4-BE49-F238E27FC236}">
                        <a16:creationId xmlns:a16="http://schemas.microsoft.com/office/drawing/2014/main" id="{ED40126E-2F94-ACC7-03BF-E00CAEE5108A}"/>
                      </a:ext>
                    </a:extLst>
                  </p:cNvPr>
                  <p:cNvSpPr/>
                  <p:nvPr/>
                </p:nvSpPr>
                <p:spPr>
                  <a:xfrm>
                    <a:off x="7745333" y="3097475"/>
                    <a:ext cx="68496" cy="5187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" h="100" extrusionOk="0">
                        <a:moveTo>
                          <a:pt x="57" y="100"/>
                        </a:moveTo>
                        <a:lnTo>
                          <a:pt x="60" y="95"/>
                        </a:lnTo>
                        <a:lnTo>
                          <a:pt x="67" y="93"/>
                        </a:lnTo>
                        <a:lnTo>
                          <a:pt x="68" y="88"/>
                        </a:lnTo>
                        <a:lnTo>
                          <a:pt x="73" y="87"/>
                        </a:lnTo>
                        <a:lnTo>
                          <a:pt x="77" y="88"/>
                        </a:lnTo>
                        <a:lnTo>
                          <a:pt x="88" y="87"/>
                        </a:lnTo>
                        <a:lnTo>
                          <a:pt x="92" y="88"/>
                        </a:lnTo>
                        <a:lnTo>
                          <a:pt x="93" y="92"/>
                        </a:lnTo>
                        <a:lnTo>
                          <a:pt x="101" y="92"/>
                        </a:lnTo>
                        <a:lnTo>
                          <a:pt x="98" y="87"/>
                        </a:lnTo>
                        <a:lnTo>
                          <a:pt x="100" y="83"/>
                        </a:lnTo>
                        <a:lnTo>
                          <a:pt x="95" y="80"/>
                        </a:lnTo>
                        <a:lnTo>
                          <a:pt x="90" y="78"/>
                        </a:lnTo>
                        <a:lnTo>
                          <a:pt x="88" y="70"/>
                        </a:lnTo>
                        <a:lnTo>
                          <a:pt x="93" y="68"/>
                        </a:lnTo>
                        <a:lnTo>
                          <a:pt x="103" y="68"/>
                        </a:lnTo>
                        <a:lnTo>
                          <a:pt x="105" y="63"/>
                        </a:lnTo>
                        <a:lnTo>
                          <a:pt x="111" y="60"/>
                        </a:lnTo>
                        <a:lnTo>
                          <a:pt x="118" y="58"/>
                        </a:lnTo>
                        <a:lnTo>
                          <a:pt x="120" y="55"/>
                        </a:lnTo>
                        <a:lnTo>
                          <a:pt x="123" y="53"/>
                        </a:lnTo>
                        <a:lnTo>
                          <a:pt x="126" y="47"/>
                        </a:lnTo>
                        <a:lnTo>
                          <a:pt x="126" y="42"/>
                        </a:lnTo>
                        <a:lnTo>
                          <a:pt x="128" y="37"/>
                        </a:lnTo>
                        <a:lnTo>
                          <a:pt x="126" y="32"/>
                        </a:lnTo>
                        <a:lnTo>
                          <a:pt x="126" y="25"/>
                        </a:lnTo>
                        <a:lnTo>
                          <a:pt x="123" y="17"/>
                        </a:lnTo>
                        <a:lnTo>
                          <a:pt x="118" y="14"/>
                        </a:lnTo>
                        <a:lnTo>
                          <a:pt x="115" y="7"/>
                        </a:lnTo>
                        <a:lnTo>
                          <a:pt x="111" y="7"/>
                        </a:lnTo>
                        <a:lnTo>
                          <a:pt x="106" y="5"/>
                        </a:lnTo>
                        <a:lnTo>
                          <a:pt x="103" y="4"/>
                        </a:lnTo>
                        <a:lnTo>
                          <a:pt x="101" y="0"/>
                        </a:lnTo>
                        <a:lnTo>
                          <a:pt x="93" y="2"/>
                        </a:lnTo>
                        <a:lnTo>
                          <a:pt x="88" y="5"/>
                        </a:lnTo>
                        <a:lnTo>
                          <a:pt x="95" y="10"/>
                        </a:lnTo>
                        <a:lnTo>
                          <a:pt x="93" y="14"/>
                        </a:lnTo>
                        <a:lnTo>
                          <a:pt x="95" y="19"/>
                        </a:lnTo>
                        <a:lnTo>
                          <a:pt x="95" y="22"/>
                        </a:lnTo>
                        <a:lnTo>
                          <a:pt x="87" y="19"/>
                        </a:lnTo>
                        <a:lnTo>
                          <a:pt x="83" y="12"/>
                        </a:lnTo>
                        <a:lnTo>
                          <a:pt x="75" y="12"/>
                        </a:lnTo>
                        <a:lnTo>
                          <a:pt x="73" y="9"/>
                        </a:lnTo>
                        <a:lnTo>
                          <a:pt x="68" y="5"/>
                        </a:lnTo>
                        <a:lnTo>
                          <a:pt x="65" y="7"/>
                        </a:lnTo>
                        <a:lnTo>
                          <a:pt x="60" y="4"/>
                        </a:lnTo>
                        <a:lnTo>
                          <a:pt x="53" y="5"/>
                        </a:lnTo>
                        <a:lnTo>
                          <a:pt x="48" y="4"/>
                        </a:lnTo>
                        <a:lnTo>
                          <a:pt x="43" y="4"/>
                        </a:lnTo>
                        <a:lnTo>
                          <a:pt x="37" y="5"/>
                        </a:lnTo>
                        <a:lnTo>
                          <a:pt x="35" y="4"/>
                        </a:lnTo>
                        <a:lnTo>
                          <a:pt x="27" y="4"/>
                        </a:lnTo>
                        <a:lnTo>
                          <a:pt x="17" y="7"/>
                        </a:lnTo>
                        <a:lnTo>
                          <a:pt x="12" y="7"/>
                        </a:lnTo>
                        <a:lnTo>
                          <a:pt x="7" y="14"/>
                        </a:lnTo>
                        <a:lnTo>
                          <a:pt x="5" y="20"/>
                        </a:lnTo>
                        <a:lnTo>
                          <a:pt x="0" y="25"/>
                        </a:lnTo>
                        <a:lnTo>
                          <a:pt x="0" y="34"/>
                        </a:lnTo>
                        <a:lnTo>
                          <a:pt x="2" y="42"/>
                        </a:lnTo>
                        <a:lnTo>
                          <a:pt x="7" y="44"/>
                        </a:lnTo>
                        <a:lnTo>
                          <a:pt x="8" y="49"/>
                        </a:lnTo>
                        <a:lnTo>
                          <a:pt x="8" y="57"/>
                        </a:lnTo>
                        <a:lnTo>
                          <a:pt x="7" y="60"/>
                        </a:lnTo>
                        <a:lnTo>
                          <a:pt x="7" y="60"/>
                        </a:lnTo>
                        <a:lnTo>
                          <a:pt x="10" y="63"/>
                        </a:lnTo>
                        <a:lnTo>
                          <a:pt x="12" y="67"/>
                        </a:lnTo>
                        <a:lnTo>
                          <a:pt x="13" y="70"/>
                        </a:lnTo>
                        <a:lnTo>
                          <a:pt x="15" y="73"/>
                        </a:lnTo>
                        <a:lnTo>
                          <a:pt x="18" y="78"/>
                        </a:lnTo>
                        <a:lnTo>
                          <a:pt x="20" y="78"/>
                        </a:lnTo>
                        <a:lnTo>
                          <a:pt x="22" y="82"/>
                        </a:lnTo>
                        <a:lnTo>
                          <a:pt x="22" y="85"/>
                        </a:lnTo>
                        <a:lnTo>
                          <a:pt x="23" y="87"/>
                        </a:lnTo>
                        <a:lnTo>
                          <a:pt x="23" y="90"/>
                        </a:lnTo>
                        <a:lnTo>
                          <a:pt x="27" y="90"/>
                        </a:lnTo>
                        <a:lnTo>
                          <a:pt x="30" y="90"/>
                        </a:lnTo>
                        <a:lnTo>
                          <a:pt x="30" y="87"/>
                        </a:lnTo>
                        <a:lnTo>
                          <a:pt x="33" y="85"/>
                        </a:lnTo>
                        <a:lnTo>
                          <a:pt x="35" y="83"/>
                        </a:lnTo>
                        <a:lnTo>
                          <a:pt x="35" y="85"/>
                        </a:lnTo>
                        <a:lnTo>
                          <a:pt x="37" y="88"/>
                        </a:lnTo>
                        <a:lnTo>
                          <a:pt x="37" y="92"/>
                        </a:lnTo>
                        <a:lnTo>
                          <a:pt x="33" y="95"/>
                        </a:lnTo>
                        <a:lnTo>
                          <a:pt x="35" y="97"/>
                        </a:lnTo>
                        <a:lnTo>
                          <a:pt x="35" y="98"/>
                        </a:lnTo>
                        <a:lnTo>
                          <a:pt x="38" y="98"/>
                        </a:lnTo>
                        <a:lnTo>
                          <a:pt x="42" y="95"/>
                        </a:lnTo>
                        <a:lnTo>
                          <a:pt x="43" y="95"/>
                        </a:lnTo>
                        <a:lnTo>
                          <a:pt x="45" y="97"/>
                        </a:lnTo>
                        <a:lnTo>
                          <a:pt x="50" y="98"/>
                        </a:lnTo>
                        <a:lnTo>
                          <a:pt x="52" y="97"/>
                        </a:lnTo>
                        <a:lnTo>
                          <a:pt x="57" y="100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23" name="Google Shape;2978;p98">
                    <a:extLst>
                      <a:ext uri="{FF2B5EF4-FFF2-40B4-BE49-F238E27FC236}">
                        <a16:creationId xmlns:a16="http://schemas.microsoft.com/office/drawing/2014/main" id="{B2B85442-358C-BD4D-63A1-64F099108F61}"/>
                      </a:ext>
                    </a:extLst>
                  </p:cNvPr>
                  <p:cNvSpPr/>
                  <p:nvPr/>
                </p:nvSpPr>
                <p:spPr>
                  <a:xfrm>
                    <a:off x="7705734" y="3000979"/>
                    <a:ext cx="105954" cy="10687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98" h="208" extrusionOk="0">
                        <a:moveTo>
                          <a:pt x="22" y="24"/>
                        </a:moveTo>
                        <a:lnTo>
                          <a:pt x="25" y="27"/>
                        </a:lnTo>
                        <a:lnTo>
                          <a:pt x="28" y="30"/>
                        </a:lnTo>
                        <a:lnTo>
                          <a:pt x="33" y="29"/>
                        </a:lnTo>
                        <a:lnTo>
                          <a:pt x="38" y="29"/>
                        </a:lnTo>
                        <a:lnTo>
                          <a:pt x="37" y="24"/>
                        </a:lnTo>
                        <a:lnTo>
                          <a:pt x="37" y="19"/>
                        </a:lnTo>
                        <a:lnTo>
                          <a:pt x="35" y="14"/>
                        </a:lnTo>
                        <a:lnTo>
                          <a:pt x="35" y="7"/>
                        </a:lnTo>
                        <a:lnTo>
                          <a:pt x="38" y="5"/>
                        </a:lnTo>
                        <a:lnTo>
                          <a:pt x="38" y="2"/>
                        </a:lnTo>
                        <a:lnTo>
                          <a:pt x="47" y="0"/>
                        </a:lnTo>
                        <a:lnTo>
                          <a:pt x="48" y="4"/>
                        </a:lnTo>
                        <a:lnTo>
                          <a:pt x="57" y="7"/>
                        </a:lnTo>
                        <a:lnTo>
                          <a:pt x="62" y="14"/>
                        </a:lnTo>
                        <a:lnTo>
                          <a:pt x="65" y="17"/>
                        </a:lnTo>
                        <a:lnTo>
                          <a:pt x="67" y="20"/>
                        </a:lnTo>
                        <a:lnTo>
                          <a:pt x="65" y="25"/>
                        </a:lnTo>
                        <a:lnTo>
                          <a:pt x="73" y="32"/>
                        </a:lnTo>
                        <a:lnTo>
                          <a:pt x="78" y="39"/>
                        </a:lnTo>
                        <a:lnTo>
                          <a:pt x="88" y="39"/>
                        </a:lnTo>
                        <a:lnTo>
                          <a:pt x="93" y="40"/>
                        </a:lnTo>
                        <a:lnTo>
                          <a:pt x="100" y="39"/>
                        </a:lnTo>
                        <a:lnTo>
                          <a:pt x="106" y="39"/>
                        </a:lnTo>
                        <a:lnTo>
                          <a:pt x="110" y="42"/>
                        </a:lnTo>
                        <a:lnTo>
                          <a:pt x="116" y="43"/>
                        </a:lnTo>
                        <a:lnTo>
                          <a:pt x="116" y="47"/>
                        </a:lnTo>
                        <a:lnTo>
                          <a:pt x="116" y="52"/>
                        </a:lnTo>
                        <a:lnTo>
                          <a:pt x="123" y="53"/>
                        </a:lnTo>
                        <a:lnTo>
                          <a:pt x="123" y="55"/>
                        </a:lnTo>
                        <a:lnTo>
                          <a:pt x="120" y="57"/>
                        </a:lnTo>
                        <a:lnTo>
                          <a:pt x="116" y="65"/>
                        </a:lnTo>
                        <a:lnTo>
                          <a:pt x="115" y="68"/>
                        </a:lnTo>
                        <a:lnTo>
                          <a:pt x="110" y="68"/>
                        </a:lnTo>
                        <a:lnTo>
                          <a:pt x="103" y="70"/>
                        </a:lnTo>
                        <a:lnTo>
                          <a:pt x="100" y="70"/>
                        </a:lnTo>
                        <a:lnTo>
                          <a:pt x="100" y="75"/>
                        </a:lnTo>
                        <a:lnTo>
                          <a:pt x="105" y="80"/>
                        </a:lnTo>
                        <a:lnTo>
                          <a:pt x="101" y="83"/>
                        </a:lnTo>
                        <a:lnTo>
                          <a:pt x="103" y="87"/>
                        </a:lnTo>
                        <a:lnTo>
                          <a:pt x="106" y="87"/>
                        </a:lnTo>
                        <a:lnTo>
                          <a:pt x="110" y="92"/>
                        </a:lnTo>
                        <a:lnTo>
                          <a:pt x="116" y="92"/>
                        </a:lnTo>
                        <a:lnTo>
                          <a:pt x="125" y="95"/>
                        </a:lnTo>
                        <a:lnTo>
                          <a:pt x="130" y="97"/>
                        </a:lnTo>
                        <a:lnTo>
                          <a:pt x="135" y="103"/>
                        </a:lnTo>
                        <a:lnTo>
                          <a:pt x="143" y="107"/>
                        </a:lnTo>
                        <a:lnTo>
                          <a:pt x="148" y="113"/>
                        </a:lnTo>
                        <a:lnTo>
                          <a:pt x="146" y="117"/>
                        </a:lnTo>
                        <a:lnTo>
                          <a:pt x="155" y="123"/>
                        </a:lnTo>
                        <a:lnTo>
                          <a:pt x="156" y="128"/>
                        </a:lnTo>
                        <a:lnTo>
                          <a:pt x="160" y="130"/>
                        </a:lnTo>
                        <a:lnTo>
                          <a:pt x="166" y="130"/>
                        </a:lnTo>
                        <a:lnTo>
                          <a:pt x="168" y="135"/>
                        </a:lnTo>
                        <a:lnTo>
                          <a:pt x="170" y="138"/>
                        </a:lnTo>
                        <a:lnTo>
                          <a:pt x="171" y="141"/>
                        </a:lnTo>
                        <a:lnTo>
                          <a:pt x="174" y="140"/>
                        </a:lnTo>
                        <a:lnTo>
                          <a:pt x="178" y="141"/>
                        </a:lnTo>
                        <a:lnTo>
                          <a:pt x="176" y="145"/>
                        </a:lnTo>
                        <a:lnTo>
                          <a:pt x="179" y="148"/>
                        </a:lnTo>
                        <a:lnTo>
                          <a:pt x="184" y="148"/>
                        </a:lnTo>
                        <a:lnTo>
                          <a:pt x="188" y="151"/>
                        </a:lnTo>
                        <a:lnTo>
                          <a:pt x="189" y="151"/>
                        </a:lnTo>
                        <a:lnTo>
                          <a:pt x="194" y="150"/>
                        </a:lnTo>
                        <a:lnTo>
                          <a:pt x="196" y="153"/>
                        </a:lnTo>
                        <a:lnTo>
                          <a:pt x="193" y="156"/>
                        </a:lnTo>
                        <a:lnTo>
                          <a:pt x="191" y="163"/>
                        </a:lnTo>
                        <a:lnTo>
                          <a:pt x="193" y="165"/>
                        </a:lnTo>
                        <a:lnTo>
                          <a:pt x="198" y="166"/>
                        </a:lnTo>
                        <a:lnTo>
                          <a:pt x="198" y="171"/>
                        </a:lnTo>
                        <a:lnTo>
                          <a:pt x="191" y="176"/>
                        </a:lnTo>
                        <a:lnTo>
                          <a:pt x="191" y="181"/>
                        </a:lnTo>
                        <a:lnTo>
                          <a:pt x="193" y="185"/>
                        </a:lnTo>
                        <a:lnTo>
                          <a:pt x="194" y="191"/>
                        </a:lnTo>
                        <a:lnTo>
                          <a:pt x="189" y="193"/>
                        </a:lnTo>
                        <a:lnTo>
                          <a:pt x="184" y="193"/>
                        </a:lnTo>
                        <a:lnTo>
                          <a:pt x="179" y="191"/>
                        </a:lnTo>
                        <a:lnTo>
                          <a:pt x="176" y="190"/>
                        </a:lnTo>
                        <a:lnTo>
                          <a:pt x="174" y="186"/>
                        </a:lnTo>
                        <a:lnTo>
                          <a:pt x="166" y="188"/>
                        </a:lnTo>
                        <a:lnTo>
                          <a:pt x="161" y="191"/>
                        </a:lnTo>
                        <a:lnTo>
                          <a:pt x="168" y="196"/>
                        </a:lnTo>
                        <a:lnTo>
                          <a:pt x="166" y="200"/>
                        </a:lnTo>
                        <a:lnTo>
                          <a:pt x="168" y="205"/>
                        </a:lnTo>
                        <a:lnTo>
                          <a:pt x="168" y="208"/>
                        </a:lnTo>
                        <a:lnTo>
                          <a:pt x="160" y="205"/>
                        </a:lnTo>
                        <a:lnTo>
                          <a:pt x="156" y="198"/>
                        </a:lnTo>
                        <a:lnTo>
                          <a:pt x="148" y="198"/>
                        </a:lnTo>
                        <a:lnTo>
                          <a:pt x="146" y="195"/>
                        </a:lnTo>
                        <a:lnTo>
                          <a:pt x="141" y="191"/>
                        </a:lnTo>
                        <a:lnTo>
                          <a:pt x="143" y="190"/>
                        </a:lnTo>
                        <a:lnTo>
                          <a:pt x="146" y="188"/>
                        </a:lnTo>
                        <a:lnTo>
                          <a:pt x="146" y="180"/>
                        </a:lnTo>
                        <a:lnTo>
                          <a:pt x="145" y="176"/>
                        </a:lnTo>
                        <a:lnTo>
                          <a:pt x="146" y="171"/>
                        </a:lnTo>
                        <a:lnTo>
                          <a:pt x="146" y="170"/>
                        </a:lnTo>
                        <a:lnTo>
                          <a:pt x="148" y="165"/>
                        </a:lnTo>
                        <a:lnTo>
                          <a:pt x="148" y="161"/>
                        </a:lnTo>
                        <a:lnTo>
                          <a:pt x="141" y="158"/>
                        </a:lnTo>
                        <a:lnTo>
                          <a:pt x="143" y="155"/>
                        </a:lnTo>
                        <a:lnTo>
                          <a:pt x="138" y="153"/>
                        </a:lnTo>
                        <a:lnTo>
                          <a:pt x="135" y="153"/>
                        </a:lnTo>
                        <a:lnTo>
                          <a:pt x="128" y="148"/>
                        </a:lnTo>
                        <a:lnTo>
                          <a:pt x="125" y="145"/>
                        </a:lnTo>
                        <a:lnTo>
                          <a:pt x="126" y="141"/>
                        </a:lnTo>
                        <a:lnTo>
                          <a:pt x="126" y="137"/>
                        </a:lnTo>
                        <a:lnTo>
                          <a:pt x="123" y="132"/>
                        </a:lnTo>
                        <a:lnTo>
                          <a:pt x="125" y="128"/>
                        </a:lnTo>
                        <a:lnTo>
                          <a:pt x="126" y="125"/>
                        </a:lnTo>
                        <a:lnTo>
                          <a:pt x="123" y="120"/>
                        </a:lnTo>
                        <a:lnTo>
                          <a:pt x="118" y="115"/>
                        </a:lnTo>
                        <a:lnTo>
                          <a:pt x="106" y="108"/>
                        </a:lnTo>
                        <a:lnTo>
                          <a:pt x="103" y="102"/>
                        </a:lnTo>
                        <a:lnTo>
                          <a:pt x="93" y="100"/>
                        </a:lnTo>
                        <a:lnTo>
                          <a:pt x="85" y="102"/>
                        </a:lnTo>
                        <a:lnTo>
                          <a:pt x="80" y="112"/>
                        </a:lnTo>
                        <a:lnTo>
                          <a:pt x="70" y="112"/>
                        </a:lnTo>
                        <a:lnTo>
                          <a:pt x="65" y="108"/>
                        </a:lnTo>
                        <a:lnTo>
                          <a:pt x="60" y="108"/>
                        </a:lnTo>
                        <a:lnTo>
                          <a:pt x="52" y="103"/>
                        </a:lnTo>
                        <a:lnTo>
                          <a:pt x="45" y="107"/>
                        </a:lnTo>
                        <a:lnTo>
                          <a:pt x="43" y="112"/>
                        </a:lnTo>
                        <a:lnTo>
                          <a:pt x="38" y="113"/>
                        </a:lnTo>
                        <a:lnTo>
                          <a:pt x="32" y="117"/>
                        </a:lnTo>
                        <a:lnTo>
                          <a:pt x="32" y="105"/>
                        </a:lnTo>
                        <a:lnTo>
                          <a:pt x="32" y="97"/>
                        </a:lnTo>
                        <a:lnTo>
                          <a:pt x="28" y="92"/>
                        </a:lnTo>
                        <a:lnTo>
                          <a:pt x="32" y="88"/>
                        </a:lnTo>
                        <a:lnTo>
                          <a:pt x="32" y="85"/>
                        </a:lnTo>
                        <a:lnTo>
                          <a:pt x="28" y="80"/>
                        </a:lnTo>
                        <a:lnTo>
                          <a:pt x="32" y="75"/>
                        </a:lnTo>
                        <a:lnTo>
                          <a:pt x="32" y="72"/>
                        </a:lnTo>
                        <a:lnTo>
                          <a:pt x="23" y="72"/>
                        </a:lnTo>
                        <a:lnTo>
                          <a:pt x="18" y="75"/>
                        </a:lnTo>
                        <a:lnTo>
                          <a:pt x="15" y="73"/>
                        </a:lnTo>
                        <a:lnTo>
                          <a:pt x="12" y="68"/>
                        </a:lnTo>
                        <a:lnTo>
                          <a:pt x="15" y="65"/>
                        </a:lnTo>
                        <a:lnTo>
                          <a:pt x="13" y="58"/>
                        </a:lnTo>
                        <a:lnTo>
                          <a:pt x="8" y="53"/>
                        </a:lnTo>
                        <a:lnTo>
                          <a:pt x="3" y="53"/>
                        </a:lnTo>
                        <a:lnTo>
                          <a:pt x="0" y="48"/>
                        </a:lnTo>
                        <a:lnTo>
                          <a:pt x="3" y="43"/>
                        </a:lnTo>
                        <a:lnTo>
                          <a:pt x="5" y="43"/>
                        </a:lnTo>
                        <a:lnTo>
                          <a:pt x="10" y="40"/>
                        </a:lnTo>
                        <a:lnTo>
                          <a:pt x="8" y="37"/>
                        </a:lnTo>
                        <a:lnTo>
                          <a:pt x="10" y="34"/>
                        </a:lnTo>
                        <a:lnTo>
                          <a:pt x="10" y="30"/>
                        </a:lnTo>
                        <a:lnTo>
                          <a:pt x="18" y="29"/>
                        </a:lnTo>
                        <a:lnTo>
                          <a:pt x="22" y="24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24" name="Google Shape;2979;p98">
                    <a:extLst>
                      <a:ext uri="{FF2B5EF4-FFF2-40B4-BE49-F238E27FC236}">
                        <a16:creationId xmlns:a16="http://schemas.microsoft.com/office/drawing/2014/main" id="{FE225303-D897-2DB5-8896-93590F180702}"/>
                      </a:ext>
                    </a:extLst>
                  </p:cNvPr>
                  <p:cNvSpPr/>
                  <p:nvPr/>
                </p:nvSpPr>
                <p:spPr>
                  <a:xfrm>
                    <a:off x="7674697" y="3025881"/>
                    <a:ext cx="110235" cy="17846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6" h="346" extrusionOk="0">
                        <a:moveTo>
                          <a:pt x="58" y="0"/>
                        </a:moveTo>
                        <a:lnTo>
                          <a:pt x="61" y="5"/>
                        </a:lnTo>
                        <a:lnTo>
                          <a:pt x="66" y="5"/>
                        </a:lnTo>
                        <a:lnTo>
                          <a:pt x="71" y="10"/>
                        </a:lnTo>
                        <a:lnTo>
                          <a:pt x="73" y="17"/>
                        </a:lnTo>
                        <a:lnTo>
                          <a:pt x="70" y="20"/>
                        </a:lnTo>
                        <a:lnTo>
                          <a:pt x="73" y="25"/>
                        </a:lnTo>
                        <a:lnTo>
                          <a:pt x="76" y="27"/>
                        </a:lnTo>
                        <a:lnTo>
                          <a:pt x="81" y="24"/>
                        </a:lnTo>
                        <a:lnTo>
                          <a:pt x="90" y="24"/>
                        </a:lnTo>
                        <a:lnTo>
                          <a:pt x="90" y="27"/>
                        </a:lnTo>
                        <a:lnTo>
                          <a:pt x="86" y="32"/>
                        </a:lnTo>
                        <a:lnTo>
                          <a:pt x="90" y="37"/>
                        </a:lnTo>
                        <a:lnTo>
                          <a:pt x="90" y="40"/>
                        </a:lnTo>
                        <a:lnTo>
                          <a:pt x="86" y="44"/>
                        </a:lnTo>
                        <a:lnTo>
                          <a:pt x="90" y="49"/>
                        </a:lnTo>
                        <a:lnTo>
                          <a:pt x="90" y="57"/>
                        </a:lnTo>
                        <a:lnTo>
                          <a:pt x="90" y="69"/>
                        </a:lnTo>
                        <a:lnTo>
                          <a:pt x="96" y="65"/>
                        </a:lnTo>
                        <a:lnTo>
                          <a:pt x="101" y="64"/>
                        </a:lnTo>
                        <a:lnTo>
                          <a:pt x="103" y="59"/>
                        </a:lnTo>
                        <a:lnTo>
                          <a:pt x="110" y="55"/>
                        </a:lnTo>
                        <a:lnTo>
                          <a:pt x="118" y="60"/>
                        </a:lnTo>
                        <a:lnTo>
                          <a:pt x="123" y="60"/>
                        </a:lnTo>
                        <a:lnTo>
                          <a:pt x="128" y="64"/>
                        </a:lnTo>
                        <a:lnTo>
                          <a:pt x="138" y="64"/>
                        </a:lnTo>
                        <a:lnTo>
                          <a:pt x="143" y="54"/>
                        </a:lnTo>
                        <a:lnTo>
                          <a:pt x="151" y="52"/>
                        </a:lnTo>
                        <a:lnTo>
                          <a:pt x="161" y="54"/>
                        </a:lnTo>
                        <a:lnTo>
                          <a:pt x="164" y="60"/>
                        </a:lnTo>
                        <a:lnTo>
                          <a:pt x="176" y="67"/>
                        </a:lnTo>
                        <a:lnTo>
                          <a:pt x="181" y="72"/>
                        </a:lnTo>
                        <a:lnTo>
                          <a:pt x="184" y="77"/>
                        </a:lnTo>
                        <a:lnTo>
                          <a:pt x="183" y="80"/>
                        </a:lnTo>
                        <a:lnTo>
                          <a:pt x="181" y="84"/>
                        </a:lnTo>
                        <a:lnTo>
                          <a:pt x="184" y="89"/>
                        </a:lnTo>
                        <a:lnTo>
                          <a:pt x="184" y="93"/>
                        </a:lnTo>
                        <a:lnTo>
                          <a:pt x="183" y="97"/>
                        </a:lnTo>
                        <a:lnTo>
                          <a:pt x="186" y="100"/>
                        </a:lnTo>
                        <a:lnTo>
                          <a:pt x="193" y="105"/>
                        </a:lnTo>
                        <a:lnTo>
                          <a:pt x="196" y="105"/>
                        </a:lnTo>
                        <a:lnTo>
                          <a:pt x="201" y="107"/>
                        </a:lnTo>
                        <a:lnTo>
                          <a:pt x="199" y="110"/>
                        </a:lnTo>
                        <a:lnTo>
                          <a:pt x="206" y="113"/>
                        </a:lnTo>
                        <a:lnTo>
                          <a:pt x="206" y="117"/>
                        </a:lnTo>
                        <a:lnTo>
                          <a:pt x="204" y="122"/>
                        </a:lnTo>
                        <a:lnTo>
                          <a:pt x="204" y="123"/>
                        </a:lnTo>
                        <a:lnTo>
                          <a:pt x="203" y="128"/>
                        </a:lnTo>
                        <a:lnTo>
                          <a:pt x="204" y="132"/>
                        </a:lnTo>
                        <a:lnTo>
                          <a:pt x="204" y="140"/>
                        </a:lnTo>
                        <a:lnTo>
                          <a:pt x="201" y="142"/>
                        </a:lnTo>
                        <a:lnTo>
                          <a:pt x="196" y="145"/>
                        </a:lnTo>
                        <a:lnTo>
                          <a:pt x="191" y="142"/>
                        </a:lnTo>
                        <a:lnTo>
                          <a:pt x="184" y="143"/>
                        </a:lnTo>
                        <a:lnTo>
                          <a:pt x="179" y="142"/>
                        </a:lnTo>
                        <a:lnTo>
                          <a:pt x="174" y="142"/>
                        </a:lnTo>
                        <a:lnTo>
                          <a:pt x="168" y="143"/>
                        </a:lnTo>
                        <a:lnTo>
                          <a:pt x="166" y="142"/>
                        </a:lnTo>
                        <a:lnTo>
                          <a:pt x="158" y="142"/>
                        </a:lnTo>
                        <a:lnTo>
                          <a:pt x="148" y="145"/>
                        </a:lnTo>
                        <a:lnTo>
                          <a:pt x="143" y="145"/>
                        </a:lnTo>
                        <a:lnTo>
                          <a:pt x="138" y="152"/>
                        </a:lnTo>
                        <a:lnTo>
                          <a:pt x="136" y="158"/>
                        </a:lnTo>
                        <a:lnTo>
                          <a:pt x="131" y="163"/>
                        </a:lnTo>
                        <a:lnTo>
                          <a:pt x="131" y="172"/>
                        </a:lnTo>
                        <a:lnTo>
                          <a:pt x="133" y="180"/>
                        </a:lnTo>
                        <a:lnTo>
                          <a:pt x="138" y="182"/>
                        </a:lnTo>
                        <a:lnTo>
                          <a:pt x="139" y="187"/>
                        </a:lnTo>
                        <a:lnTo>
                          <a:pt x="139" y="195"/>
                        </a:lnTo>
                        <a:lnTo>
                          <a:pt x="138" y="198"/>
                        </a:lnTo>
                        <a:lnTo>
                          <a:pt x="136" y="198"/>
                        </a:lnTo>
                        <a:lnTo>
                          <a:pt x="136" y="200"/>
                        </a:lnTo>
                        <a:lnTo>
                          <a:pt x="134" y="201"/>
                        </a:lnTo>
                        <a:lnTo>
                          <a:pt x="134" y="200"/>
                        </a:lnTo>
                        <a:lnTo>
                          <a:pt x="130" y="196"/>
                        </a:lnTo>
                        <a:lnTo>
                          <a:pt x="128" y="196"/>
                        </a:lnTo>
                        <a:lnTo>
                          <a:pt x="128" y="195"/>
                        </a:lnTo>
                        <a:lnTo>
                          <a:pt x="125" y="193"/>
                        </a:lnTo>
                        <a:lnTo>
                          <a:pt x="118" y="187"/>
                        </a:lnTo>
                        <a:lnTo>
                          <a:pt x="115" y="187"/>
                        </a:lnTo>
                        <a:lnTo>
                          <a:pt x="111" y="188"/>
                        </a:lnTo>
                        <a:lnTo>
                          <a:pt x="113" y="188"/>
                        </a:lnTo>
                        <a:lnTo>
                          <a:pt x="113" y="190"/>
                        </a:lnTo>
                        <a:lnTo>
                          <a:pt x="110" y="188"/>
                        </a:lnTo>
                        <a:lnTo>
                          <a:pt x="105" y="187"/>
                        </a:lnTo>
                        <a:lnTo>
                          <a:pt x="100" y="188"/>
                        </a:lnTo>
                        <a:lnTo>
                          <a:pt x="96" y="187"/>
                        </a:lnTo>
                        <a:lnTo>
                          <a:pt x="93" y="188"/>
                        </a:lnTo>
                        <a:lnTo>
                          <a:pt x="95" y="185"/>
                        </a:lnTo>
                        <a:lnTo>
                          <a:pt x="96" y="183"/>
                        </a:lnTo>
                        <a:lnTo>
                          <a:pt x="93" y="180"/>
                        </a:lnTo>
                        <a:lnTo>
                          <a:pt x="95" y="173"/>
                        </a:lnTo>
                        <a:lnTo>
                          <a:pt x="95" y="172"/>
                        </a:lnTo>
                        <a:lnTo>
                          <a:pt x="95" y="170"/>
                        </a:lnTo>
                        <a:lnTo>
                          <a:pt x="90" y="168"/>
                        </a:lnTo>
                        <a:lnTo>
                          <a:pt x="90" y="168"/>
                        </a:lnTo>
                        <a:lnTo>
                          <a:pt x="88" y="168"/>
                        </a:lnTo>
                        <a:lnTo>
                          <a:pt x="86" y="167"/>
                        </a:lnTo>
                        <a:lnTo>
                          <a:pt x="81" y="168"/>
                        </a:lnTo>
                        <a:lnTo>
                          <a:pt x="80" y="168"/>
                        </a:lnTo>
                        <a:lnTo>
                          <a:pt x="78" y="168"/>
                        </a:lnTo>
                        <a:lnTo>
                          <a:pt x="76" y="170"/>
                        </a:lnTo>
                        <a:lnTo>
                          <a:pt x="73" y="170"/>
                        </a:lnTo>
                        <a:lnTo>
                          <a:pt x="71" y="168"/>
                        </a:lnTo>
                        <a:lnTo>
                          <a:pt x="71" y="170"/>
                        </a:lnTo>
                        <a:lnTo>
                          <a:pt x="70" y="173"/>
                        </a:lnTo>
                        <a:lnTo>
                          <a:pt x="75" y="175"/>
                        </a:lnTo>
                        <a:lnTo>
                          <a:pt x="75" y="178"/>
                        </a:lnTo>
                        <a:lnTo>
                          <a:pt x="73" y="182"/>
                        </a:lnTo>
                        <a:lnTo>
                          <a:pt x="73" y="187"/>
                        </a:lnTo>
                        <a:lnTo>
                          <a:pt x="71" y="190"/>
                        </a:lnTo>
                        <a:lnTo>
                          <a:pt x="73" y="191"/>
                        </a:lnTo>
                        <a:lnTo>
                          <a:pt x="73" y="196"/>
                        </a:lnTo>
                        <a:lnTo>
                          <a:pt x="70" y="201"/>
                        </a:lnTo>
                        <a:lnTo>
                          <a:pt x="68" y="206"/>
                        </a:lnTo>
                        <a:lnTo>
                          <a:pt x="65" y="210"/>
                        </a:lnTo>
                        <a:lnTo>
                          <a:pt x="65" y="226"/>
                        </a:lnTo>
                        <a:lnTo>
                          <a:pt x="58" y="233"/>
                        </a:lnTo>
                        <a:lnTo>
                          <a:pt x="58" y="238"/>
                        </a:lnTo>
                        <a:lnTo>
                          <a:pt x="56" y="243"/>
                        </a:lnTo>
                        <a:lnTo>
                          <a:pt x="58" y="243"/>
                        </a:lnTo>
                        <a:lnTo>
                          <a:pt x="60" y="245"/>
                        </a:lnTo>
                        <a:lnTo>
                          <a:pt x="56" y="246"/>
                        </a:lnTo>
                        <a:lnTo>
                          <a:pt x="58" y="248"/>
                        </a:lnTo>
                        <a:lnTo>
                          <a:pt x="58" y="253"/>
                        </a:lnTo>
                        <a:lnTo>
                          <a:pt x="58" y="256"/>
                        </a:lnTo>
                        <a:lnTo>
                          <a:pt x="63" y="263"/>
                        </a:lnTo>
                        <a:lnTo>
                          <a:pt x="61" y="266"/>
                        </a:lnTo>
                        <a:lnTo>
                          <a:pt x="63" y="268"/>
                        </a:lnTo>
                        <a:lnTo>
                          <a:pt x="65" y="268"/>
                        </a:lnTo>
                        <a:lnTo>
                          <a:pt x="66" y="266"/>
                        </a:lnTo>
                        <a:lnTo>
                          <a:pt x="68" y="263"/>
                        </a:lnTo>
                        <a:lnTo>
                          <a:pt x="70" y="265"/>
                        </a:lnTo>
                        <a:lnTo>
                          <a:pt x="73" y="265"/>
                        </a:lnTo>
                        <a:lnTo>
                          <a:pt x="75" y="266"/>
                        </a:lnTo>
                        <a:lnTo>
                          <a:pt x="75" y="271"/>
                        </a:lnTo>
                        <a:lnTo>
                          <a:pt x="78" y="275"/>
                        </a:lnTo>
                        <a:lnTo>
                          <a:pt x="78" y="278"/>
                        </a:lnTo>
                        <a:lnTo>
                          <a:pt x="80" y="280"/>
                        </a:lnTo>
                        <a:lnTo>
                          <a:pt x="83" y="285"/>
                        </a:lnTo>
                        <a:lnTo>
                          <a:pt x="85" y="285"/>
                        </a:lnTo>
                        <a:lnTo>
                          <a:pt x="85" y="281"/>
                        </a:lnTo>
                        <a:lnTo>
                          <a:pt x="85" y="280"/>
                        </a:lnTo>
                        <a:lnTo>
                          <a:pt x="86" y="283"/>
                        </a:lnTo>
                        <a:lnTo>
                          <a:pt x="90" y="286"/>
                        </a:lnTo>
                        <a:lnTo>
                          <a:pt x="90" y="291"/>
                        </a:lnTo>
                        <a:lnTo>
                          <a:pt x="91" y="291"/>
                        </a:lnTo>
                        <a:lnTo>
                          <a:pt x="93" y="301"/>
                        </a:lnTo>
                        <a:lnTo>
                          <a:pt x="93" y="301"/>
                        </a:lnTo>
                        <a:lnTo>
                          <a:pt x="91" y="303"/>
                        </a:lnTo>
                        <a:lnTo>
                          <a:pt x="90" y="303"/>
                        </a:lnTo>
                        <a:lnTo>
                          <a:pt x="86" y="304"/>
                        </a:lnTo>
                        <a:lnTo>
                          <a:pt x="86" y="308"/>
                        </a:lnTo>
                        <a:lnTo>
                          <a:pt x="93" y="309"/>
                        </a:lnTo>
                        <a:lnTo>
                          <a:pt x="95" y="306"/>
                        </a:lnTo>
                        <a:lnTo>
                          <a:pt x="95" y="308"/>
                        </a:lnTo>
                        <a:lnTo>
                          <a:pt x="96" y="311"/>
                        </a:lnTo>
                        <a:lnTo>
                          <a:pt x="100" y="314"/>
                        </a:lnTo>
                        <a:lnTo>
                          <a:pt x="106" y="319"/>
                        </a:lnTo>
                        <a:lnTo>
                          <a:pt x="110" y="323"/>
                        </a:lnTo>
                        <a:lnTo>
                          <a:pt x="111" y="321"/>
                        </a:lnTo>
                        <a:lnTo>
                          <a:pt x="116" y="321"/>
                        </a:lnTo>
                        <a:lnTo>
                          <a:pt x="120" y="323"/>
                        </a:lnTo>
                        <a:lnTo>
                          <a:pt x="123" y="329"/>
                        </a:lnTo>
                        <a:lnTo>
                          <a:pt x="126" y="333"/>
                        </a:lnTo>
                        <a:lnTo>
                          <a:pt x="131" y="334"/>
                        </a:lnTo>
                        <a:lnTo>
                          <a:pt x="131" y="338"/>
                        </a:lnTo>
                        <a:lnTo>
                          <a:pt x="130" y="338"/>
                        </a:lnTo>
                        <a:lnTo>
                          <a:pt x="130" y="343"/>
                        </a:lnTo>
                        <a:lnTo>
                          <a:pt x="126" y="344"/>
                        </a:lnTo>
                        <a:lnTo>
                          <a:pt x="123" y="341"/>
                        </a:lnTo>
                        <a:lnTo>
                          <a:pt x="120" y="343"/>
                        </a:lnTo>
                        <a:lnTo>
                          <a:pt x="113" y="346"/>
                        </a:lnTo>
                        <a:lnTo>
                          <a:pt x="106" y="344"/>
                        </a:lnTo>
                        <a:lnTo>
                          <a:pt x="106" y="341"/>
                        </a:lnTo>
                        <a:lnTo>
                          <a:pt x="110" y="339"/>
                        </a:lnTo>
                        <a:lnTo>
                          <a:pt x="111" y="333"/>
                        </a:lnTo>
                        <a:lnTo>
                          <a:pt x="108" y="329"/>
                        </a:lnTo>
                        <a:lnTo>
                          <a:pt x="103" y="329"/>
                        </a:lnTo>
                        <a:lnTo>
                          <a:pt x="101" y="328"/>
                        </a:lnTo>
                        <a:lnTo>
                          <a:pt x="95" y="324"/>
                        </a:lnTo>
                        <a:lnTo>
                          <a:pt x="90" y="321"/>
                        </a:lnTo>
                        <a:lnTo>
                          <a:pt x="86" y="324"/>
                        </a:lnTo>
                        <a:lnTo>
                          <a:pt x="85" y="331"/>
                        </a:lnTo>
                        <a:lnTo>
                          <a:pt x="83" y="328"/>
                        </a:lnTo>
                        <a:lnTo>
                          <a:pt x="73" y="321"/>
                        </a:lnTo>
                        <a:lnTo>
                          <a:pt x="73" y="319"/>
                        </a:lnTo>
                        <a:lnTo>
                          <a:pt x="75" y="316"/>
                        </a:lnTo>
                        <a:lnTo>
                          <a:pt x="75" y="314"/>
                        </a:lnTo>
                        <a:lnTo>
                          <a:pt x="71" y="314"/>
                        </a:lnTo>
                        <a:lnTo>
                          <a:pt x="70" y="309"/>
                        </a:lnTo>
                        <a:lnTo>
                          <a:pt x="66" y="309"/>
                        </a:lnTo>
                        <a:lnTo>
                          <a:pt x="66" y="306"/>
                        </a:lnTo>
                        <a:lnTo>
                          <a:pt x="60" y="299"/>
                        </a:lnTo>
                        <a:lnTo>
                          <a:pt x="56" y="299"/>
                        </a:lnTo>
                        <a:lnTo>
                          <a:pt x="55" y="293"/>
                        </a:lnTo>
                        <a:lnTo>
                          <a:pt x="50" y="291"/>
                        </a:lnTo>
                        <a:lnTo>
                          <a:pt x="50" y="288"/>
                        </a:lnTo>
                        <a:lnTo>
                          <a:pt x="46" y="286"/>
                        </a:lnTo>
                        <a:lnTo>
                          <a:pt x="46" y="285"/>
                        </a:lnTo>
                        <a:lnTo>
                          <a:pt x="43" y="286"/>
                        </a:lnTo>
                        <a:lnTo>
                          <a:pt x="43" y="289"/>
                        </a:lnTo>
                        <a:lnTo>
                          <a:pt x="40" y="289"/>
                        </a:lnTo>
                        <a:lnTo>
                          <a:pt x="38" y="286"/>
                        </a:lnTo>
                        <a:lnTo>
                          <a:pt x="36" y="280"/>
                        </a:lnTo>
                        <a:lnTo>
                          <a:pt x="36" y="278"/>
                        </a:lnTo>
                        <a:lnTo>
                          <a:pt x="36" y="271"/>
                        </a:lnTo>
                        <a:lnTo>
                          <a:pt x="40" y="270"/>
                        </a:lnTo>
                        <a:lnTo>
                          <a:pt x="40" y="261"/>
                        </a:lnTo>
                        <a:lnTo>
                          <a:pt x="41" y="261"/>
                        </a:lnTo>
                        <a:lnTo>
                          <a:pt x="43" y="258"/>
                        </a:lnTo>
                        <a:lnTo>
                          <a:pt x="41" y="258"/>
                        </a:lnTo>
                        <a:lnTo>
                          <a:pt x="45" y="253"/>
                        </a:lnTo>
                        <a:lnTo>
                          <a:pt x="43" y="251"/>
                        </a:lnTo>
                        <a:lnTo>
                          <a:pt x="46" y="248"/>
                        </a:lnTo>
                        <a:lnTo>
                          <a:pt x="43" y="248"/>
                        </a:lnTo>
                        <a:lnTo>
                          <a:pt x="45" y="240"/>
                        </a:lnTo>
                        <a:lnTo>
                          <a:pt x="46" y="236"/>
                        </a:lnTo>
                        <a:lnTo>
                          <a:pt x="48" y="233"/>
                        </a:lnTo>
                        <a:lnTo>
                          <a:pt x="50" y="228"/>
                        </a:lnTo>
                        <a:lnTo>
                          <a:pt x="55" y="225"/>
                        </a:lnTo>
                        <a:lnTo>
                          <a:pt x="60" y="210"/>
                        </a:lnTo>
                        <a:lnTo>
                          <a:pt x="63" y="208"/>
                        </a:lnTo>
                        <a:lnTo>
                          <a:pt x="63" y="201"/>
                        </a:lnTo>
                        <a:lnTo>
                          <a:pt x="60" y="196"/>
                        </a:lnTo>
                        <a:lnTo>
                          <a:pt x="60" y="190"/>
                        </a:lnTo>
                        <a:lnTo>
                          <a:pt x="58" y="187"/>
                        </a:lnTo>
                        <a:lnTo>
                          <a:pt x="56" y="180"/>
                        </a:lnTo>
                        <a:lnTo>
                          <a:pt x="55" y="177"/>
                        </a:lnTo>
                        <a:lnTo>
                          <a:pt x="55" y="173"/>
                        </a:lnTo>
                        <a:lnTo>
                          <a:pt x="53" y="168"/>
                        </a:lnTo>
                        <a:lnTo>
                          <a:pt x="56" y="165"/>
                        </a:lnTo>
                        <a:lnTo>
                          <a:pt x="53" y="155"/>
                        </a:lnTo>
                        <a:lnTo>
                          <a:pt x="46" y="150"/>
                        </a:lnTo>
                        <a:lnTo>
                          <a:pt x="38" y="145"/>
                        </a:lnTo>
                        <a:lnTo>
                          <a:pt x="32" y="137"/>
                        </a:lnTo>
                        <a:lnTo>
                          <a:pt x="32" y="133"/>
                        </a:lnTo>
                        <a:lnTo>
                          <a:pt x="28" y="125"/>
                        </a:lnTo>
                        <a:lnTo>
                          <a:pt x="33" y="123"/>
                        </a:lnTo>
                        <a:lnTo>
                          <a:pt x="35" y="120"/>
                        </a:lnTo>
                        <a:lnTo>
                          <a:pt x="32" y="108"/>
                        </a:lnTo>
                        <a:lnTo>
                          <a:pt x="33" y="105"/>
                        </a:lnTo>
                        <a:lnTo>
                          <a:pt x="38" y="103"/>
                        </a:lnTo>
                        <a:lnTo>
                          <a:pt x="38" y="98"/>
                        </a:lnTo>
                        <a:lnTo>
                          <a:pt x="33" y="97"/>
                        </a:lnTo>
                        <a:lnTo>
                          <a:pt x="32" y="92"/>
                        </a:lnTo>
                        <a:lnTo>
                          <a:pt x="28" y="87"/>
                        </a:lnTo>
                        <a:lnTo>
                          <a:pt x="25" y="85"/>
                        </a:lnTo>
                        <a:lnTo>
                          <a:pt x="20" y="74"/>
                        </a:lnTo>
                        <a:lnTo>
                          <a:pt x="13" y="70"/>
                        </a:lnTo>
                        <a:lnTo>
                          <a:pt x="12" y="67"/>
                        </a:lnTo>
                        <a:lnTo>
                          <a:pt x="8" y="64"/>
                        </a:lnTo>
                        <a:lnTo>
                          <a:pt x="3" y="57"/>
                        </a:lnTo>
                        <a:lnTo>
                          <a:pt x="0" y="55"/>
                        </a:lnTo>
                        <a:lnTo>
                          <a:pt x="0" y="52"/>
                        </a:lnTo>
                        <a:lnTo>
                          <a:pt x="7" y="50"/>
                        </a:lnTo>
                        <a:lnTo>
                          <a:pt x="10" y="47"/>
                        </a:lnTo>
                        <a:lnTo>
                          <a:pt x="8" y="44"/>
                        </a:lnTo>
                        <a:lnTo>
                          <a:pt x="8" y="37"/>
                        </a:lnTo>
                        <a:lnTo>
                          <a:pt x="12" y="34"/>
                        </a:lnTo>
                        <a:lnTo>
                          <a:pt x="12" y="27"/>
                        </a:lnTo>
                        <a:lnTo>
                          <a:pt x="15" y="22"/>
                        </a:lnTo>
                        <a:lnTo>
                          <a:pt x="23" y="25"/>
                        </a:lnTo>
                        <a:lnTo>
                          <a:pt x="30" y="20"/>
                        </a:lnTo>
                        <a:lnTo>
                          <a:pt x="35" y="20"/>
                        </a:lnTo>
                        <a:lnTo>
                          <a:pt x="36" y="19"/>
                        </a:lnTo>
                        <a:lnTo>
                          <a:pt x="36" y="14"/>
                        </a:lnTo>
                        <a:lnTo>
                          <a:pt x="40" y="10"/>
                        </a:lnTo>
                        <a:lnTo>
                          <a:pt x="46" y="12"/>
                        </a:lnTo>
                        <a:lnTo>
                          <a:pt x="48" y="9"/>
                        </a:lnTo>
                        <a:lnTo>
                          <a:pt x="45" y="5"/>
                        </a:lnTo>
                        <a:lnTo>
                          <a:pt x="45" y="4"/>
                        </a:lnTo>
                        <a:lnTo>
                          <a:pt x="50" y="2"/>
                        </a:lnTo>
                        <a:lnTo>
                          <a:pt x="58" y="2"/>
                        </a:lnTo>
                        <a:lnTo>
                          <a:pt x="58" y="0"/>
                        </a:lnTo>
                        <a:lnTo>
                          <a:pt x="58" y="0"/>
                        </a:lnTo>
                        <a:close/>
                        <a:moveTo>
                          <a:pt x="71" y="324"/>
                        </a:moveTo>
                        <a:lnTo>
                          <a:pt x="73" y="328"/>
                        </a:lnTo>
                        <a:lnTo>
                          <a:pt x="75" y="326"/>
                        </a:lnTo>
                        <a:lnTo>
                          <a:pt x="75" y="324"/>
                        </a:lnTo>
                        <a:lnTo>
                          <a:pt x="73" y="323"/>
                        </a:lnTo>
                        <a:lnTo>
                          <a:pt x="71" y="324"/>
                        </a:lnTo>
                        <a:lnTo>
                          <a:pt x="71" y="324"/>
                        </a:lnTo>
                        <a:close/>
                        <a:moveTo>
                          <a:pt x="56" y="303"/>
                        </a:moveTo>
                        <a:lnTo>
                          <a:pt x="56" y="308"/>
                        </a:lnTo>
                        <a:lnTo>
                          <a:pt x="58" y="304"/>
                        </a:lnTo>
                        <a:lnTo>
                          <a:pt x="56" y="303"/>
                        </a:lnTo>
                        <a:lnTo>
                          <a:pt x="56" y="303"/>
                        </a:lnTo>
                        <a:lnTo>
                          <a:pt x="56" y="303"/>
                        </a:lnTo>
                        <a:close/>
                        <a:moveTo>
                          <a:pt x="38" y="291"/>
                        </a:moveTo>
                        <a:lnTo>
                          <a:pt x="38" y="294"/>
                        </a:lnTo>
                        <a:lnTo>
                          <a:pt x="38" y="296"/>
                        </a:lnTo>
                        <a:lnTo>
                          <a:pt x="38" y="301"/>
                        </a:lnTo>
                        <a:lnTo>
                          <a:pt x="41" y="296"/>
                        </a:lnTo>
                        <a:lnTo>
                          <a:pt x="41" y="291"/>
                        </a:lnTo>
                        <a:lnTo>
                          <a:pt x="41" y="291"/>
                        </a:lnTo>
                        <a:lnTo>
                          <a:pt x="38" y="291"/>
                        </a:lnTo>
                        <a:lnTo>
                          <a:pt x="38" y="291"/>
                        </a:lnTo>
                        <a:close/>
                        <a:moveTo>
                          <a:pt x="126" y="196"/>
                        </a:moveTo>
                        <a:lnTo>
                          <a:pt x="128" y="201"/>
                        </a:lnTo>
                        <a:lnTo>
                          <a:pt x="131" y="203"/>
                        </a:lnTo>
                        <a:lnTo>
                          <a:pt x="133" y="203"/>
                        </a:lnTo>
                        <a:lnTo>
                          <a:pt x="126" y="196"/>
                        </a:lnTo>
                        <a:lnTo>
                          <a:pt x="126" y="196"/>
                        </a:lnTo>
                        <a:close/>
                        <a:moveTo>
                          <a:pt x="80" y="251"/>
                        </a:moveTo>
                        <a:lnTo>
                          <a:pt x="75" y="253"/>
                        </a:lnTo>
                        <a:lnTo>
                          <a:pt x="78" y="253"/>
                        </a:lnTo>
                        <a:lnTo>
                          <a:pt x="80" y="251"/>
                        </a:lnTo>
                        <a:lnTo>
                          <a:pt x="80" y="251"/>
                        </a:lnTo>
                        <a:close/>
                        <a:moveTo>
                          <a:pt x="80" y="256"/>
                        </a:moveTo>
                        <a:lnTo>
                          <a:pt x="76" y="258"/>
                        </a:lnTo>
                        <a:lnTo>
                          <a:pt x="76" y="261"/>
                        </a:lnTo>
                        <a:lnTo>
                          <a:pt x="81" y="263"/>
                        </a:lnTo>
                        <a:lnTo>
                          <a:pt x="81" y="260"/>
                        </a:lnTo>
                        <a:lnTo>
                          <a:pt x="80" y="256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25" name="Google Shape;2980;p98">
                    <a:extLst>
                      <a:ext uri="{FF2B5EF4-FFF2-40B4-BE49-F238E27FC236}">
                        <a16:creationId xmlns:a16="http://schemas.microsoft.com/office/drawing/2014/main" id="{4EA3C08F-7097-9283-DDF2-ED44E0D28F4F}"/>
                      </a:ext>
                    </a:extLst>
                  </p:cNvPr>
                  <p:cNvSpPr/>
                  <p:nvPr/>
                </p:nvSpPr>
                <p:spPr>
                  <a:xfrm>
                    <a:off x="7604060" y="2928348"/>
                    <a:ext cx="114516" cy="22619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16" h="437" extrusionOk="0">
                        <a:moveTo>
                          <a:pt x="98" y="1"/>
                        </a:moveTo>
                        <a:lnTo>
                          <a:pt x="101" y="0"/>
                        </a:lnTo>
                        <a:lnTo>
                          <a:pt x="106" y="1"/>
                        </a:lnTo>
                        <a:lnTo>
                          <a:pt x="111" y="0"/>
                        </a:lnTo>
                        <a:lnTo>
                          <a:pt x="116" y="0"/>
                        </a:lnTo>
                        <a:lnTo>
                          <a:pt x="120" y="5"/>
                        </a:lnTo>
                        <a:lnTo>
                          <a:pt x="125" y="8"/>
                        </a:lnTo>
                        <a:lnTo>
                          <a:pt x="125" y="15"/>
                        </a:lnTo>
                        <a:lnTo>
                          <a:pt x="130" y="15"/>
                        </a:lnTo>
                        <a:lnTo>
                          <a:pt x="135" y="20"/>
                        </a:lnTo>
                        <a:lnTo>
                          <a:pt x="135" y="26"/>
                        </a:lnTo>
                        <a:lnTo>
                          <a:pt x="138" y="33"/>
                        </a:lnTo>
                        <a:lnTo>
                          <a:pt x="138" y="40"/>
                        </a:lnTo>
                        <a:lnTo>
                          <a:pt x="138" y="50"/>
                        </a:lnTo>
                        <a:lnTo>
                          <a:pt x="138" y="55"/>
                        </a:lnTo>
                        <a:lnTo>
                          <a:pt x="136" y="56"/>
                        </a:lnTo>
                        <a:lnTo>
                          <a:pt x="131" y="60"/>
                        </a:lnTo>
                        <a:lnTo>
                          <a:pt x="131" y="63"/>
                        </a:lnTo>
                        <a:lnTo>
                          <a:pt x="128" y="63"/>
                        </a:lnTo>
                        <a:lnTo>
                          <a:pt x="128" y="66"/>
                        </a:lnTo>
                        <a:lnTo>
                          <a:pt x="130" y="71"/>
                        </a:lnTo>
                        <a:lnTo>
                          <a:pt x="128" y="73"/>
                        </a:lnTo>
                        <a:lnTo>
                          <a:pt x="125" y="73"/>
                        </a:lnTo>
                        <a:lnTo>
                          <a:pt x="121" y="75"/>
                        </a:lnTo>
                        <a:lnTo>
                          <a:pt x="120" y="80"/>
                        </a:lnTo>
                        <a:lnTo>
                          <a:pt x="121" y="81"/>
                        </a:lnTo>
                        <a:lnTo>
                          <a:pt x="120" y="84"/>
                        </a:lnTo>
                        <a:lnTo>
                          <a:pt x="120" y="89"/>
                        </a:lnTo>
                        <a:lnTo>
                          <a:pt x="123" y="91"/>
                        </a:lnTo>
                        <a:lnTo>
                          <a:pt x="125" y="93"/>
                        </a:lnTo>
                        <a:lnTo>
                          <a:pt x="128" y="96"/>
                        </a:lnTo>
                        <a:lnTo>
                          <a:pt x="128" y="101"/>
                        </a:lnTo>
                        <a:lnTo>
                          <a:pt x="130" y="106"/>
                        </a:lnTo>
                        <a:lnTo>
                          <a:pt x="136" y="103"/>
                        </a:lnTo>
                        <a:lnTo>
                          <a:pt x="146" y="101"/>
                        </a:lnTo>
                        <a:lnTo>
                          <a:pt x="148" y="104"/>
                        </a:lnTo>
                        <a:lnTo>
                          <a:pt x="146" y="106"/>
                        </a:lnTo>
                        <a:lnTo>
                          <a:pt x="150" y="109"/>
                        </a:lnTo>
                        <a:lnTo>
                          <a:pt x="156" y="108"/>
                        </a:lnTo>
                        <a:lnTo>
                          <a:pt x="156" y="111"/>
                        </a:lnTo>
                        <a:lnTo>
                          <a:pt x="155" y="114"/>
                        </a:lnTo>
                        <a:lnTo>
                          <a:pt x="158" y="118"/>
                        </a:lnTo>
                        <a:lnTo>
                          <a:pt x="165" y="119"/>
                        </a:lnTo>
                        <a:lnTo>
                          <a:pt x="163" y="123"/>
                        </a:lnTo>
                        <a:lnTo>
                          <a:pt x="165" y="124"/>
                        </a:lnTo>
                        <a:lnTo>
                          <a:pt x="166" y="123"/>
                        </a:lnTo>
                        <a:lnTo>
                          <a:pt x="173" y="123"/>
                        </a:lnTo>
                        <a:lnTo>
                          <a:pt x="178" y="124"/>
                        </a:lnTo>
                        <a:lnTo>
                          <a:pt x="178" y="128"/>
                        </a:lnTo>
                        <a:lnTo>
                          <a:pt x="176" y="133"/>
                        </a:lnTo>
                        <a:lnTo>
                          <a:pt x="176" y="136"/>
                        </a:lnTo>
                        <a:lnTo>
                          <a:pt x="169" y="143"/>
                        </a:lnTo>
                        <a:lnTo>
                          <a:pt x="166" y="146"/>
                        </a:lnTo>
                        <a:lnTo>
                          <a:pt x="166" y="149"/>
                        </a:lnTo>
                        <a:lnTo>
                          <a:pt x="169" y="148"/>
                        </a:lnTo>
                        <a:lnTo>
                          <a:pt x="178" y="149"/>
                        </a:lnTo>
                        <a:lnTo>
                          <a:pt x="179" y="149"/>
                        </a:lnTo>
                        <a:lnTo>
                          <a:pt x="183" y="148"/>
                        </a:lnTo>
                        <a:lnTo>
                          <a:pt x="186" y="151"/>
                        </a:lnTo>
                        <a:lnTo>
                          <a:pt x="184" y="156"/>
                        </a:lnTo>
                        <a:lnTo>
                          <a:pt x="186" y="161"/>
                        </a:lnTo>
                        <a:lnTo>
                          <a:pt x="191" y="163"/>
                        </a:lnTo>
                        <a:lnTo>
                          <a:pt x="194" y="161"/>
                        </a:lnTo>
                        <a:lnTo>
                          <a:pt x="201" y="161"/>
                        </a:lnTo>
                        <a:lnTo>
                          <a:pt x="211" y="156"/>
                        </a:lnTo>
                        <a:lnTo>
                          <a:pt x="216" y="158"/>
                        </a:lnTo>
                        <a:lnTo>
                          <a:pt x="216" y="163"/>
                        </a:lnTo>
                        <a:lnTo>
                          <a:pt x="209" y="168"/>
                        </a:lnTo>
                        <a:lnTo>
                          <a:pt x="201" y="169"/>
                        </a:lnTo>
                        <a:lnTo>
                          <a:pt x="201" y="173"/>
                        </a:lnTo>
                        <a:lnTo>
                          <a:pt x="199" y="176"/>
                        </a:lnTo>
                        <a:lnTo>
                          <a:pt x="201" y="179"/>
                        </a:lnTo>
                        <a:lnTo>
                          <a:pt x="196" y="182"/>
                        </a:lnTo>
                        <a:lnTo>
                          <a:pt x="194" y="182"/>
                        </a:lnTo>
                        <a:lnTo>
                          <a:pt x="191" y="189"/>
                        </a:lnTo>
                        <a:lnTo>
                          <a:pt x="183" y="189"/>
                        </a:lnTo>
                        <a:lnTo>
                          <a:pt x="178" y="191"/>
                        </a:lnTo>
                        <a:lnTo>
                          <a:pt x="178" y="192"/>
                        </a:lnTo>
                        <a:lnTo>
                          <a:pt x="181" y="196"/>
                        </a:lnTo>
                        <a:lnTo>
                          <a:pt x="179" y="199"/>
                        </a:lnTo>
                        <a:lnTo>
                          <a:pt x="173" y="197"/>
                        </a:lnTo>
                        <a:lnTo>
                          <a:pt x="169" y="201"/>
                        </a:lnTo>
                        <a:lnTo>
                          <a:pt x="169" y="206"/>
                        </a:lnTo>
                        <a:lnTo>
                          <a:pt x="168" y="207"/>
                        </a:lnTo>
                        <a:lnTo>
                          <a:pt x="163" y="207"/>
                        </a:lnTo>
                        <a:lnTo>
                          <a:pt x="156" y="212"/>
                        </a:lnTo>
                        <a:lnTo>
                          <a:pt x="148" y="209"/>
                        </a:lnTo>
                        <a:lnTo>
                          <a:pt x="145" y="214"/>
                        </a:lnTo>
                        <a:lnTo>
                          <a:pt x="145" y="221"/>
                        </a:lnTo>
                        <a:lnTo>
                          <a:pt x="141" y="224"/>
                        </a:lnTo>
                        <a:lnTo>
                          <a:pt x="141" y="231"/>
                        </a:lnTo>
                        <a:lnTo>
                          <a:pt x="143" y="234"/>
                        </a:lnTo>
                        <a:lnTo>
                          <a:pt x="140" y="237"/>
                        </a:lnTo>
                        <a:lnTo>
                          <a:pt x="133" y="239"/>
                        </a:lnTo>
                        <a:lnTo>
                          <a:pt x="133" y="242"/>
                        </a:lnTo>
                        <a:lnTo>
                          <a:pt x="136" y="244"/>
                        </a:lnTo>
                        <a:lnTo>
                          <a:pt x="141" y="251"/>
                        </a:lnTo>
                        <a:lnTo>
                          <a:pt x="145" y="254"/>
                        </a:lnTo>
                        <a:lnTo>
                          <a:pt x="146" y="257"/>
                        </a:lnTo>
                        <a:lnTo>
                          <a:pt x="153" y="261"/>
                        </a:lnTo>
                        <a:lnTo>
                          <a:pt x="158" y="272"/>
                        </a:lnTo>
                        <a:lnTo>
                          <a:pt x="161" y="274"/>
                        </a:lnTo>
                        <a:lnTo>
                          <a:pt x="165" y="279"/>
                        </a:lnTo>
                        <a:lnTo>
                          <a:pt x="166" y="284"/>
                        </a:lnTo>
                        <a:lnTo>
                          <a:pt x="171" y="285"/>
                        </a:lnTo>
                        <a:lnTo>
                          <a:pt x="171" y="290"/>
                        </a:lnTo>
                        <a:lnTo>
                          <a:pt x="166" y="292"/>
                        </a:lnTo>
                        <a:lnTo>
                          <a:pt x="165" y="295"/>
                        </a:lnTo>
                        <a:lnTo>
                          <a:pt x="168" y="307"/>
                        </a:lnTo>
                        <a:lnTo>
                          <a:pt x="166" y="310"/>
                        </a:lnTo>
                        <a:lnTo>
                          <a:pt x="161" y="312"/>
                        </a:lnTo>
                        <a:lnTo>
                          <a:pt x="165" y="320"/>
                        </a:lnTo>
                        <a:lnTo>
                          <a:pt x="165" y="324"/>
                        </a:lnTo>
                        <a:lnTo>
                          <a:pt x="171" y="332"/>
                        </a:lnTo>
                        <a:lnTo>
                          <a:pt x="179" y="337"/>
                        </a:lnTo>
                        <a:lnTo>
                          <a:pt x="186" y="342"/>
                        </a:lnTo>
                        <a:lnTo>
                          <a:pt x="189" y="352"/>
                        </a:lnTo>
                        <a:lnTo>
                          <a:pt x="186" y="355"/>
                        </a:lnTo>
                        <a:lnTo>
                          <a:pt x="188" y="360"/>
                        </a:lnTo>
                        <a:lnTo>
                          <a:pt x="188" y="364"/>
                        </a:lnTo>
                        <a:lnTo>
                          <a:pt x="189" y="367"/>
                        </a:lnTo>
                        <a:lnTo>
                          <a:pt x="191" y="374"/>
                        </a:lnTo>
                        <a:lnTo>
                          <a:pt x="193" y="377"/>
                        </a:lnTo>
                        <a:lnTo>
                          <a:pt x="193" y="383"/>
                        </a:lnTo>
                        <a:lnTo>
                          <a:pt x="196" y="388"/>
                        </a:lnTo>
                        <a:lnTo>
                          <a:pt x="196" y="395"/>
                        </a:lnTo>
                        <a:lnTo>
                          <a:pt x="193" y="397"/>
                        </a:lnTo>
                        <a:lnTo>
                          <a:pt x="188" y="412"/>
                        </a:lnTo>
                        <a:lnTo>
                          <a:pt x="183" y="415"/>
                        </a:lnTo>
                        <a:lnTo>
                          <a:pt x="181" y="420"/>
                        </a:lnTo>
                        <a:lnTo>
                          <a:pt x="179" y="423"/>
                        </a:lnTo>
                        <a:lnTo>
                          <a:pt x="178" y="427"/>
                        </a:lnTo>
                        <a:lnTo>
                          <a:pt x="178" y="427"/>
                        </a:lnTo>
                        <a:lnTo>
                          <a:pt x="176" y="432"/>
                        </a:lnTo>
                        <a:lnTo>
                          <a:pt x="174" y="437"/>
                        </a:lnTo>
                        <a:lnTo>
                          <a:pt x="173" y="430"/>
                        </a:lnTo>
                        <a:lnTo>
                          <a:pt x="173" y="425"/>
                        </a:lnTo>
                        <a:lnTo>
                          <a:pt x="171" y="422"/>
                        </a:lnTo>
                        <a:lnTo>
                          <a:pt x="171" y="420"/>
                        </a:lnTo>
                        <a:lnTo>
                          <a:pt x="173" y="420"/>
                        </a:lnTo>
                        <a:lnTo>
                          <a:pt x="174" y="418"/>
                        </a:lnTo>
                        <a:lnTo>
                          <a:pt x="178" y="415"/>
                        </a:lnTo>
                        <a:lnTo>
                          <a:pt x="178" y="410"/>
                        </a:lnTo>
                        <a:lnTo>
                          <a:pt x="176" y="410"/>
                        </a:lnTo>
                        <a:lnTo>
                          <a:pt x="176" y="403"/>
                        </a:lnTo>
                        <a:lnTo>
                          <a:pt x="178" y="403"/>
                        </a:lnTo>
                        <a:lnTo>
                          <a:pt x="179" y="400"/>
                        </a:lnTo>
                        <a:lnTo>
                          <a:pt x="178" y="395"/>
                        </a:lnTo>
                        <a:lnTo>
                          <a:pt x="181" y="392"/>
                        </a:lnTo>
                        <a:lnTo>
                          <a:pt x="176" y="388"/>
                        </a:lnTo>
                        <a:lnTo>
                          <a:pt x="174" y="385"/>
                        </a:lnTo>
                        <a:lnTo>
                          <a:pt x="174" y="380"/>
                        </a:lnTo>
                        <a:lnTo>
                          <a:pt x="176" y="378"/>
                        </a:lnTo>
                        <a:lnTo>
                          <a:pt x="174" y="374"/>
                        </a:lnTo>
                        <a:lnTo>
                          <a:pt x="173" y="372"/>
                        </a:lnTo>
                        <a:lnTo>
                          <a:pt x="171" y="359"/>
                        </a:lnTo>
                        <a:lnTo>
                          <a:pt x="168" y="355"/>
                        </a:lnTo>
                        <a:lnTo>
                          <a:pt x="166" y="352"/>
                        </a:lnTo>
                        <a:lnTo>
                          <a:pt x="163" y="345"/>
                        </a:lnTo>
                        <a:lnTo>
                          <a:pt x="161" y="354"/>
                        </a:lnTo>
                        <a:lnTo>
                          <a:pt x="160" y="354"/>
                        </a:lnTo>
                        <a:lnTo>
                          <a:pt x="161" y="350"/>
                        </a:lnTo>
                        <a:lnTo>
                          <a:pt x="158" y="347"/>
                        </a:lnTo>
                        <a:lnTo>
                          <a:pt x="158" y="337"/>
                        </a:lnTo>
                        <a:lnTo>
                          <a:pt x="155" y="334"/>
                        </a:lnTo>
                        <a:lnTo>
                          <a:pt x="155" y="329"/>
                        </a:lnTo>
                        <a:lnTo>
                          <a:pt x="156" y="327"/>
                        </a:lnTo>
                        <a:lnTo>
                          <a:pt x="151" y="324"/>
                        </a:lnTo>
                        <a:lnTo>
                          <a:pt x="150" y="315"/>
                        </a:lnTo>
                        <a:lnTo>
                          <a:pt x="150" y="315"/>
                        </a:lnTo>
                        <a:lnTo>
                          <a:pt x="146" y="299"/>
                        </a:lnTo>
                        <a:lnTo>
                          <a:pt x="145" y="297"/>
                        </a:lnTo>
                        <a:lnTo>
                          <a:pt x="143" y="294"/>
                        </a:lnTo>
                        <a:lnTo>
                          <a:pt x="145" y="292"/>
                        </a:lnTo>
                        <a:lnTo>
                          <a:pt x="145" y="290"/>
                        </a:lnTo>
                        <a:lnTo>
                          <a:pt x="141" y="285"/>
                        </a:lnTo>
                        <a:lnTo>
                          <a:pt x="143" y="284"/>
                        </a:lnTo>
                        <a:lnTo>
                          <a:pt x="143" y="280"/>
                        </a:lnTo>
                        <a:lnTo>
                          <a:pt x="141" y="284"/>
                        </a:lnTo>
                        <a:lnTo>
                          <a:pt x="138" y="284"/>
                        </a:lnTo>
                        <a:lnTo>
                          <a:pt x="135" y="284"/>
                        </a:lnTo>
                        <a:lnTo>
                          <a:pt x="133" y="279"/>
                        </a:lnTo>
                        <a:lnTo>
                          <a:pt x="131" y="277"/>
                        </a:lnTo>
                        <a:lnTo>
                          <a:pt x="126" y="269"/>
                        </a:lnTo>
                        <a:lnTo>
                          <a:pt x="125" y="266"/>
                        </a:lnTo>
                        <a:lnTo>
                          <a:pt x="123" y="266"/>
                        </a:lnTo>
                        <a:lnTo>
                          <a:pt x="123" y="264"/>
                        </a:lnTo>
                        <a:lnTo>
                          <a:pt x="118" y="261"/>
                        </a:lnTo>
                        <a:lnTo>
                          <a:pt x="121" y="264"/>
                        </a:lnTo>
                        <a:lnTo>
                          <a:pt x="120" y="266"/>
                        </a:lnTo>
                        <a:lnTo>
                          <a:pt x="120" y="267"/>
                        </a:lnTo>
                        <a:lnTo>
                          <a:pt x="123" y="271"/>
                        </a:lnTo>
                        <a:lnTo>
                          <a:pt x="121" y="274"/>
                        </a:lnTo>
                        <a:lnTo>
                          <a:pt x="120" y="276"/>
                        </a:lnTo>
                        <a:lnTo>
                          <a:pt x="121" y="279"/>
                        </a:lnTo>
                        <a:lnTo>
                          <a:pt x="115" y="284"/>
                        </a:lnTo>
                        <a:lnTo>
                          <a:pt x="110" y="284"/>
                        </a:lnTo>
                        <a:lnTo>
                          <a:pt x="108" y="280"/>
                        </a:lnTo>
                        <a:lnTo>
                          <a:pt x="106" y="280"/>
                        </a:lnTo>
                        <a:lnTo>
                          <a:pt x="108" y="284"/>
                        </a:lnTo>
                        <a:lnTo>
                          <a:pt x="108" y="285"/>
                        </a:lnTo>
                        <a:lnTo>
                          <a:pt x="111" y="285"/>
                        </a:lnTo>
                        <a:lnTo>
                          <a:pt x="106" y="289"/>
                        </a:lnTo>
                        <a:lnTo>
                          <a:pt x="103" y="289"/>
                        </a:lnTo>
                        <a:lnTo>
                          <a:pt x="100" y="287"/>
                        </a:lnTo>
                        <a:lnTo>
                          <a:pt x="98" y="290"/>
                        </a:lnTo>
                        <a:lnTo>
                          <a:pt x="90" y="297"/>
                        </a:lnTo>
                        <a:lnTo>
                          <a:pt x="85" y="297"/>
                        </a:lnTo>
                        <a:lnTo>
                          <a:pt x="83" y="297"/>
                        </a:lnTo>
                        <a:lnTo>
                          <a:pt x="81" y="297"/>
                        </a:lnTo>
                        <a:lnTo>
                          <a:pt x="81" y="295"/>
                        </a:lnTo>
                        <a:lnTo>
                          <a:pt x="80" y="299"/>
                        </a:lnTo>
                        <a:lnTo>
                          <a:pt x="78" y="299"/>
                        </a:lnTo>
                        <a:lnTo>
                          <a:pt x="75" y="295"/>
                        </a:lnTo>
                        <a:lnTo>
                          <a:pt x="68" y="299"/>
                        </a:lnTo>
                        <a:lnTo>
                          <a:pt x="68" y="302"/>
                        </a:lnTo>
                        <a:lnTo>
                          <a:pt x="65" y="302"/>
                        </a:lnTo>
                        <a:lnTo>
                          <a:pt x="65" y="295"/>
                        </a:lnTo>
                        <a:lnTo>
                          <a:pt x="71" y="290"/>
                        </a:lnTo>
                        <a:lnTo>
                          <a:pt x="71" y="284"/>
                        </a:lnTo>
                        <a:lnTo>
                          <a:pt x="70" y="290"/>
                        </a:lnTo>
                        <a:lnTo>
                          <a:pt x="63" y="294"/>
                        </a:lnTo>
                        <a:lnTo>
                          <a:pt x="60" y="299"/>
                        </a:lnTo>
                        <a:lnTo>
                          <a:pt x="60" y="297"/>
                        </a:lnTo>
                        <a:lnTo>
                          <a:pt x="60" y="295"/>
                        </a:lnTo>
                        <a:lnTo>
                          <a:pt x="58" y="290"/>
                        </a:lnTo>
                        <a:lnTo>
                          <a:pt x="63" y="269"/>
                        </a:lnTo>
                        <a:lnTo>
                          <a:pt x="68" y="266"/>
                        </a:lnTo>
                        <a:lnTo>
                          <a:pt x="66" y="264"/>
                        </a:lnTo>
                        <a:lnTo>
                          <a:pt x="62" y="254"/>
                        </a:lnTo>
                        <a:lnTo>
                          <a:pt x="62" y="246"/>
                        </a:lnTo>
                        <a:lnTo>
                          <a:pt x="58" y="246"/>
                        </a:lnTo>
                        <a:lnTo>
                          <a:pt x="58" y="242"/>
                        </a:lnTo>
                        <a:lnTo>
                          <a:pt x="58" y="242"/>
                        </a:lnTo>
                        <a:lnTo>
                          <a:pt x="55" y="239"/>
                        </a:lnTo>
                        <a:lnTo>
                          <a:pt x="53" y="232"/>
                        </a:lnTo>
                        <a:lnTo>
                          <a:pt x="52" y="229"/>
                        </a:lnTo>
                        <a:lnTo>
                          <a:pt x="48" y="226"/>
                        </a:lnTo>
                        <a:lnTo>
                          <a:pt x="48" y="222"/>
                        </a:lnTo>
                        <a:lnTo>
                          <a:pt x="43" y="219"/>
                        </a:lnTo>
                        <a:lnTo>
                          <a:pt x="45" y="222"/>
                        </a:lnTo>
                        <a:lnTo>
                          <a:pt x="47" y="231"/>
                        </a:lnTo>
                        <a:lnTo>
                          <a:pt x="37" y="227"/>
                        </a:lnTo>
                        <a:lnTo>
                          <a:pt x="33" y="224"/>
                        </a:lnTo>
                        <a:lnTo>
                          <a:pt x="33" y="221"/>
                        </a:lnTo>
                        <a:lnTo>
                          <a:pt x="28" y="217"/>
                        </a:lnTo>
                        <a:lnTo>
                          <a:pt x="28" y="216"/>
                        </a:lnTo>
                        <a:lnTo>
                          <a:pt x="32" y="216"/>
                        </a:lnTo>
                        <a:lnTo>
                          <a:pt x="33" y="219"/>
                        </a:lnTo>
                        <a:lnTo>
                          <a:pt x="37" y="221"/>
                        </a:lnTo>
                        <a:lnTo>
                          <a:pt x="38" y="219"/>
                        </a:lnTo>
                        <a:lnTo>
                          <a:pt x="37" y="217"/>
                        </a:lnTo>
                        <a:lnTo>
                          <a:pt x="33" y="216"/>
                        </a:lnTo>
                        <a:lnTo>
                          <a:pt x="38" y="212"/>
                        </a:lnTo>
                        <a:lnTo>
                          <a:pt x="40" y="216"/>
                        </a:lnTo>
                        <a:lnTo>
                          <a:pt x="43" y="214"/>
                        </a:lnTo>
                        <a:lnTo>
                          <a:pt x="43" y="211"/>
                        </a:lnTo>
                        <a:lnTo>
                          <a:pt x="38" y="204"/>
                        </a:lnTo>
                        <a:lnTo>
                          <a:pt x="30" y="204"/>
                        </a:lnTo>
                        <a:lnTo>
                          <a:pt x="28" y="201"/>
                        </a:lnTo>
                        <a:lnTo>
                          <a:pt x="25" y="199"/>
                        </a:lnTo>
                        <a:lnTo>
                          <a:pt x="23" y="197"/>
                        </a:lnTo>
                        <a:lnTo>
                          <a:pt x="23" y="199"/>
                        </a:lnTo>
                        <a:lnTo>
                          <a:pt x="18" y="201"/>
                        </a:lnTo>
                        <a:lnTo>
                          <a:pt x="18" y="199"/>
                        </a:lnTo>
                        <a:lnTo>
                          <a:pt x="22" y="194"/>
                        </a:lnTo>
                        <a:lnTo>
                          <a:pt x="17" y="196"/>
                        </a:lnTo>
                        <a:lnTo>
                          <a:pt x="13" y="192"/>
                        </a:lnTo>
                        <a:lnTo>
                          <a:pt x="13" y="194"/>
                        </a:lnTo>
                        <a:lnTo>
                          <a:pt x="15" y="197"/>
                        </a:lnTo>
                        <a:lnTo>
                          <a:pt x="5" y="189"/>
                        </a:lnTo>
                        <a:lnTo>
                          <a:pt x="3" y="184"/>
                        </a:lnTo>
                        <a:lnTo>
                          <a:pt x="0" y="179"/>
                        </a:lnTo>
                        <a:lnTo>
                          <a:pt x="0" y="179"/>
                        </a:lnTo>
                        <a:lnTo>
                          <a:pt x="0" y="178"/>
                        </a:lnTo>
                        <a:lnTo>
                          <a:pt x="2" y="174"/>
                        </a:lnTo>
                        <a:lnTo>
                          <a:pt x="5" y="168"/>
                        </a:lnTo>
                        <a:lnTo>
                          <a:pt x="8" y="169"/>
                        </a:lnTo>
                        <a:lnTo>
                          <a:pt x="10" y="164"/>
                        </a:lnTo>
                        <a:lnTo>
                          <a:pt x="10" y="156"/>
                        </a:lnTo>
                        <a:lnTo>
                          <a:pt x="12" y="153"/>
                        </a:lnTo>
                        <a:lnTo>
                          <a:pt x="13" y="153"/>
                        </a:lnTo>
                        <a:lnTo>
                          <a:pt x="17" y="153"/>
                        </a:lnTo>
                        <a:lnTo>
                          <a:pt x="18" y="144"/>
                        </a:lnTo>
                        <a:lnTo>
                          <a:pt x="18" y="141"/>
                        </a:lnTo>
                        <a:lnTo>
                          <a:pt x="18" y="134"/>
                        </a:lnTo>
                        <a:lnTo>
                          <a:pt x="18" y="129"/>
                        </a:lnTo>
                        <a:lnTo>
                          <a:pt x="23" y="129"/>
                        </a:lnTo>
                        <a:lnTo>
                          <a:pt x="23" y="123"/>
                        </a:lnTo>
                        <a:lnTo>
                          <a:pt x="23" y="116"/>
                        </a:lnTo>
                        <a:lnTo>
                          <a:pt x="20" y="106"/>
                        </a:lnTo>
                        <a:lnTo>
                          <a:pt x="25" y="106"/>
                        </a:lnTo>
                        <a:lnTo>
                          <a:pt x="30" y="108"/>
                        </a:lnTo>
                        <a:lnTo>
                          <a:pt x="37" y="106"/>
                        </a:lnTo>
                        <a:lnTo>
                          <a:pt x="40" y="99"/>
                        </a:lnTo>
                        <a:lnTo>
                          <a:pt x="42" y="89"/>
                        </a:lnTo>
                        <a:lnTo>
                          <a:pt x="48" y="78"/>
                        </a:lnTo>
                        <a:lnTo>
                          <a:pt x="42" y="75"/>
                        </a:lnTo>
                        <a:lnTo>
                          <a:pt x="42" y="71"/>
                        </a:lnTo>
                        <a:lnTo>
                          <a:pt x="48" y="61"/>
                        </a:lnTo>
                        <a:lnTo>
                          <a:pt x="52" y="53"/>
                        </a:lnTo>
                        <a:lnTo>
                          <a:pt x="50" y="51"/>
                        </a:lnTo>
                        <a:lnTo>
                          <a:pt x="50" y="45"/>
                        </a:lnTo>
                        <a:lnTo>
                          <a:pt x="58" y="35"/>
                        </a:lnTo>
                        <a:lnTo>
                          <a:pt x="63" y="33"/>
                        </a:lnTo>
                        <a:lnTo>
                          <a:pt x="70" y="26"/>
                        </a:lnTo>
                        <a:lnTo>
                          <a:pt x="71" y="21"/>
                        </a:lnTo>
                        <a:lnTo>
                          <a:pt x="80" y="18"/>
                        </a:lnTo>
                        <a:lnTo>
                          <a:pt x="86" y="15"/>
                        </a:lnTo>
                        <a:lnTo>
                          <a:pt x="91" y="16"/>
                        </a:lnTo>
                        <a:lnTo>
                          <a:pt x="95" y="18"/>
                        </a:lnTo>
                        <a:lnTo>
                          <a:pt x="95" y="15"/>
                        </a:lnTo>
                        <a:lnTo>
                          <a:pt x="95" y="10"/>
                        </a:lnTo>
                        <a:lnTo>
                          <a:pt x="100" y="5"/>
                        </a:lnTo>
                        <a:lnTo>
                          <a:pt x="98" y="1"/>
                        </a:lnTo>
                        <a:lnTo>
                          <a:pt x="98" y="1"/>
                        </a:lnTo>
                        <a:lnTo>
                          <a:pt x="98" y="1"/>
                        </a:lnTo>
                        <a:close/>
                        <a:moveTo>
                          <a:pt x="32" y="232"/>
                        </a:moveTo>
                        <a:lnTo>
                          <a:pt x="33" y="236"/>
                        </a:lnTo>
                        <a:lnTo>
                          <a:pt x="38" y="237"/>
                        </a:lnTo>
                        <a:lnTo>
                          <a:pt x="40" y="234"/>
                        </a:lnTo>
                        <a:lnTo>
                          <a:pt x="35" y="231"/>
                        </a:lnTo>
                        <a:lnTo>
                          <a:pt x="32" y="232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26" name="Google Shape;2981;p98">
                    <a:extLst>
                      <a:ext uri="{FF2B5EF4-FFF2-40B4-BE49-F238E27FC236}">
                        <a16:creationId xmlns:a16="http://schemas.microsoft.com/office/drawing/2014/main" id="{FB9170EA-1164-6FA6-32B3-38B128653C50}"/>
                      </a:ext>
                    </a:extLst>
                  </p:cNvPr>
                  <p:cNvSpPr/>
                  <p:nvPr/>
                </p:nvSpPr>
                <p:spPr>
                  <a:xfrm>
                    <a:off x="7453155" y="3156617"/>
                    <a:ext cx="28896" cy="4669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3" h="90" extrusionOk="0">
                        <a:moveTo>
                          <a:pt x="0" y="43"/>
                        </a:moveTo>
                        <a:lnTo>
                          <a:pt x="0" y="38"/>
                        </a:lnTo>
                        <a:lnTo>
                          <a:pt x="0" y="35"/>
                        </a:lnTo>
                        <a:lnTo>
                          <a:pt x="4" y="33"/>
                        </a:lnTo>
                        <a:lnTo>
                          <a:pt x="2" y="35"/>
                        </a:lnTo>
                        <a:lnTo>
                          <a:pt x="2" y="35"/>
                        </a:lnTo>
                        <a:lnTo>
                          <a:pt x="2" y="38"/>
                        </a:lnTo>
                        <a:lnTo>
                          <a:pt x="0" y="43"/>
                        </a:lnTo>
                        <a:lnTo>
                          <a:pt x="0" y="43"/>
                        </a:lnTo>
                        <a:close/>
                        <a:moveTo>
                          <a:pt x="9" y="7"/>
                        </a:moveTo>
                        <a:lnTo>
                          <a:pt x="2" y="3"/>
                        </a:lnTo>
                        <a:lnTo>
                          <a:pt x="2" y="0"/>
                        </a:lnTo>
                        <a:lnTo>
                          <a:pt x="10" y="0"/>
                        </a:lnTo>
                        <a:lnTo>
                          <a:pt x="12" y="0"/>
                        </a:lnTo>
                        <a:lnTo>
                          <a:pt x="10" y="5"/>
                        </a:lnTo>
                        <a:lnTo>
                          <a:pt x="9" y="5"/>
                        </a:lnTo>
                        <a:lnTo>
                          <a:pt x="9" y="7"/>
                        </a:lnTo>
                        <a:lnTo>
                          <a:pt x="9" y="7"/>
                        </a:lnTo>
                        <a:close/>
                        <a:moveTo>
                          <a:pt x="15" y="2"/>
                        </a:moveTo>
                        <a:lnTo>
                          <a:pt x="19" y="3"/>
                        </a:lnTo>
                        <a:lnTo>
                          <a:pt x="19" y="7"/>
                        </a:lnTo>
                        <a:lnTo>
                          <a:pt x="25" y="8"/>
                        </a:lnTo>
                        <a:lnTo>
                          <a:pt x="25" y="12"/>
                        </a:lnTo>
                        <a:lnTo>
                          <a:pt x="24" y="10"/>
                        </a:lnTo>
                        <a:lnTo>
                          <a:pt x="19" y="10"/>
                        </a:lnTo>
                        <a:lnTo>
                          <a:pt x="17" y="8"/>
                        </a:lnTo>
                        <a:lnTo>
                          <a:pt x="12" y="7"/>
                        </a:lnTo>
                        <a:lnTo>
                          <a:pt x="12" y="5"/>
                        </a:lnTo>
                        <a:lnTo>
                          <a:pt x="15" y="3"/>
                        </a:lnTo>
                        <a:lnTo>
                          <a:pt x="14" y="3"/>
                        </a:lnTo>
                        <a:lnTo>
                          <a:pt x="15" y="2"/>
                        </a:lnTo>
                        <a:lnTo>
                          <a:pt x="15" y="2"/>
                        </a:lnTo>
                        <a:close/>
                        <a:moveTo>
                          <a:pt x="10" y="8"/>
                        </a:moveTo>
                        <a:lnTo>
                          <a:pt x="10" y="10"/>
                        </a:lnTo>
                        <a:lnTo>
                          <a:pt x="12" y="12"/>
                        </a:lnTo>
                        <a:lnTo>
                          <a:pt x="10" y="12"/>
                        </a:lnTo>
                        <a:lnTo>
                          <a:pt x="9" y="12"/>
                        </a:lnTo>
                        <a:lnTo>
                          <a:pt x="10" y="13"/>
                        </a:lnTo>
                        <a:lnTo>
                          <a:pt x="10" y="17"/>
                        </a:lnTo>
                        <a:lnTo>
                          <a:pt x="7" y="20"/>
                        </a:lnTo>
                        <a:lnTo>
                          <a:pt x="5" y="20"/>
                        </a:lnTo>
                        <a:lnTo>
                          <a:pt x="4" y="18"/>
                        </a:lnTo>
                        <a:lnTo>
                          <a:pt x="0" y="17"/>
                        </a:lnTo>
                        <a:lnTo>
                          <a:pt x="0" y="18"/>
                        </a:lnTo>
                        <a:lnTo>
                          <a:pt x="2" y="20"/>
                        </a:lnTo>
                        <a:lnTo>
                          <a:pt x="4" y="22"/>
                        </a:lnTo>
                        <a:lnTo>
                          <a:pt x="4" y="23"/>
                        </a:lnTo>
                        <a:lnTo>
                          <a:pt x="5" y="27"/>
                        </a:lnTo>
                        <a:lnTo>
                          <a:pt x="5" y="33"/>
                        </a:lnTo>
                        <a:lnTo>
                          <a:pt x="4" y="35"/>
                        </a:lnTo>
                        <a:lnTo>
                          <a:pt x="2" y="45"/>
                        </a:lnTo>
                        <a:lnTo>
                          <a:pt x="2" y="48"/>
                        </a:lnTo>
                        <a:lnTo>
                          <a:pt x="2" y="48"/>
                        </a:lnTo>
                        <a:lnTo>
                          <a:pt x="4" y="56"/>
                        </a:lnTo>
                        <a:lnTo>
                          <a:pt x="2" y="60"/>
                        </a:lnTo>
                        <a:lnTo>
                          <a:pt x="5" y="70"/>
                        </a:lnTo>
                        <a:lnTo>
                          <a:pt x="10" y="81"/>
                        </a:lnTo>
                        <a:lnTo>
                          <a:pt x="14" y="88"/>
                        </a:lnTo>
                        <a:lnTo>
                          <a:pt x="19" y="90"/>
                        </a:lnTo>
                        <a:lnTo>
                          <a:pt x="24" y="90"/>
                        </a:lnTo>
                        <a:lnTo>
                          <a:pt x="32" y="88"/>
                        </a:lnTo>
                        <a:lnTo>
                          <a:pt x="40" y="86"/>
                        </a:lnTo>
                        <a:lnTo>
                          <a:pt x="47" y="78"/>
                        </a:lnTo>
                        <a:lnTo>
                          <a:pt x="50" y="71"/>
                        </a:lnTo>
                        <a:lnTo>
                          <a:pt x="52" y="68"/>
                        </a:lnTo>
                        <a:lnTo>
                          <a:pt x="52" y="65"/>
                        </a:lnTo>
                        <a:lnTo>
                          <a:pt x="53" y="63"/>
                        </a:lnTo>
                        <a:lnTo>
                          <a:pt x="53" y="58"/>
                        </a:lnTo>
                        <a:lnTo>
                          <a:pt x="50" y="55"/>
                        </a:lnTo>
                        <a:lnTo>
                          <a:pt x="52" y="51"/>
                        </a:lnTo>
                        <a:lnTo>
                          <a:pt x="49" y="48"/>
                        </a:lnTo>
                        <a:lnTo>
                          <a:pt x="45" y="38"/>
                        </a:lnTo>
                        <a:lnTo>
                          <a:pt x="42" y="32"/>
                        </a:lnTo>
                        <a:lnTo>
                          <a:pt x="37" y="33"/>
                        </a:lnTo>
                        <a:lnTo>
                          <a:pt x="37" y="32"/>
                        </a:lnTo>
                        <a:lnTo>
                          <a:pt x="34" y="32"/>
                        </a:lnTo>
                        <a:lnTo>
                          <a:pt x="39" y="30"/>
                        </a:lnTo>
                        <a:lnTo>
                          <a:pt x="37" y="27"/>
                        </a:lnTo>
                        <a:lnTo>
                          <a:pt x="35" y="27"/>
                        </a:lnTo>
                        <a:lnTo>
                          <a:pt x="32" y="22"/>
                        </a:lnTo>
                        <a:lnTo>
                          <a:pt x="30" y="22"/>
                        </a:lnTo>
                        <a:lnTo>
                          <a:pt x="29" y="17"/>
                        </a:lnTo>
                        <a:lnTo>
                          <a:pt x="27" y="15"/>
                        </a:lnTo>
                        <a:lnTo>
                          <a:pt x="27" y="13"/>
                        </a:lnTo>
                        <a:lnTo>
                          <a:pt x="20" y="10"/>
                        </a:lnTo>
                        <a:lnTo>
                          <a:pt x="19" y="12"/>
                        </a:lnTo>
                        <a:lnTo>
                          <a:pt x="15" y="12"/>
                        </a:lnTo>
                        <a:lnTo>
                          <a:pt x="15" y="10"/>
                        </a:lnTo>
                        <a:lnTo>
                          <a:pt x="10" y="8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27" name="Google Shape;2982;p98">
                    <a:extLst>
                      <a:ext uri="{FF2B5EF4-FFF2-40B4-BE49-F238E27FC236}">
                        <a16:creationId xmlns:a16="http://schemas.microsoft.com/office/drawing/2014/main" id="{B1E17625-63B1-F03E-4CB5-075B7CD5E0B6}"/>
                      </a:ext>
                    </a:extLst>
                  </p:cNvPr>
                  <p:cNvSpPr/>
                  <p:nvPr/>
                </p:nvSpPr>
                <p:spPr>
                  <a:xfrm>
                    <a:off x="7292618" y="2865055"/>
                    <a:ext cx="363884" cy="3123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81" h="601" extrusionOk="0">
                        <a:moveTo>
                          <a:pt x="217" y="18"/>
                        </a:moveTo>
                        <a:lnTo>
                          <a:pt x="219" y="21"/>
                        </a:lnTo>
                        <a:lnTo>
                          <a:pt x="219" y="24"/>
                        </a:lnTo>
                        <a:lnTo>
                          <a:pt x="226" y="28"/>
                        </a:lnTo>
                        <a:lnTo>
                          <a:pt x="226" y="36"/>
                        </a:lnTo>
                        <a:lnTo>
                          <a:pt x="227" y="39"/>
                        </a:lnTo>
                        <a:lnTo>
                          <a:pt x="226" y="43"/>
                        </a:lnTo>
                        <a:lnTo>
                          <a:pt x="229" y="44"/>
                        </a:lnTo>
                        <a:lnTo>
                          <a:pt x="231" y="48"/>
                        </a:lnTo>
                        <a:lnTo>
                          <a:pt x="231" y="51"/>
                        </a:lnTo>
                        <a:lnTo>
                          <a:pt x="234" y="53"/>
                        </a:lnTo>
                        <a:lnTo>
                          <a:pt x="236" y="56"/>
                        </a:lnTo>
                        <a:lnTo>
                          <a:pt x="241" y="59"/>
                        </a:lnTo>
                        <a:lnTo>
                          <a:pt x="244" y="54"/>
                        </a:lnTo>
                        <a:lnTo>
                          <a:pt x="249" y="54"/>
                        </a:lnTo>
                        <a:lnTo>
                          <a:pt x="251" y="58"/>
                        </a:lnTo>
                        <a:lnTo>
                          <a:pt x="257" y="58"/>
                        </a:lnTo>
                        <a:lnTo>
                          <a:pt x="262" y="63"/>
                        </a:lnTo>
                        <a:lnTo>
                          <a:pt x="265" y="64"/>
                        </a:lnTo>
                        <a:lnTo>
                          <a:pt x="267" y="69"/>
                        </a:lnTo>
                        <a:lnTo>
                          <a:pt x="272" y="69"/>
                        </a:lnTo>
                        <a:lnTo>
                          <a:pt x="274" y="73"/>
                        </a:lnTo>
                        <a:lnTo>
                          <a:pt x="274" y="73"/>
                        </a:lnTo>
                        <a:lnTo>
                          <a:pt x="275" y="81"/>
                        </a:lnTo>
                        <a:lnTo>
                          <a:pt x="270" y="93"/>
                        </a:lnTo>
                        <a:lnTo>
                          <a:pt x="270" y="99"/>
                        </a:lnTo>
                        <a:lnTo>
                          <a:pt x="265" y="107"/>
                        </a:lnTo>
                        <a:lnTo>
                          <a:pt x="267" y="112"/>
                        </a:lnTo>
                        <a:lnTo>
                          <a:pt x="272" y="112"/>
                        </a:lnTo>
                        <a:lnTo>
                          <a:pt x="277" y="116"/>
                        </a:lnTo>
                        <a:lnTo>
                          <a:pt x="280" y="116"/>
                        </a:lnTo>
                        <a:lnTo>
                          <a:pt x="285" y="119"/>
                        </a:lnTo>
                        <a:lnTo>
                          <a:pt x="294" y="121"/>
                        </a:lnTo>
                        <a:lnTo>
                          <a:pt x="305" y="127"/>
                        </a:lnTo>
                        <a:lnTo>
                          <a:pt x="312" y="136"/>
                        </a:lnTo>
                        <a:lnTo>
                          <a:pt x="322" y="137"/>
                        </a:lnTo>
                        <a:lnTo>
                          <a:pt x="325" y="141"/>
                        </a:lnTo>
                        <a:lnTo>
                          <a:pt x="332" y="141"/>
                        </a:lnTo>
                        <a:lnTo>
                          <a:pt x="340" y="146"/>
                        </a:lnTo>
                        <a:lnTo>
                          <a:pt x="353" y="144"/>
                        </a:lnTo>
                        <a:lnTo>
                          <a:pt x="357" y="147"/>
                        </a:lnTo>
                        <a:lnTo>
                          <a:pt x="370" y="146"/>
                        </a:lnTo>
                        <a:lnTo>
                          <a:pt x="382" y="147"/>
                        </a:lnTo>
                        <a:lnTo>
                          <a:pt x="382" y="154"/>
                        </a:lnTo>
                        <a:lnTo>
                          <a:pt x="388" y="159"/>
                        </a:lnTo>
                        <a:lnTo>
                          <a:pt x="402" y="161"/>
                        </a:lnTo>
                        <a:lnTo>
                          <a:pt x="407" y="159"/>
                        </a:lnTo>
                        <a:lnTo>
                          <a:pt x="415" y="159"/>
                        </a:lnTo>
                        <a:lnTo>
                          <a:pt x="435" y="166"/>
                        </a:lnTo>
                        <a:lnTo>
                          <a:pt x="442" y="164"/>
                        </a:lnTo>
                        <a:lnTo>
                          <a:pt x="450" y="167"/>
                        </a:lnTo>
                        <a:lnTo>
                          <a:pt x="465" y="166"/>
                        </a:lnTo>
                        <a:lnTo>
                          <a:pt x="466" y="154"/>
                        </a:lnTo>
                        <a:lnTo>
                          <a:pt x="461" y="146"/>
                        </a:lnTo>
                        <a:lnTo>
                          <a:pt x="465" y="136"/>
                        </a:lnTo>
                        <a:lnTo>
                          <a:pt x="463" y="131"/>
                        </a:lnTo>
                        <a:lnTo>
                          <a:pt x="463" y="131"/>
                        </a:lnTo>
                        <a:lnTo>
                          <a:pt x="468" y="127"/>
                        </a:lnTo>
                        <a:lnTo>
                          <a:pt x="473" y="127"/>
                        </a:lnTo>
                        <a:lnTo>
                          <a:pt x="476" y="132"/>
                        </a:lnTo>
                        <a:lnTo>
                          <a:pt x="476" y="137"/>
                        </a:lnTo>
                        <a:lnTo>
                          <a:pt x="481" y="141"/>
                        </a:lnTo>
                        <a:lnTo>
                          <a:pt x="481" y="141"/>
                        </a:lnTo>
                        <a:lnTo>
                          <a:pt x="481" y="146"/>
                        </a:lnTo>
                        <a:lnTo>
                          <a:pt x="480" y="149"/>
                        </a:lnTo>
                        <a:lnTo>
                          <a:pt x="483" y="156"/>
                        </a:lnTo>
                        <a:lnTo>
                          <a:pt x="491" y="157"/>
                        </a:lnTo>
                        <a:lnTo>
                          <a:pt x="495" y="156"/>
                        </a:lnTo>
                        <a:lnTo>
                          <a:pt x="506" y="161"/>
                        </a:lnTo>
                        <a:lnTo>
                          <a:pt x="513" y="161"/>
                        </a:lnTo>
                        <a:lnTo>
                          <a:pt x="518" y="156"/>
                        </a:lnTo>
                        <a:lnTo>
                          <a:pt x="525" y="156"/>
                        </a:lnTo>
                        <a:lnTo>
                          <a:pt x="530" y="157"/>
                        </a:lnTo>
                        <a:lnTo>
                          <a:pt x="538" y="156"/>
                        </a:lnTo>
                        <a:lnTo>
                          <a:pt x="545" y="156"/>
                        </a:lnTo>
                        <a:lnTo>
                          <a:pt x="554" y="152"/>
                        </a:lnTo>
                        <a:lnTo>
                          <a:pt x="554" y="149"/>
                        </a:lnTo>
                        <a:lnTo>
                          <a:pt x="554" y="142"/>
                        </a:lnTo>
                        <a:lnTo>
                          <a:pt x="546" y="141"/>
                        </a:lnTo>
                        <a:lnTo>
                          <a:pt x="546" y="136"/>
                        </a:lnTo>
                        <a:lnTo>
                          <a:pt x="548" y="131"/>
                        </a:lnTo>
                        <a:lnTo>
                          <a:pt x="551" y="131"/>
                        </a:lnTo>
                        <a:lnTo>
                          <a:pt x="559" y="129"/>
                        </a:lnTo>
                        <a:lnTo>
                          <a:pt x="563" y="127"/>
                        </a:lnTo>
                        <a:lnTo>
                          <a:pt x="566" y="122"/>
                        </a:lnTo>
                        <a:lnTo>
                          <a:pt x="569" y="121"/>
                        </a:lnTo>
                        <a:lnTo>
                          <a:pt x="573" y="121"/>
                        </a:lnTo>
                        <a:lnTo>
                          <a:pt x="573" y="119"/>
                        </a:lnTo>
                        <a:lnTo>
                          <a:pt x="578" y="117"/>
                        </a:lnTo>
                        <a:lnTo>
                          <a:pt x="579" y="112"/>
                        </a:lnTo>
                        <a:lnTo>
                          <a:pt x="584" y="107"/>
                        </a:lnTo>
                        <a:lnTo>
                          <a:pt x="589" y="107"/>
                        </a:lnTo>
                        <a:lnTo>
                          <a:pt x="598" y="106"/>
                        </a:lnTo>
                        <a:lnTo>
                          <a:pt x="604" y="99"/>
                        </a:lnTo>
                        <a:lnTo>
                          <a:pt x="603" y="94"/>
                        </a:lnTo>
                        <a:lnTo>
                          <a:pt x="606" y="94"/>
                        </a:lnTo>
                        <a:lnTo>
                          <a:pt x="613" y="91"/>
                        </a:lnTo>
                        <a:lnTo>
                          <a:pt x="616" y="96"/>
                        </a:lnTo>
                        <a:lnTo>
                          <a:pt x="623" y="94"/>
                        </a:lnTo>
                        <a:lnTo>
                          <a:pt x="633" y="98"/>
                        </a:lnTo>
                        <a:lnTo>
                          <a:pt x="634" y="96"/>
                        </a:lnTo>
                        <a:lnTo>
                          <a:pt x="634" y="91"/>
                        </a:lnTo>
                        <a:lnTo>
                          <a:pt x="644" y="86"/>
                        </a:lnTo>
                        <a:lnTo>
                          <a:pt x="647" y="88"/>
                        </a:lnTo>
                        <a:lnTo>
                          <a:pt x="651" y="89"/>
                        </a:lnTo>
                        <a:lnTo>
                          <a:pt x="654" y="89"/>
                        </a:lnTo>
                        <a:lnTo>
                          <a:pt x="656" y="91"/>
                        </a:lnTo>
                        <a:lnTo>
                          <a:pt x="652" y="98"/>
                        </a:lnTo>
                        <a:lnTo>
                          <a:pt x="654" y="101"/>
                        </a:lnTo>
                        <a:lnTo>
                          <a:pt x="657" y="99"/>
                        </a:lnTo>
                        <a:lnTo>
                          <a:pt x="659" y="99"/>
                        </a:lnTo>
                        <a:lnTo>
                          <a:pt x="661" y="103"/>
                        </a:lnTo>
                        <a:lnTo>
                          <a:pt x="664" y="107"/>
                        </a:lnTo>
                        <a:lnTo>
                          <a:pt x="664" y="109"/>
                        </a:lnTo>
                        <a:lnTo>
                          <a:pt x="661" y="114"/>
                        </a:lnTo>
                        <a:lnTo>
                          <a:pt x="662" y="117"/>
                        </a:lnTo>
                        <a:lnTo>
                          <a:pt x="667" y="117"/>
                        </a:lnTo>
                        <a:lnTo>
                          <a:pt x="671" y="117"/>
                        </a:lnTo>
                        <a:lnTo>
                          <a:pt x="674" y="119"/>
                        </a:lnTo>
                        <a:lnTo>
                          <a:pt x="679" y="122"/>
                        </a:lnTo>
                        <a:lnTo>
                          <a:pt x="681" y="126"/>
                        </a:lnTo>
                        <a:lnTo>
                          <a:pt x="676" y="131"/>
                        </a:lnTo>
                        <a:lnTo>
                          <a:pt x="676" y="136"/>
                        </a:lnTo>
                        <a:lnTo>
                          <a:pt x="676" y="139"/>
                        </a:lnTo>
                        <a:lnTo>
                          <a:pt x="672" y="137"/>
                        </a:lnTo>
                        <a:lnTo>
                          <a:pt x="667" y="136"/>
                        </a:lnTo>
                        <a:lnTo>
                          <a:pt x="661" y="139"/>
                        </a:lnTo>
                        <a:lnTo>
                          <a:pt x="652" y="142"/>
                        </a:lnTo>
                        <a:lnTo>
                          <a:pt x="651" y="147"/>
                        </a:lnTo>
                        <a:lnTo>
                          <a:pt x="644" y="154"/>
                        </a:lnTo>
                        <a:lnTo>
                          <a:pt x="639" y="156"/>
                        </a:lnTo>
                        <a:lnTo>
                          <a:pt x="631" y="166"/>
                        </a:lnTo>
                        <a:lnTo>
                          <a:pt x="631" y="172"/>
                        </a:lnTo>
                        <a:lnTo>
                          <a:pt x="633" y="174"/>
                        </a:lnTo>
                        <a:lnTo>
                          <a:pt x="629" y="182"/>
                        </a:lnTo>
                        <a:lnTo>
                          <a:pt x="623" y="192"/>
                        </a:lnTo>
                        <a:lnTo>
                          <a:pt x="623" y="196"/>
                        </a:lnTo>
                        <a:lnTo>
                          <a:pt x="629" y="199"/>
                        </a:lnTo>
                        <a:lnTo>
                          <a:pt x="623" y="210"/>
                        </a:lnTo>
                        <a:lnTo>
                          <a:pt x="621" y="220"/>
                        </a:lnTo>
                        <a:lnTo>
                          <a:pt x="618" y="227"/>
                        </a:lnTo>
                        <a:lnTo>
                          <a:pt x="611" y="229"/>
                        </a:lnTo>
                        <a:lnTo>
                          <a:pt x="606" y="227"/>
                        </a:lnTo>
                        <a:lnTo>
                          <a:pt x="601" y="227"/>
                        </a:lnTo>
                        <a:lnTo>
                          <a:pt x="604" y="237"/>
                        </a:lnTo>
                        <a:lnTo>
                          <a:pt x="604" y="244"/>
                        </a:lnTo>
                        <a:lnTo>
                          <a:pt x="604" y="250"/>
                        </a:lnTo>
                        <a:lnTo>
                          <a:pt x="599" y="250"/>
                        </a:lnTo>
                        <a:lnTo>
                          <a:pt x="599" y="255"/>
                        </a:lnTo>
                        <a:lnTo>
                          <a:pt x="599" y="262"/>
                        </a:lnTo>
                        <a:lnTo>
                          <a:pt x="599" y="265"/>
                        </a:lnTo>
                        <a:lnTo>
                          <a:pt x="598" y="274"/>
                        </a:lnTo>
                        <a:lnTo>
                          <a:pt x="594" y="274"/>
                        </a:lnTo>
                        <a:lnTo>
                          <a:pt x="593" y="274"/>
                        </a:lnTo>
                        <a:lnTo>
                          <a:pt x="591" y="277"/>
                        </a:lnTo>
                        <a:lnTo>
                          <a:pt x="591" y="280"/>
                        </a:lnTo>
                        <a:lnTo>
                          <a:pt x="591" y="279"/>
                        </a:lnTo>
                        <a:lnTo>
                          <a:pt x="589" y="277"/>
                        </a:lnTo>
                        <a:lnTo>
                          <a:pt x="589" y="275"/>
                        </a:lnTo>
                        <a:lnTo>
                          <a:pt x="588" y="274"/>
                        </a:lnTo>
                        <a:lnTo>
                          <a:pt x="586" y="270"/>
                        </a:lnTo>
                        <a:lnTo>
                          <a:pt x="584" y="264"/>
                        </a:lnTo>
                        <a:lnTo>
                          <a:pt x="583" y="255"/>
                        </a:lnTo>
                        <a:lnTo>
                          <a:pt x="581" y="252"/>
                        </a:lnTo>
                        <a:lnTo>
                          <a:pt x="581" y="247"/>
                        </a:lnTo>
                        <a:lnTo>
                          <a:pt x="579" y="242"/>
                        </a:lnTo>
                        <a:lnTo>
                          <a:pt x="578" y="239"/>
                        </a:lnTo>
                        <a:lnTo>
                          <a:pt x="576" y="235"/>
                        </a:lnTo>
                        <a:lnTo>
                          <a:pt x="573" y="237"/>
                        </a:lnTo>
                        <a:lnTo>
                          <a:pt x="569" y="235"/>
                        </a:lnTo>
                        <a:lnTo>
                          <a:pt x="566" y="235"/>
                        </a:lnTo>
                        <a:lnTo>
                          <a:pt x="568" y="239"/>
                        </a:lnTo>
                        <a:lnTo>
                          <a:pt x="566" y="240"/>
                        </a:lnTo>
                        <a:lnTo>
                          <a:pt x="566" y="242"/>
                        </a:lnTo>
                        <a:lnTo>
                          <a:pt x="564" y="245"/>
                        </a:lnTo>
                        <a:lnTo>
                          <a:pt x="566" y="247"/>
                        </a:lnTo>
                        <a:lnTo>
                          <a:pt x="566" y="250"/>
                        </a:lnTo>
                        <a:lnTo>
                          <a:pt x="563" y="250"/>
                        </a:lnTo>
                        <a:lnTo>
                          <a:pt x="559" y="245"/>
                        </a:lnTo>
                        <a:lnTo>
                          <a:pt x="554" y="242"/>
                        </a:lnTo>
                        <a:lnTo>
                          <a:pt x="554" y="240"/>
                        </a:lnTo>
                        <a:lnTo>
                          <a:pt x="551" y="239"/>
                        </a:lnTo>
                        <a:lnTo>
                          <a:pt x="549" y="232"/>
                        </a:lnTo>
                        <a:lnTo>
                          <a:pt x="549" y="230"/>
                        </a:lnTo>
                        <a:lnTo>
                          <a:pt x="551" y="229"/>
                        </a:lnTo>
                        <a:lnTo>
                          <a:pt x="553" y="225"/>
                        </a:lnTo>
                        <a:lnTo>
                          <a:pt x="556" y="222"/>
                        </a:lnTo>
                        <a:lnTo>
                          <a:pt x="558" y="224"/>
                        </a:lnTo>
                        <a:lnTo>
                          <a:pt x="561" y="225"/>
                        </a:lnTo>
                        <a:lnTo>
                          <a:pt x="563" y="222"/>
                        </a:lnTo>
                        <a:lnTo>
                          <a:pt x="563" y="220"/>
                        </a:lnTo>
                        <a:lnTo>
                          <a:pt x="566" y="219"/>
                        </a:lnTo>
                        <a:lnTo>
                          <a:pt x="569" y="210"/>
                        </a:lnTo>
                        <a:lnTo>
                          <a:pt x="569" y="205"/>
                        </a:lnTo>
                        <a:lnTo>
                          <a:pt x="573" y="201"/>
                        </a:lnTo>
                        <a:lnTo>
                          <a:pt x="571" y="201"/>
                        </a:lnTo>
                        <a:lnTo>
                          <a:pt x="566" y="196"/>
                        </a:lnTo>
                        <a:lnTo>
                          <a:pt x="563" y="197"/>
                        </a:lnTo>
                        <a:lnTo>
                          <a:pt x="561" y="196"/>
                        </a:lnTo>
                        <a:lnTo>
                          <a:pt x="558" y="196"/>
                        </a:lnTo>
                        <a:lnTo>
                          <a:pt x="549" y="196"/>
                        </a:lnTo>
                        <a:lnTo>
                          <a:pt x="541" y="196"/>
                        </a:lnTo>
                        <a:lnTo>
                          <a:pt x="533" y="196"/>
                        </a:lnTo>
                        <a:lnTo>
                          <a:pt x="526" y="196"/>
                        </a:lnTo>
                        <a:lnTo>
                          <a:pt x="521" y="194"/>
                        </a:lnTo>
                        <a:lnTo>
                          <a:pt x="516" y="194"/>
                        </a:lnTo>
                        <a:lnTo>
                          <a:pt x="511" y="192"/>
                        </a:lnTo>
                        <a:lnTo>
                          <a:pt x="511" y="189"/>
                        </a:lnTo>
                        <a:lnTo>
                          <a:pt x="510" y="186"/>
                        </a:lnTo>
                        <a:lnTo>
                          <a:pt x="510" y="182"/>
                        </a:lnTo>
                        <a:lnTo>
                          <a:pt x="508" y="177"/>
                        </a:lnTo>
                        <a:lnTo>
                          <a:pt x="505" y="172"/>
                        </a:lnTo>
                        <a:lnTo>
                          <a:pt x="503" y="172"/>
                        </a:lnTo>
                        <a:lnTo>
                          <a:pt x="503" y="174"/>
                        </a:lnTo>
                        <a:lnTo>
                          <a:pt x="498" y="172"/>
                        </a:lnTo>
                        <a:lnTo>
                          <a:pt x="495" y="171"/>
                        </a:lnTo>
                        <a:lnTo>
                          <a:pt x="491" y="167"/>
                        </a:lnTo>
                        <a:lnTo>
                          <a:pt x="490" y="167"/>
                        </a:lnTo>
                        <a:lnTo>
                          <a:pt x="488" y="171"/>
                        </a:lnTo>
                        <a:lnTo>
                          <a:pt x="491" y="172"/>
                        </a:lnTo>
                        <a:lnTo>
                          <a:pt x="490" y="172"/>
                        </a:lnTo>
                        <a:lnTo>
                          <a:pt x="485" y="172"/>
                        </a:lnTo>
                        <a:lnTo>
                          <a:pt x="481" y="169"/>
                        </a:lnTo>
                        <a:lnTo>
                          <a:pt x="481" y="166"/>
                        </a:lnTo>
                        <a:lnTo>
                          <a:pt x="478" y="162"/>
                        </a:lnTo>
                        <a:lnTo>
                          <a:pt x="476" y="161"/>
                        </a:lnTo>
                        <a:lnTo>
                          <a:pt x="475" y="162"/>
                        </a:lnTo>
                        <a:lnTo>
                          <a:pt x="473" y="164"/>
                        </a:lnTo>
                        <a:lnTo>
                          <a:pt x="473" y="166"/>
                        </a:lnTo>
                        <a:lnTo>
                          <a:pt x="475" y="167"/>
                        </a:lnTo>
                        <a:lnTo>
                          <a:pt x="473" y="174"/>
                        </a:lnTo>
                        <a:lnTo>
                          <a:pt x="468" y="179"/>
                        </a:lnTo>
                        <a:lnTo>
                          <a:pt x="468" y="184"/>
                        </a:lnTo>
                        <a:lnTo>
                          <a:pt x="478" y="187"/>
                        </a:lnTo>
                        <a:lnTo>
                          <a:pt x="483" y="186"/>
                        </a:lnTo>
                        <a:lnTo>
                          <a:pt x="490" y="186"/>
                        </a:lnTo>
                        <a:lnTo>
                          <a:pt x="488" y="189"/>
                        </a:lnTo>
                        <a:lnTo>
                          <a:pt x="490" y="196"/>
                        </a:lnTo>
                        <a:lnTo>
                          <a:pt x="486" y="197"/>
                        </a:lnTo>
                        <a:lnTo>
                          <a:pt x="483" y="196"/>
                        </a:lnTo>
                        <a:lnTo>
                          <a:pt x="480" y="197"/>
                        </a:lnTo>
                        <a:lnTo>
                          <a:pt x="478" y="204"/>
                        </a:lnTo>
                        <a:lnTo>
                          <a:pt x="473" y="205"/>
                        </a:lnTo>
                        <a:lnTo>
                          <a:pt x="473" y="214"/>
                        </a:lnTo>
                        <a:lnTo>
                          <a:pt x="478" y="219"/>
                        </a:lnTo>
                        <a:lnTo>
                          <a:pt x="485" y="222"/>
                        </a:lnTo>
                        <a:lnTo>
                          <a:pt x="491" y="229"/>
                        </a:lnTo>
                        <a:lnTo>
                          <a:pt x="491" y="235"/>
                        </a:lnTo>
                        <a:lnTo>
                          <a:pt x="493" y="240"/>
                        </a:lnTo>
                        <a:lnTo>
                          <a:pt x="493" y="245"/>
                        </a:lnTo>
                        <a:lnTo>
                          <a:pt x="493" y="252"/>
                        </a:lnTo>
                        <a:lnTo>
                          <a:pt x="500" y="260"/>
                        </a:lnTo>
                        <a:lnTo>
                          <a:pt x="501" y="267"/>
                        </a:lnTo>
                        <a:lnTo>
                          <a:pt x="503" y="270"/>
                        </a:lnTo>
                        <a:lnTo>
                          <a:pt x="503" y="277"/>
                        </a:lnTo>
                        <a:lnTo>
                          <a:pt x="501" y="277"/>
                        </a:lnTo>
                        <a:lnTo>
                          <a:pt x="505" y="282"/>
                        </a:lnTo>
                        <a:lnTo>
                          <a:pt x="501" y="287"/>
                        </a:lnTo>
                        <a:lnTo>
                          <a:pt x="498" y="282"/>
                        </a:lnTo>
                        <a:lnTo>
                          <a:pt x="498" y="285"/>
                        </a:lnTo>
                        <a:lnTo>
                          <a:pt x="496" y="284"/>
                        </a:lnTo>
                        <a:lnTo>
                          <a:pt x="495" y="279"/>
                        </a:lnTo>
                        <a:lnTo>
                          <a:pt x="493" y="277"/>
                        </a:lnTo>
                        <a:lnTo>
                          <a:pt x="493" y="279"/>
                        </a:lnTo>
                        <a:lnTo>
                          <a:pt x="491" y="280"/>
                        </a:lnTo>
                        <a:lnTo>
                          <a:pt x="491" y="280"/>
                        </a:lnTo>
                        <a:lnTo>
                          <a:pt x="490" y="282"/>
                        </a:lnTo>
                        <a:lnTo>
                          <a:pt x="486" y="280"/>
                        </a:lnTo>
                        <a:lnTo>
                          <a:pt x="486" y="282"/>
                        </a:lnTo>
                        <a:lnTo>
                          <a:pt x="481" y="280"/>
                        </a:lnTo>
                        <a:lnTo>
                          <a:pt x="481" y="275"/>
                        </a:lnTo>
                        <a:lnTo>
                          <a:pt x="481" y="272"/>
                        </a:lnTo>
                        <a:lnTo>
                          <a:pt x="478" y="269"/>
                        </a:lnTo>
                        <a:lnTo>
                          <a:pt x="473" y="269"/>
                        </a:lnTo>
                        <a:lnTo>
                          <a:pt x="475" y="270"/>
                        </a:lnTo>
                        <a:lnTo>
                          <a:pt x="476" y="270"/>
                        </a:lnTo>
                        <a:lnTo>
                          <a:pt x="478" y="272"/>
                        </a:lnTo>
                        <a:lnTo>
                          <a:pt x="478" y="274"/>
                        </a:lnTo>
                        <a:lnTo>
                          <a:pt x="476" y="277"/>
                        </a:lnTo>
                        <a:lnTo>
                          <a:pt x="475" y="280"/>
                        </a:lnTo>
                        <a:lnTo>
                          <a:pt x="471" y="284"/>
                        </a:lnTo>
                        <a:lnTo>
                          <a:pt x="456" y="289"/>
                        </a:lnTo>
                        <a:lnTo>
                          <a:pt x="455" y="290"/>
                        </a:lnTo>
                        <a:lnTo>
                          <a:pt x="453" y="294"/>
                        </a:lnTo>
                        <a:lnTo>
                          <a:pt x="451" y="299"/>
                        </a:lnTo>
                        <a:lnTo>
                          <a:pt x="451" y="300"/>
                        </a:lnTo>
                        <a:lnTo>
                          <a:pt x="455" y="305"/>
                        </a:lnTo>
                        <a:lnTo>
                          <a:pt x="455" y="307"/>
                        </a:lnTo>
                        <a:lnTo>
                          <a:pt x="456" y="308"/>
                        </a:lnTo>
                        <a:lnTo>
                          <a:pt x="450" y="312"/>
                        </a:lnTo>
                        <a:lnTo>
                          <a:pt x="448" y="317"/>
                        </a:lnTo>
                        <a:lnTo>
                          <a:pt x="447" y="317"/>
                        </a:lnTo>
                        <a:lnTo>
                          <a:pt x="448" y="318"/>
                        </a:lnTo>
                        <a:lnTo>
                          <a:pt x="438" y="325"/>
                        </a:lnTo>
                        <a:lnTo>
                          <a:pt x="438" y="327"/>
                        </a:lnTo>
                        <a:lnTo>
                          <a:pt x="425" y="333"/>
                        </a:lnTo>
                        <a:lnTo>
                          <a:pt x="423" y="332"/>
                        </a:lnTo>
                        <a:lnTo>
                          <a:pt x="423" y="330"/>
                        </a:lnTo>
                        <a:lnTo>
                          <a:pt x="422" y="328"/>
                        </a:lnTo>
                        <a:lnTo>
                          <a:pt x="420" y="328"/>
                        </a:lnTo>
                        <a:lnTo>
                          <a:pt x="417" y="332"/>
                        </a:lnTo>
                        <a:lnTo>
                          <a:pt x="413" y="332"/>
                        </a:lnTo>
                        <a:lnTo>
                          <a:pt x="413" y="338"/>
                        </a:lnTo>
                        <a:lnTo>
                          <a:pt x="417" y="337"/>
                        </a:lnTo>
                        <a:lnTo>
                          <a:pt x="418" y="335"/>
                        </a:lnTo>
                        <a:lnTo>
                          <a:pt x="420" y="335"/>
                        </a:lnTo>
                        <a:lnTo>
                          <a:pt x="403" y="348"/>
                        </a:lnTo>
                        <a:lnTo>
                          <a:pt x="400" y="360"/>
                        </a:lnTo>
                        <a:lnTo>
                          <a:pt x="378" y="375"/>
                        </a:lnTo>
                        <a:lnTo>
                          <a:pt x="375" y="382"/>
                        </a:lnTo>
                        <a:lnTo>
                          <a:pt x="370" y="385"/>
                        </a:lnTo>
                        <a:lnTo>
                          <a:pt x="360" y="388"/>
                        </a:lnTo>
                        <a:lnTo>
                          <a:pt x="353" y="393"/>
                        </a:lnTo>
                        <a:lnTo>
                          <a:pt x="353" y="398"/>
                        </a:lnTo>
                        <a:lnTo>
                          <a:pt x="353" y="403"/>
                        </a:lnTo>
                        <a:lnTo>
                          <a:pt x="350" y="408"/>
                        </a:lnTo>
                        <a:lnTo>
                          <a:pt x="344" y="411"/>
                        </a:lnTo>
                        <a:lnTo>
                          <a:pt x="334" y="410"/>
                        </a:lnTo>
                        <a:lnTo>
                          <a:pt x="329" y="413"/>
                        </a:lnTo>
                        <a:lnTo>
                          <a:pt x="329" y="418"/>
                        </a:lnTo>
                        <a:lnTo>
                          <a:pt x="322" y="426"/>
                        </a:lnTo>
                        <a:lnTo>
                          <a:pt x="319" y="426"/>
                        </a:lnTo>
                        <a:lnTo>
                          <a:pt x="315" y="423"/>
                        </a:lnTo>
                        <a:lnTo>
                          <a:pt x="314" y="423"/>
                        </a:lnTo>
                        <a:lnTo>
                          <a:pt x="305" y="430"/>
                        </a:lnTo>
                        <a:lnTo>
                          <a:pt x="304" y="433"/>
                        </a:lnTo>
                        <a:lnTo>
                          <a:pt x="304" y="441"/>
                        </a:lnTo>
                        <a:lnTo>
                          <a:pt x="307" y="451"/>
                        </a:lnTo>
                        <a:lnTo>
                          <a:pt x="304" y="456"/>
                        </a:lnTo>
                        <a:lnTo>
                          <a:pt x="304" y="461"/>
                        </a:lnTo>
                        <a:lnTo>
                          <a:pt x="304" y="480"/>
                        </a:lnTo>
                        <a:lnTo>
                          <a:pt x="310" y="481"/>
                        </a:lnTo>
                        <a:lnTo>
                          <a:pt x="312" y="491"/>
                        </a:lnTo>
                        <a:lnTo>
                          <a:pt x="305" y="506"/>
                        </a:lnTo>
                        <a:lnTo>
                          <a:pt x="300" y="516"/>
                        </a:lnTo>
                        <a:lnTo>
                          <a:pt x="300" y="524"/>
                        </a:lnTo>
                        <a:lnTo>
                          <a:pt x="302" y="528"/>
                        </a:lnTo>
                        <a:lnTo>
                          <a:pt x="304" y="546"/>
                        </a:lnTo>
                        <a:lnTo>
                          <a:pt x="304" y="551"/>
                        </a:lnTo>
                        <a:lnTo>
                          <a:pt x="299" y="553"/>
                        </a:lnTo>
                        <a:lnTo>
                          <a:pt x="297" y="551"/>
                        </a:lnTo>
                        <a:lnTo>
                          <a:pt x="290" y="553"/>
                        </a:lnTo>
                        <a:lnTo>
                          <a:pt x="287" y="558"/>
                        </a:lnTo>
                        <a:lnTo>
                          <a:pt x="289" y="559"/>
                        </a:lnTo>
                        <a:lnTo>
                          <a:pt x="282" y="566"/>
                        </a:lnTo>
                        <a:lnTo>
                          <a:pt x="280" y="569"/>
                        </a:lnTo>
                        <a:lnTo>
                          <a:pt x="280" y="571"/>
                        </a:lnTo>
                        <a:lnTo>
                          <a:pt x="289" y="574"/>
                        </a:lnTo>
                        <a:lnTo>
                          <a:pt x="290" y="576"/>
                        </a:lnTo>
                        <a:lnTo>
                          <a:pt x="290" y="578"/>
                        </a:lnTo>
                        <a:lnTo>
                          <a:pt x="289" y="576"/>
                        </a:lnTo>
                        <a:lnTo>
                          <a:pt x="285" y="574"/>
                        </a:lnTo>
                        <a:lnTo>
                          <a:pt x="275" y="578"/>
                        </a:lnTo>
                        <a:lnTo>
                          <a:pt x="274" y="578"/>
                        </a:lnTo>
                        <a:lnTo>
                          <a:pt x="265" y="581"/>
                        </a:lnTo>
                        <a:lnTo>
                          <a:pt x="262" y="584"/>
                        </a:lnTo>
                        <a:lnTo>
                          <a:pt x="262" y="588"/>
                        </a:lnTo>
                        <a:lnTo>
                          <a:pt x="260" y="588"/>
                        </a:lnTo>
                        <a:lnTo>
                          <a:pt x="262" y="589"/>
                        </a:lnTo>
                        <a:lnTo>
                          <a:pt x="259" y="596"/>
                        </a:lnTo>
                        <a:lnTo>
                          <a:pt x="251" y="601"/>
                        </a:lnTo>
                        <a:lnTo>
                          <a:pt x="242" y="601"/>
                        </a:lnTo>
                        <a:lnTo>
                          <a:pt x="236" y="596"/>
                        </a:lnTo>
                        <a:lnTo>
                          <a:pt x="227" y="588"/>
                        </a:lnTo>
                        <a:lnTo>
                          <a:pt x="219" y="573"/>
                        </a:lnTo>
                        <a:lnTo>
                          <a:pt x="219" y="563"/>
                        </a:lnTo>
                        <a:lnTo>
                          <a:pt x="216" y="554"/>
                        </a:lnTo>
                        <a:lnTo>
                          <a:pt x="211" y="546"/>
                        </a:lnTo>
                        <a:lnTo>
                          <a:pt x="211" y="541"/>
                        </a:lnTo>
                        <a:lnTo>
                          <a:pt x="209" y="541"/>
                        </a:lnTo>
                        <a:lnTo>
                          <a:pt x="206" y="534"/>
                        </a:lnTo>
                        <a:lnTo>
                          <a:pt x="204" y="528"/>
                        </a:lnTo>
                        <a:lnTo>
                          <a:pt x="197" y="519"/>
                        </a:lnTo>
                        <a:lnTo>
                          <a:pt x="192" y="514"/>
                        </a:lnTo>
                        <a:lnTo>
                          <a:pt x="191" y="514"/>
                        </a:lnTo>
                        <a:lnTo>
                          <a:pt x="184" y="508"/>
                        </a:lnTo>
                        <a:lnTo>
                          <a:pt x="181" y="501"/>
                        </a:lnTo>
                        <a:lnTo>
                          <a:pt x="179" y="499"/>
                        </a:lnTo>
                        <a:lnTo>
                          <a:pt x="177" y="491"/>
                        </a:lnTo>
                        <a:lnTo>
                          <a:pt x="176" y="488"/>
                        </a:lnTo>
                        <a:lnTo>
                          <a:pt x="171" y="478"/>
                        </a:lnTo>
                        <a:lnTo>
                          <a:pt x="169" y="470"/>
                        </a:lnTo>
                        <a:lnTo>
                          <a:pt x="167" y="466"/>
                        </a:lnTo>
                        <a:lnTo>
                          <a:pt x="164" y="461"/>
                        </a:lnTo>
                        <a:lnTo>
                          <a:pt x="164" y="455"/>
                        </a:lnTo>
                        <a:lnTo>
                          <a:pt x="162" y="455"/>
                        </a:lnTo>
                        <a:lnTo>
                          <a:pt x="156" y="448"/>
                        </a:lnTo>
                        <a:lnTo>
                          <a:pt x="156" y="445"/>
                        </a:lnTo>
                        <a:lnTo>
                          <a:pt x="154" y="445"/>
                        </a:lnTo>
                        <a:lnTo>
                          <a:pt x="149" y="435"/>
                        </a:lnTo>
                        <a:lnTo>
                          <a:pt x="149" y="433"/>
                        </a:lnTo>
                        <a:lnTo>
                          <a:pt x="146" y="431"/>
                        </a:lnTo>
                        <a:lnTo>
                          <a:pt x="144" y="425"/>
                        </a:lnTo>
                        <a:lnTo>
                          <a:pt x="141" y="421"/>
                        </a:lnTo>
                        <a:lnTo>
                          <a:pt x="136" y="413"/>
                        </a:lnTo>
                        <a:lnTo>
                          <a:pt x="136" y="400"/>
                        </a:lnTo>
                        <a:lnTo>
                          <a:pt x="126" y="382"/>
                        </a:lnTo>
                        <a:lnTo>
                          <a:pt x="126" y="377"/>
                        </a:lnTo>
                        <a:lnTo>
                          <a:pt x="121" y="370"/>
                        </a:lnTo>
                        <a:lnTo>
                          <a:pt x="126" y="370"/>
                        </a:lnTo>
                        <a:lnTo>
                          <a:pt x="119" y="362"/>
                        </a:lnTo>
                        <a:lnTo>
                          <a:pt x="119" y="357"/>
                        </a:lnTo>
                        <a:lnTo>
                          <a:pt x="123" y="357"/>
                        </a:lnTo>
                        <a:lnTo>
                          <a:pt x="121" y="353"/>
                        </a:lnTo>
                        <a:lnTo>
                          <a:pt x="119" y="348"/>
                        </a:lnTo>
                        <a:lnTo>
                          <a:pt x="113" y="337"/>
                        </a:lnTo>
                        <a:lnTo>
                          <a:pt x="111" y="330"/>
                        </a:lnTo>
                        <a:lnTo>
                          <a:pt x="116" y="328"/>
                        </a:lnTo>
                        <a:lnTo>
                          <a:pt x="113" y="325"/>
                        </a:lnTo>
                        <a:lnTo>
                          <a:pt x="113" y="322"/>
                        </a:lnTo>
                        <a:lnTo>
                          <a:pt x="114" y="317"/>
                        </a:lnTo>
                        <a:lnTo>
                          <a:pt x="114" y="310"/>
                        </a:lnTo>
                        <a:lnTo>
                          <a:pt x="111" y="303"/>
                        </a:lnTo>
                        <a:lnTo>
                          <a:pt x="109" y="302"/>
                        </a:lnTo>
                        <a:lnTo>
                          <a:pt x="106" y="292"/>
                        </a:lnTo>
                        <a:lnTo>
                          <a:pt x="113" y="290"/>
                        </a:lnTo>
                        <a:lnTo>
                          <a:pt x="114" y="287"/>
                        </a:lnTo>
                        <a:lnTo>
                          <a:pt x="118" y="287"/>
                        </a:lnTo>
                        <a:lnTo>
                          <a:pt x="114" y="287"/>
                        </a:lnTo>
                        <a:lnTo>
                          <a:pt x="108" y="287"/>
                        </a:lnTo>
                        <a:lnTo>
                          <a:pt x="104" y="287"/>
                        </a:lnTo>
                        <a:lnTo>
                          <a:pt x="106" y="282"/>
                        </a:lnTo>
                        <a:lnTo>
                          <a:pt x="103" y="279"/>
                        </a:lnTo>
                        <a:lnTo>
                          <a:pt x="104" y="275"/>
                        </a:lnTo>
                        <a:lnTo>
                          <a:pt x="106" y="274"/>
                        </a:lnTo>
                        <a:lnTo>
                          <a:pt x="108" y="274"/>
                        </a:lnTo>
                        <a:lnTo>
                          <a:pt x="113" y="270"/>
                        </a:lnTo>
                        <a:lnTo>
                          <a:pt x="114" y="269"/>
                        </a:lnTo>
                        <a:lnTo>
                          <a:pt x="109" y="270"/>
                        </a:lnTo>
                        <a:lnTo>
                          <a:pt x="108" y="269"/>
                        </a:lnTo>
                        <a:lnTo>
                          <a:pt x="101" y="270"/>
                        </a:lnTo>
                        <a:lnTo>
                          <a:pt x="99" y="267"/>
                        </a:lnTo>
                        <a:lnTo>
                          <a:pt x="99" y="269"/>
                        </a:lnTo>
                        <a:lnTo>
                          <a:pt x="99" y="274"/>
                        </a:lnTo>
                        <a:lnTo>
                          <a:pt x="94" y="282"/>
                        </a:lnTo>
                        <a:lnTo>
                          <a:pt x="99" y="285"/>
                        </a:lnTo>
                        <a:lnTo>
                          <a:pt x="98" y="294"/>
                        </a:lnTo>
                        <a:lnTo>
                          <a:pt x="94" y="297"/>
                        </a:lnTo>
                        <a:lnTo>
                          <a:pt x="94" y="300"/>
                        </a:lnTo>
                        <a:lnTo>
                          <a:pt x="86" y="303"/>
                        </a:lnTo>
                        <a:lnTo>
                          <a:pt x="73" y="310"/>
                        </a:lnTo>
                        <a:lnTo>
                          <a:pt x="68" y="312"/>
                        </a:lnTo>
                        <a:lnTo>
                          <a:pt x="58" y="310"/>
                        </a:lnTo>
                        <a:lnTo>
                          <a:pt x="40" y="297"/>
                        </a:lnTo>
                        <a:lnTo>
                          <a:pt x="33" y="287"/>
                        </a:lnTo>
                        <a:lnTo>
                          <a:pt x="33" y="287"/>
                        </a:lnTo>
                        <a:lnTo>
                          <a:pt x="30" y="287"/>
                        </a:lnTo>
                        <a:lnTo>
                          <a:pt x="26" y="285"/>
                        </a:lnTo>
                        <a:lnTo>
                          <a:pt x="16" y="275"/>
                        </a:lnTo>
                        <a:lnTo>
                          <a:pt x="15" y="272"/>
                        </a:lnTo>
                        <a:lnTo>
                          <a:pt x="16" y="270"/>
                        </a:lnTo>
                        <a:lnTo>
                          <a:pt x="20" y="269"/>
                        </a:lnTo>
                        <a:lnTo>
                          <a:pt x="20" y="270"/>
                        </a:lnTo>
                        <a:lnTo>
                          <a:pt x="23" y="270"/>
                        </a:lnTo>
                        <a:lnTo>
                          <a:pt x="23" y="275"/>
                        </a:lnTo>
                        <a:lnTo>
                          <a:pt x="26" y="275"/>
                        </a:lnTo>
                        <a:lnTo>
                          <a:pt x="30" y="274"/>
                        </a:lnTo>
                        <a:lnTo>
                          <a:pt x="31" y="274"/>
                        </a:lnTo>
                        <a:lnTo>
                          <a:pt x="33" y="275"/>
                        </a:lnTo>
                        <a:lnTo>
                          <a:pt x="35" y="272"/>
                        </a:lnTo>
                        <a:lnTo>
                          <a:pt x="45" y="265"/>
                        </a:lnTo>
                        <a:lnTo>
                          <a:pt x="48" y="265"/>
                        </a:lnTo>
                        <a:lnTo>
                          <a:pt x="51" y="259"/>
                        </a:lnTo>
                        <a:lnTo>
                          <a:pt x="53" y="259"/>
                        </a:lnTo>
                        <a:lnTo>
                          <a:pt x="54" y="255"/>
                        </a:lnTo>
                        <a:lnTo>
                          <a:pt x="50" y="255"/>
                        </a:lnTo>
                        <a:lnTo>
                          <a:pt x="50" y="254"/>
                        </a:lnTo>
                        <a:lnTo>
                          <a:pt x="50" y="255"/>
                        </a:lnTo>
                        <a:lnTo>
                          <a:pt x="50" y="257"/>
                        </a:lnTo>
                        <a:lnTo>
                          <a:pt x="40" y="262"/>
                        </a:lnTo>
                        <a:lnTo>
                          <a:pt x="33" y="262"/>
                        </a:lnTo>
                        <a:lnTo>
                          <a:pt x="28" y="262"/>
                        </a:lnTo>
                        <a:lnTo>
                          <a:pt x="13" y="257"/>
                        </a:lnTo>
                        <a:lnTo>
                          <a:pt x="5" y="250"/>
                        </a:lnTo>
                        <a:lnTo>
                          <a:pt x="1" y="249"/>
                        </a:lnTo>
                        <a:lnTo>
                          <a:pt x="3" y="245"/>
                        </a:lnTo>
                        <a:lnTo>
                          <a:pt x="8" y="239"/>
                        </a:lnTo>
                        <a:lnTo>
                          <a:pt x="13" y="237"/>
                        </a:lnTo>
                        <a:lnTo>
                          <a:pt x="6" y="237"/>
                        </a:lnTo>
                        <a:lnTo>
                          <a:pt x="0" y="242"/>
                        </a:lnTo>
                        <a:lnTo>
                          <a:pt x="0" y="235"/>
                        </a:lnTo>
                        <a:lnTo>
                          <a:pt x="5" y="232"/>
                        </a:lnTo>
                        <a:lnTo>
                          <a:pt x="8" y="232"/>
                        </a:lnTo>
                        <a:lnTo>
                          <a:pt x="10" y="227"/>
                        </a:lnTo>
                        <a:lnTo>
                          <a:pt x="13" y="227"/>
                        </a:lnTo>
                        <a:lnTo>
                          <a:pt x="18" y="225"/>
                        </a:lnTo>
                        <a:lnTo>
                          <a:pt x="35" y="225"/>
                        </a:lnTo>
                        <a:lnTo>
                          <a:pt x="43" y="224"/>
                        </a:lnTo>
                        <a:lnTo>
                          <a:pt x="46" y="220"/>
                        </a:lnTo>
                        <a:lnTo>
                          <a:pt x="51" y="219"/>
                        </a:lnTo>
                        <a:lnTo>
                          <a:pt x="50" y="222"/>
                        </a:lnTo>
                        <a:lnTo>
                          <a:pt x="51" y="225"/>
                        </a:lnTo>
                        <a:lnTo>
                          <a:pt x="56" y="222"/>
                        </a:lnTo>
                        <a:lnTo>
                          <a:pt x="61" y="220"/>
                        </a:lnTo>
                        <a:lnTo>
                          <a:pt x="59" y="219"/>
                        </a:lnTo>
                        <a:lnTo>
                          <a:pt x="59" y="215"/>
                        </a:lnTo>
                        <a:lnTo>
                          <a:pt x="54" y="202"/>
                        </a:lnTo>
                        <a:lnTo>
                          <a:pt x="50" y="196"/>
                        </a:lnTo>
                        <a:lnTo>
                          <a:pt x="51" y="192"/>
                        </a:lnTo>
                        <a:lnTo>
                          <a:pt x="48" y="191"/>
                        </a:lnTo>
                        <a:lnTo>
                          <a:pt x="43" y="191"/>
                        </a:lnTo>
                        <a:lnTo>
                          <a:pt x="36" y="186"/>
                        </a:lnTo>
                        <a:lnTo>
                          <a:pt x="35" y="179"/>
                        </a:lnTo>
                        <a:lnTo>
                          <a:pt x="35" y="172"/>
                        </a:lnTo>
                        <a:lnTo>
                          <a:pt x="31" y="166"/>
                        </a:lnTo>
                        <a:lnTo>
                          <a:pt x="26" y="166"/>
                        </a:lnTo>
                        <a:lnTo>
                          <a:pt x="25" y="167"/>
                        </a:lnTo>
                        <a:lnTo>
                          <a:pt x="18" y="166"/>
                        </a:lnTo>
                        <a:lnTo>
                          <a:pt x="15" y="166"/>
                        </a:lnTo>
                        <a:lnTo>
                          <a:pt x="15" y="161"/>
                        </a:lnTo>
                        <a:lnTo>
                          <a:pt x="18" y="151"/>
                        </a:lnTo>
                        <a:lnTo>
                          <a:pt x="21" y="151"/>
                        </a:lnTo>
                        <a:lnTo>
                          <a:pt x="28" y="142"/>
                        </a:lnTo>
                        <a:lnTo>
                          <a:pt x="30" y="137"/>
                        </a:lnTo>
                        <a:lnTo>
                          <a:pt x="35" y="136"/>
                        </a:lnTo>
                        <a:lnTo>
                          <a:pt x="36" y="134"/>
                        </a:lnTo>
                        <a:lnTo>
                          <a:pt x="43" y="136"/>
                        </a:lnTo>
                        <a:lnTo>
                          <a:pt x="43" y="141"/>
                        </a:lnTo>
                        <a:lnTo>
                          <a:pt x="46" y="141"/>
                        </a:lnTo>
                        <a:lnTo>
                          <a:pt x="56" y="136"/>
                        </a:lnTo>
                        <a:lnTo>
                          <a:pt x="68" y="136"/>
                        </a:lnTo>
                        <a:lnTo>
                          <a:pt x="76" y="127"/>
                        </a:lnTo>
                        <a:lnTo>
                          <a:pt x="81" y="116"/>
                        </a:lnTo>
                        <a:lnTo>
                          <a:pt x="93" y="107"/>
                        </a:lnTo>
                        <a:lnTo>
                          <a:pt x="94" y="104"/>
                        </a:lnTo>
                        <a:lnTo>
                          <a:pt x="96" y="96"/>
                        </a:lnTo>
                        <a:lnTo>
                          <a:pt x="101" y="89"/>
                        </a:lnTo>
                        <a:lnTo>
                          <a:pt x="109" y="86"/>
                        </a:lnTo>
                        <a:lnTo>
                          <a:pt x="113" y="81"/>
                        </a:lnTo>
                        <a:lnTo>
                          <a:pt x="111" y="76"/>
                        </a:lnTo>
                        <a:lnTo>
                          <a:pt x="109" y="74"/>
                        </a:lnTo>
                        <a:lnTo>
                          <a:pt x="116" y="68"/>
                        </a:lnTo>
                        <a:lnTo>
                          <a:pt x="119" y="64"/>
                        </a:lnTo>
                        <a:lnTo>
                          <a:pt x="119" y="59"/>
                        </a:lnTo>
                        <a:lnTo>
                          <a:pt x="121" y="48"/>
                        </a:lnTo>
                        <a:lnTo>
                          <a:pt x="119" y="41"/>
                        </a:lnTo>
                        <a:lnTo>
                          <a:pt x="118" y="38"/>
                        </a:lnTo>
                        <a:lnTo>
                          <a:pt x="126" y="33"/>
                        </a:lnTo>
                        <a:lnTo>
                          <a:pt x="129" y="31"/>
                        </a:lnTo>
                        <a:lnTo>
                          <a:pt x="134" y="28"/>
                        </a:lnTo>
                        <a:lnTo>
                          <a:pt x="138" y="28"/>
                        </a:lnTo>
                        <a:lnTo>
                          <a:pt x="144" y="23"/>
                        </a:lnTo>
                        <a:lnTo>
                          <a:pt x="151" y="11"/>
                        </a:lnTo>
                        <a:lnTo>
                          <a:pt x="157" y="6"/>
                        </a:lnTo>
                        <a:lnTo>
                          <a:pt x="164" y="5"/>
                        </a:lnTo>
                        <a:lnTo>
                          <a:pt x="167" y="0"/>
                        </a:lnTo>
                        <a:lnTo>
                          <a:pt x="172" y="0"/>
                        </a:lnTo>
                        <a:lnTo>
                          <a:pt x="186" y="8"/>
                        </a:lnTo>
                        <a:lnTo>
                          <a:pt x="192" y="5"/>
                        </a:lnTo>
                        <a:lnTo>
                          <a:pt x="199" y="6"/>
                        </a:lnTo>
                        <a:lnTo>
                          <a:pt x="201" y="13"/>
                        </a:lnTo>
                        <a:lnTo>
                          <a:pt x="207" y="13"/>
                        </a:lnTo>
                        <a:lnTo>
                          <a:pt x="217" y="18"/>
                        </a:lnTo>
                        <a:lnTo>
                          <a:pt x="217" y="18"/>
                        </a:lnTo>
                        <a:lnTo>
                          <a:pt x="217" y="18"/>
                        </a:lnTo>
                        <a:close/>
                        <a:moveTo>
                          <a:pt x="493" y="284"/>
                        </a:moveTo>
                        <a:lnTo>
                          <a:pt x="493" y="289"/>
                        </a:lnTo>
                        <a:lnTo>
                          <a:pt x="495" y="287"/>
                        </a:lnTo>
                        <a:lnTo>
                          <a:pt x="493" y="284"/>
                        </a:lnTo>
                        <a:lnTo>
                          <a:pt x="493" y="284"/>
                        </a:lnTo>
                        <a:close/>
                        <a:moveTo>
                          <a:pt x="490" y="282"/>
                        </a:moveTo>
                        <a:lnTo>
                          <a:pt x="486" y="284"/>
                        </a:lnTo>
                        <a:lnTo>
                          <a:pt x="488" y="287"/>
                        </a:lnTo>
                        <a:lnTo>
                          <a:pt x="490" y="287"/>
                        </a:lnTo>
                        <a:lnTo>
                          <a:pt x="490" y="285"/>
                        </a:lnTo>
                        <a:lnTo>
                          <a:pt x="490" y="282"/>
                        </a:lnTo>
                        <a:lnTo>
                          <a:pt x="490" y="282"/>
                        </a:lnTo>
                        <a:close/>
                        <a:moveTo>
                          <a:pt x="483" y="284"/>
                        </a:moveTo>
                        <a:lnTo>
                          <a:pt x="483" y="287"/>
                        </a:lnTo>
                        <a:lnTo>
                          <a:pt x="486" y="290"/>
                        </a:lnTo>
                        <a:lnTo>
                          <a:pt x="486" y="285"/>
                        </a:lnTo>
                        <a:lnTo>
                          <a:pt x="483" y="284"/>
                        </a:lnTo>
                        <a:lnTo>
                          <a:pt x="483" y="284"/>
                        </a:lnTo>
                        <a:close/>
                        <a:moveTo>
                          <a:pt x="476" y="285"/>
                        </a:moveTo>
                        <a:lnTo>
                          <a:pt x="476" y="287"/>
                        </a:lnTo>
                        <a:lnTo>
                          <a:pt x="478" y="287"/>
                        </a:lnTo>
                        <a:lnTo>
                          <a:pt x="481" y="280"/>
                        </a:lnTo>
                        <a:lnTo>
                          <a:pt x="480" y="279"/>
                        </a:lnTo>
                        <a:lnTo>
                          <a:pt x="476" y="285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28" name="Google Shape;2983;p98">
                    <a:extLst>
                      <a:ext uri="{FF2B5EF4-FFF2-40B4-BE49-F238E27FC236}">
                        <a16:creationId xmlns:a16="http://schemas.microsoft.com/office/drawing/2014/main" id="{F26F725B-8194-359E-519F-962493D29BCC}"/>
                      </a:ext>
                    </a:extLst>
                  </p:cNvPr>
                  <p:cNvSpPr/>
                  <p:nvPr/>
                </p:nvSpPr>
                <p:spPr>
                  <a:xfrm>
                    <a:off x="7543056" y="2949099"/>
                    <a:ext cx="66355" cy="7574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" h="146" extrusionOk="0">
                        <a:moveTo>
                          <a:pt x="123" y="119"/>
                        </a:moveTo>
                        <a:lnTo>
                          <a:pt x="123" y="124"/>
                        </a:lnTo>
                        <a:lnTo>
                          <a:pt x="121" y="129"/>
                        </a:lnTo>
                        <a:lnTo>
                          <a:pt x="118" y="128"/>
                        </a:lnTo>
                        <a:lnTo>
                          <a:pt x="115" y="134"/>
                        </a:lnTo>
                        <a:lnTo>
                          <a:pt x="113" y="138"/>
                        </a:lnTo>
                        <a:lnTo>
                          <a:pt x="113" y="139"/>
                        </a:lnTo>
                        <a:lnTo>
                          <a:pt x="113" y="139"/>
                        </a:lnTo>
                        <a:lnTo>
                          <a:pt x="115" y="144"/>
                        </a:lnTo>
                        <a:lnTo>
                          <a:pt x="113" y="146"/>
                        </a:lnTo>
                        <a:lnTo>
                          <a:pt x="110" y="138"/>
                        </a:lnTo>
                        <a:lnTo>
                          <a:pt x="106" y="133"/>
                        </a:lnTo>
                        <a:lnTo>
                          <a:pt x="103" y="129"/>
                        </a:lnTo>
                        <a:lnTo>
                          <a:pt x="105" y="128"/>
                        </a:lnTo>
                        <a:lnTo>
                          <a:pt x="105" y="124"/>
                        </a:lnTo>
                        <a:lnTo>
                          <a:pt x="105" y="126"/>
                        </a:lnTo>
                        <a:lnTo>
                          <a:pt x="101" y="128"/>
                        </a:lnTo>
                        <a:lnTo>
                          <a:pt x="100" y="126"/>
                        </a:lnTo>
                        <a:lnTo>
                          <a:pt x="101" y="119"/>
                        </a:lnTo>
                        <a:lnTo>
                          <a:pt x="100" y="119"/>
                        </a:lnTo>
                        <a:lnTo>
                          <a:pt x="101" y="114"/>
                        </a:lnTo>
                        <a:lnTo>
                          <a:pt x="101" y="111"/>
                        </a:lnTo>
                        <a:lnTo>
                          <a:pt x="98" y="109"/>
                        </a:lnTo>
                        <a:lnTo>
                          <a:pt x="91" y="94"/>
                        </a:lnTo>
                        <a:lnTo>
                          <a:pt x="88" y="94"/>
                        </a:lnTo>
                        <a:lnTo>
                          <a:pt x="88" y="96"/>
                        </a:lnTo>
                        <a:lnTo>
                          <a:pt x="86" y="94"/>
                        </a:lnTo>
                        <a:lnTo>
                          <a:pt x="83" y="98"/>
                        </a:lnTo>
                        <a:lnTo>
                          <a:pt x="75" y="93"/>
                        </a:lnTo>
                        <a:lnTo>
                          <a:pt x="73" y="93"/>
                        </a:lnTo>
                        <a:lnTo>
                          <a:pt x="70" y="93"/>
                        </a:lnTo>
                        <a:lnTo>
                          <a:pt x="67" y="88"/>
                        </a:lnTo>
                        <a:lnTo>
                          <a:pt x="65" y="83"/>
                        </a:lnTo>
                        <a:lnTo>
                          <a:pt x="65" y="89"/>
                        </a:lnTo>
                        <a:lnTo>
                          <a:pt x="68" y="94"/>
                        </a:lnTo>
                        <a:lnTo>
                          <a:pt x="68" y="96"/>
                        </a:lnTo>
                        <a:lnTo>
                          <a:pt x="63" y="98"/>
                        </a:lnTo>
                        <a:lnTo>
                          <a:pt x="67" y="99"/>
                        </a:lnTo>
                        <a:lnTo>
                          <a:pt x="68" y="104"/>
                        </a:lnTo>
                        <a:lnTo>
                          <a:pt x="68" y="109"/>
                        </a:lnTo>
                        <a:lnTo>
                          <a:pt x="63" y="111"/>
                        </a:lnTo>
                        <a:lnTo>
                          <a:pt x="60" y="118"/>
                        </a:lnTo>
                        <a:lnTo>
                          <a:pt x="57" y="116"/>
                        </a:lnTo>
                        <a:lnTo>
                          <a:pt x="58" y="113"/>
                        </a:lnTo>
                        <a:lnTo>
                          <a:pt x="60" y="111"/>
                        </a:lnTo>
                        <a:lnTo>
                          <a:pt x="62" y="109"/>
                        </a:lnTo>
                        <a:lnTo>
                          <a:pt x="58" y="111"/>
                        </a:lnTo>
                        <a:lnTo>
                          <a:pt x="55" y="116"/>
                        </a:lnTo>
                        <a:lnTo>
                          <a:pt x="52" y="111"/>
                        </a:lnTo>
                        <a:lnTo>
                          <a:pt x="55" y="104"/>
                        </a:lnTo>
                        <a:lnTo>
                          <a:pt x="55" y="103"/>
                        </a:lnTo>
                        <a:lnTo>
                          <a:pt x="53" y="101"/>
                        </a:lnTo>
                        <a:lnTo>
                          <a:pt x="53" y="103"/>
                        </a:lnTo>
                        <a:lnTo>
                          <a:pt x="52" y="106"/>
                        </a:lnTo>
                        <a:lnTo>
                          <a:pt x="52" y="109"/>
                        </a:lnTo>
                        <a:lnTo>
                          <a:pt x="50" y="109"/>
                        </a:lnTo>
                        <a:lnTo>
                          <a:pt x="53" y="114"/>
                        </a:lnTo>
                        <a:lnTo>
                          <a:pt x="52" y="119"/>
                        </a:lnTo>
                        <a:lnTo>
                          <a:pt x="50" y="121"/>
                        </a:lnTo>
                        <a:lnTo>
                          <a:pt x="50" y="119"/>
                        </a:lnTo>
                        <a:lnTo>
                          <a:pt x="47" y="118"/>
                        </a:lnTo>
                        <a:lnTo>
                          <a:pt x="43" y="118"/>
                        </a:lnTo>
                        <a:lnTo>
                          <a:pt x="43" y="121"/>
                        </a:lnTo>
                        <a:lnTo>
                          <a:pt x="40" y="121"/>
                        </a:lnTo>
                        <a:lnTo>
                          <a:pt x="40" y="119"/>
                        </a:lnTo>
                        <a:lnTo>
                          <a:pt x="37" y="116"/>
                        </a:lnTo>
                        <a:lnTo>
                          <a:pt x="35" y="116"/>
                        </a:lnTo>
                        <a:lnTo>
                          <a:pt x="35" y="109"/>
                        </a:lnTo>
                        <a:lnTo>
                          <a:pt x="33" y="106"/>
                        </a:lnTo>
                        <a:lnTo>
                          <a:pt x="32" y="99"/>
                        </a:lnTo>
                        <a:lnTo>
                          <a:pt x="25" y="91"/>
                        </a:lnTo>
                        <a:lnTo>
                          <a:pt x="25" y="84"/>
                        </a:lnTo>
                        <a:lnTo>
                          <a:pt x="25" y="79"/>
                        </a:lnTo>
                        <a:lnTo>
                          <a:pt x="23" y="74"/>
                        </a:lnTo>
                        <a:lnTo>
                          <a:pt x="23" y="68"/>
                        </a:lnTo>
                        <a:lnTo>
                          <a:pt x="17" y="61"/>
                        </a:lnTo>
                        <a:lnTo>
                          <a:pt x="10" y="58"/>
                        </a:lnTo>
                        <a:lnTo>
                          <a:pt x="5" y="53"/>
                        </a:lnTo>
                        <a:lnTo>
                          <a:pt x="5" y="44"/>
                        </a:lnTo>
                        <a:lnTo>
                          <a:pt x="10" y="43"/>
                        </a:lnTo>
                        <a:lnTo>
                          <a:pt x="12" y="36"/>
                        </a:lnTo>
                        <a:lnTo>
                          <a:pt x="15" y="35"/>
                        </a:lnTo>
                        <a:lnTo>
                          <a:pt x="18" y="36"/>
                        </a:lnTo>
                        <a:lnTo>
                          <a:pt x="22" y="35"/>
                        </a:lnTo>
                        <a:lnTo>
                          <a:pt x="20" y="28"/>
                        </a:lnTo>
                        <a:lnTo>
                          <a:pt x="22" y="25"/>
                        </a:lnTo>
                        <a:lnTo>
                          <a:pt x="15" y="25"/>
                        </a:lnTo>
                        <a:lnTo>
                          <a:pt x="10" y="26"/>
                        </a:lnTo>
                        <a:lnTo>
                          <a:pt x="0" y="23"/>
                        </a:lnTo>
                        <a:lnTo>
                          <a:pt x="0" y="18"/>
                        </a:lnTo>
                        <a:lnTo>
                          <a:pt x="5" y="13"/>
                        </a:lnTo>
                        <a:lnTo>
                          <a:pt x="7" y="6"/>
                        </a:lnTo>
                        <a:lnTo>
                          <a:pt x="5" y="5"/>
                        </a:lnTo>
                        <a:lnTo>
                          <a:pt x="5" y="3"/>
                        </a:lnTo>
                        <a:lnTo>
                          <a:pt x="7" y="1"/>
                        </a:lnTo>
                        <a:lnTo>
                          <a:pt x="8" y="0"/>
                        </a:lnTo>
                        <a:lnTo>
                          <a:pt x="10" y="1"/>
                        </a:lnTo>
                        <a:lnTo>
                          <a:pt x="13" y="5"/>
                        </a:lnTo>
                        <a:lnTo>
                          <a:pt x="13" y="8"/>
                        </a:lnTo>
                        <a:lnTo>
                          <a:pt x="17" y="11"/>
                        </a:lnTo>
                        <a:lnTo>
                          <a:pt x="22" y="11"/>
                        </a:lnTo>
                        <a:lnTo>
                          <a:pt x="23" y="11"/>
                        </a:lnTo>
                        <a:lnTo>
                          <a:pt x="20" y="10"/>
                        </a:lnTo>
                        <a:lnTo>
                          <a:pt x="22" y="6"/>
                        </a:lnTo>
                        <a:lnTo>
                          <a:pt x="23" y="6"/>
                        </a:lnTo>
                        <a:lnTo>
                          <a:pt x="27" y="10"/>
                        </a:lnTo>
                        <a:lnTo>
                          <a:pt x="30" y="11"/>
                        </a:lnTo>
                        <a:lnTo>
                          <a:pt x="35" y="13"/>
                        </a:lnTo>
                        <a:lnTo>
                          <a:pt x="35" y="11"/>
                        </a:lnTo>
                        <a:lnTo>
                          <a:pt x="37" y="11"/>
                        </a:lnTo>
                        <a:lnTo>
                          <a:pt x="40" y="16"/>
                        </a:lnTo>
                        <a:lnTo>
                          <a:pt x="42" y="21"/>
                        </a:lnTo>
                        <a:lnTo>
                          <a:pt x="42" y="25"/>
                        </a:lnTo>
                        <a:lnTo>
                          <a:pt x="43" y="28"/>
                        </a:lnTo>
                        <a:lnTo>
                          <a:pt x="43" y="31"/>
                        </a:lnTo>
                        <a:lnTo>
                          <a:pt x="48" y="33"/>
                        </a:lnTo>
                        <a:lnTo>
                          <a:pt x="53" y="33"/>
                        </a:lnTo>
                        <a:lnTo>
                          <a:pt x="58" y="35"/>
                        </a:lnTo>
                        <a:lnTo>
                          <a:pt x="65" y="35"/>
                        </a:lnTo>
                        <a:lnTo>
                          <a:pt x="73" y="35"/>
                        </a:lnTo>
                        <a:lnTo>
                          <a:pt x="81" y="35"/>
                        </a:lnTo>
                        <a:lnTo>
                          <a:pt x="90" y="35"/>
                        </a:lnTo>
                        <a:lnTo>
                          <a:pt x="93" y="35"/>
                        </a:lnTo>
                        <a:lnTo>
                          <a:pt x="95" y="36"/>
                        </a:lnTo>
                        <a:lnTo>
                          <a:pt x="98" y="35"/>
                        </a:lnTo>
                        <a:lnTo>
                          <a:pt x="103" y="40"/>
                        </a:lnTo>
                        <a:lnTo>
                          <a:pt x="105" y="40"/>
                        </a:lnTo>
                        <a:lnTo>
                          <a:pt x="101" y="44"/>
                        </a:lnTo>
                        <a:lnTo>
                          <a:pt x="101" y="49"/>
                        </a:lnTo>
                        <a:lnTo>
                          <a:pt x="98" y="58"/>
                        </a:lnTo>
                        <a:lnTo>
                          <a:pt x="95" y="59"/>
                        </a:lnTo>
                        <a:lnTo>
                          <a:pt x="95" y="61"/>
                        </a:lnTo>
                        <a:lnTo>
                          <a:pt x="93" y="64"/>
                        </a:lnTo>
                        <a:lnTo>
                          <a:pt x="90" y="63"/>
                        </a:lnTo>
                        <a:lnTo>
                          <a:pt x="88" y="61"/>
                        </a:lnTo>
                        <a:lnTo>
                          <a:pt x="85" y="64"/>
                        </a:lnTo>
                        <a:lnTo>
                          <a:pt x="83" y="68"/>
                        </a:lnTo>
                        <a:lnTo>
                          <a:pt x="81" y="69"/>
                        </a:lnTo>
                        <a:lnTo>
                          <a:pt x="81" y="71"/>
                        </a:lnTo>
                        <a:lnTo>
                          <a:pt x="83" y="78"/>
                        </a:lnTo>
                        <a:lnTo>
                          <a:pt x="86" y="79"/>
                        </a:lnTo>
                        <a:lnTo>
                          <a:pt x="86" y="81"/>
                        </a:lnTo>
                        <a:lnTo>
                          <a:pt x="91" y="84"/>
                        </a:lnTo>
                        <a:lnTo>
                          <a:pt x="95" y="89"/>
                        </a:lnTo>
                        <a:lnTo>
                          <a:pt x="98" y="89"/>
                        </a:lnTo>
                        <a:lnTo>
                          <a:pt x="98" y="86"/>
                        </a:lnTo>
                        <a:lnTo>
                          <a:pt x="96" y="84"/>
                        </a:lnTo>
                        <a:lnTo>
                          <a:pt x="98" y="81"/>
                        </a:lnTo>
                        <a:lnTo>
                          <a:pt x="98" y="79"/>
                        </a:lnTo>
                        <a:lnTo>
                          <a:pt x="100" y="78"/>
                        </a:lnTo>
                        <a:lnTo>
                          <a:pt x="98" y="74"/>
                        </a:lnTo>
                        <a:lnTo>
                          <a:pt x="101" y="74"/>
                        </a:lnTo>
                        <a:lnTo>
                          <a:pt x="105" y="76"/>
                        </a:lnTo>
                        <a:lnTo>
                          <a:pt x="108" y="74"/>
                        </a:lnTo>
                        <a:lnTo>
                          <a:pt x="110" y="78"/>
                        </a:lnTo>
                        <a:lnTo>
                          <a:pt x="111" y="81"/>
                        </a:lnTo>
                        <a:lnTo>
                          <a:pt x="113" y="86"/>
                        </a:lnTo>
                        <a:lnTo>
                          <a:pt x="113" y="91"/>
                        </a:lnTo>
                        <a:lnTo>
                          <a:pt x="115" y="94"/>
                        </a:lnTo>
                        <a:lnTo>
                          <a:pt x="116" y="103"/>
                        </a:lnTo>
                        <a:lnTo>
                          <a:pt x="118" y="109"/>
                        </a:lnTo>
                        <a:lnTo>
                          <a:pt x="120" y="113"/>
                        </a:lnTo>
                        <a:lnTo>
                          <a:pt x="121" y="114"/>
                        </a:lnTo>
                        <a:lnTo>
                          <a:pt x="121" y="116"/>
                        </a:lnTo>
                        <a:lnTo>
                          <a:pt x="123" y="118"/>
                        </a:lnTo>
                        <a:lnTo>
                          <a:pt x="123" y="119"/>
                        </a:lnTo>
                        <a:lnTo>
                          <a:pt x="123" y="119"/>
                        </a:lnTo>
                        <a:close/>
                        <a:moveTo>
                          <a:pt x="90" y="101"/>
                        </a:moveTo>
                        <a:lnTo>
                          <a:pt x="88" y="99"/>
                        </a:lnTo>
                        <a:lnTo>
                          <a:pt x="86" y="101"/>
                        </a:lnTo>
                        <a:lnTo>
                          <a:pt x="88" y="106"/>
                        </a:lnTo>
                        <a:lnTo>
                          <a:pt x="90" y="104"/>
                        </a:lnTo>
                        <a:lnTo>
                          <a:pt x="90" y="101"/>
                        </a:lnTo>
                        <a:lnTo>
                          <a:pt x="90" y="101"/>
                        </a:lnTo>
                        <a:close/>
                        <a:moveTo>
                          <a:pt x="78" y="99"/>
                        </a:moveTo>
                        <a:lnTo>
                          <a:pt x="80" y="104"/>
                        </a:lnTo>
                        <a:lnTo>
                          <a:pt x="80" y="108"/>
                        </a:lnTo>
                        <a:lnTo>
                          <a:pt x="81" y="111"/>
                        </a:lnTo>
                        <a:lnTo>
                          <a:pt x="85" y="106"/>
                        </a:lnTo>
                        <a:lnTo>
                          <a:pt x="83" y="103"/>
                        </a:lnTo>
                        <a:lnTo>
                          <a:pt x="78" y="98"/>
                        </a:lnTo>
                        <a:lnTo>
                          <a:pt x="78" y="98"/>
                        </a:lnTo>
                        <a:lnTo>
                          <a:pt x="78" y="99"/>
                        </a:lnTo>
                        <a:lnTo>
                          <a:pt x="78" y="99"/>
                        </a:lnTo>
                        <a:close/>
                        <a:moveTo>
                          <a:pt x="73" y="98"/>
                        </a:moveTo>
                        <a:lnTo>
                          <a:pt x="68" y="99"/>
                        </a:lnTo>
                        <a:lnTo>
                          <a:pt x="68" y="101"/>
                        </a:lnTo>
                        <a:lnTo>
                          <a:pt x="72" y="108"/>
                        </a:lnTo>
                        <a:lnTo>
                          <a:pt x="77" y="108"/>
                        </a:lnTo>
                        <a:lnTo>
                          <a:pt x="77" y="101"/>
                        </a:lnTo>
                        <a:lnTo>
                          <a:pt x="73" y="98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29" name="Google Shape;2984;p98">
                    <a:extLst>
                      <a:ext uri="{FF2B5EF4-FFF2-40B4-BE49-F238E27FC236}">
                        <a16:creationId xmlns:a16="http://schemas.microsoft.com/office/drawing/2014/main" id="{CD75B312-82BD-6B12-0B28-9D98F7A2809A}"/>
                      </a:ext>
                    </a:extLst>
                  </p:cNvPr>
                  <p:cNvSpPr/>
                  <p:nvPr/>
                </p:nvSpPr>
                <p:spPr>
                  <a:xfrm>
                    <a:off x="7549478" y="2928348"/>
                    <a:ext cx="39599" cy="2075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74" h="40" extrusionOk="0">
                        <a:moveTo>
                          <a:pt x="1" y="20"/>
                        </a:moveTo>
                        <a:lnTo>
                          <a:pt x="6" y="16"/>
                        </a:lnTo>
                        <a:lnTo>
                          <a:pt x="11" y="8"/>
                        </a:lnTo>
                        <a:lnTo>
                          <a:pt x="23" y="1"/>
                        </a:lnTo>
                        <a:lnTo>
                          <a:pt x="31" y="0"/>
                        </a:lnTo>
                        <a:lnTo>
                          <a:pt x="33" y="3"/>
                        </a:lnTo>
                        <a:lnTo>
                          <a:pt x="45" y="5"/>
                        </a:lnTo>
                        <a:lnTo>
                          <a:pt x="50" y="6"/>
                        </a:lnTo>
                        <a:lnTo>
                          <a:pt x="56" y="5"/>
                        </a:lnTo>
                        <a:lnTo>
                          <a:pt x="63" y="5"/>
                        </a:lnTo>
                        <a:lnTo>
                          <a:pt x="66" y="10"/>
                        </a:lnTo>
                        <a:lnTo>
                          <a:pt x="68" y="10"/>
                        </a:lnTo>
                        <a:lnTo>
                          <a:pt x="66" y="15"/>
                        </a:lnTo>
                        <a:lnTo>
                          <a:pt x="66" y="20"/>
                        </a:lnTo>
                        <a:lnTo>
                          <a:pt x="74" y="21"/>
                        </a:lnTo>
                        <a:lnTo>
                          <a:pt x="74" y="28"/>
                        </a:lnTo>
                        <a:lnTo>
                          <a:pt x="74" y="31"/>
                        </a:lnTo>
                        <a:lnTo>
                          <a:pt x="65" y="35"/>
                        </a:lnTo>
                        <a:lnTo>
                          <a:pt x="58" y="35"/>
                        </a:lnTo>
                        <a:lnTo>
                          <a:pt x="50" y="36"/>
                        </a:lnTo>
                        <a:lnTo>
                          <a:pt x="45" y="35"/>
                        </a:lnTo>
                        <a:lnTo>
                          <a:pt x="38" y="35"/>
                        </a:lnTo>
                        <a:lnTo>
                          <a:pt x="33" y="40"/>
                        </a:lnTo>
                        <a:lnTo>
                          <a:pt x="26" y="40"/>
                        </a:lnTo>
                        <a:lnTo>
                          <a:pt x="15" y="35"/>
                        </a:lnTo>
                        <a:lnTo>
                          <a:pt x="11" y="36"/>
                        </a:lnTo>
                        <a:lnTo>
                          <a:pt x="3" y="35"/>
                        </a:lnTo>
                        <a:lnTo>
                          <a:pt x="0" y="28"/>
                        </a:lnTo>
                        <a:lnTo>
                          <a:pt x="1" y="25"/>
                        </a:lnTo>
                        <a:lnTo>
                          <a:pt x="1" y="20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30" name="Google Shape;2985;p98">
                    <a:extLst>
                      <a:ext uri="{FF2B5EF4-FFF2-40B4-BE49-F238E27FC236}">
                        <a16:creationId xmlns:a16="http://schemas.microsoft.com/office/drawing/2014/main" id="{F0C45254-84FF-9A61-7808-04EA4956D6B0}"/>
                      </a:ext>
                    </a:extLst>
                  </p:cNvPr>
                  <p:cNvSpPr/>
                  <p:nvPr/>
                </p:nvSpPr>
                <p:spPr>
                  <a:xfrm>
                    <a:off x="7434961" y="2902408"/>
                    <a:ext cx="107025" cy="4980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1" h="96" extrusionOk="0">
                        <a:moveTo>
                          <a:pt x="9" y="2"/>
                        </a:moveTo>
                        <a:lnTo>
                          <a:pt x="10" y="0"/>
                        </a:lnTo>
                        <a:lnTo>
                          <a:pt x="17" y="3"/>
                        </a:lnTo>
                        <a:lnTo>
                          <a:pt x="19" y="7"/>
                        </a:lnTo>
                        <a:lnTo>
                          <a:pt x="24" y="7"/>
                        </a:lnTo>
                        <a:lnTo>
                          <a:pt x="27" y="7"/>
                        </a:lnTo>
                        <a:lnTo>
                          <a:pt x="30" y="3"/>
                        </a:lnTo>
                        <a:lnTo>
                          <a:pt x="35" y="3"/>
                        </a:lnTo>
                        <a:lnTo>
                          <a:pt x="44" y="7"/>
                        </a:lnTo>
                        <a:lnTo>
                          <a:pt x="47" y="8"/>
                        </a:lnTo>
                        <a:lnTo>
                          <a:pt x="52" y="8"/>
                        </a:lnTo>
                        <a:lnTo>
                          <a:pt x="57" y="12"/>
                        </a:lnTo>
                        <a:lnTo>
                          <a:pt x="64" y="18"/>
                        </a:lnTo>
                        <a:lnTo>
                          <a:pt x="69" y="18"/>
                        </a:lnTo>
                        <a:lnTo>
                          <a:pt x="74" y="20"/>
                        </a:lnTo>
                        <a:lnTo>
                          <a:pt x="77" y="23"/>
                        </a:lnTo>
                        <a:lnTo>
                          <a:pt x="80" y="28"/>
                        </a:lnTo>
                        <a:lnTo>
                          <a:pt x="82" y="32"/>
                        </a:lnTo>
                        <a:lnTo>
                          <a:pt x="85" y="32"/>
                        </a:lnTo>
                        <a:lnTo>
                          <a:pt x="85" y="25"/>
                        </a:lnTo>
                        <a:lnTo>
                          <a:pt x="88" y="23"/>
                        </a:lnTo>
                        <a:lnTo>
                          <a:pt x="90" y="25"/>
                        </a:lnTo>
                        <a:lnTo>
                          <a:pt x="95" y="25"/>
                        </a:lnTo>
                        <a:lnTo>
                          <a:pt x="100" y="27"/>
                        </a:lnTo>
                        <a:lnTo>
                          <a:pt x="100" y="33"/>
                        </a:lnTo>
                        <a:lnTo>
                          <a:pt x="107" y="38"/>
                        </a:lnTo>
                        <a:lnTo>
                          <a:pt x="115" y="36"/>
                        </a:lnTo>
                        <a:lnTo>
                          <a:pt x="120" y="36"/>
                        </a:lnTo>
                        <a:lnTo>
                          <a:pt x="120" y="46"/>
                        </a:lnTo>
                        <a:lnTo>
                          <a:pt x="122" y="51"/>
                        </a:lnTo>
                        <a:lnTo>
                          <a:pt x="127" y="50"/>
                        </a:lnTo>
                        <a:lnTo>
                          <a:pt x="133" y="53"/>
                        </a:lnTo>
                        <a:lnTo>
                          <a:pt x="135" y="51"/>
                        </a:lnTo>
                        <a:lnTo>
                          <a:pt x="142" y="50"/>
                        </a:lnTo>
                        <a:lnTo>
                          <a:pt x="145" y="45"/>
                        </a:lnTo>
                        <a:lnTo>
                          <a:pt x="155" y="46"/>
                        </a:lnTo>
                        <a:lnTo>
                          <a:pt x="160" y="48"/>
                        </a:lnTo>
                        <a:lnTo>
                          <a:pt x="162" y="53"/>
                        </a:lnTo>
                        <a:lnTo>
                          <a:pt x="168" y="56"/>
                        </a:lnTo>
                        <a:lnTo>
                          <a:pt x="173" y="61"/>
                        </a:lnTo>
                        <a:lnTo>
                          <a:pt x="178" y="63"/>
                        </a:lnTo>
                        <a:lnTo>
                          <a:pt x="185" y="61"/>
                        </a:lnTo>
                        <a:lnTo>
                          <a:pt x="186" y="61"/>
                        </a:lnTo>
                        <a:lnTo>
                          <a:pt x="193" y="60"/>
                        </a:lnTo>
                        <a:lnTo>
                          <a:pt x="198" y="60"/>
                        </a:lnTo>
                        <a:lnTo>
                          <a:pt x="200" y="65"/>
                        </a:lnTo>
                        <a:lnTo>
                          <a:pt x="196" y="75"/>
                        </a:lnTo>
                        <a:lnTo>
                          <a:pt x="201" y="83"/>
                        </a:lnTo>
                        <a:lnTo>
                          <a:pt x="200" y="95"/>
                        </a:lnTo>
                        <a:lnTo>
                          <a:pt x="185" y="96"/>
                        </a:lnTo>
                        <a:lnTo>
                          <a:pt x="177" y="93"/>
                        </a:lnTo>
                        <a:lnTo>
                          <a:pt x="170" y="95"/>
                        </a:lnTo>
                        <a:lnTo>
                          <a:pt x="150" y="88"/>
                        </a:lnTo>
                        <a:lnTo>
                          <a:pt x="142" y="88"/>
                        </a:lnTo>
                        <a:lnTo>
                          <a:pt x="137" y="90"/>
                        </a:lnTo>
                        <a:lnTo>
                          <a:pt x="123" y="88"/>
                        </a:lnTo>
                        <a:lnTo>
                          <a:pt x="117" y="83"/>
                        </a:lnTo>
                        <a:lnTo>
                          <a:pt x="117" y="76"/>
                        </a:lnTo>
                        <a:lnTo>
                          <a:pt x="105" y="75"/>
                        </a:lnTo>
                        <a:lnTo>
                          <a:pt x="92" y="76"/>
                        </a:lnTo>
                        <a:lnTo>
                          <a:pt x="88" y="73"/>
                        </a:lnTo>
                        <a:lnTo>
                          <a:pt x="75" y="75"/>
                        </a:lnTo>
                        <a:lnTo>
                          <a:pt x="67" y="70"/>
                        </a:lnTo>
                        <a:lnTo>
                          <a:pt x="60" y="70"/>
                        </a:lnTo>
                        <a:lnTo>
                          <a:pt x="57" y="66"/>
                        </a:lnTo>
                        <a:lnTo>
                          <a:pt x="47" y="65"/>
                        </a:lnTo>
                        <a:lnTo>
                          <a:pt x="40" y="56"/>
                        </a:lnTo>
                        <a:lnTo>
                          <a:pt x="29" y="50"/>
                        </a:lnTo>
                        <a:lnTo>
                          <a:pt x="20" y="48"/>
                        </a:lnTo>
                        <a:lnTo>
                          <a:pt x="15" y="45"/>
                        </a:lnTo>
                        <a:lnTo>
                          <a:pt x="12" y="45"/>
                        </a:lnTo>
                        <a:lnTo>
                          <a:pt x="7" y="41"/>
                        </a:lnTo>
                        <a:lnTo>
                          <a:pt x="2" y="41"/>
                        </a:lnTo>
                        <a:lnTo>
                          <a:pt x="0" y="36"/>
                        </a:lnTo>
                        <a:lnTo>
                          <a:pt x="5" y="28"/>
                        </a:lnTo>
                        <a:lnTo>
                          <a:pt x="5" y="22"/>
                        </a:lnTo>
                        <a:lnTo>
                          <a:pt x="10" y="10"/>
                        </a:lnTo>
                        <a:lnTo>
                          <a:pt x="9" y="2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31" name="Google Shape;2986;p98">
                    <a:extLst>
                      <a:ext uri="{FF2B5EF4-FFF2-40B4-BE49-F238E27FC236}">
                        <a16:creationId xmlns:a16="http://schemas.microsoft.com/office/drawing/2014/main" id="{8D68E763-BA26-6618-F639-E244D04A86B8}"/>
                      </a:ext>
                    </a:extLst>
                  </p:cNvPr>
                  <p:cNvSpPr/>
                  <p:nvPr/>
                </p:nvSpPr>
                <p:spPr>
                  <a:xfrm>
                    <a:off x="7187734" y="2818363"/>
                    <a:ext cx="180872" cy="17327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9" h="336" extrusionOk="0">
                        <a:moveTo>
                          <a:pt x="196" y="334"/>
                        </a:moveTo>
                        <a:lnTo>
                          <a:pt x="196" y="327"/>
                        </a:lnTo>
                        <a:lnTo>
                          <a:pt x="201" y="324"/>
                        </a:lnTo>
                        <a:lnTo>
                          <a:pt x="204" y="324"/>
                        </a:lnTo>
                        <a:lnTo>
                          <a:pt x="206" y="319"/>
                        </a:lnTo>
                        <a:lnTo>
                          <a:pt x="209" y="319"/>
                        </a:lnTo>
                        <a:lnTo>
                          <a:pt x="214" y="317"/>
                        </a:lnTo>
                        <a:lnTo>
                          <a:pt x="231" y="317"/>
                        </a:lnTo>
                        <a:lnTo>
                          <a:pt x="239" y="316"/>
                        </a:lnTo>
                        <a:lnTo>
                          <a:pt x="242" y="312"/>
                        </a:lnTo>
                        <a:lnTo>
                          <a:pt x="247" y="311"/>
                        </a:lnTo>
                        <a:lnTo>
                          <a:pt x="246" y="314"/>
                        </a:lnTo>
                        <a:lnTo>
                          <a:pt x="247" y="317"/>
                        </a:lnTo>
                        <a:lnTo>
                          <a:pt x="252" y="314"/>
                        </a:lnTo>
                        <a:lnTo>
                          <a:pt x="257" y="312"/>
                        </a:lnTo>
                        <a:lnTo>
                          <a:pt x="255" y="311"/>
                        </a:lnTo>
                        <a:lnTo>
                          <a:pt x="255" y="307"/>
                        </a:lnTo>
                        <a:lnTo>
                          <a:pt x="250" y="294"/>
                        </a:lnTo>
                        <a:lnTo>
                          <a:pt x="246" y="288"/>
                        </a:lnTo>
                        <a:lnTo>
                          <a:pt x="247" y="284"/>
                        </a:lnTo>
                        <a:lnTo>
                          <a:pt x="244" y="283"/>
                        </a:lnTo>
                        <a:lnTo>
                          <a:pt x="239" y="283"/>
                        </a:lnTo>
                        <a:lnTo>
                          <a:pt x="232" y="278"/>
                        </a:lnTo>
                        <a:lnTo>
                          <a:pt x="231" y="271"/>
                        </a:lnTo>
                        <a:lnTo>
                          <a:pt x="231" y="264"/>
                        </a:lnTo>
                        <a:lnTo>
                          <a:pt x="227" y="258"/>
                        </a:lnTo>
                        <a:lnTo>
                          <a:pt x="222" y="258"/>
                        </a:lnTo>
                        <a:lnTo>
                          <a:pt x="221" y="259"/>
                        </a:lnTo>
                        <a:lnTo>
                          <a:pt x="214" y="258"/>
                        </a:lnTo>
                        <a:lnTo>
                          <a:pt x="211" y="258"/>
                        </a:lnTo>
                        <a:lnTo>
                          <a:pt x="211" y="253"/>
                        </a:lnTo>
                        <a:lnTo>
                          <a:pt x="214" y="243"/>
                        </a:lnTo>
                        <a:lnTo>
                          <a:pt x="217" y="243"/>
                        </a:lnTo>
                        <a:lnTo>
                          <a:pt x="224" y="234"/>
                        </a:lnTo>
                        <a:lnTo>
                          <a:pt x="226" y="229"/>
                        </a:lnTo>
                        <a:lnTo>
                          <a:pt x="231" y="228"/>
                        </a:lnTo>
                        <a:lnTo>
                          <a:pt x="232" y="226"/>
                        </a:lnTo>
                        <a:lnTo>
                          <a:pt x="239" y="228"/>
                        </a:lnTo>
                        <a:lnTo>
                          <a:pt x="239" y="233"/>
                        </a:lnTo>
                        <a:lnTo>
                          <a:pt x="242" y="233"/>
                        </a:lnTo>
                        <a:lnTo>
                          <a:pt x="252" y="228"/>
                        </a:lnTo>
                        <a:lnTo>
                          <a:pt x="264" y="228"/>
                        </a:lnTo>
                        <a:lnTo>
                          <a:pt x="272" y="219"/>
                        </a:lnTo>
                        <a:lnTo>
                          <a:pt x="277" y="208"/>
                        </a:lnTo>
                        <a:lnTo>
                          <a:pt x="289" y="199"/>
                        </a:lnTo>
                        <a:lnTo>
                          <a:pt x="290" y="196"/>
                        </a:lnTo>
                        <a:lnTo>
                          <a:pt x="292" y="188"/>
                        </a:lnTo>
                        <a:lnTo>
                          <a:pt x="297" y="181"/>
                        </a:lnTo>
                        <a:lnTo>
                          <a:pt x="305" y="178"/>
                        </a:lnTo>
                        <a:lnTo>
                          <a:pt x="309" y="173"/>
                        </a:lnTo>
                        <a:lnTo>
                          <a:pt x="307" y="168"/>
                        </a:lnTo>
                        <a:lnTo>
                          <a:pt x="305" y="166"/>
                        </a:lnTo>
                        <a:lnTo>
                          <a:pt x="312" y="160"/>
                        </a:lnTo>
                        <a:lnTo>
                          <a:pt x="315" y="156"/>
                        </a:lnTo>
                        <a:lnTo>
                          <a:pt x="315" y="151"/>
                        </a:lnTo>
                        <a:lnTo>
                          <a:pt x="317" y="140"/>
                        </a:lnTo>
                        <a:lnTo>
                          <a:pt x="315" y="133"/>
                        </a:lnTo>
                        <a:lnTo>
                          <a:pt x="314" y="130"/>
                        </a:lnTo>
                        <a:lnTo>
                          <a:pt x="322" y="125"/>
                        </a:lnTo>
                        <a:lnTo>
                          <a:pt x="325" y="123"/>
                        </a:lnTo>
                        <a:lnTo>
                          <a:pt x="330" y="120"/>
                        </a:lnTo>
                        <a:lnTo>
                          <a:pt x="334" y="120"/>
                        </a:lnTo>
                        <a:lnTo>
                          <a:pt x="339" y="115"/>
                        </a:lnTo>
                        <a:lnTo>
                          <a:pt x="337" y="111"/>
                        </a:lnTo>
                        <a:lnTo>
                          <a:pt x="332" y="110"/>
                        </a:lnTo>
                        <a:lnTo>
                          <a:pt x="325" y="111"/>
                        </a:lnTo>
                        <a:lnTo>
                          <a:pt x="319" y="110"/>
                        </a:lnTo>
                        <a:lnTo>
                          <a:pt x="315" y="105"/>
                        </a:lnTo>
                        <a:lnTo>
                          <a:pt x="307" y="101"/>
                        </a:lnTo>
                        <a:lnTo>
                          <a:pt x="297" y="100"/>
                        </a:lnTo>
                        <a:lnTo>
                          <a:pt x="289" y="92"/>
                        </a:lnTo>
                        <a:lnTo>
                          <a:pt x="287" y="85"/>
                        </a:lnTo>
                        <a:lnTo>
                          <a:pt x="284" y="70"/>
                        </a:lnTo>
                        <a:lnTo>
                          <a:pt x="279" y="65"/>
                        </a:lnTo>
                        <a:lnTo>
                          <a:pt x="279" y="58"/>
                        </a:lnTo>
                        <a:lnTo>
                          <a:pt x="284" y="57"/>
                        </a:lnTo>
                        <a:lnTo>
                          <a:pt x="284" y="52"/>
                        </a:lnTo>
                        <a:lnTo>
                          <a:pt x="290" y="47"/>
                        </a:lnTo>
                        <a:lnTo>
                          <a:pt x="290" y="42"/>
                        </a:lnTo>
                        <a:lnTo>
                          <a:pt x="284" y="40"/>
                        </a:lnTo>
                        <a:lnTo>
                          <a:pt x="282" y="37"/>
                        </a:lnTo>
                        <a:lnTo>
                          <a:pt x="275" y="32"/>
                        </a:lnTo>
                        <a:lnTo>
                          <a:pt x="269" y="27"/>
                        </a:lnTo>
                        <a:lnTo>
                          <a:pt x="264" y="22"/>
                        </a:lnTo>
                        <a:lnTo>
                          <a:pt x="259" y="23"/>
                        </a:lnTo>
                        <a:lnTo>
                          <a:pt x="255" y="25"/>
                        </a:lnTo>
                        <a:lnTo>
                          <a:pt x="252" y="22"/>
                        </a:lnTo>
                        <a:lnTo>
                          <a:pt x="250" y="13"/>
                        </a:lnTo>
                        <a:lnTo>
                          <a:pt x="264" y="5"/>
                        </a:lnTo>
                        <a:lnTo>
                          <a:pt x="262" y="2"/>
                        </a:lnTo>
                        <a:lnTo>
                          <a:pt x="254" y="3"/>
                        </a:lnTo>
                        <a:lnTo>
                          <a:pt x="249" y="0"/>
                        </a:lnTo>
                        <a:lnTo>
                          <a:pt x="241" y="5"/>
                        </a:lnTo>
                        <a:lnTo>
                          <a:pt x="236" y="8"/>
                        </a:lnTo>
                        <a:lnTo>
                          <a:pt x="229" y="8"/>
                        </a:lnTo>
                        <a:lnTo>
                          <a:pt x="224" y="15"/>
                        </a:lnTo>
                        <a:lnTo>
                          <a:pt x="221" y="18"/>
                        </a:lnTo>
                        <a:lnTo>
                          <a:pt x="231" y="32"/>
                        </a:lnTo>
                        <a:lnTo>
                          <a:pt x="231" y="42"/>
                        </a:lnTo>
                        <a:lnTo>
                          <a:pt x="219" y="55"/>
                        </a:lnTo>
                        <a:lnTo>
                          <a:pt x="226" y="60"/>
                        </a:lnTo>
                        <a:lnTo>
                          <a:pt x="226" y="67"/>
                        </a:lnTo>
                        <a:lnTo>
                          <a:pt x="219" y="75"/>
                        </a:lnTo>
                        <a:lnTo>
                          <a:pt x="211" y="75"/>
                        </a:lnTo>
                        <a:lnTo>
                          <a:pt x="201" y="72"/>
                        </a:lnTo>
                        <a:lnTo>
                          <a:pt x="196" y="75"/>
                        </a:lnTo>
                        <a:lnTo>
                          <a:pt x="197" y="82"/>
                        </a:lnTo>
                        <a:lnTo>
                          <a:pt x="204" y="83"/>
                        </a:lnTo>
                        <a:lnTo>
                          <a:pt x="206" y="90"/>
                        </a:lnTo>
                        <a:lnTo>
                          <a:pt x="206" y="93"/>
                        </a:lnTo>
                        <a:lnTo>
                          <a:pt x="199" y="97"/>
                        </a:lnTo>
                        <a:lnTo>
                          <a:pt x="194" y="97"/>
                        </a:lnTo>
                        <a:lnTo>
                          <a:pt x="192" y="100"/>
                        </a:lnTo>
                        <a:lnTo>
                          <a:pt x="191" y="108"/>
                        </a:lnTo>
                        <a:lnTo>
                          <a:pt x="189" y="113"/>
                        </a:lnTo>
                        <a:lnTo>
                          <a:pt x="189" y="116"/>
                        </a:lnTo>
                        <a:lnTo>
                          <a:pt x="187" y="118"/>
                        </a:lnTo>
                        <a:lnTo>
                          <a:pt x="189" y="128"/>
                        </a:lnTo>
                        <a:lnTo>
                          <a:pt x="184" y="135"/>
                        </a:lnTo>
                        <a:lnTo>
                          <a:pt x="179" y="130"/>
                        </a:lnTo>
                        <a:lnTo>
                          <a:pt x="177" y="130"/>
                        </a:lnTo>
                        <a:lnTo>
                          <a:pt x="176" y="131"/>
                        </a:lnTo>
                        <a:lnTo>
                          <a:pt x="171" y="131"/>
                        </a:lnTo>
                        <a:lnTo>
                          <a:pt x="167" y="130"/>
                        </a:lnTo>
                        <a:lnTo>
                          <a:pt x="162" y="130"/>
                        </a:lnTo>
                        <a:lnTo>
                          <a:pt x="161" y="133"/>
                        </a:lnTo>
                        <a:lnTo>
                          <a:pt x="151" y="140"/>
                        </a:lnTo>
                        <a:lnTo>
                          <a:pt x="156" y="141"/>
                        </a:lnTo>
                        <a:lnTo>
                          <a:pt x="152" y="143"/>
                        </a:lnTo>
                        <a:lnTo>
                          <a:pt x="144" y="148"/>
                        </a:lnTo>
                        <a:lnTo>
                          <a:pt x="141" y="146"/>
                        </a:lnTo>
                        <a:lnTo>
                          <a:pt x="134" y="146"/>
                        </a:lnTo>
                        <a:lnTo>
                          <a:pt x="133" y="150"/>
                        </a:lnTo>
                        <a:lnTo>
                          <a:pt x="133" y="153"/>
                        </a:lnTo>
                        <a:lnTo>
                          <a:pt x="128" y="155"/>
                        </a:lnTo>
                        <a:lnTo>
                          <a:pt x="124" y="158"/>
                        </a:lnTo>
                        <a:lnTo>
                          <a:pt x="124" y="165"/>
                        </a:lnTo>
                        <a:lnTo>
                          <a:pt x="126" y="171"/>
                        </a:lnTo>
                        <a:lnTo>
                          <a:pt x="126" y="176"/>
                        </a:lnTo>
                        <a:lnTo>
                          <a:pt x="128" y="181"/>
                        </a:lnTo>
                        <a:lnTo>
                          <a:pt x="128" y="185"/>
                        </a:lnTo>
                        <a:lnTo>
                          <a:pt x="118" y="188"/>
                        </a:lnTo>
                        <a:lnTo>
                          <a:pt x="109" y="188"/>
                        </a:lnTo>
                        <a:lnTo>
                          <a:pt x="101" y="190"/>
                        </a:lnTo>
                        <a:lnTo>
                          <a:pt x="88" y="190"/>
                        </a:lnTo>
                        <a:lnTo>
                          <a:pt x="79" y="191"/>
                        </a:lnTo>
                        <a:lnTo>
                          <a:pt x="78" y="195"/>
                        </a:lnTo>
                        <a:lnTo>
                          <a:pt x="69" y="193"/>
                        </a:lnTo>
                        <a:lnTo>
                          <a:pt x="61" y="196"/>
                        </a:lnTo>
                        <a:lnTo>
                          <a:pt x="33" y="196"/>
                        </a:lnTo>
                        <a:lnTo>
                          <a:pt x="0" y="188"/>
                        </a:lnTo>
                        <a:lnTo>
                          <a:pt x="0" y="188"/>
                        </a:lnTo>
                        <a:lnTo>
                          <a:pt x="13" y="203"/>
                        </a:lnTo>
                        <a:lnTo>
                          <a:pt x="15" y="208"/>
                        </a:lnTo>
                        <a:lnTo>
                          <a:pt x="21" y="214"/>
                        </a:lnTo>
                        <a:lnTo>
                          <a:pt x="28" y="218"/>
                        </a:lnTo>
                        <a:lnTo>
                          <a:pt x="30" y="219"/>
                        </a:lnTo>
                        <a:lnTo>
                          <a:pt x="38" y="219"/>
                        </a:lnTo>
                        <a:lnTo>
                          <a:pt x="43" y="221"/>
                        </a:lnTo>
                        <a:lnTo>
                          <a:pt x="43" y="224"/>
                        </a:lnTo>
                        <a:lnTo>
                          <a:pt x="50" y="224"/>
                        </a:lnTo>
                        <a:lnTo>
                          <a:pt x="50" y="231"/>
                        </a:lnTo>
                        <a:lnTo>
                          <a:pt x="51" y="238"/>
                        </a:lnTo>
                        <a:lnTo>
                          <a:pt x="53" y="243"/>
                        </a:lnTo>
                        <a:lnTo>
                          <a:pt x="53" y="246"/>
                        </a:lnTo>
                        <a:lnTo>
                          <a:pt x="59" y="246"/>
                        </a:lnTo>
                        <a:lnTo>
                          <a:pt x="66" y="251"/>
                        </a:lnTo>
                        <a:lnTo>
                          <a:pt x="66" y="259"/>
                        </a:lnTo>
                        <a:lnTo>
                          <a:pt x="63" y="263"/>
                        </a:lnTo>
                        <a:lnTo>
                          <a:pt x="56" y="259"/>
                        </a:lnTo>
                        <a:lnTo>
                          <a:pt x="45" y="263"/>
                        </a:lnTo>
                        <a:lnTo>
                          <a:pt x="43" y="266"/>
                        </a:lnTo>
                        <a:lnTo>
                          <a:pt x="35" y="268"/>
                        </a:lnTo>
                        <a:lnTo>
                          <a:pt x="33" y="273"/>
                        </a:lnTo>
                        <a:lnTo>
                          <a:pt x="35" y="276"/>
                        </a:lnTo>
                        <a:lnTo>
                          <a:pt x="30" y="281"/>
                        </a:lnTo>
                        <a:lnTo>
                          <a:pt x="33" y="286"/>
                        </a:lnTo>
                        <a:lnTo>
                          <a:pt x="31" y="294"/>
                        </a:lnTo>
                        <a:lnTo>
                          <a:pt x="31" y="297"/>
                        </a:lnTo>
                        <a:lnTo>
                          <a:pt x="35" y="297"/>
                        </a:lnTo>
                        <a:lnTo>
                          <a:pt x="35" y="301"/>
                        </a:lnTo>
                        <a:lnTo>
                          <a:pt x="36" y="301"/>
                        </a:lnTo>
                        <a:lnTo>
                          <a:pt x="43" y="297"/>
                        </a:lnTo>
                        <a:lnTo>
                          <a:pt x="48" y="297"/>
                        </a:lnTo>
                        <a:lnTo>
                          <a:pt x="50" y="299"/>
                        </a:lnTo>
                        <a:lnTo>
                          <a:pt x="51" y="297"/>
                        </a:lnTo>
                        <a:lnTo>
                          <a:pt x="54" y="296"/>
                        </a:lnTo>
                        <a:lnTo>
                          <a:pt x="59" y="296"/>
                        </a:lnTo>
                        <a:lnTo>
                          <a:pt x="63" y="296"/>
                        </a:lnTo>
                        <a:lnTo>
                          <a:pt x="66" y="296"/>
                        </a:lnTo>
                        <a:lnTo>
                          <a:pt x="69" y="296"/>
                        </a:lnTo>
                        <a:lnTo>
                          <a:pt x="71" y="296"/>
                        </a:lnTo>
                        <a:lnTo>
                          <a:pt x="73" y="294"/>
                        </a:lnTo>
                        <a:lnTo>
                          <a:pt x="74" y="291"/>
                        </a:lnTo>
                        <a:lnTo>
                          <a:pt x="79" y="294"/>
                        </a:lnTo>
                        <a:lnTo>
                          <a:pt x="83" y="294"/>
                        </a:lnTo>
                        <a:lnTo>
                          <a:pt x="83" y="293"/>
                        </a:lnTo>
                        <a:lnTo>
                          <a:pt x="86" y="293"/>
                        </a:lnTo>
                        <a:lnTo>
                          <a:pt x="88" y="296"/>
                        </a:lnTo>
                        <a:lnTo>
                          <a:pt x="91" y="296"/>
                        </a:lnTo>
                        <a:lnTo>
                          <a:pt x="94" y="297"/>
                        </a:lnTo>
                        <a:lnTo>
                          <a:pt x="98" y="297"/>
                        </a:lnTo>
                        <a:lnTo>
                          <a:pt x="104" y="293"/>
                        </a:lnTo>
                        <a:lnTo>
                          <a:pt x="109" y="293"/>
                        </a:lnTo>
                        <a:lnTo>
                          <a:pt x="114" y="294"/>
                        </a:lnTo>
                        <a:lnTo>
                          <a:pt x="118" y="291"/>
                        </a:lnTo>
                        <a:lnTo>
                          <a:pt x="121" y="291"/>
                        </a:lnTo>
                        <a:lnTo>
                          <a:pt x="123" y="289"/>
                        </a:lnTo>
                        <a:lnTo>
                          <a:pt x="124" y="291"/>
                        </a:lnTo>
                        <a:lnTo>
                          <a:pt x="131" y="293"/>
                        </a:lnTo>
                        <a:lnTo>
                          <a:pt x="138" y="289"/>
                        </a:lnTo>
                        <a:lnTo>
                          <a:pt x="144" y="289"/>
                        </a:lnTo>
                        <a:lnTo>
                          <a:pt x="149" y="294"/>
                        </a:lnTo>
                        <a:lnTo>
                          <a:pt x="151" y="297"/>
                        </a:lnTo>
                        <a:lnTo>
                          <a:pt x="151" y="302"/>
                        </a:lnTo>
                        <a:lnTo>
                          <a:pt x="151" y="302"/>
                        </a:lnTo>
                        <a:lnTo>
                          <a:pt x="149" y="302"/>
                        </a:lnTo>
                        <a:lnTo>
                          <a:pt x="149" y="304"/>
                        </a:lnTo>
                        <a:lnTo>
                          <a:pt x="154" y="304"/>
                        </a:lnTo>
                        <a:lnTo>
                          <a:pt x="161" y="302"/>
                        </a:lnTo>
                        <a:lnTo>
                          <a:pt x="161" y="306"/>
                        </a:lnTo>
                        <a:lnTo>
                          <a:pt x="166" y="312"/>
                        </a:lnTo>
                        <a:lnTo>
                          <a:pt x="167" y="319"/>
                        </a:lnTo>
                        <a:lnTo>
                          <a:pt x="169" y="321"/>
                        </a:lnTo>
                        <a:lnTo>
                          <a:pt x="169" y="324"/>
                        </a:lnTo>
                        <a:lnTo>
                          <a:pt x="166" y="324"/>
                        </a:lnTo>
                        <a:lnTo>
                          <a:pt x="167" y="326"/>
                        </a:lnTo>
                        <a:lnTo>
                          <a:pt x="171" y="326"/>
                        </a:lnTo>
                        <a:lnTo>
                          <a:pt x="172" y="329"/>
                        </a:lnTo>
                        <a:lnTo>
                          <a:pt x="176" y="329"/>
                        </a:lnTo>
                        <a:lnTo>
                          <a:pt x="182" y="329"/>
                        </a:lnTo>
                        <a:lnTo>
                          <a:pt x="192" y="332"/>
                        </a:lnTo>
                        <a:lnTo>
                          <a:pt x="191" y="336"/>
                        </a:lnTo>
                        <a:lnTo>
                          <a:pt x="196" y="334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32" name="Google Shape;2987;p98">
                    <a:extLst>
                      <a:ext uri="{FF2B5EF4-FFF2-40B4-BE49-F238E27FC236}">
                        <a16:creationId xmlns:a16="http://schemas.microsoft.com/office/drawing/2014/main" id="{AC94CE96-7E8D-3F06-BFB7-58720FC4A745}"/>
                      </a:ext>
                    </a:extLst>
                  </p:cNvPr>
                  <p:cNvSpPr/>
                  <p:nvPr/>
                </p:nvSpPr>
                <p:spPr>
                  <a:xfrm>
                    <a:off x="7321514" y="2809025"/>
                    <a:ext cx="95252" cy="6848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78" h="131" extrusionOk="0">
                        <a:moveTo>
                          <a:pt x="89" y="131"/>
                        </a:moveTo>
                        <a:lnTo>
                          <a:pt x="90" y="131"/>
                        </a:lnTo>
                        <a:lnTo>
                          <a:pt x="97" y="119"/>
                        </a:lnTo>
                        <a:lnTo>
                          <a:pt x="103" y="114"/>
                        </a:lnTo>
                        <a:lnTo>
                          <a:pt x="110" y="113"/>
                        </a:lnTo>
                        <a:lnTo>
                          <a:pt x="113" y="108"/>
                        </a:lnTo>
                        <a:lnTo>
                          <a:pt x="118" y="108"/>
                        </a:lnTo>
                        <a:lnTo>
                          <a:pt x="132" y="116"/>
                        </a:lnTo>
                        <a:lnTo>
                          <a:pt x="138" y="113"/>
                        </a:lnTo>
                        <a:lnTo>
                          <a:pt x="145" y="114"/>
                        </a:lnTo>
                        <a:lnTo>
                          <a:pt x="147" y="121"/>
                        </a:lnTo>
                        <a:lnTo>
                          <a:pt x="153" y="121"/>
                        </a:lnTo>
                        <a:lnTo>
                          <a:pt x="163" y="126"/>
                        </a:lnTo>
                        <a:lnTo>
                          <a:pt x="170" y="119"/>
                        </a:lnTo>
                        <a:lnTo>
                          <a:pt x="175" y="121"/>
                        </a:lnTo>
                        <a:lnTo>
                          <a:pt x="175" y="124"/>
                        </a:lnTo>
                        <a:lnTo>
                          <a:pt x="178" y="119"/>
                        </a:lnTo>
                        <a:lnTo>
                          <a:pt x="177" y="111"/>
                        </a:lnTo>
                        <a:lnTo>
                          <a:pt x="173" y="101"/>
                        </a:lnTo>
                        <a:lnTo>
                          <a:pt x="168" y="99"/>
                        </a:lnTo>
                        <a:lnTo>
                          <a:pt x="163" y="91"/>
                        </a:lnTo>
                        <a:lnTo>
                          <a:pt x="163" y="79"/>
                        </a:lnTo>
                        <a:lnTo>
                          <a:pt x="160" y="74"/>
                        </a:lnTo>
                        <a:lnTo>
                          <a:pt x="152" y="71"/>
                        </a:lnTo>
                        <a:lnTo>
                          <a:pt x="145" y="64"/>
                        </a:lnTo>
                        <a:lnTo>
                          <a:pt x="142" y="53"/>
                        </a:lnTo>
                        <a:lnTo>
                          <a:pt x="133" y="49"/>
                        </a:lnTo>
                        <a:lnTo>
                          <a:pt x="123" y="46"/>
                        </a:lnTo>
                        <a:lnTo>
                          <a:pt x="123" y="41"/>
                        </a:lnTo>
                        <a:lnTo>
                          <a:pt x="118" y="41"/>
                        </a:lnTo>
                        <a:lnTo>
                          <a:pt x="108" y="41"/>
                        </a:lnTo>
                        <a:lnTo>
                          <a:pt x="98" y="39"/>
                        </a:lnTo>
                        <a:lnTo>
                          <a:pt x="97" y="36"/>
                        </a:lnTo>
                        <a:lnTo>
                          <a:pt x="92" y="34"/>
                        </a:lnTo>
                        <a:lnTo>
                          <a:pt x="92" y="28"/>
                        </a:lnTo>
                        <a:lnTo>
                          <a:pt x="85" y="24"/>
                        </a:lnTo>
                        <a:lnTo>
                          <a:pt x="75" y="10"/>
                        </a:lnTo>
                        <a:lnTo>
                          <a:pt x="72" y="3"/>
                        </a:lnTo>
                        <a:lnTo>
                          <a:pt x="69" y="0"/>
                        </a:lnTo>
                        <a:lnTo>
                          <a:pt x="65" y="0"/>
                        </a:lnTo>
                        <a:lnTo>
                          <a:pt x="64" y="1"/>
                        </a:lnTo>
                        <a:lnTo>
                          <a:pt x="60" y="3"/>
                        </a:lnTo>
                        <a:lnTo>
                          <a:pt x="57" y="3"/>
                        </a:lnTo>
                        <a:lnTo>
                          <a:pt x="54" y="5"/>
                        </a:lnTo>
                        <a:lnTo>
                          <a:pt x="50" y="1"/>
                        </a:lnTo>
                        <a:lnTo>
                          <a:pt x="47" y="1"/>
                        </a:lnTo>
                        <a:lnTo>
                          <a:pt x="44" y="3"/>
                        </a:lnTo>
                        <a:lnTo>
                          <a:pt x="44" y="3"/>
                        </a:lnTo>
                        <a:lnTo>
                          <a:pt x="39" y="11"/>
                        </a:lnTo>
                        <a:lnTo>
                          <a:pt x="29" y="15"/>
                        </a:lnTo>
                        <a:lnTo>
                          <a:pt x="12" y="18"/>
                        </a:lnTo>
                        <a:lnTo>
                          <a:pt x="14" y="21"/>
                        </a:lnTo>
                        <a:lnTo>
                          <a:pt x="0" y="29"/>
                        </a:lnTo>
                        <a:lnTo>
                          <a:pt x="2" y="38"/>
                        </a:lnTo>
                        <a:lnTo>
                          <a:pt x="5" y="41"/>
                        </a:lnTo>
                        <a:lnTo>
                          <a:pt x="9" y="39"/>
                        </a:lnTo>
                        <a:lnTo>
                          <a:pt x="14" y="38"/>
                        </a:lnTo>
                        <a:lnTo>
                          <a:pt x="19" y="43"/>
                        </a:lnTo>
                        <a:lnTo>
                          <a:pt x="25" y="48"/>
                        </a:lnTo>
                        <a:lnTo>
                          <a:pt x="32" y="53"/>
                        </a:lnTo>
                        <a:lnTo>
                          <a:pt x="34" y="56"/>
                        </a:lnTo>
                        <a:lnTo>
                          <a:pt x="40" y="58"/>
                        </a:lnTo>
                        <a:lnTo>
                          <a:pt x="40" y="63"/>
                        </a:lnTo>
                        <a:lnTo>
                          <a:pt x="34" y="68"/>
                        </a:lnTo>
                        <a:lnTo>
                          <a:pt x="34" y="73"/>
                        </a:lnTo>
                        <a:lnTo>
                          <a:pt x="29" y="74"/>
                        </a:lnTo>
                        <a:lnTo>
                          <a:pt x="29" y="81"/>
                        </a:lnTo>
                        <a:lnTo>
                          <a:pt x="34" y="86"/>
                        </a:lnTo>
                        <a:lnTo>
                          <a:pt x="37" y="101"/>
                        </a:lnTo>
                        <a:lnTo>
                          <a:pt x="39" y="108"/>
                        </a:lnTo>
                        <a:lnTo>
                          <a:pt x="47" y="116"/>
                        </a:lnTo>
                        <a:lnTo>
                          <a:pt x="57" y="117"/>
                        </a:lnTo>
                        <a:lnTo>
                          <a:pt x="65" y="121"/>
                        </a:lnTo>
                        <a:lnTo>
                          <a:pt x="69" y="126"/>
                        </a:lnTo>
                        <a:lnTo>
                          <a:pt x="75" y="127"/>
                        </a:lnTo>
                        <a:lnTo>
                          <a:pt x="82" y="126"/>
                        </a:lnTo>
                        <a:lnTo>
                          <a:pt x="87" y="127"/>
                        </a:lnTo>
                        <a:lnTo>
                          <a:pt x="89" y="131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33" name="Google Shape;2988;p98">
                    <a:extLst>
                      <a:ext uri="{FF2B5EF4-FFF2-40B4-BE49-F238E27FC236}">
                        <a16:creationId xmlns:a16="http://schemas.microsoft.com/office/drawing/2014/main" id="{3BF73736-11D1-A446-B635-A24859D1B239}"/>
                      </a:ext>
                    </a:extLst>
                  </p:cNvPr>
                  <p:cNvSpPr/>
                  <p:nvPr/>
                </p:nvSpPr>
                <p:spPr>
                  <a:xfrm>
                    <a:off x="7174891" y="2793461"/>
                    <a:ext cx="172310" cy="12658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23" h="242" extrusionOk="0">
                        <a:moveTo>
                          <a:pt x="279" y="31"/>
                        </a:moveTo>
                        <a:lnTo>
                          <a:pt x="289" y="25"/>
                        </a:lnTo>
                        <a:lnTo>
                          <a:pt x="298" y="23"/>
                        </a:lnTo>
                        <a:lnTo>
                          <a:pt x="298" y="28"/>
                        </a:lnTo>
                        <a:lnTo>
                          <a:pt x="308" y="26"/>
                        </a:lnTo>
                        <a:lnTo>
                          <a:pt x="311" y="23"/>
                        </a:lnTo>
                        <a:lnTo>
                          <a:pt x="321" y="23"/>
                        </a:lnTo>
                        <a:lnTo>
                          <a:pt x="323" y="26"/>
                        </a:lnTo>
                        <a:lnTo>
                          <a:pt x="314" y="33"/>
                        </a:lnTo>
                        <a:lnTo>
                          <a:pt x="318" y="33"/>
                        </a:lnTo>
                        <a:lnTo>
                          <a:pt x="313" y="41"/>
                        </a:lnTo>
                        <a:lnTo>
                          <a:pt x="303" y="45"/>
                        </a:lnTo>
                        <a:lnTo>
                          <a:pt x="278" y="49"/>
                        </a:lnTo>
                        <a:lnTo>
                          <a:pt x="273" y="46"/>
                        </a:lnTo>
                        <a:lnTo>
                          <a:pt x="265" y="51"/>
                        </a:lnTo>
                        <a:lnTo>
                          <a:pt x="260" y="54"/>
                        </a:lnTo>
                        <a:lnTo>
                          <a:pt x="253" y="54"/>
                        </a:lnTo>
                        <a:lnTo>
                          <a:pt x="248" y="61"/>
                        </a:lnTo>
                        <a:lnTo>
                          <a:pt x="245" y="64"/>
                        </a:lnTo>
                        <a:lnTo>
                          <a:pt x="255" y="78"/>
                        </a:lnTo>
                        <a:lnTo>
                          <a:pt x="255" y="88"/>
                        </a:lnTo>
                        <a:lnTo>
                          <a:pt x="243" y="101"/>
                        </a:lnTo>
                        <a:lnTo>
                          <a:pt x="250" y="106"/>
                        </a:lnTo>
                        <a:lnTo>
                          <a:pt x="250" y="113"/>
                        </a:lnTo>
                        <a:lnTo>
                          <a:pt x="243" y="121"/>
                        </a:lnTo>
                        <a:lnTo>
                          <a:pt x="235" y="121"/>
                        </a:lnTo>
                        <a:lnTo>
                          <a:pt x="225" y="118"/>
                        </a:lnTo>
                        <a:lnTo>
                          <a:pt x="220" y="121"/>
                        </a:lnTo>
                        <a:lnTo>
                          <a:pt x="221" y="128"/>
                        </a:lnTo>
                        <a:lnTo>
                          <a:pt x="228" y="129"/>
                        </a:lnTo>
                        <a:lnTo>
                          <a:pt x="230" y="136"/>
                        </a:lnTo>
                        <a:lnTo>
                          <a:pt x="230" y="139"/>
                        </a:lnTo>
                        <a:lnTo>
                          <a:pt x="223" y="143"/>
                        </a:lnTo>
                        <a:lnTo>
                          <a:pt x="218" y="143"/>
                        </a:lnTo>
                        <a:lnTo>
                          <a:pt x="216" y="146"/>
                        </a:lnTo>
                        <a:lnTo>
                          <a:pt x="215" y="154"/>
                        </a:lnTo>
                        <a:lnTo>
                          <a:pt x="213" y="159"/>
                        </a:lnTo>
                        <a:lnTo>
                          <a:pt x="213" y="162"/>
                        </a:lnTo>
                        <a:lnTo>
                          <a:pt x="211" y="164"/>
                        </a:lnTo>
                        <a:lnTo>
                          <a:pt x="213" y="174"/>
                        </a:lnTo>
                        <a:lnTo>
                          <a:pt x="208" y="181"/>
                        </a:lnTo>
                        <a:lnTo>
                          <a:pt x="203" y="176"/>
                        </a:lnTo>
                        <a:lnTo>
                          <a:pt x="201" y="176"/>
                        </a:lnTo>
                        <a:lnTo>
                          <a:pt x="200" y="177"/>
                        </a:lnTo>
                        <a:lnTo>
                          <a:pt x="195" y="177"/>
                        </a:lnTo>
                        <a:lnTo>
                          <a:pt x="191" y="176"/>
                        </a:lnTo>
                        <a:lnTo>
                          <a:pt x="186" y="176"/>
                        </a:lnTo>
                        <a:lnTo>
                          <a:pt x="185" y="179"/>
                        </a:lnTo>
                        <a:lnTo>
                          <a:pt x="175" y="186"/>
                        </a:lnTo>
                        <a:lnTo>
                          <a:pt x="180" y="187"/>
                        </a:lnTo>
                        <a:lnTo>
                          <a:pt x="176" y="189"/>
                        </a:lnTo>
                        <a:lnTo>
                          <a:pt x="168" y="194"/>
                        </a:lnTo>
                        <a:lnTo>
                          <a:pt x="165" y="192"/>
                        </a:lnTo>
                        <a:lnTo>
                          <a:pt x="158" y="192"/>
                        </a:lnTo>
                        <a:lnTo>
                          <a:pt x="157" y="196"/>
                        </a:lnTo>
                        <a:lnTo>
                          <a:pt x="157" y="199"/>
                        </a:lnTo>
                        <a:lnTo>
                          <a:pt x="152" y="201"/>
                        </a:lnTo>
                        <a:lnTo>
                          <a:pt x="148" y="204"/>
                        </a:lnTo>
                        <a:lnTo>
                          <a:pt x="148" y="211"/>
                        </a:lnTo>
                        <a:lnTo>
                          <a:pt x="150" y="217"/>
                        </a:lnTo>
                        <a:lnTo>
                          <a:pt x="150" y="222"/>
                        </a:lnTo>
                        <a:lnTo>
                          <a:pt x="152" y="227"/>
                        </a:lnTo>
                        <a:lnTo>
                          <a:pt x="152" y="231"/>
                        </a:lnTo>
                        <a:lnTo>
                          <a:pt x="142" y="234"/>
                        </a:lnTo>
                        <a:lnTo>
                          <a:pt x="133" y="234"/>
                        </a:lnTo>
                        <a:lnTo>
                          <a:pt x="125" y="236"/>
                        </a:lnTo>
                        <a:lnTo>
                          <a:pt x="112" y="236"/>
                        </a:lnTo>
                        <a:lnTo>
                          <a:pt x="103" y="237"/>
                        </a:lnTo>
                        <a:lnTo>
                          <a:pt x="102" y="241"/>
                        </a:lnTo>
                        <a:lnTo>
                          <a:pt x="93" y="239"/>
                        </a:lnTo>
                        <a:lnTo>
                          <a:pt x="85" y="242"/>
                        </a:lnTo>
                        <a:lnTo>
                          <a:pt x="57" y="242"/>
                        </a:lnTo>
                        <a:lnTo>
                          <a:pt x="24" y="234"/>
                        </a:lnTo>
                        <a:lnTo>
                          <a:pt x="42" y="211"/>
                        </a:lnTo>
                        <a:lnTo>
                          <a:pt x="44" y="209"/>
                        </a:lnTo>
                        <a:lnTo>
                          <a:pt x="42" y="201"/>
                        </a:lnTo>
                        <a:lnTo>
                          <a:pt x="42" y="194"/>
                        </a:lnTo>
                        <a:lnTo>
                          <a:pt x="39" y="186"/>
                        </a:lnTo>
                        <a:lnTo>
                          <a:pt x="17" y="186"/>
                        </a:lnTo>
                        <a:lnTo>
                          <a:pt x="17" y="177"/>
                        </a:lnTo>
                        <a:lnTo>
                          <a:pt x="14" y="174"/>
                        </a:lnTo>
                        <a:lnTo>
                          <a:pt x="15" y="171"/>
                        </a:lnTo>
                        <a:lnTo>
                          <a:pt x="12" y="161"/>
                        </a:lnTo>
                        <a:lnTo>
                          <a:pt x="5" y="149"/>
                        </a:lnTo>
                        <a:lnTo>
                          <a:pt x="7" y="144"/>
                        </a:lnTo>
                        <a:lnTo>
                          <a:pt x="15" y="136"/>
                        </a:lnTo>
                        <a:lnTo>
                          <a:pt x="12" y="136"/>
                        </a:lnTo>
                        <a:lnTo>
                          <a:pt x="4" y="134"/>
                        </a:lnTo>
                        <a:lnTo>
                          <a:pt x="4" y="129"/>
                        </a:lnTo>
                        <a:lnTo>
                          <a:pt x="2" y="121"/>
                        </a:lnTo>
                        <a:lnTo>
                          <a:pt x="2" y="121"/>
                        </a:lnTo>
                        <a:lnTo>
                          <a:pt x="5" y="114"/>
                        </a:lnTo>
                        <a:lnTo>
                          <a:pt x="2" y="113"/>
                        </a:lnTo>
                        <a:lnTo>
                          <a:pt x="0" y="109"/>
                        </a:lnTo>
                        <a:lnTo>
                          <a:pt x="5" y="108"/>
                        </a:lnTo>
                        <a:lnTo>
                          <a:pt x="12" y="104"/>
                        </a:lnTo>
                        <a:lnTo>
                          <a:pt x="10" y="101"/>
                        </a:lnTo>
                        <a:lnTo>
                          <a:pt x="12" y="99"/>
                        </a:lnTo>
                        <a:lnTo>
                          <a:pt x="9" y="96"/>
                        </a:lnTo>
                        <a:lnTo>
                          <a:pt x="10" y="93"/>
                        </a:lnTo>
                        <a:lnTo>
                          <a:pt x="10" y="89"/>
                        </a:lnTo>
                        <a:lnTo>
                          <a:pt x="10" y="84"/>
                        </a:lnTo>
                        <a:lnTo>
                          <a:pt x="10" y="83"/>
                        </a:lnTo>
                        <a:lnTo>
                          <a:pt x="12" y="83"/>
                        </a:lnTo>
                        <a:lnTo>
                          <a:pt x="19" y="84"/>
                        </a:lnTo>
                        <a:lnTo>
                          <a:pt x="22" y="86"/>
                        </a:lnTo>
                        <a:lnTo>
                          <a:pt x="25" y="86"/>
                        </a:lnTo>
                        <a:lnTo>
                          <a:pt x="29" y="84"/>
                        </a:lnTo>
                        <a:lnTo>
                          <a:pt x="34" y="84"/>
                        </a:lnTo>
                        <a:lnTo>
                          <a:pt x="39" y="88"/>
                        </a:lnTo>
                        <a:lnTo>
                          <a:pt x="40" y="91"/>
                        </a:lnTo>
                        <a:lnTo>
                          <a:pt x="42" y="93"/>
                        </a:lnTo>
                        <a:lnTo>
                          <a:pt x="45" y="89"/>
                        </a:lnTo>
                        <a:lnTo>
                          <a:pt x="52" y="89"/>
                        </a:lnTo>
                        <a:lnTo>
                          <a:pt x="55" y="86"/>
                        </a:lnTo>
                        <a:lnTo>
                          <a:pt x="55" y="83"/>
                        </a:lnTo>
                        <a:lnTo>
                          <a:pt x="59" y="79"/>
                        </a:lnTo>
                        <a:lnTo>
                          <a:pt x="59" y="78"/>
                        </a:lnTo>
                        <a:lnTo>
                          <a:pt x="65" y="73"/>
                        </a:lnTo>
                        <a:lnTo>
                          <a:pt x="75" y="71"/>
                        </a:lnTo>
                        <a:lnTo>
                          <a:pt x="75" y="69"/>
                        </a:lnTo>
                        <a:lnTo>
                          <a:pt x="80" y="66"/>
                        </a:lnTo>
                        <a:lnTo>
                          <a:pt x="83" y="66"/>
                        </a:lnTo>
                        <a:lnTo>
                          <a:pt x="85" y="59"/>
                        </a:lnTo>
                        <a:lnTo>
                          <a:pt x="85" y="54"/>
                        </a:lnTo>
                        <a:lnTo>
                          <a:pt x="90" y="49"/>
                        </a:lnTo>
                        <a:lnTo>
                          <a:pt x="90" y="45"/>
                        </a:lnTo>
                        <a:lnTo>
                          <a:pt x="88" y="43"/>
                        </a:lnTo>
                        <a:lnTo>
                          <a:pt x="88" y="40"/>
                        </a:lnTo>
                        <a:lnTo>
                          <a:pt x="92" y="40"/>
                        </a:lnTo>
                        <a:lnTo>
                          <a:pt x="93" y="38"/>
                        </a:lnTo>
                        <a:lnTo>
                          <a:pt x="100" y="36"/>
                        </a:lnTo>
                        <a:lnTo>
                          <a:pt x="102" y="36"/>
                        </a:lnTo>
                        <a:lnTo>
                          <a:pt x="110" y="31"/>
                        </a:lnTo>
                        <a:lnTo>
                          <a:pt x="115" y="30"/>
                        </a:lnTo>
                        <a:lnTo>
                          <a:pt x="120" y="33"/>
                        </a:lnTo>
                        <a:lnTo>
                          <a:pt x="125" y="31"/>
                        </a:lnTo>
                        <a:lnTo>
                          <a:pt x="127" y="33"/>
                        </a:lnTo>
                        <a:lnTo>
                          <a:pt x="135" y="31"/>
                        </a:lnTo>
                        <a:lnTo>
                          <a:pt x="140" y="33"/>
                        </a:lnTo>
                        <a:lnTo>
                          <a:pt x="143" y="38"/>
                        </a:lnTo>
                        <a:lnTo>
                          <a:pt x="147" y="38"/>
                        </a:lnTo>
                        <a:lnTo>
                          <a:pt x="150" y="35"/>
                        </a:lnTo>
                        <a:lnTo>
                          <a:pt x="155" y="35"/>
                        </a:lnTo>
                        <a:lnTo>
                          <a:pt x="160" y="41"/>
                        </a:lnTo>
                        <a:lnTo>
                          <a:pt x="163" y="41"/>
                        </a:lnTo>
                        <a:lnTo>
                          <a:pt x="172" y="41"/>
                        </a:lnTo>
                        <a:lnTo>
                          <a:pt x="176" y="38"/>
                        </a:lnTo>
                        <a:lnTo>
                          <a:pt x="180" y="35"/>
                        </a:lnTo>
                        <a:lnTo>
                          <a:pt x="181" y="35"/>
                        </a:lnTo>
                        <a:lnTo>
                          <a:pt x="185" y="31"/>
                        </a:lnTo>
                        <a:lnTo>
                          <a:pt x="186" y="33"/>
                        </a:lnTo>
                        <a:lnTo>
                          <a:pt x="190" y="36"/>
                        </a:lnTo>
                        <a:lnTo>
                          <a:pt x="198" y="36"/>
                        </a:lnTo>
                        <a:lnTo>
                          <a:pt x="198" y="33"/>
                        </a:lnTo>
                        <a:lnTo>
                          <a:pt x="196" y="31"/>
                        </a:lnTo>
                        <a:lnTo>
                          <a:pt x="196" y="28"/>
                        </a:lnTo>
                        <a:lnTo>
                          <a:pt x="201" y="26"/>
                        </a:lnTo>
                        <a:lnTo>
                          <a:pt x="203" y="25"/>
                        </a:lnTo>
                        <a:lnTo>
                          <a:pt x="206" y="25"/>
                        </a:lnTo>
                        <a:lnTo>
                          <a:pt x="206" y="26"/>
                        </a:lnTo>
                        <a:lnTo>
                          <a:pt x="211" y="26"/>
                        </a:lnTo>
                        <a:lnTo>
                          <a:pt x="215" y="21"/>
                        </a:lnTo>
                        <a:lnTo>
                          <a:pt x="213" y="16"/>
                        </a:lnTo>
                        <a:lnTo>
                          <a:pt x="216" y="13"/>
                        </a:lnTo>
                        <a:lnTo>
                          <a:pt x="218" y="10"/>
                        </a:lnTo>
                        <a:lnTo>
                          <a:pt x="220" y="5"/>
                        </a:lnTo>
                        <a:lnTo>
                          <a:pt x="221" y="0"/>
                        </a:lnTo>
                        <a:lnTo>
                          <a:pt x="228" y="0"/>
                        </a:lnTo>
                        <a:lnTo>
                          <a:pt x="231" y="3"/>
                        </a:lnTo>
                        <a:lnTo>
                          <a:pt x="236" y="5"/>
                        </a:lnTo>
                        <a:lnTo>
                          <a:pt x="236" y="8"/>
                        </a:lnTo>
                        <a:lnTo>
                          <a:pt x="235" y="13"/>
                        </a:lnTo>
                        <a:lnTo>
                          <a:pt x="236" y="18"/>
                        </a:lnTo>
                        <a:lnTo>
                          <a:pt x="241" y="18"/>
                        </a:lnTo>
                        <a:lnTo>
                          <a:pt x="243" y="21"/>
                        </a:lnTo>
                        <a:lnTo>
                          <a:pt x="243" y="26"/>
                        </a:lnTo>
                        <a:lnTo>
                          <a:pt x="243" y="31"/>
                        </a:lnTo>
                        <a:lnTo>
                          <a:pt x="243" y="40"/>
                        </a:lnTo>
                        <a:lnTo>
                          <a:pt x="246" y="45"/>
                        </a:lnTo>
                        <a:lnTo>
                          <a:pt x="246" y="48"/>
                        </a:lnTo>
                        <a:lnTo>
                          <a:pt x="251" y="49"/>
                        </a:lnTo>
                        <a:lnTo>
                          <a:pt x="258" y="49"/>
                        </a:lnTo>
                        <a:lnTo>
                          <a:pt x="261" y="46"/>
                        </a:lnTo>
                        <a:lnTo>
                          <a:pt x="263" y="45"/>
                        </a:lnTo>
                        <a:lnTo>
                          <a:pt x="271" y="41"/>
                        </a:lnTo>
                        <a:lnTo>
                          <a:pt x="274" y="38"/>
                        </a:lnTo>
                        <a:lnTo>
                          <a:pt x="276" y="33"/>
                        </a:lnTo>
                        <a:lnTo>
                          <a:pt x="279" y="31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34" name="Google Shape;2989;p98">
                    <a:extLst>
                      <a:ext uri="{FF2B5EF4-FFF2-40B4-BE49-F238E27FC236}">
                        <a16:creationId xmlns:a16="http://schemas.microsoft.com/office/drawing/2014/main" id="{1B825664-2C41-855B-0E42-F91C1C44BFB5}"/>
                      </a:ext>
                    </a:extLst>
                  </p:cNvPr>
                  <p:cNvSpPr/>
                  <p:nvPr/>
                </p:nvSpPr>
                <p:spPr>
                  <a:xfrm>
                    <a:off x="6964051" y="2754033"/>
                    <a:ext cx="70636" cy="5187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" h="100" extrusionOk="0">
                        <a:moveTo>
                          <a:pt x="2" y="20"/>
                        </a:moveTo>
                        <a:lnTo>
                          <a:pt x="2" y="17"/>
                        </a:lnTo>
                        <a:lnTo>
                          <a:pt x="10" y="14"/>
                        </a:lnTo>
                        <a:lnTo>
                          <a:pt x="25" y="20"/>
                        </a:lnTo>
                        <a:lnTo>
                          <a:pt x="33" y="20"/>
                        </a:lnTo>
                        <a:lnTo>
                          <a:pt x="42" y="25"/>
                        </a:lnTo>
                        <a:lnTo>
                          <a:pt x="43" y="17"/>
                        </a:lnTo>
                        <a:lnTo>
                          <a:pt x="40" y="12"/>
                        </a:lnTo>
                        <a:lnTo>
                          <a:pt x="33" y="9"/>
                        </a:lnTo>
                        <a:lnTo>
                          <a:pt x="37" y="2"/>
                        </a:lnTo>
                        <a:lnTo>
                          <a:pt x="43" y="2"/>
                        </a:lnTo>
                        <a:lnTo>
                          <a:pt x="55" y="10"/>
                        </a:lnTo>
                        <a:lnTo>
                          <a:pt x="58" y="15"/>
                        </a:lnTo>
                        <a:lnTo>
                          <a:pt x="68" y="17"/>
                        </a:lnTo>
                        <a:lnTo>
                          <a:pt x="72" y="12"/>
                        </a:lnTo>
                        <a:lnTo>
                          <a:pt x="78" y="9"/>
                        </a:lnTo>
                        <a:lnTo>
                          <a:pt x="86" y="0"/>
                        </a:lnTo>
                        <a:lnTo>
                          <a:pt x="91" y="4"/>
                        </a:lnTo>
                        <a:lnTo>
                          <a:pt x="98" y="12"/>
                        </a:lnTo>
                        <a:lnTo>
                          <a:pt x="100" y="17"/>
                        </a:lnTo>
                        <a:lnTo>
                          <a:pt x="103" y="22"/>
                        </a:lnTo>
                        <a:lnTo>
                          <a:pt x="111" y="28"/>
                        </a:lnTo>
                        <a:lnTo>
                          <a:pt x="111" y="32"/>
                        </a:lnTo>
                        <a:lnTo>
                          <a:pt x="116" y="35"/>
                        </a:lnTo>
                        <a:lnTo>
                          <a:pt x="123" y="35"/>
                        </a:lnTo>
                        <a:lnTo>
                          <a:pt x="130" y="37"/>
                        </a:lnTo>
                        <a:lnTo>
                          <a:pt x="133" y="42"/>
                        </a:lnTo>
                        <a:lnTo>
                          <a:pt x="130" y="42"/>
                        </a:lnTo>
                        <a:lnTo>
                          <a:pt x="126" y="43"/>
                        </a:lnTo>
                        <a:lnTo>
                          <a:pt x="120" y="43"/>
                        </a:lnTo>
                        <a:lnTo>
                          <a:pt x="111" y="48"/>
                        </a:lnTo>
                        <a:lnTo>
                          <a:pt x="113" y="55"/>
                        </a:lnTo>
                        <a:lnTo>
                          <a:pt x="113" y="60"/>
                        </a:lnTo>
                        <a:lnTo>
                          <a:pt x="111" y="62"/>
                        </a:lnTo>
                        <a:lnTo>
                          <a:pt x="111" y="67"/>
                        </a:lnTo>
                        <a:lnTo>
                          <a:pt x="113" y="68"/>
                        </a:lnTo>
                        <a:lnTo>
                          <a:pt x="113" y="72"/>
                        </a:lnTo>
                        <a:lnTo>
                          <a:pt x="110" y="73"/>
                        </a:lnTo>
                        <a:lnTo>
                          <a:pt x="110" y="82"/>
                        </a:lnTo>
                        <a:lnTo>
                          <a:pt x="108" y="83"/>
                        </a:lnTo>
                        <a:lnTo>
                          <a:pt x="106" y="82"/>
                        </a:lnTo>
                        <a:lnTo>
                          <a:pt x="108" y="77"/>
                        </a:lnTo>
                        <a:lnTo>
                          <a:pt x="105" y="73"/>
                        </a:lnTo>
                        <a:lnTo>
                          <a:pt x="103" y="75"/>
                        </a:lnTo>
                        <a:lnTo>
                          <a:pt x="101" y="78"/>
                        </a:lnTo>
                        <a:lnTo>
                          <a:pt x="103" y="85"/>
                        </a:lnTo>
                        <a:lnTo>
                          <a:pt x="103" y="88"/>
                        </a:lnTo>
                        <a:lnTo>
                          <a:pt x="105" y="90"/>
                        </a:lnTo>
                        <a:lnTo>
                          <a:pt x="105" y="98"/>
                        </a:lnTo>
                        <a:lnTo>
                          <a:pt x="103" y="100"/>
                        </a:lnTo>
                        <a:lnTo>
                          <a:pt x="98" y="98"/>
                        </a:lnTo>
                        <a:lnTo>
                          <a:pt x="96" y="97"/>
                        </a:lnTo>
                        <a:lnTo>
                          <a:pt x="93" y="93"/>
                        </a:lnTo>
                        <a:lnTo>
                          <a:pt x="85" y="87"/>
                        </a:lnTo>
                        <a:lnTo>
                          <a:pt x="93" y="82"/>
                        </a:lnTo>
                        <a:lnTo>
                          <a:pt x="86" y="78"/>
                        </a:lnTo>
                        <a:lnTo>
                          <a:pt x="85" y="77"/>
                        </a:lnTo>
                        <a:lnTo>
                          <a:pt x="88" y="73"/>
                        </a:lnTo>
                        <a:lnTo>
                          <a:pt x="85" y="70"/>
                        </a:lnTo>
                        <a:lnTo>
                          <a:pt x="83" y="67"/>
                        </a:lnTo>
                        <a:lnTo>
                          <a:pt x="81" y="67"/>
                        </a:lnTo>
                        <a:lnTo>
                          <a:pt x="80" y="65"/>
                        </a:lnTo>
                        <a:lnTo>
                          <a:pt x="78" y="65"/>
                        </a:lnTo>
                        <a:lnTo>
                          <a:pt x="73" y="68"/>
                        </a:lnTo>
                        <a:lnTo>
                          <a:pt x="70" y="70"/>
                        </a:lnTo>
                        <a:lnTo>
                          <a:pt x="67" y="73"/>
                        </a:lnTo>
                        <a:lnTo>
                          <a:pt x="63" y="73"/>
                        </a:lnTo>
                        <a:lnTo>
                          <a:pt x="60" y="80"/>
                        </a:lnTo>
                        <a:lnTo>
                          <a:pt x="57" y="80"/>
                        </a:lnTo>
                        <a:lnTo>
                          <a:pt x="55" y="82"/>
                        </a:lnTo>
                        <a:lnTo>
                          <a:pt x="55" y="83"/>
                        </a:lnTo>
                        <a:lnTo>
                          <a:pt x="50" y="87"/>
                        </a:lnTo>
                        <a:lnTo>
                          <a:pt x="47" y="85"/>
                        </a:lnTo>
                        <a:lnTo>
                          <a:pt x="48" y="85"/>
                        </a:lnTo>
                        <a:lnTo>
                          <a:pt x="48" y="80"/>
                        </a:lnTo>
                        <a:lnTo>
                          <a:pt x="50" y="78"/>
                        </a:lnTo>
                        <a:lnTo>
                          <a:pt x="45" y="72"/>
                        </a:lnTo>
                        <a:lnTo>
                          <a:pt x="52" y="72"/>
                        </a:lnTo>
                        <a:lnTo>
                          <a:pt x="47" y="67"/>
                        </a:lnTo>
                        <a:lnTo>
                          <a:pt x="38" y="67"/>
                        </a:lnTo>
                        <a:lnTo>
                          <a:pt x="28" y="60"/>
                        </a:lnTo>
                        <a:lnTo>
                          <a:pt x="25" y="53"/>
                        </a:lnTo>
                        <a:lnTo>
                          <a:pt x="28" y="52"/>
                        </a:lnTo>
                        <a:lnTo>
                          <a:pt x="28" y="47"/>
                        </a:lnTo>
                        <a:lnTo>
                          <a:pt x="18" y="38"/>
                        </a:lnTo>
                        <a:lnTo>
                          <a:pt x="18" y="35"/>
                        </a:lnTo>
                        <a:lnTo>
                          <a:pt x="20" y="30"/>
                        </a:lnTo>
                        <a:lnTo>
                          <a:pt x="15" y="25"/>
                        </a:lnTo>
                        <a:lnTo>
                          <a:pt x="5" y="25"/>
                        </a:lnTo>
                        <a:lnTo>
                          <a:pt x="2" y="20"/>
                        </a:lnTo>
                        <a:lnTo>
                          <a:pt x="2" y="20"/>
                        </a:lnTo>
                        <a:close/>
                        <a:moveTo>
                          <a:pt x="42" y="85"/>
                        </a:moveTo>
                        <a:lnTo>
                          <a:pt x="32" y="72"/>
                        </a:lnTo>
                        <a:lnTo>
                          <a:pt x="25" y="70"/>
                        </a:lnTo>
                        <a:lnTo>
                          <a:pt x="22" y="62"/>
                        </a:lnTo>
                        <a:lnTo>
                          <a:pt x="17" y="62"/>
                        </a:lnTo>
                        <a:lnTo>
                          <a:pt x="15" y="65"/>
                        </a:lnTo>
                        <a:lnTo>
                          <a:pt x="8" y="58"/>
                        </a:lnTo>
                        <a:lnTo>
                          <a:pt x="3" y="62"/>
                        </a:lnTo>
                        <a:lnTo>
                          <a:pt x="0" y="62"/>
                        </a:lnTo>
                        <a:lnTo>
                          <a:pt x="0" y="63"/>
                        </a:lnTo>
                        <a:lnTo>
                          <a:pt x="2" y="63"/>
                        </a:lnTo>
                        <a:lnTo>
                          <a:pt x="5" y="67"/>
                        </a:lnTo>
                        <a:lnTo>
                          <a:pt x="8" y="67"/>
                        </a:lnTo>
                        <a:lnTo>
                          <a:pt x="10" y="70"/>
                        </a:lnTo>
                        <a:lnTo>
                          <a:pt x="10" y="73"/>
                        </a:lnTo>
                        <a:lnTo>
                          <a:pt x="20" y="78"/>
                        </a:lnTo>
                        <a:lnTo>
                          <a:pt x="22" y="83"/>
                        </a:lnTo>
                        <a:lnTo>
                          <a:pt x="27" y="85"/>
                        </a:lnTo>
                        <a:lnTo>
                          <a:pt x="33" y="85"/>
                        </a:lnTo>
                        <a:lnTo>
                          <a:pt x="40" y="90"/>
                        </a:lnTo>
                        <a:lnTo>
                          <a:pt x="42" y="85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35" name="Google Shape;2990;p98">
                    <a:extLst>
                      <a:ext uri="{FF2B5EF4-FFF2-40B4-BE49-F238E27FC236}">
                        <a16:creationId xmlns:a16="http://schemas.microsoft.com/office/drawing/2014/main" id="{62058213-BA89-F9EE-2FC4-7441C80F9AD4}"/>
                      </a:ext>
                    </a:extLst>
                  </p:cNvPr>
                  <p:cNvSpPr/>
                  <p:nvPr/>
                </p:nvSpPr>
                <p:spPr>
                  <a:xfrm>
                    <a:off x="6957630" y="2787236"/>
                    <a:ext cx="265422" cy="18676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7" h="361" extrusionOk="0">
                        <a:moveTo>
                          <a:pt x="12" y="0"/>
                        </a:moveTo>
                        <a:lnTo>
                          <a:pt x="14" y="0"/>
                        </a:lnTo>
                        <a:lnTo>
                          <a:pt x="17" y="4"/>
                        </a:lnTo>
                        <a:lnTo>
                          <a:pt x="20" y="4"/>
                        </a:lnTo>
                        <a:lnTo>
                          <a:pt x="22" y="7"/>
                        </a:lnTo>
                        <a:lnTo>
                          <a:pt x="22" y="10"/>
                        </a:lnTo>
                        <a:lnTo>
                          <a:pt x="32" y="15"/>
                        </a:lnTo>
                        <a:lnTo>
                          <a:pt x="34" y="20"/>
                        </a:lnTo>
                        <a:lnTo>
                          <a:pt x="39" y="22"/>
                        </a:lnTo>
                        <a:lnTo>
                          <a:pt x="45" y="22"/>
                        </a:lnTo>
                        <a:lnTo>
                          <a:pt x="52" y="27"/>
                        </a:lnTo>
                        <a:lnTo>
                          <a:pt x="54" y="22"/>
                        </a:lnTo>
                        <a:lnTo>
                          <a:pt x="54" y="22"/>
                        </a:lnTo>
                        <a:lnTo>
                          <a:pt x="59" y="22"/>
                        </a:lnTo>
                        <a:lnTo>
                          <a:pt x="62" y="24"/>
                        </a:lnTo>
                        <a:lnTo>
                          <a:pt x="67" y="20"/>
                        </a:lnTo>
                        <a:lnTo>
                          <a:pt x="67" y="19"/>
                        </a:lnTo>
                        <a:lnTo>
                          <a:pt x="69" y="17"/>
                        </a:lnTo>
                        <a:lnTo>
                          <a:pt x="72" y="17"/>
                        </a:lnTo>
                        <a:lnTo>
                          <a:pt x="75" y="10"/>
                        </a:lnTo>
                        <a:lnTo>
                          <a:pt x="79" y="10"/>
                        </a:lnTo>
                        <a:lnTo>
                          <a:pt x="82" y="7"/>
                        </a:lnTo>
                        <a:lnTo>
                          <a:pt x="85" y="5"/>
                        </a:lnTo>
                        <a:lnTo>
                          <a:pt x="90" y="2"/>
                        </a:lnTo>
                        <a:lnTo>
                          <a:pt x="92" y="2"/>
                        </a:lnTo>
                        <a:lnTo>
                          <a:pt x="93" y="4"/>
                        </a:lnTo>
                        <a:lnTo>
                          <a:pt x="95" y="4"/>
                        </a:lnTo>
                        <a:lnTo>
                          <a:pt x="97" y="7"/>
                        </a:lnTo>
                        <a:lnTo>
                          <a:pt x="100" y="10"/>
                        </a:lnTo>
                        <a:lnTo>
                          <a:pt x="97" y="14"/>
                        </a:lnTo>
                        <a:lnTo>
                          <a:pt x="98" y="15"/>
                        </a:lnTo>
                        <a:lnTo>
                          <a:pt x="105" y="19"/>
                        </a:lnTo>
                        <a:lnTo>
                          <a:pt x="97" y="24"/>
                        </a:lnTo>
                        <a:lnTo>
                          <a:pt x="105" y="30"/>
                        </a:lnTo>
                        <a:lnTo>
                          <a:pt x="108" y="34"/>
                        </a:lnTo>
                        <a:lnTo>
                          <a:pt x="110" y="35"/>
                        </a:lnTo>
                        <a:lnTo>
                          <a:pt x="115" y="37"/>
                        </a:lnTo>
                        <a:lnTo>
                          <a:pt x="117" y="35"/>
                        </a:lnTo>
                        <a:lnTo>
                          <a:pt x="117" y="37"/>
                        </a:lnTo>
                        <a:lnTo>
                          <a:pt x="120" y="40"/>
                        </a:lnTo>
                        <a:lnTo>
                          <a:pt x="120" y="45"/>
                        </a:lnTo>
                        <a:lnTo>
                          <a:pt x="120" y="52"/>
                        </a:lnTo>
                        <a:lnTo>
                          <a:pt x="122" y="54"/>
                        </a:lnTo>
                        <a:lnTo>
                          <a:pt x="125" y="54"/>
                        </a:lnTo>
                        <a:lnTo>
                          <a:pt x="130" y="59"/>
                        </a:lnTo>
                        <a:lnTo>
                          <a:pt x="135" y="59"/>
                        </a:lnTo>
                        <a:lnTo>
                          <a:pt x="140" y="60"/>
                        </a:lnTo>
                        <a:lnTo>
                          <a:pt x="145" y="57"/>
                        </a:lnTo>
                        <a:lnTo>
                          <a:pt x="150" y="60"/>
                        </a:lnTo>
                        <a:lnTo>
                          <a:pt x="153" y="60"/>
                        </a:lnTo>
                        <a:lnTo>
                          <a:pt x="155" y="65"/>
                        </a:lnTo>
                        <a:lnTo>
                          <a:pt x="160" y="70"/>
                        </a:lnTo>
                        <a:lnTo>
                          <a:pt x="172" y="73"/>
                        </a:lnTo>
                        <a:lnTo>
                          <a:pt x="177" y="75"/>
                        </a:lnTo>
                        <a:lnTo>
                          <a:pt x="191" y="78"/>
                        </a:lnTo>
                        <a:lnTo>
                          <a:pt x="198" y="78"/>
                        </a:lnTo>
                        <a:lnTo>
                          <a:pt x="215" y="75"/>
                        </a:lnTo>
                        <a:lnTo>
                          <a:pt x="226" y="73"/>
                        </a:lnTo>
                        <a:lnTo>
                          <a:pt x="241" y="73"/>
                        </a:lnTo>
                        <a:lnTo>
                          <a:pt x="246" y="75"/>
                        </a:lnTo>
                        <a:lnTo>
                          <a:pt x="248" y="70"/>
                        </a:lnTo>
                        <a:lnTo>
                          <a:pt x="245" y="65"/>
                        </a:lnTo>
                        <a:lnTo>
                          <a:pt x="241" y="59"/>
                        </a:lnTo>
                        <a:lnTo>
                          <a:pt x="246" y="57"/>
                        </a:lnTo>
                        <a:lnTo>
                          <a:pt x="258" y="55"/>
                        </a:lnTo>
                        <a:lnTo>
                          <a:pt x="261" y="50"/>
                        </a:lnTo>
                        <a:lnTo>
                          <a:pt x="265" y="45"/>
                        </a:lnTo>
                        <a:lnTo>
                          <a:pt x="268" y="45"/>
                        </a:lnTo>
                        <a:lnTo>
                          <a:pt x="278" y="39"/>
                        </a:lnTo>
                        <a:lnTo>
                          <a:pt x="288" y="37"/>
                        </a:lnTo>
                        <a:lnTo>
                          <a:pt x="298" y="39"/>
                        </a:lnTo>
                        <a:lnTo>
                          <a:pt x="299" y="34"/>
                        </a:lnTo>
                        <a:lnTo>
                          <a:pt x="304" y="32"/>
                        </a:lnTo>
                        <a:lnTo>
                          <a:pt x="309" y="34"/>
                        </a:lnTo>
                        <a:lnTo>
                          <a:pt x="314" y="34"/>
                        </a:lnTo>
                        <a:lnTo>
                          <a:pt x="323" y="40"/>
                        </a:lnTo>
                        <a:lnTo>
                          <a:pt x="331" y="42"/>
                        </a:lnTo>
                        <a:lnTo>
                          <a:pt x="344" y="50"/>
                        </a:lnTo>
                        <a:lnTo>
                          <a:pt x="349" y="49"/>
                        </a:lnTo>
                        <a:lnTo>
                          <a:pt x="353" y="47"/>
                        </a:lnTo>
                        <a:lnTo>
                          <a:pt x="363" y="50"/>
                        </a:lnTo>
                        <a:lnTo>
                          <a:pt x="368" y="52"/>
                        </a:lnTo>
                        <a:lnTo>
                          <a:pt x="369" y="59"/>
                        </a:lnTo>
                        <a:lnTo>
                          <a:pt x="371" y="60"/>
                        </a:lnTo>
                        <a:lnTo>
                          <a:pt x="376" y="59"/>
                        </a:lnTo>
                        <a:lnTo>
                          <a:pt x="384" y="60"/>
                        </a:lnTo>
                        <a:lnTo>
                          <a:pt x="394" y="72"/>
                        </a:lnTo>
                        <a:lnTo>
                          <a:pt x="406" y="73"/>
                        </a:lnTo>
                        <a:lnTo>
                          <a:pt x="411" y="75"/>
                        </a:lnTo>
                        <a:lnTo>
                          <a:pt x="416" y="82"/>
                        </a:lnTo>
                        <a:lnTo>
                          <a:pt x="414" y="85"/>
                        </a:lnTo>
                        <a:lnTo>
                          <a:pt x="416" y="90"/>
                        </a:lnTo>
                        <a:lnTo>
                          <a:pt x="416" y="93"/>
                        </a:lnTo>
                        <a:lnTo>
                          <a:pt x="417" y="98"/>
                        </a:lnTo>
                        <a:lnTo>
                          <a:pt x="417" y="103"/>
                        </a:lnTo>
                        <a:lnTo>
                          <a:pt x="417" y="107"/>
                        </a:lnTo>
                        <a:lnTo>
                          <a:pt x="416" y="110"/>
                        </a:lnTo>
                        <a:lnTo>
                          <a:pt x="419" y="113"/>
                        </a:lnTo>
                        <a:lnTo>
                          <a:pt x="417" y="115"/>
                        </a:lnTo>
                        <a:lnTo>
                          <a:pt x="419" y="118"/>
                        </a:lnTo>
                        <a:lnTo>
                          <a:pt x="412" y="122"/>
                        </a:lnTo>
                        <a:lnTo>
                          <a:pt x="407" y="123"/>
                        </a:lnTo>
                        <a:lnTo>
                          <a:pt x="409" y="127"/>
                        </a:lnTo>
                        <a:lnTo>
                          <a:pt x="412" y="128"/>
                        </a:lnTo>
                        <a:lnTo>
                          <a:pt x="409" y="135"/>
                        </a:lnTo>
                        <a:lnTo>
                          <a:pt x="409" y="135"/>
                        </a:lnTo>
                        <a:lnTo>
                          <a:pt x="411" y="143"/>
                        </a:lnTo>
                        <a:lnTo>
                          <a:pt x="411" y="148"/>
                        </a:lnTo>
                        <a:lnTo>
                          <a:pt x="419" y="150"/>
                        </a:lnTo>
                        <a:lnTo>
                          <a:pt x="422" y="150"/>
                        </a:lnTo>
                        <a:lnTo>
                          <a:pt x="414" y="158"/>
                        </a:lnTo>
                        <a:lnTo>
                          <a:pt x="412" y="163"/>
                        </a:lnTo>
                        <a:lnTo>
                          <a:pt x="419" y="175"/>
                        </a:lnTo>
                        <a:lnTo>
                          <a:pt x="422" y="185"/>
                        </a:lnTo>
                        <a:lnTo>
                          <a:pt x="421" y="188"/>
                        </a:lnTo>
                        <a:lnTo>
                          <a:pt x="424" y="191"/>
                        </a:lnTo>
                        <a:lnTo>
                          <a:pt x="424" y="200"/>
                        </a:lnTo>
                        <a:lnTo>
                          <a:pt x="446" y="200"/>
                        </a:lnTo>
                        <a:lnTo>
                          <a:pt x="449" y="208"/>
                        </a:lnTo>
                        <a:lnTo>
                          <a:pt x="449" y="215"/>
                        </a:lnTo>
                        <a:lnTo>
                          <a:pt x="451" y="223"/>
                        </a:lnTo>
                        <a:lnTo>
                          <a:pt x="449" y="225"/>
                        </a:lnTo>
                        <a:lnTo>
                          <a:pt x="431" y="248"/>
                        </a:lnTo>
                        <a:lnTo>
                          <a:pt x="444" y="263"/>
                        </a:lnTo>
                        <a:lnTo>
                          <a:pt x="446" y="268"/>
                        </a:lnTo>
                        <a:lnTo>
                          <a:pt x="452" y="274"/>
                        </a:lnTo>
                        <a:lnTo>
                          <a:pt x="459" y="278"/>
                        </a:lnTo>
                        <a:lnTo>
                          <a:pt x="461" y="279"/>
                        </a:lnTo>
                        <a:lnTo>
                          <a:pt x="469" y="279"/>
                        </a:lnTo>
                        <a:lnTo>
                          <a:pt x="474" y="281"/>
                        </a:lnTo>
                        <a:lnTo>
                          <a:pt x="474" y="284"/>
                        </a:lnTo>
                        <a:lnTo>
                          <a:pt x="481" y="284"/>
                        </a:lnTo>
                        <a:lnTo>
                          <a:pt x="481" y="291"/>
                        </a:lnTo>
                        <a:lnTo>
                          <a:pt x="482" y="298"/>
                        </a:lnTo>
                        <a:lnTo>
                          <a:pt x="484" y="303"/>
                        </a:lnTo>
                        <a:lnTo>
                          <a:pt x="484" y="306"/>
                        </a:lnTo>
                        <a:lnTo>
                          <a:pt x="490" y="306"/>
                        </a:lnTo>
                        <a:lnTo>
                          <a:pt x="497" y="311"/>
                        </a:lnTo>
                        <a:lnTo>
                          <a:pt x="497" y="319"/>
                        </a:lnTo>
                        <a:lnTo>
                          <a:pt x="494" y="323"/>
                        </a:lnTo>
                        <a:lnTo>
                          <a:pt x="487" y="319"/>
                        </a:lnTo>
                        <a:lnTo>
                          <a:pt x="476" y="323"/>
                        </a:lnTo>
                        <a:lnTo>
                          <a:pt x="474" y="326"/>
                        </a:lnTo>
                        <a:lnTo>
                          <a:pt x="466" y="328"/>
                        </a:lnTo>
                        <a:lnTo>
                          <a:pt x="464" y="333"/>
                        </a:lnTo>
                        <a:lnTo>
                          <a:pt x="466" y="336"/>
                        </a:lnTo>
                        <a:lnTo>
                          <a:pt x="461" y="341"/>
                        </a:lnTo>
                        <a:lnTo>
                          <a:pt x="464" y="346"/>
                        </a:lnTo>
                        <a:lnTo>
                          <a:pt x="462" y="354"/>
                        </a:lnTo>
                        <a:lnTo>
                          <a:pt x="462" y="357"/>
                        </a:lnTo>
                        <a:lnTo>
                          <a:pt x="461" y="357"/>
                        </a:lnTo>
                        <a:lnTo>
                          <a:pt x="461" y="359"/>
                        </a:lnTo>
                        <a:lnTo>
                          <a:pt x="456" y="361"/>
                        </a:lnTo>
                        <a:lnTo>
                          <a:pt x="449" y="357"/>
                        </a:lnTo>
                        <a:lnTo>
                          <a:pt x="442" y="356"/>
                        </a:lnTo>
                        <a:lnTo>
                          <a:pt x="439" y="353"/>
                        </a:lnTo>
                        <a:lnTo>
                          <a:pt x="437" y="353"/>
                        </a:lnTo>
                        <a:lnTo>
                          <a:pt x="436" y="356"/>
                        </a:lnTo>
                        <a:lnTo>
                          <a:pt x="434" y="357"/>
                        </a:lnTo>
                        <a:lnTo>
                          <a:pt x="431" y="354"/>
                        </a:lnTo>
                        <a:lnTo>
                          <a:pt x="429" y="354"/>
                        </a:lnTo>
                        <a:lnTo>
                          <a:pt x="424" y="354"/>
                        </a:lnTo>
                        <a:lnTo>
                          <a:pt x="414" y="353"/>
                        </a:lnTo>
                        <a:lnTo>
                          <a:pt x="406" y="351"/>
                        </a:lnTo>
                        <a:lnTo>
                          <a:pt x="392" y="351"/>
                        </a:lnTo>
                        <a:lnTo>
                          <a:pt x="386" y="346"/>
                        </a:lnTo>
                        <a:lnTo>
                          <a:pt x="384" y="346"/>
                        </a:lnTo>
                        <a:lnTo>
                          <a:pt x="379" y="349"/>
                        </a:lnTo>
                        <a:lnTo>
                          <a:pt x="374" y="346"/>
                        </a:lnTo>
                        <a:lnTo>
                          <a:pt x="369" y="346"/>
                        </a:lnTo>
                        <a:lnTo>
                          <a:pt x="356" y="348"/>
                        </a:lnTo>
                        <a:lnTo>
                          <a:pt x="354" y="344"/>
                        </a:lnTo>
                        <a:lnTo>
                          <a:pt x="353" y="343"/>
                        </a:lnTo>
                        <a:lnTo>
                          <a:pt x="353" y="338"/>
                        </a:lnTo>
                        <a:lnTo>
                          <a:pt x="348" y="329"/>
                        </a:lnTo>
                        <a:lnTo>
                          <a:pt x="344" y="321"/>
                        </a:lnTo>
                        <a:lnTo>
                          <a:pt x="339" y="316"/>
                        </a:lnTo>
                        <a:lnTo>
                          <a:pt x="339" y="313"/>
                        </a:lnTo>
                        <a:lnTo>
                          <a:pt x="338" y="313"/>
                        </a:lnTo>
                        <a:lnTo>
                          <a:pt x="338" y="311"/>
                        </a:lnTo>
                        <a:lnTo>
                          <a:pt x="329" y="311"/>
                        </a:lnTo>
                        <a:lnTo>
                          <a:pt x="324" y="313"/>
                        </a:lnTo>
                        <a:lnTo>
                          <a:pt x="318" y="316"/>
                        </a:lnTo>
                        <a:lnTo>
                          <a:pt x="313" y="316"/>
                        </a:lnTo>
                        <a:lnTo>
                          <a:pt x="313" y="314"/>
                        </a:lnTo>
                        <a:lnTo>
                          <a:pt x="313" y="318"/>
                        </a:lnTo>
                        <a:lnTo>
                          <a:pt x="303" y="323"/>
                        </a:lnTo>
                        <a:lnTo>
                          <a:pt x="293" y="329"/>
                        </a:lnTo>
                        <a:lnTo>
                          <a:pt x="284" y="323"/>
                        </a:lnTo>
                        <a:lnTo>
                          <a:pt x="276" y="321"/>
                        </a:lnTo>
                        <a:lnTo>
                          <a:pt x="270" y="323"/>
                        </a:lnTo>
                        <a:lnTo>
                          <a:pt x="268" y="323"/>
                        </a:lnTo>
                        <a:lnTo>
                          <a:pt x="260" y="316"/>
                        </a:lnTo>
                        <a:lnTo>
                          <a:pt x="255" y="316"/>
                        </a:lnTo>
                        <a:lnTo>
                          <a:pt x="251" y="314"/>
                        </a:lnTo>
                        <a:lnTo>
                          <a:pt x="246" y="313"/>
                        </a:lnTo>
                        <a:lnTo>
                          <a:pt x="238" y="306"/>
                        </a:lnTo>
                        <a:lnTo>
                          <a:pt x="241" y="303"/>
                        </a:lnTo>
                        <a:lnTo>
                          <a:pt x="241" y="301"/>
                        </a:lnTo>
                        <a:lnTo>
                          <a:pt x="236" y="301"/>
                        </a:lnTo>
                        <a:lnTo>
                          <a:pt x="235" y="299"/>
                        </a:lnTo>
                        <a:lnTo>
                          <a:pt x="228" y="299"/>
                        </a:lnTo>
                        <a:lnTo>
                          <a:pt x="225" y="296"/>
                        </a:lnTo>
                        <a:lnTo>
                          <a:pt x="218" y="294"/>
                        </a:lnTo>
                        <a:lnTo>
                          <a:pt x="210" y="296"/>
                        </a:lnTo>
                        <a:lnTo>
                          <a:pt x="205" y="293"/>
                        </a:lnTo>
                        <a:lnTo>
                          <a:pt x="198" y="278"/>
                        </a:lnTo>
                        <a:lnTo>
                          <a:pt x="196" y="274"/>
                        </a:lnTo>
                        <a:lnTo>
                          <a:pt x="195" y="276"/>
                        </a:lnTo>
                        <a:lnTo>
                          <a:pt x="190" y="273"/>
                        </a:lnTo>
                        <a:lnTo>
                          <a:pt x="191" y="271"/>
                        </a:lnTo>
                        <a:lnTo>
                          <a:pt x="193" y="273"/>
                        </a:lnTo>
                        <a:lnTo>
                          <a:pt x="195" y="273"/>
                        </a:lnTo>
                        <a:lnTo>
                          <a:pt x="191" y="268"/>
                        </a:lnTo>
                        <a:lnTo>
                          <a:pt x="188" y="268"/>
                        </a:lnTo>
                        <a:lnTo>
                          <a:pt x="186" y="268"/>
                        </a:lnTo>
                        <a:lnTo>
                          <a:pt x="185" y="259"/>
                        </a:lnTo>
                        <a:lnTo>
                          <a:pt x="177" y="251"/>
                        </a:lnTo>
                        <a:lnTo>
                          <a:pt x="177" y="246"/>
                        </a:lnTo>
                        <a:lnTo>
                          <a:pt x="170" y="240"/>
                        </a:lnTo>
                        <a:lnTo>
                          <a:pt x="168" y="240"/>
                        </a:lnTo>
                        <a:lnTo>
                          <a:pt x="160" y="245"/>
                        </a:lnTo>
                        <a:lnTo>
                          <a:pt x="158" y="245"/>
                        </a:lnTo>
                        <a:lnTo>
                          <a:pt x="157" y="241"/>
                        </a:lnTo>
                        <a:lnTo>
                          <a:pt x="153" y="241"/>
                        </a:lnTo>
                        <a:lnTo>
                          <a:pt x="148" y="240"/>
                        </a:lnTo>
                        <a:lnTo>
                          <a:pt x="148" y="236"/>
                        </a:lnTo>
                        <a:lnTo>
                          <a:pt x="150" y="235"/>
                        </a:lnTo>
                        <a:lnTo>
                          <a:pt x="148" y="236"/>
                        </a:lnTo>
                        <a:lnTo>
                          <a:pt x="145" y="236"/>
                        </a:lnTo>
                        <a:lnTo>
                          <a:pt x="142" y="235"/>
                        </a:lnTo>
                        <a:lnTo>
                          <a:pt x="147" y="238"/>
                        </a:lnTo>
                        <a:lnTo>
                          <a:pt x="145" y="243"/>
                        </a:lnTo>
                        <a:lnTo>
                          <a:pt x="143" y="245"/>
                        </a:lnTo>
                        <a:lnTo>
                          <a:pt x="140" y="245"/>
                        </a:lnTo>
                        <a:lnTo>
                          <a:pt x="137" y="240"/>
                        </a:lnTo>
                        <a:lnTo>
                          <a:pt x="137" y="240"/>
                        </a:lnTo>
                        <a:lnTo>
                          <a:pt x="135" y="240"/>
                        </a:lnTo>
                        <a:lnTo>
                          <a:pt x="133" y="238"/>
                        </a:lnTo>
                        <a:lnTo>
                          <a:pt x="127" y="236"/>
                        </a:lnTo>
                        <a:lnTo>
                          <a:pt x="123" y="235"/>
                        </a:lnTo>
                        <a:lnTo>
                          <a:pt x="122" y="220"/>
                        </a:lnTo>
                        <a:lnTo>
                          <a:pt x="113" y="220"/>
                        </a:lnTo>
                        <a:lnTo>
                          <a:pt x="112" y="215"/>
                        </a:lnTo>
                        <a:lnTo>
                          <a:pt x="112" y="208"/>
                        </a:lnTo>
                        <a:lnTo>
                          <a:pt x="117" y="203"/>
                        </a:lnTo>
                        <a:lnTo>
                          <a:pt x="112" y="195"/>
                        </a:lnTo>
                        <a:lnTo>
                          <a:pt x="108" y="191"/>
                        </a:lnTo>
                        <a:lnTo>
                          <a:pt x="103" y="185"/>
                        </a:lnTo>
                        <a:lnTo>
                          <a:pt x="100" y="181"/>
                        </a:lnTo>
                        <a:lnTo>
                          <a:pt x="98" y="183"/>
                        </a:lnTo>
                        <a:lnTo>
                          <a:pt x="80" y="173"/>
                        </a:lnTo>
                        <a:lnTo>
                          <a:pt x="75" y="173"/>
                        </a:lnTo>
                        <a:lnTo>
                          <a:pt x="74" y="175"/>
                        </a:lnTo>
                        <a:lnTo>
                          <a:pt x="69" y="171"/>
                        </a:lnTo>
                        <a:lnTo>
                          <a:pt x="69" y="168"/>
                        </a:lnTo>
                        <a:lnTo>
                          <a:pt x="67" y="166"/>
                        </a:lnTo>
                        <a:lnTo>
                          <a:pt x="70" y="161"/>
                        </a:lnTo>
                        <a:lnTo>
                          <a:pt x="64" y="158"/>
                        </a:lnTo>
                        <a:lnTo>
                          <a:pt x="64" y="155"/>
                        </a:lnTo>
                        <a:lnTo>
                          <a:pt x="59" y="153"/>
                        </a:lnTo>
                        <a:lnTo>
                          <a:pt x="55" y="152"/>
                        </a:lnTo>
                        <a:lnTo>
                          <a:pt x="52" y="150"/>
                        </a:lnTo>
                        <a:lnTo>
                          <a:pt x="52" y="148"/>
                        </a:lnTo>
                        <a:lnTo>
                          <a:pt x="54" y="145"/>
                        </a:lnTo>
                        <a:lnTo>
                          <a:pt x="52" y="143"/>
                        </a:lnTo>
                        <a:lnTo>
                          <a:pt x="54" y="140"/>
                        </a:lnTo>
                        <a:lnTo>
                          <a:pt x="54" y="132"/>
                        </a:lnTo>
                        <a:lnTo>
                          <a:pt x="57" y="130"/>
                        </a:lnTo>
                        <a:lnTo>
                          <a:pt x="57" y="123"/>
                        </a:lnTo>
                        <a:lnTo>
                          <a:pt x="60" y="123"/>
                        </a:lnTo>
                        <a:lnTo>
                          <a:pt x="64" y="122"/>
                        </a:lnTo>
                        <a:lnTo>
                          <a:pt x="64" y="115"/>
                        </a:lnTo>
                        <a:lnTo>
                          <a:pt x="62" y="113"/>
                        </a:lnTo>
                        <a:lnTo>
                          <a:pt x="62" y="107"/>
                        </a:lnTo>
                        <a:lnTo>
                          <a:pt x="64" y="107"/>
                        </a:lnTo>
                        <a:lnTo>
                          <a:pt x="69" y="105"/>
                        </a:lnTo>
                        <a:lnTo>
                          <a:pt x="70" y="105"/>
                        </a:lnTo>
                        <a:lnTo>
                          <a:pt x="69" y="103"/>
                        </a:lnTo>
                        <a:lnTo>
                          <a:pt x="65" y="102"/>
                        </a:lnTo>
                        <a:lnTo>
                          <a:pt x="60" y="102"/>
                        </a:lnTo>
                        <a:lnTo>
                          <a:pt x="55" y="102"/>
                        </a:lnTo>
                        <a:lnTo>
                          <a:pt x="49" y="97"/>
                        </a:lnTo>
                        <a:lnTo>
                          <a:pt x="44" y="97"/>
                        </a:lnTo>
                        <a:lnTo>
                          <a:pt x="40" y="95"/>
                        </a:lnTo>
                        <a:lnTo>
                          <a:pt x="37" y="90"/>
                        </a:lnTo>
                        <a:lnTo>
                          <a:pt x="35" y="85"/>
                        </a:lnTo>
                        <a:lnTo>
                          <a:pt x="32" y="85"/>
                        </a:lnTo>
                        <a:lnTo>
                          <a:pt x="29" y="80"/>
                        </a:lnTo>
                        <a:lnTo>
                          <a:pt x="29" y="77"/>
                        </a:lnTo>
                        <a:lnTo>
                          <a:pt x="27" y="72"/>
                        </a:lnTo>
                        <a:lnTo>
                          <a:pt x="22" y="72"/>
                        </a:lnTo>
                        <a:lnTo>
                          <a:pt x="22" y="72"/>
                        </a:lnTo>
                        <a:lnTo>
                          <a:pt x="24" y="67"/>
                        </a:lnTo>
                        <a:lnTo>
                          <a:pt x="20" y="62"/>
                        </a:lnTo>
                        <a:lnTo>
                          <a:pt x="15" y="54"/>
                        </a:lnTo>
                        <a:lnTo>
                          <a:pt x="9" y="52"/>
                        </a:lnTo>
                        <a:lnTo>
                          <a:pt x="10" y="49"/>
                        </a:lnTo>
                        <a:lnTo>
                          <a:pt x="9" y="44"/>
                        </a:lnTo>
                        <a:lnTo>
                          <a:pt x="12" y="37"/>
                        </a:lnTo>
                        <a:lnTo>
                          <a:pt x="10" y="34"/>
                        </a:lnTo>
                        <a:lnTo>
                          <a:pt x="5" y="34"/>
                        </a:lnTo>
                        <a:lnTo>
                          <a:pt x="5" y="27"/>
                        </a:lnTo>
                        <a:lnTo>
                          <a:pt x="5" y="22"/>
                        </a:lnTo>
                        <a:lnTo>
                          <a:pt x="4" y="14"/>
                        </a:lnTo>
                        <a:lnTo>
                          <a:pt x="0" y="10"/>
                        </a:lnTo>
                        <a:lnTo>
                          <a:pt x="0" y="9"/>
                        </a:lnTo>
                        <a:lnTo>
                          <a:pt x="7" y="7"/>
                        </a:lnTo>
                        <a:lnTo>
                          <a:pt x="10" y="2"/>
                        </a:lnTo>
                        <a:lnTo>
                          <a:pt x="12" y="0"/>
                        </a:lnTo>
                        <a:lnTo>
                          <a:pt x="12" y="0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36" name="Google Shape;2991;p98">
                    <a:extLst>
                      <a:ext uri="{FF2B5EF4-FFF2-40B4-BE49-F238E27FC236}">
                        <a16:creationId xmlns:a16="http://schemas.microsoft.com/office/drawing/2014/main" id="{0799012A-EB4B-FCF7-0B4F-85A6A0800D3E}"/>
                      </a:ext>
                    </a:extLst>
                  </p:cNvPr>
                  <p:cNvSpPr/>
                  <p:nvPr/>
                </p:nvSpPr>
                <p:spPr>
                  <a:xfrm>
                    <a:off x="6903048" y="2820439"/>
                    <a:ext cx="126289" cy="10479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36" h="203" extrusionOk="0">
                        <a:moveTo>
                          <a:pt x="236" y="175"/>
                        </a:moveTo>
                        <a:lnTo>
                          <a:pt x="234" y="173"/>
                        </a:lnTo>
                        <a:lnTo>
                          <a:pt x="228" y="171"/>
                        </a:lnTo>
                        <a:lnTo>
                          <a:pt x="224" y="170"/>
                        </a:lnTo>
                        <a:lnTo>
                          <a:pt x="223" y="155"/>
                        </a:lnTo>
                        <a:lnTo>
                          <a:pt x="214" y="155"/>
                        </a:lnTo>
                        <a:lnTo>
                          <a:pt x="213" y="150"/>
                        </a:lnTo>
                        <a:lnTo>
                          <a:pt x="213" y="143"/>
                        </a:lnTo>
                        <a:lnTo>
                          <a:pt x="218" y="138"/>
                        </a:lnTo>
                        <a:lnTo>
                          <a:pt x="213" y="130"/>
                        </a:lnTo>
                        <a:lnTo>
                          <a:pt x="209" y="126"/>
                        </a:lnTo>
                        <a:lnTo>
                          <a:pt x="204" y="120"/>
                        </a:lnTo>
                        <a:lnTo>
                          <a:pt x="201" y="116"/>
                        </a:lnTo>
                        <a:lnTo>
                          <a:pt x="199" y="118"/>
                        </a:lnTo>
                        <a:lnTo>
                          <a:pt x="181" y="108"/>
                        </a:lnTo>
                        <a:lnTo>
                          <a:pt x="176" y="108"/>
                        </a:lnTo>
                        <a:lnTo>
                          <a:pt x="175" y="110"/>
                        </a:lnTo>
                        <a:lnTo>
                          <a:pt x="170" y="106"/>
                        </a:lnTo>
                        <a:lnTo>
                          <a:pt x="170" y="103"/>
                        </a:lnTo>
                        <a:lnTo>
                          <a:pt x="168" y="101"/>
                        </a:lnTo>
                        <a:lnTo>
                          <a:pt x="171" y="96"/>
                        </a:lnTo>
                        <a:lnTo>
                          <a:pt x="165" y="93"/>
                        </a:lnTo>
                        <a:lnTo>
                          <a:pt x="165" y="90"/>
                        </a:lnTo>
                        <a:lnTo>
                          <a:pt x="160" y="88"/>
                        </a:lnTo>
                        <a:lnTo>
                          <a:pt x="156" y="87"/>
                        </a:lnTo>
                        <a:lnTo>
                          <a:pt x="153" y="85"/>
                        </a:lnTo>
                        <a:lnTo>
                          <a:pt x="153" y="83"/>
                        </a:lnTo>
                        <a:lnTo>
                          <a:pt x="155" y="80"/>
                        </a:lnTo>
                        <a:lnTo>
                          <a:pt x="153" y="78"/>
                        </a:lnTo>
                        <a:lnTo>
                          <a:pt x="155" y="75"/>
                        </a:lnTo>
                        <a:lnTo>
                          <a:pt x="155" y="67"/>
                        </a:lnTo>
                        <a:lnTo>
                          <a:pt x="158" y="65"/>
                        </a:lnTo>
                        <a:lnTo>
                          <a:pt x="158" y="58"/>
                        </a:lnTo>
                        <a:lnTo>
                          <a:pt x="161" y="58"/>
                        </a:lnTo>
                        <a:lnTo>
                          <a:pt x="165" y="57"/>
                        </a:lnTo>
                        <a:lnTo>
                          <a:pt x="165" y="50"/>
                        </a:lnTo>
                        <a:lnTo>
                          <a:pt x="163" y="48"/>
                        </a:lnTo>
                        <a:lnTo>
                          <a:pt x="163" y="42"/>
                        </a:lnTo>
                        <a:lnTo>
                          <a:pt x="165" y="42"/>
                        </a:lnTo>
                        <a:lnTo>
                          <a:pt x="170" y="40"/>
                        </a:lnTo>
                        <a:lnTo>
                          <a:pt x="171" y="40"/>
                        </a:lnTo>
                        <a:lnTo>
                          <a:pt x="170" y="38"/>
                        </a:lnTo>
                        <a:lnTo>
                          <a:pt x="166" y="37"/>
                        </a:lnTo>
                        <a:lnTo>
                          <a:pt x="161" y="37"/>
                        </a:lnTo>
                        <a:lnTo>
                          <a:pt x="156" y="37"/>
                        </a:lnTo>
                        <a:lnTo>
                          <a:pt x="150" y="32"/>
                        </a:lnTo>
                        <a:lnTo>
                          <a:pt x="145" y="32"/>
                        </a:lnTo>
                        <a:lnTo>
                          <a:pt x="141" y="30"/>
                        </a:lnTo>
                        <a:lnTo>
                          <a:pt x="138" y="25"/>
                        </a:lnTo>
                        <a:lnTo>
                          <a:pt x="136" y="20"/>
                        </a:lnTo>
                        <a:lnTo>
                          <a:pt x="133" y="20"/>
                        </a:lnTo>
                        <a:lnTo>
                          <a:pt x="130" y="15"/>
                        </a:lnTo>
                        <a:lnTo>
                          <a:pt x="130" y="12"/>
                        </a:lnTo>
                        <a:lnTo>
                          <a:pt x="128" y="7"/>
                        </a:lnTo>
                        <a:lnTo>
                          <a:pt x="123" y="7"/>
                        </a:lnTo>
                        <a:lnTo>
                          <a:pt x="118" y="7"/>
                        </a:lnTo>
                        <a:lnTo>
                          <a:pt x="113" y="5"/>
                        </a:lnTo>
                        <a:lnTo>
                          <a:pt x="113" y="2"/>
                        </a:lnTo>
                        <a:lnTo>
                          <a:pt x="110" y="0"/>
                        </a:lnTo>
                        <a:lnTo>
                          <a:pt x="105" y="2"/>
                        </a:lnTo>
                        <a:lnTo>
                          <a:pt x="96" y="0"/>
                        </a:lnTo>
                        <a:lnTo>
                          <a:pt x="86" y="0"/>
                        </a:lnTo>
                        <a:lnTo>
                          <a:pt x="83" y="2"/>
                        </a:lnTo>
                        <a:lnTo>
                          <a:pt x="78" y="2"/>
                        </a:lnTo>
                        <a:lnTo>
                          <a:pt x="72" y="7"/>
                        </a:lnTo>
                        <a:lnTo>
                          <a:pt x="72" y="7"/>
                        </a:lnTo>
                        <a:lnTo>
                          <a:pt x="68" y="12"/>
                        </a:lnTo>
                        <a:lnTo>
                          <a:pt x="67" y="12"/>
                        </a:lnTo>
                        <a:lnTo>
                          <a:pt x="62" y="15"/>
                        </a:lnTo>
                        <a:lnTo>
                          <a:pt x="52" y="17"/>
                        </a:lnTo>
                        <a:lnTo>
                          <a:pt x="48" y="25"/>
                        </a:lnTo>
                        <a:lnTo>
                          <a:pt x="47" y="32"/>
                        </a:lnTo>
                        <a:lnTo>
                          <a:pt x="52" y="40"/>
                        </a:lnTo>
                        <a:lnTo>
                          <a:pt x="52" y="47"/>
                        </a:lnTo>
                        <a:lnTo>
                          <a:pt x="48" y="55"/>
                        </a:lnTo>
                        <a:lnTo>
                          <a:pt x="48" y="58"/>
                        </a:lnTo>
                        <a:lnTo>
                          <a:pt x="48" y="63"/>
                        </a:lnTo>
                        <a:lnTo>
                          <a:pt x="45" y="68"/>
                        </a:lnTo>
                        <a:lnTo>
                          <a:pt x="43" y="72"/>
                        </a:lnTo>
                        <a:lnTo>
                          <a:pt x="0" y="100"/>
                        </a:lnTo>
                        <a:lnTo>
                          <a:pt x="0" y="100"/>
                        </a:lnTo>
                        <a:lnTo>
                          <a:pt x="0" y="100"/>
                        </a:lnTo>
                        <a:lnTo>
                          <a:pt x="12" y="128"/>
                        </a:lnTo>
                        <a:lnTo>
                          <a:pt x="33" y="131"/>
                        </a:lnTo>
                        <a:lnTo>
                          <a:pt x="146" y="203"/>
                        </a:lnTo>
                        <a:lnTo>
                          <a:pt x="193" y="203"/>
                        </a:lnTo>
                        <a:lnTo>
                          <a:pt x="198" y="194"/>
                        </a:lnTo>
                        <a:lnTo>
                          <a:pt x="203" y="183"/>
                        </a:lnTo>
                        <a:lnTo>
                          <a:pt x="214" y="178"/>
                        </a:lnTo>
                        <a:lnTo>
                          <a:pt x="223" y="181"/>
                        </a:lnTo>
                        <a:lnTo>
                          <a:pt x="228" y="180"/>
                        </a:lnTo>
                        <a:lnTo>
                          <a:pt x="231" y="181"/>
                        </a:lnTo>
                        <a:lnTo>
                          <a:pt x="233" y="176"/>
                        </a:lnTo>
                        <a:lnTo>
                          <a:pt x="236" y="175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37" name="Google Shape;2992;p98">
                    <a:extLst>
                      <a:ext uri="{FF2B5EF4-FFF2-40B4-BE49-F238E27FC236}">
                        <a16:creationId xmlns:a16="http://schemas.microsoft.com/office/drawing/2014/main" id="{41103E5E-0A3C-5363-8908-5FFD3AA21A2D}"/>
                      </a:ext>
                    </a:extLst>
                  </p:cNvPr>
                  <p:cNvSpPr/>
                  <p:nvPr/>
                </p:nvSpPr>
                <p:spPr>
                  <a:xfrm>
                    <a:off x="7005792" y="2912784"/>
                    <a:ext cx="22475" cy="2075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1" h="40" extrusionOk="0">
                        <a:moveTo>
                          <a:pt x="0" y="25"/>
                        </a:moveTo>
                        <a:lnTo>
                          <a:pt x="5" y="16"/>
                        </a:lnTo>
                        <a:lnTo>
                          <a:pt x="10" y="5"/>
                        </a:lnTo>
                        <a:lnTo>
                          <a:pt x="21" y="0"/>
                        </a:lnTo>
                        <a:lnTo>
                          <a:pt x="30" y="3"/>
                        </a:lnTo>
                        <a:lnTo>
                          <a:pt x="35" y="2"/>
                        </a:lnTo>
                        <a:lnTo>
                          <a:pt x="38" y="3"/>
                        </a:lnTo>
                        <a:lnTo>
                          <a:pt x="36" y="3"/>
                        </a:lnTo>
                        <a:lnTo>
                          <a:pt x="40" y="13"/>
                        </a:lnTo>
                        <a:lnTo>
                          <a:pt x="25" y="16"/>
                        </a:lnTo>
                        <a:lnTo>
                          <a:pt x="35" y="21"/>
                        </a:lnTo>
                        <a:lnTo>
                          <a:pt x="36" y="20"/>
                        </a:lnTo>
                        <a:lnTo>
                          <a:pt x="38" y="23"/>
                        </a:lnTo>
                        <a:lnTo>
                          <a:pt x="38" y="26"/>
                        </a:lnTo>
                        <a:lnTo>
                          <a:pt x="40" y="30"/>
                        </a:lnTo>
                        <a:lnTo>
                          <a:pt x="40" y="30"/>
                        </a:lnTo>
                        <a:lnTo>
                          <a:pt x="38" y="30"/>
                        </a:lnTo>
                        <a:lnTo>
                          <a:pt x="41" y="33"/>
                        </a:lnTo>
                        <a:lnTo>
                          <a:pt x="26" y="40"/>
                        </a:lnTo>
                        <a:lnTo>
                          <a:pt x="25" y="31"/>
                        </a:lnTo>
                        <a:lnTo>
                          <a:pt x="3" y="25"/>
                        </a:lnTo>
                        <a:lnTo>
                          <a:pt x="0" y="25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38" name="Google Shape;2993;p98">
                    <a:extLst>
                      <a:ext uri="{FF2B5EF4-FFF2-40B4-BE49-F238E27FC236}">
                        <a16:creationId xmlns:a16="http://schemas.microsoft.com/office/drawing/2014/main" id="{AE4904AB-D09A-4B69-95E6-147CAE1A8106}"/>
                      </a:ext>
                    </a:extLst>
                  </p:cNvPr>
                  <p:cNvSpPr/>
                  <p:nvPr/>
                </p:nvSpPr>
                <p:spPr>
                  <a:xfrm>
                    <a:off x="6817428" y="2844303"/>
                    <a:ext cx="29967" cy="1452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4" h="28" extrusionOk="0">
                        <a:moveTo>
                          <a:pt x="8" y="26"/>
                        </a:moveTo>
                        <a:lnTo>
                          <a:pt x="3" y="23"/>
                        </a:lnTo>
                        <a:lnTo>
                          <a:pt x="0" y="20"/>
                        </a:lnTo>
                        <a:lnTo>
                          <a:pt x="0" y="15"/>
                        </a:lnTo>
                        <a:lnTo>
                          <a:pt x="3" y="13"/>
                        </a:lnTo>
                        <a:lnTo>
                          <a:pt x="6" y="10"/>
                        </a:lnTo>
                        <a:lnTo>
                          <a:pt x="10" y="11"/>
                        </a:lnTo>
                        <a:lnTo>
                          <a:pt x="13" y="11"/>
                        </a:lnTo>
                        <a:lnTo>
                          <a:pt x="15" y="8"/>
                        </a:lnTo>
                        <a:lnTo>
                          <a:pt x="15" y="5"/>
                        </a:lnTo>
                        <a:lnTo>
                          <a:pt x="20" y="5"/>
                        </a:lnTo>
                        <a:lnTo>
                          <a:pt x="25" y="8"/>
                        </a:lnTo>
                        <a:lnTo>
                          <a:pt x="31" y="8"/>
                        </a:lnTo>
                        <a:lnTo>
                          <a:pt x="41" y="3"/>
                        </a:lnTo>
                        <a:lnTo>
                          <a:pt x="49" y="0"/>
                        </a:lnTo>
                        <a:lnTo>
                          <a:pt x="53" y="0"/>
                        </a:lnTo>
                        <a:lnTo>
                          <a:pt x="54" y="0"/>
                        </a:lnTo>
                        <a:lnTo>
                          <a:pt x="51" y="1"/>
                        </a:lnTo>
                        <a:lnTo>
                          <a:pt x="46" y="5"/>
                        </a:lnTo>
                        <a:lnTo>
                          <a:pt x="40" y="11"/>
                        </a:lnTo>
                        <a:lnTo>
                          <a:pt x="41" y="15"/>
                        </a:lnTo>
                        <a:lnTo>
                          <a:pt x="41" y="20"/>
                        </a:lnTo>
                        <a:lnTo>
                          <a:pt x="35" y="18"/>
                        </a:lnTo>
                        <a:lnTo>
                          <a:pt x="31" y="20"/>
                        </a:lnTo>
                        <a:lnTo>
                          <a:pt x="26" y="25"/>
                        </a:lnTo>
                        <a:lnTo>
                          <a:pt x="21" y="25"/>
                        </a:lnTo>
                        <a:lnTo>
                          <a:pt x="18" y="28"/>
                        </a:lnTo>
                        <a:lnTo>
                          <a:pt x="15" y="26"/>
                        </a:lnTo>
                        <a:lnTo>
                          <a:pt x="8" y="26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39" name="Google Shape;2994;p98">
                    <a:extLst>
                      <a:ext uri="{FF2B5EF4-FFF2-40B4-BE49-F238E27FC236}">
                        <a16:creationId xmlns:a16="http://schemas.microsoft.com/office/drawing/2014/main" id="{9CDEF146-E51E-8B45-7A5F-9A8B7F31EC93}"/>
                      </a:ext>
                    </a:extLst>
                  </p:cNvPr>
                  <p:cNvSpPr/>
                  <p:nvPr/>
                </p:nvSpPr>
                <p:spPr>
                  <a:xfrm>
                    <a:off x="6860238" y="2823552"/>
                    <a:ext cx="81339" cy="6329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2" h="123" extrusionOk="0">
                        <a:moveTo>
                          <a:pt x="80" y="95"/>
                        </a:moveTo>
                        <a:lnTo>
                          <a:pt x="123" y="67"/>
                        </a:lnTo>
                        <a:lnTo>
                          <a:pt x="125" y="63"/>
                        </a:lnTo>
                        <a:lnTo>
                          <a:pt x="128" y="58"/>
                        </a:lnTo>
                        <a:lnTo>
                          <a:pt x="128" y="53"/>
                        </a:lnTo>
                        <a:lnTo>
                          <a:pt x="128" y="50"/>
                        </a:lnTo>
                        <a:lnTo>
                          <a:pt x="132" y="42"/>
                        </a:lnTo>
                        <a:lnTo>
                          <a:pt x="132" y="35"/>
                        </a:lnTo>
                        <a:lnTo>
                          <a:pt x="127" y="27"/>
                        </a:lnTo>
                        <a:lnTo>
                          <a:pt x="128" y="20"/>
                        </a:lnTo>
                        <a:lnTo>
                          <a:pt x="132" y="12"/>
                        </a:lnTo>
                        <a:lnTo>
                          <a:pt x="142" y="10"/>
                        </a:lnTo>
                        <a:lnTo>
                          <a:pt x="147" y="7"/>
                        </a:lnTo>
                        <a:lnTo>
                          <a:pt x="148" y="7"/>
                        </a:lnTo>
                        <a:lnTo>
                          <a:pt x="152" y="2"/>
                        </a:lnTo>
                        <a:lnTo>
                          <a:pt x="150" y="0"/>
                        </a:lnTo>
                        <a:lnTo>
                          <a:pt x="142" y="0"/>
                        </a:lnTo>
                        <a:lnTo>
                          <a:pt x="133" y="3"/>
                        </a:lnTo>
                        <a:lnTo>
                          <a:pt x="120" y="2"/>
                        </a:lnTo>
                        <a:lnTo>
                          <a:pt x="117" y="3"/>
                        </a:lnTo>
                        <a:lnTo>
                          <a:pt x="110" y="3"/>
                        </a:lnTo>
                        <a:lnTo>
                          <a:pt x="102" y="5"/>
                        </a:lnTo>
                        <a:lnTo>
                          <a:pt x="97" y="8"/>
                        </a:lnTo>
                        <a:lnTo>
                          <a:pt x="92" y="10"/>
                        </a:lnTo>
                        <a:lnTo>
                          <a:pt x="90" y="12"/>
                        </a:lnTo>
                        <a:lnTo>
                          <a:pt x="78" y="12"/>
                        </a:lnTo>
                        <a:lnTo>
                          <a:pt x="72" y="10"/>
                        </a:lnTo>
                        <a:lnTo>
                          <a:pt x="68" y="8"/>
                        </a:lnTo>
                        <a:lnTo>
                          <a:pt x="65" y="7"/>
                        </a:lnTo>
                        <a:lnTo>
                          <a:pt x="52" y="8"/>
                        </a:lnTo>
                        <a:lnTo>
                          <a:pt x="49" y="10"/>
                        </a:lnTo>
                        <a:lnTo>
                          <a:pt x="45" y="10"/>
                        </a:lnTo>
                        <a:lnTo>
                          <a:pt x="34" y="15"/>
                        </a:lnTo>
                        <a:lnTo>
                          <a:pt x="30" y="13"/>
                        </a:lnTo>
                        <a:lnTo>
                          <a:pt x="22" y="12"/>
                        </a:lnTo>
                        <a:lnTo>
                          <a:pt x="22" y="17"/>
                        </a:lnTo>
                        <a:lnTo>
                          <a:pt x="20" y="23"/>
                        </a:lnTo>
                        <a:lnTo>
                          <a:pt x="19" y="27"/>
                        </a:lnTo>
                        <a:lnTo>
                          <a:pt x="19" y="30"/>
                        </a:lnTo>
                        <a:lnTo>
                          <a:pt x="14" y="32"/>
                        </a:lnTo>
                        <a:lnTo>
                          <a:pt x="9" y="33"/>
                        </a:lnTo>
                        <a:lnTo>
                          <a:pt x="4" y="32"/>
                        </a:lnTo>
                        <a:lnTo>
                          <a:pt x="4" y="33"/>
                        </a:lnTo>
                        <a:lnTo>
                          <a:pt x="0" y="33"/>
                        </a:lnTo>
                        <a:lnTo>
                          <a:pt x="2" y="40"/>
                        </a:lnTo>
                        <a:lnTo>
                          <a:pt x="5" y="48"/>
                        </a:lnTo>
                        <a:lnTo>
                          <a:pt x="7" y="53"/>
                        </a:lnTo>
                        <a:lnTo>
                          <a:pt x="5" y="58"/>
                        </a:lnTo>
                        <a:lnTo>
                          <a:pt x="5" y="67"/>
                        </a:lnTo>
                        <a:lnTo>
                          <a:pt x="15" y="67"/>
                        </a:lnTo>
                        <a:lnTo>
                          <a:pt x="19" y="72"/>
                        </a:lnTo>
                        <a:lnTo>
                          <a:pt x="22" y="73"/>
                        </a:lnTo>
                        <a:lnTo>
                          <a:pt x="22" y="80"/>
                        </a:lnTo>
                        <a:lnTo>
                          <a:pt x="24" y="83"/>
                        </a:lnTo>
                        <a:lnTo>
                          <a:pt x="20" y="85"/>
                        </a:lnTo>
                        <a:lnTo>
                          <a:pt x="19" y="85"/>
                        </a:lnTo>
                        <a:lnTo>
                          <a:pt x="14" y="87"/>
                        </a:lnTo>
                        <a:lnTo>
                          <a:pt x="12" y="93"/>
                        </a:lnTo>
                        <a:lnTo>
                          <a:pt x="9" y="98"/>
                        </a:lnTo>
                        <a:lnTo>
                          <a:pt x="7" y="98"/>
                        </a:lnTo>
                        <a:lnTo>
                          <a:pt x="9" y="100"/>
                        </a:lnTo>
                        <a:lnTo>
                          <a:pt x="12" y="103"/>
                        </a:lnTo>
                        <a:lnTo>
                          <a:pt x="14" y="110"/>
                        </a:lnTo>
                        <a:lnTo>
                          <a:pt x="12" y="113"/>
                        </a:lnTo>
                        <a:lnTo>
                          <a:pt x="14" y="113"/>
                        </a:lnTo>
                        <a:lnTo>
                          <a:pt x="22" y="116"/>
                        </a:lnTo>
                        <a:lnTo>
                          <a:pt x="27" y="120"/>
                        </a:lnTo>
                        <a:lnTo>
                          <a:pt x="29" y="120"/>
                        </a:lnTo>
                        <a:lnTo>
                          <a:pt x="32" y="123"/>
                        </a:lnTo>
                        <a:lnTo>
                          <a:pt x="80" y="95"/>
                        </a:lnTo>
                        <a:lnTo>
                          <a:pt x="80" y="95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40" name="Google Shape;2995;p98">
                    <a:extLst>
                      <a:ext uri="{FF2B5EF4-FFF2-40B4-BE49-F238E27FC236}">
                        <a16:creationId xmlns:a16="http://schemas.microsoft.com/office/drawing/2014/main" id="{71E1DDF2-8131-7370-126F-07A1ED1DAFD4}"/>
                      </a:ext>
                    </a:extLst>
                  </p:cNvPr>
                  <p:cNvSpPr/>
                  <p:nvPr/>
                </p:nvSpPr>
                <p:spPr>
                  <a:xfrm>
                    <a:off x="6844184" y="2874393"/>
                    <a:ext cx="20334" cy="4980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7" h="96" extrusionOk="0">
                        <a:moveTo>
                          <a:pt x="24" y="96"/>
                        </a:moveTo>
                        <a:lnTo>
                          <a:pt x="27" y="91"/>
                        </a:lnTo>
                        <a:lnTo>
                          <a:pt x="27" y="91"/>
                        </a:lnTo>
                        <a:lnTo>
                          <a:pt x="27" y="88"/>
                        </a:lnTo>
                        <a:lnTo>
                          <a:pt x="29" y="87"/>
                        </a:lnTo>
                        <a:lnTo>
                          <a:pt x="29" y="82"/>
                        </a:lnTo>
                        <a:lnTo>
                          <a:pt x="30" y="77"/>
                        </a:lnTo>
                        <a:lnTo>
                          <a:pt x="30" y="70"/>
                        </a:lnTo>
                        <a:lnTo>
                          <a:pt x="32" y="68"/>
                        </a:lnTo>
                        <a:lnTo>
                          <a:pt x="32" y="63"/>
                        </a:lnTo>
                        <a:lnTo>
                          <a:pt x="34" y="58"/>
                        </a:lnTo>
                        <a:lnTo>
                          <a:pt x="32" y="55"/>
                        </a:lnTo>
                        <a:lnTo>
                          <a:pt x="34" y="47"/>
                        </a:lnTo>
                        <a:lnTo>
                          <a:pt x="32" y="47"/>
                        </a:lnTo>
                        <a:lnTo>
                          <a:pt x="29" y="47"/>
                        </a:lnTo>
                        <a:lnTo>
                          <a:pt x="25" y="48"/>
                        </a:lnTo>
                        <a:lnTo>
                          <a:pt x="22" y="47"/>
                        </a:lnTo>
                        <a:lnTo>
                          <a:pt x="24" y="40"/>
                        </a:lnTo>
                        <a:lnTo>
                          <a:pt x="24" y="30"/>
                        </a:lnTo>
                        <a:lnTo>
                          <a:pt x="22" y="27"/>
                        </a:lnTo>
                        <a:lnTo>
                          <a:pt x="24" y="22"/>
                        </a:lnTo>
                        <a:lnTo>
                          <a:pt x="29" y="22"/>
                        </a:lnTo>
                        <a:lnTo>
                          <a:pt x="30" y="25"/>
                        </a:lnTo>
                        <a:lnTo>
                          <a:pt x="32" y="25"/>
                        </a:lnTo>
                        <a:lnTo>
                          <a:pt x="35" y="22"/>
                        </a:lnTo>
                        <a:lnTo>
                          <a:pt x="35" y="20"/>
                        </a:lnTo>
                        <a:lnTo>
                          <a:pt x="35" y="20"/>
                        </a:lnTo>
                        <a:lnTo>
                          <a:pt x="35" y="18"/>
                        </a:lnTo>
                        <a:lnTo>
                          <a:pt x="34" y="15"/>
                        </a:lnTo>
                        <a:lnTo>
                          <a:pt x="35" y="8"/>
                        </a:lnTo>
                        <a:lnTo>
                          <a:pt x="35" y="2"/>
                        </a:lnTo>
                        <a:lnTo>
                          <a:pt x="37" y="0"/>
                        </a:lnTo>
                        <a:lnTo>
                          <a:pt x="35" y="0"/>
                        </a:lnTo>
                        <a:lnTo>
                          <a:pt x="32" y="5"/>
                        </a:lnTo>
                        <a:lnTo>
                          <a:pt x="25" y="5"/>
                        </a:lnTo>
                        <a:lnTo>
                          <a:pt x="22" y="3"/>
                        </a:lnTo>
                        <a:lnTo>
                          <a:pt x="17" y="10"/>
                        </a:lnTo>
                        <a:lnTo>
                          <a:pt x="15" y="25"/>
                        </a:lnTo>
                        <a:lnTo>
                          <a:pt x="7" y="38"/>
                        </a:lnTo>
                        <a:lnTo>
                          <a:pt x="0" y="47"/>
                        </a:lnTo>
                        <a:lnTo>
                          <a:pt x="4" y="48"/>
                        </a:lnTo>
                        <a:lnTo>
                          <a:pt x="7" y="55"/>
                        </a:lnTo>
                        <a:lnTo>
                          <a:pt x="10" y="63"/>
                        </a:lnTo>
                        <a:lnTo>
                          <a:pt x="17" y="72"/>
                        </a:lnTo>
                        <a:lnTo>
                          <a:pt x="22" y="83"/>
                        </a:lnTo>
                        <a:lnTo>
                          <a:pt x="20" y="88"/>
                        </a:lnTo>
                        <a:lnTo>
                          <a:pt x="24" y="96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41" name="Google Shape;2996;p98">
                    <a:extLst>
                      <a:ext uri="{FF2B5EF4-FFF2-40B4-BE49-F238E27FC236}">
                        <a16:creationId xmlns:a16="http://schemas.microsoft.com/office/drawing/2014/main" id="{52DE684C-55F7-3E67-FEA4-E4E7039A3032}"/>
                      </a:ext>
                    </a:extLst>
                  </p:cNvPr>
                  <p:cNvSpPr/>
                  <p:nvPr/>
                </p:nvSpPr>
                <p:spPr>
                  <a:xfrm>
                    <a:off x="6862378" y="2874393"/>
                    <a:ext cx="5351" cy="1037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0" h="20" extrusionOk="0">
                        <a:moveTo>
                          <a:pt x="1" y="20"/>
                        </a:moveTo>
                        <a:lnTo>
                          <a:pt x="1" y="18"/>
                        </a:lnTo>
                        <a:lnTo>
                          <a:pt x="0" y="15"/>
                        </a:lnTo>
                        <a:lnTo>
                          <a:pt x="1" y="8"/>
                        </a:lnTo>
                        <a:lnTo>
                          <a:pt x="1" y="2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5" y="2"/>
                        </a:lnTo>
                        <a:lnTo>
                          <a:pt x="8" y="5"/>
                        </a:lnTo>
                        <a:lnTo>
                          <a:pt x="10" y="12"/>
                        </a:lnTo>
                        <a:lnTo>
                          <a:pt x="8" y="15"/>
                        </a:lnTo>
                        <a:lnTo>
                          <a:pt x="8" y="15"/>
                        </a:lnTo>
                        <a:lnTo>
                          <a:pt x="5" y="18"/>
                        </a:lnTo>
                        <a:lnTo>
                          <a:pt x="3" y="20"/>
                        </a:lnTo>
                        <a:lnTo>
                          <a:pt x="1" y="20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42" name="Google Shape;2997;p98">
                    <a:extLst>
                      <a:ext uri="{FF2B5EF4-FFF2-40B4-BE49-F238E27FC236}">
                        <a16:creationId xmlns:a16="http://schemas.microsoft.com/office/drawing/2014/main" id="{E675B73A-9687-1E47-B957-F9EB7D22F15B}"/>
                      </a:ext>
                    </a:extLst>
                  </p:cNvPr>
                  <p:cNvSpPr/>
                  <p:nvPr/>
                </p:nvSpPr>
                <p:spPr>
                  <a:xfrm>
                    <a:off x="6855957" y="2884769"/>
                    <a:ext cx="7491" cy="1452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" h="26" extrusionOk="0">
                        <a:moveTo>
                          <a:pt x="10" y="25"/>
                        </a:moveTo>
                        <a:lnTo>
                          <a:pt x="7" y="25"/>
                        </a:lnTo>
                        <a:lnTo>
                          <a:pt x="3" y="26"/>
                        </a:lnTo>
                        <a:lnTo>
                          <a:pt x="0" y="25"/>
                        </a:lnTo>
                        <a:lnTo>
                          <a:pt x="2" y="18"/>
                        </a:lnTo>
                        <a:lnTo>
                          <a:pt x="2" y="8"/>
                        </a:lnTo>
                        <a:lnTo>
                          <a:pt x="0" y="5"/>
                        </a:lnTo>
                        <a:lnTo>
                          <a:pt x="2" y="0"/>
                        </a:lnTo>
                        <a:lnTo>
                          <a:pt x="7" y="0"/>
                        </a:lnTo>
                        <a:lnTo>
                          <a:pt x="8" y="3"/>
                        </a:lnTo>
                        <a:lnTo>
                          <a:pt x="10" y="3"/>
                        </a:lnTo>
                        <a:lnTo>
                          <a:pt x="13" y="0"/>
                        </a:lnTo>
                        <a:lnTo>
                          <a:pt x="13" y="1"/>
                        </a:lnTo>
                        <a:lnTo>
                          <a:pt x="13" y="5"/>
                        </a:lnTo>
                        <a:lnTo>
                          <a:pt x="13" y="6"/>
                        </a:lnTo>
                        <a:lnTo>
                          <a:pt x="12" y="13"/>
                        </a:lnTo>
                        <a:lnTo>
                          <a:pt x="12" y="16"/>
                        </a:lnTo>
                        <a:lnTo>
                          <a:pt x="12" y="25"/>
                        </a:lnTo>
                        <a:lnTo>
                          <a:pt x="10" y="25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43" name="Google Shape;2998;p98">
                    <a:extLst>
                      <a:ext uri="{FF2B5EF4-FFF2-40B4-BE49-F238E27FC236}">
                        <a16:creationId xmlns:a16="http://schemas.microsoft.com/office/drawing/2014/main" id="{88B6A082-171E-DEB9-2BE5-BF12C23A43FD}"/>
                      </a:ext>
                    </a:extLst>
                  </p:cNvPr>
                  <p:cNvSpPr/>
                  <p:nvPr/>
                </p:nvSpPr>
                <p:spPr>
                  <a:xfrm>
                    <a:off x="6855957" y="2857792"/>
                    <a:ext cx="17124" cy="1867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2" h="36" extrusionOk="0">
                        <a:moveTo>
                          <a:pt x="0" y="34"/>
                        </a:moveTo>
                        <a:lnTo>
                          <a:pt x="3" y="36"/>
                        </a:lnTo>
                        <a:lnTo>
                          <a:pt x="10" y="36"/>
                        </a:lnTo>
                        <a:lnTo>
                          <a:pt x="13" y="31"/>
                        </a:lnTo>
                        <a:lnTo>
                          <a:pt x="17" y="31"/>
                        </a:lnTo>
                        <a:lnTo>
                          <a:pt x="20" y="26"/>
                        </a:lnTo>
                        <a:lnTo>
                          <a:pt x="22" y="20"/>
                        </a:lnTo>
                        <a:lnTo>
                          <a:pt x="27" y="18"/>
                        </a:lnTo>
                        <a:lnTo>
                          <a:pt x="28" y="18"/>
                        </a:lnTo>
                        <a:lnTo>
                          <a:pt x="32" y="16"/>
                        </a:lnTo>
                        <a:lnTo>
                          <a:pt x="30" y="13"/>
                        </a:lnTo>
                        <a:lnTo>
                          <a:pt x="30" y="6"/>
                        </a:lnTo>
                        <a:lnTo>
                          <a:pt x="27" y="5"/>
                        </a:lnTo>
                        <a:lnTo>
                          <a:pt x="23" y="0"/>
                        </a:lnTo>
                        <a:lnTo>
                          <a:pt x="13" y="0"/>
                        </a:lnTo>
                        <a:lnTo>
                          <a:pt x="13" y="1"/>
                        </a:lnTo>
                        <a:lnTo>
                          <a:pt x="10" y="1"/>
                        </a:lnTo>
                        <a:lnTo>
                          <a:pt x="8" y="18"/>
                        </a:lnTo>
                        <a:lnTo>
                          <a:pt x="5" y="23"/>
                        </a:lnTo>
                        <a:lnTo>
                          <a:pt x="0" y="28"/>
                        </a:lnTo>
                        <a:lnTo>
                          <a:pt x="0" y="34"/>
                        </a:lnTo>
                        <a:lnTo>
                          <a:pt x="0" y="34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44" name="Google Shape;2999;p98">
                    <a:extLst>
                      <a:ext uri="{FF2B5EF4-FFF2-40B4-BE49-F238E27FC236}">
                        <a16:creationId xmlns:a16="http://schemas.microsoft.com/office/drawing/2014/main" id="{86156A23-5AA1-E33E-5A91-4E4C60C5DC43}"/>
                      </a:ext>
                    </a:extLst>
                  </p:cNvPr>
                  <p:cNvSpPr/>
                  <p:nvPr/>
                </p:nvSpPr>
                <p:spPr>
                  <a:xfrm>
                    <a:off x="6857027" y="2872318"/>
                    <a:ext cx="52442" cy="5706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8" h="109" extrusionOk="0">
                        <a:moveTo>
                          <a:pt x="3" y="94"/>
                        </a:moveTo>
                        <a:lnTo>
                          <a:pt x="3" y="94"/>
                        </a:lnTo>
                        <a:lnTo>
                          <a:pt x="3" y="91"/>
                        </a:lnTo>
                        <a:lnTo>
                          <a:pt x="5" y="90"/>
                        </a:lnTo>
                        <a:lnTo>
                          <a:pt x="5" y="85"/>
                        </a:lnTo>
                        <a:lnTo>
                          <a:pt x="6" y="80"/>
                        </a:lnTo>
                        <a:lnTo>
                          <a:pt x="6" y="73"/>
                        </a:lnTo>
                        <a:lnTo>
                          <a:pt x="8" y="71"/>
                        </a:lnTo>
                        <a:lnTo>
                          <a:pt x="8" y="66"/>
                        </a:lnTo>
                        <a:lnTo>
                          <a:pt x="10" y="61"/>
                        </a:lnTo>
                        <a:lnTo>
                          <a:pt x="8" y="58"/>
                        </a:lnTo>
                        <a:lnTo>
                          <a:pt x="10" y="41"/>
                        </a:lnTo>
                        <a:lnTo>
                          <a:pt x="10" y="38"/>
                        </a:lnTo>
                        <a:lnTo>
                          <a:pt x="11" y="31"/>
                        </a:lnTo>
                        <a:lnTo>
                          <a:pt x="11" y="30"/>
                        </a:lnTo>
                        <a:lnTo>
                          <a:pt x="11" y="26"/>
                        </a:lnTo>
                        <a:lnTo>
                          <a:pt x="11" y="23"/>
                        </a:lnTo>
                        <a:lnTo>
                          <a:pt x="13" y="23"/>
                        </a:lnTo>
                        <a:lnTo>
                          <a:pt x="15" y="21"/>
                        </a:lnTo>
                        <a:lnTo>
                          <a:pt x="18" y="18"/>
                        </a:lnTo>
                        <a:lnTo>
                          <a:pt x="20" y="18"/>
                        </a:lnTo>
                        <a:lnTo>
                          <a:pt x="28" y="21"/>
                        </a:lnTo>
                        <a:lnTo>
                          <a:pt x="33" y="25"/>
                        </a:lnTo>
                        <a:lnTo>
                          <a:pt x="35" y="25"/>
                        </a:lnTo>
                        <a:lnTo>
                          <a:pt x="38" y="28"/>
                        </a:lnTo>
                        <a:lnTo>
                          <a:pt x="86" y="0"/>
                        </a:lnTo>
                        <a:lnTo>
                          <a:pt x="98" y="28"/>
                        </a:lnTo>
                        <a:lnTo>
                          <a:pt x="96" y="28"/>
                        </a:lnTo>
                        <a:lnTo>
                          <a:pt x="88" y="36"/>
                        </a:lnTo>
                        <a:lnTo>
                          <a:pt x="53" y="46"/>
                        </a:lnTo>
                        <a:lnTo>
                          <a:pt x="79" y="75"/>
                        </a:lnTo>
                        <a:lnTo>
                          <a:pt x="70" y="85"/>
                        </a:lnTo>
                        <a:lnTo>
                          <a:pt x="68" y="91"/>
                        </a:lnTo>
                        <a:lnTo>
                          <a:pt x="50" y="94"/>
                        </a:lnTo>
                        <a:lnTo>
                          <a:pt x="33" y="109"/>
                        </a:lnTo>
                        <a:lnTo>
                          <a:pt x="8" y="103"/>
                        </a:lnTo>
                        <a:lnTo>
                          <a:pt x="0" y="103"/>
                        </a:lnTo>
                        <a:lnTo>
                          <a:pt x="1" y="103"/>
                        </a:lnTo>
                        <a:lnTo>
                          <a:pt x="3" y="96"/>
                        </a:lnTo>
                        <a:lnTo>
                          <a:pt x="3" y="94"/>
                        </a:lnTo>
                        <a:lnTo>
                          <a:pt x="3" y="94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45" name="Google Shape;3000;p98">
                    <a:extLst>
                      <a:ext uri="{FF2B5EF4-FFF2-40B4-BE49-F238E27FC236}">
                        <a16:creationId xmlns:a16="http://schemas.microsoft.com/office/drawing/2014/main" id="{6635E454-80A8-6FFE-9CCD-1E20FCC99A1F}"/>
                      </a:ext>
                    </a:extLst>
                  </p:cNvPr>
                  <p:cNvSpPr/>
                  <p:nvPr/>
                </p:nvSpPr>
                <p:spPr>
                  <a:xfrm>
                    <a:off x="6855957" y="2886844"/>
                    <a:ext cx="269703" cy="20025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03" h="385" extrusionOk="0">
                        <a:moveTo>
                          <a:pt x="322" y="83"/>
                        </a:moveTo>
                        <a:lnTo>
                          <a:pt x="307" y="90"/>
                        </a:lnTo>
                        <a:lnTo>
                          <a:pt x="306" y="81"/>
                        </a:lnTo>
                        <a:lnTo>
                          <a:pt x="284" y="75"/>
                        </a:lnTo>
                        <a:lnTo>
                          <a:pt x="234" y="75"/>
                        </a:lnTo>
                        <a:lnTo>
                          <a:pt x="121" y="3"/>
                        </a:lnTo>
                        <a:lnTo>
                          <a:pt x="98" y="0"/>
                        </a:lnTo>
                        <a:lnTo>
                          <a:pt x="90" y="8"/>
                        </a:lnTo>
                        <a:lnTo>
                          <a:pt x="55" y="18"/>
                        </a:lnTo>
                        <a:lnTo>
                          <a:pt x="81" y="47"/>
                        </a:lnTo>
                        <a:lnTo>
                          <a:pt x="72" y="57"/>
                        </a:lnTo>
                        <a:lnTo>
                          <a:pt x="70" y="63"/>
                        </a:lnTo>
                        <a:lnTo>
                          <a:pt x="52" y="66"/>
                        </a:lnTo>
                        <a:lnTo>
                          <a:pt x="35" y="81"/>
                        </a:lnTo>
                        <a:lnTo>
                          <a:pt x="10" y="75"/>
                        </a:lnTo>
                        <a:lnTo>
                          <a:pt x="2" y="75"/>
                        </a:lnTo>
                        <a:lnTo>
                          <a:pt x="2" y="83"/>
                        </a:lnTo>
                        <a:lnTo>
                          <a:pt x="2" y="93"/>
                        </a:lnTo>
                        <a:lnTo>
                          <a:pt x="0" y="98"/>
                        </a:lnTo>
                        <a:lnTo>
                          <a:pt x="0" y="101"/>
                        </a:lnTo>
                        <a:lnTo>
                          <a:pt x="3" y="100"/>
                        </a:lnTo>
                        <a:lnTo>
                          <a:pt x="5" y="101"/>
                        </a:lnTo>
                        <a:lnTo>
                          <a:pt x="8" y="100"/>
                        </a:lnTo>
                        <a:lnTo>
                          <a:pt x="13" y="103"/>
                        </a:lnTo>
                        <a:lnTo>
                          <a:pt x="12" y="103"/>
                        </a:lnTo>
                        <a:lnTo>
                          <a:pt x="23" y="115"/>
                        </a:lnTo>
                        <a:lnTo>
                          <a:pt x="23" y="118"/>
                        </a:lnTo>
                        <a:lnTo>
                          <a:pt x="27" y="120"/>
                        </a:lnTo>
                        <a:lnTo>
                          <a:pt x="27" y="125"/>
                        </a:lnTo>
                        <a:lnTo>
                          <a:pt x="32" y="128"/>
                        </a:lnTo>
                        <a:lnTo>
                          <a:pt x="35" y="128"/>
                        </a:lnTo>
                        <a:lnTo>
                          <a:pt x="42" y="140"/>
                        </a:lnTo>
                        <a:lnTo>
                          <a:pt x="42" y="143"/>
                        </a:lnTo>
                        <a:lnTo>
                          <a:pt x="43" y="146"/>
                        </a:lnTo>
                        <a:lnTo>
                          <a:pt x="48" y="148"/>
                        </a:lnTo>
                        <a:lnTo>
                          <a:pt x="48" y="153"/>
                        </a:lnTo>
                        <a:lnTo>
                          <a:pt x="52" y="156"/>
                        </a:lnTo>
                        <a:lnTo>
                          <a:pt x="57" y="158"/>
                        </a:lnTo>
                        <a:lnTo>
                          <a:pt x="62" y="168"/>
                        </a:lnTo>
                        <a:lnTo>
                          <a:pt x="65" y="171"/>
                        </a:lnTo>
                        <a:lnTo>
                          <a:pt x="67" y="178"/>
                        </a:lnTo>
                        <a:lnTo>
                          <a:pt x="65" y="179"/>
                        </a:lnTo>
                        <a:lnTo>
                          <a:pt x="65" y="183"/>
                        </a:lnTo>
                        <a:lnTo>
                          <a:pt x="70" y="186"/>
                        </a:lnTo>
                        <a:lnTo>
                          <a:pt x="70" y="189"/>
                        </a:lnTo>
                        <a:lnTo>
                          <a:pt x="73" y="193"/>
                        </a:lnTo>
                        <a:lnTo>
                          <a:pt x="76" y="189"/>
                        </a:lnTo>
                        <a:lnTo>
                          <a:pt x="81" y="193"/>
                        </a:lnTo>
                        <a:lnTo>
                          <a:pt x="90" y="196"/>
                        </a:lnTo>
                        <a:lnTo>
                          <a:pt x="96" y="201"/>
                        </a:lnTo>
                        <a:lnTo>
                          <a:pt x="98" y="206"/>
                        </a:lnTo>
                        <a:lnTo>
                          <a:pt x="100" y="206"/>
                        </a:lnTo>
                        <a:lnTo>
                          <a:pt x="100" y="211"/>
                        </a:lnTo>
                        <a:lnTo>
                          <a:pt x="103" y="214"/>
                        </a:lnTo>
                        <a:lnTo>
                          <a:pt x="105" y="221"/>
                        </a:lnTo>
                        <a:lnTo>
                          <a:pt x="110" y="224"/>
                        </a:lnTo>
                        <a:lnTo>
                          <a:pt x="111" y="233"/>
                        </a:lnTo>
                        <a:lnTo>
                          <a:pt x="111" y="234"/>
                        </a:lnTo>
                        <a:lnTo>
                          <a:pt x="110" y="243"/>
                        </a:lnTo>
                        <a:lnTo>
                          <a:pt x="108" y="244"/>
                        </a:lnTo>
                        <a:lnTo>
                          <a:pt x="110" y="248"/>
                        </a:lnTo>
                        <a:lnTo>
                          <a:pt x="113" y="254"/>
                        </a:lnTo>
                        <a:lnTo>
                          <a:pt x="113" y="262"/>
                        </a:lnTo>
                        <a:lnTo>
                          <a:pt x="118" y="267"/>
                        </a:lnTo>
                        <a:lnTo>
                          <a:pt x="118" y="269"/>
                        </a:lnTo>
                        <a:lnTo>
                          <a:pt x="131" y="282"/>
                        </a:lnTo>
                        <a:lnTo>
                          <a:pt x="135" y="284"/>
                        </a:lnTo>
                        <a:lnTo>
                          <a:pt x="140" y="284"/>
                        </a:lnTo>
                        <a:lnTo>
                          <a:pt x="143" y="287"/>
                        </a:lnTo>
                        <a:lnTo>
                          <a:pt x="146" y="287"/>
                        </a:lnTo>
                        <a:lnTo>
                          <a:pt x="153" y="294"/>
                        </a:lnTo>
                        <a:lnTo>
                          <a:pt x="153" y="297"/>
                        </a:lnTo>
                        <a:lnTo>
                          <a:pt x="160" y="297"/>
                        </a:lnTo>
                        <a:lnTo>
                          <a:pt x="158" y="301"/>
                        </a:lnTo>
                        <a:lnTo>
                          <a:pt x="161" y="302"/>
                        </a:lnTo>
                        <a:lnTo>
                          <a:pt x="168" y="321"/>
                        </a:lnTo>
                        <a:lnTo>
                          <a:pt x="173" y="324"/>
                        </a:lnTo>
                        <a:lnTo>
                          <a:pt x="173" y="329"/>
                        </a:lnTo>
                        <a:lnTo>
                          <a:pt x="191" y="346"/>
                        </a:lnTo>
                        <a:lnTo>
                          <a:pt x="194" y="346"/>
                        </a:lnTo>
                        <a:lnTo>
                          <a:pt x="196" y="356"/>
                        </a:lnTo>
                        <a:lnTo>
                          <a:pt x="203" y="357"/>
                        </a:lnTo>
                        <a:lnTo>
                          <a:pt x="208" y="369"/>
                        </a:lnTo>
                        <a:lnTo>
                          <a:pt x="211" y="369"/>
                        </a:lnTo>
                        <a:lnTo>
                          <a:pt x="216" y="370"/>
                        </a:lnTo>
                        <a:lnTo>
                          <a:pt x="218" y="365"/>
                        </a:lnTo>
                        <a:lnTo>
                          <a:pt x="224" y="362"/>
                        </a:lnTo>
                        <a:lnTo>
                          <a:pt x="219" y="356"/>
                        </a:lnTo>
                        <a:lnTo>
                          <a:pt x="223" y="344"/>
                        </a:lnTo>
                        <a:lnTo>
                          <a:pt x="229" y="342"/>
                        </a:lnTo>
                        <a:lnTo>
                          <a:pt x="238" y="347"/>
                        </a:lnTo>
                        <a:lnTo>
                          <a:pt x="253" y="347"/>
                        </a:lnTo>
                        <a:lnTo>
                          <a:pt x="273" y="356"/>
                        </a:lnTo>
                        <a:lnTo>
                          <a:pt x="294" y="365"/>
                        </a:lnTo>
                        <a:lnTo>
                          <a:pt x="296" y="385"/>
                        </a:lnTo>
                        <a:lnTo>
                          <a:pt x="339" y="331"/>
                        </a:lnTo>
                        <a:lnTo>
                          <a:pt x="500" y="287"/>
                        </a:lnTo>
                        <a:lnTo>
                          <a:pt x="503" y="239"/>
                        </a:lnTo>
                        <a:lnTo>
                          <a:pt x="498" y="223"/>
                        </a:lnTo>
                        <a:lnTo>
                          <a:pt x="498" y="223"/>
                        </a:lnTo>
                        <a:lnTo>
                          <a:pt x="490" y="229"/>
                        </a:lnTo>
                        <a:lnTo>
                          <a:pt x="419" y="219"/>
                        </a:lnTo>
                        <a:lnTo>
                          <a:pt x="414" y="203"/>
                        </a:lnTo>
                        <a:lnTo>
                          <a:pt x="409" y="196"/>
                        </a:lnTo>
                        <a:lnTo>
                          <a:pt x="409" y="188"/>
                        </a:lnTo>
                        <a:lnTo>
                          <a:pt x="409" y="188"/>
                        </a:lnTo>
                        <a:lnTo>
                          <a:pt x="407" y="189"/>
                        </a:lnTo>
                        <a:lnTo>
                          <a:pt x="404" y="184"/>
                        </a:lnTo>
                        <a:lnTo>
                          <a:pt x="405" y="183"/>
                        </a:lnTo>
                        <a:lnTo>
                          <a:pt x="407" y="181"/>
                        </a:lnTo>
                        <a:lnTo>
                          <a:pt x="402" y="181"/>
                        </a:lnTo>
                        <a:lnTo>
                          <a:pt x="402" y="179"/>
                        </a:lnTo>
                        <a:lnTo>
                          <a:pt x="399" y="179"/>
                        </a:lnTo>
                        <a:lnTo>
                          <a:pt x="390" y="176"/>
                        </a:lnTo>
                        <a:lnTo>
                          <a:pt x="389" y="174"/>
                        </a:lnTo>
                        <a:lnTo>
                          <a:pt x="389" y="174"/>
                        </a:lnTo>
                        <a:lnTo>
                          <a:pt x="384" y="169"/>
                        </a:lnTo>
                        <a:lnTo>
                          <a:pt x="382" y="164"/>
                        </a:lnTo>
                        <a:lnTo>
                          <a:pt x="371" y="150"/>
                        </a:lnTo>
                        <a:lnTo>
                          <a:pt x="367" y="145"/>
                        </a:lnTo>
                        <a:lnTo>
                          <a:pt x="371" y="145"/>
                        </a:lnTo>
                        <a:lnTo>
                          <a:pt x="371" y="143"/>
                        </a:lnTo>
                        <a:lnTo>
                          <a:pt x="366" y="133"/>
                        </a:lnTo>
                        <a:lnTo>
                          <a:pt x="366" y="130"/>
                        </a:lnTo>
                        <a:lnTo>
                          <a:pt x="362" y="126"/>
                        </a:lnTo>
                        <a:lnTo>
                          <a:pt x="361" y="126"/>
                        </a:lnTo>
                        <a:lnTo>
                          <a:pt x="352" y="115"/>
                        </a:lnTo>
                        <a:lnTo>
                          <a:pt x="349" y="115"/>
                        </a:lnTo>
                        <a:lnTo>
                          <a:pt x="346" y="111"/>
                        </a:lnTo>
                        <a:lnTo>
                          <a:pt x="347" y="110"/>
                        </a:lnTo>
                        <a:lnTo>
                          <a:pt x="349" y="110"/>
                        </a:lnTo>
                        <a:lnTo>
                          <a:pt x="351" y="111"/>
                        </a:lnTo>
                        <a:lnTo>
                          <a:pt x="349" y="108"/>
                        </a:lnTo>
                        <a:lnTo>
                          <a:pt x="344" y="108"/>
                        </a:lnTo>
                        <a:lnTo>
                          <a:pt x="336" y="106"/>
                        </a:lnTo>
                        <a:lnTo>
                          <a:pt x="331" y="95"/>
                        </a:lnTo>
                        <a:lnTo>
                          <a:pt x="329" y="90"/>
                        </a:lnTo>
                        <a:lnTo>
                          <a:pt x="326" y="88"/>
                        </a:lnTo>
                        <a:lnTo>
                          <a:pt x="326" y="85"/>
                        </a:lnTo>
                        <a:lnTo>
                          <a:pt x="324" y="85"/>
                        </a:lnTo>
                        <a:lnTo>
                          <a:pt x="322" y="83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46" name="Google Shape;3001;p98">
                    <a:extLst>
                      <a:ext uri="{FF2B5EF4-FFF2-40B4-BE49-F238E27FC236}">
                        <a16:creationId xmlns:a16="http://schemas.microsoft.com/office/drawing/2014/main" id="{5284C376-DCB2-A944-872E-5DA625C48C13}"/>
                      </a:ext>
                    </a:extLst>
                  </p:cNvPr>
                  <p:cNvSpPr/>
                  <p:nvPr/>
                </p:nvSpPr>
                <p:spPr>
                  <a:xfrm>
                    <a:off x="7063585" y="2960513"/>
                    <a:ext cx="10702" cy="1971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" h="36" extrusionOk="0">
                        <a:moveTo>
                          <a:pt x="15" y="36"/>
                        </a:moveTo>
                        <a:lnTo>
                          <a:pt x="12" y="36"/>
                        </a:lnTo>
                        <a:lnTo>
                          <a:pt x="3" y="33"/>
                        </a:lnTo>
                        <a:lnTo>
                          <a:pt x="2" y="31"/>
                        </a:lnTo>
                        <a:lnTo>
                          <a:pt x="3" y="30"/>
                        </a:lnTo>
                        <a:lnTo>
                          <a:pt x="3" y="26"/>
                        </a:lnTo>
                        <a:lnTo>
                          <a:pt x="2" y="23"/>
                        </a:lnTo>
                        <a:lnTo>
                          <a:pt x="0" y="21"/>
                        </a:lnTo>
                        <a:lnTo>
                          <a:pt x="2" y="15"/>
                        </a:lnTo>
                        <a:lnTo>
                          <a:pt x="3" y="15"/>
                        </a:lnTo>
                        <a:lnTo>
                          <a:pt x="5" y="15"/>
                        </a:lnTo>
                        <a:lnTo>
                          <a:pt x="3" y="8"/>
                        </a:lnTo>
                        <a:lnTo>
                          <a:pt x="5" y="8"/>
                        </a:lnTo>
                        <a:lnTo>
                          <a:pt x="3" y="5"/>
                        </a:lnTo>
                        <a:lnTo>
                          <a:pt x="5" y="3"/>
                        </a:lnTo>
                        <a:lnTo>
                          <a:pt x="5" y="2"/>
                        </a:lnTo>
                        <a:lnTo>
                          <a:pt x="7" y="2"/>
                        </a:lnTo>
                        <a:lnTo>
                          <a:pt x="8" y="0"/>
                        </a:lnTo>
                        <a:lnTo>
                          <a:pt x="10" y="0"/>
                        </a:lnTo>
                        <a:lnTo>
                          <a:pt x="13" y="3"/>
                        </a:lnTo>
                        <a:lnTo>
                          <a:pt x="15" y="5"/>
                        </a:lnTo>
                        <a:lnTo>
                          <a:pt x="17" y="5"/>
                        </a:lnTo>
                        <a:lnTo>
                          <a:pt x="17" y="7"/>
                        </a:lnTo>
                        <a:lnTo>
                          <a:pt x="15" y="13"/>
                        </a:lnTo>
                        <a:lnTo>
                          <a:pt x="15" y="13"/>
                        </a:lnTo>
                        <a:lnTo>
                          <a:pt x="15" y="21"/>
                        </a:lnTo>
                        <a:lnTo>
                          <a:pt x="17" y="21"/>
                        </a:lnTo>
                        <a:lnTo>
                          <a:pt x="20" y="25"/>
                        </a:lnTo>
                        <a:lnTo>
                          <a:pt x="18" y="36"/>
                        </a:lnTo>
                        <a:lnTo>
                          <a:pt x="15" y="36"/>
                        </a:lnTo>
                        <a:lnTo>
                          <a:pt x="15" y="36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47" name="Google Shape;3002;p98">
                    <a:extLst>
                      <a:ext uri="{FF2B5EF4-FFF2-40B4-BE49-F238E27FC236}">
                        <a16:creationId xmlns:a16="http://schemas.microsoft.com/office/drawing/2014/main" id="{0347C5DB-1F56-1FEA-FC72-D9C3841D0185}"/>
                      </a:ext>
                    </a:extLst>
                  </p:cNvPr>
                  <p:cNvSpPr/>
                  <p:nvPr/>
                </p:nvSpPr>
                <p:spPr>
                  <a:xfrm>
                    <a:off x="7074287" y="2962588"/>
                    <a:ext cx="62074" cy="4357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4" h="83" extrusionOk="0">
                        <a:moveTo>
                          <a:pt x="0" y="42"/>
                        </a:moveTo>
                        <a:lnTo>
                          <a:pt x="0" y="50"/>
                        </a:lnTo>
                        <a:lnTo>
                          <a:pt x="5" y="57"/>
                        </a:lnTo>
                        <a:lnTo>
                          <a:pt x="10" y="73"/>
                        </a:lnTo>
                        <a:lnTo>
                          <a:pt x="81" y="83"/>
                        </a:lnTo>
                        <a:lnTo>
                          <a:pt x="89" y="77"/>
                        </a:lnTo>
                        <a:lnTo>
                          <a:pt x="109" y="18"/>
                        </a:lnTo>
                        <a:lnTo>
                          <a:pt x="114" y="18"/>
                        </a:lnTo>
                        <a:lnTo>
                          <a:pt x="114" y="12"/>
                        </a:lnTo>
                        <a:lnTo>
                          <a:pt x="113" y="9"/>
                        </a:lnTo>
                        <a:lnTo>
                          <a:pt x="111" y="10"/>
                        </a:lnTo>
                        <a:lnTo>
                          <a:pt x="109" y="9"/>
                        </a:lnTo>
                        <a:lnTo>
                          <a:pt x="109" y="9"/>
                        </a:lnTo>
                        <a:lnTo>
                          <a:pt x="108" y="9"/>
                        </a:lnTo>
                        <a:lnTo>
                          <a:pt x="106" y="0"/>
                        </a:lnTo>
                        <a:lnTo>
                          <a:pt x="104" y="0"/>
                        </a:lnTo>
                        <a:lnTo>
                          <a:pt x="104" y="4"/>
                        </a:lnTo>
                        <a:lnTo>
                          <a:pt x="103" y="5"/>
                        </a:lnTo>
                        <a:lnTo>
                          <a:pt x="88" y="14"/>
                        </a:lnTo>
                        <a:lnTo>
                          <a:pt x="88" y="18"/>
                        </a:lnTo>
                        <a:lnTo>
                          <a:pt x="73" y="30"/>
                        </a:lnTo>
                        <a:lnTo>
                          <a:pt x="71" y="33"/>
                        </a:lnTo>
                        <a:lnTo>
                          <a:pt x="73" y="33"/>
                        </a:lnTo>
                        <a:lnTo>
                          <a:pt x="74" y="37"/>
                        </a:lnTo>
                        <a:lnTo>
                          <a:pt x="68" y="42"/>
                        </a:lnTo>
                        <a:lnTo>
                          <a:pt x="66" y="40"/>
                        </a:lnTo>
                        <a:lnTo>
                          <a:pt x="64" y="40"/>
                        </a:lnTo>
                        <a:lnTo>
                          <a:pt x="61" y="40"/>
                        </a:lnTo>
                        <a:lnTo>
                          <a:pt x="61" y="45"/>
                        </a:lnTo>
                        <a:lnTo>
                          <a:pt x="60" y="45"/>
                        </a:lnTo>
                        <a:lnTo>
                          <a:pt x="60" y="47"/>
                        </a:lnTo>
                        <a:lnTo>
                          <a:pt x="51" y="48"/>
                        </a:lnTo>
                        <a:lnTo>
                          <a:pt x="46" y="48"/>
                        </a:lnTo>
                        <a:lnTo>
                          <a:pt x="45" y="45"/>
                        </a:lnTo>
                        <a:lnTo>
                          <a:pt x="40" y="47"/>
                        </a:lnTo>
                        <a:lnTo>
                          <a:pt x="38" y="45"/>
                        </a:lnTo>
                        <a:lnTo>
                          <a:pt x="35" y="45"/>
                        </a:lnTo>
                        <a:lnTo>
                          <a:pt x="26" y="43"/>
                        </a:lnTo>
                        <a:lnTo>
                          <a:pt x="16" y="52"/>
                        </a:lnTo>
                        <a:lnTo>
                          <a:pt x="11" y="50"/>
                        </a:lnTo>
                        <a:lnTo>
                          <a:pt x="8" y="50"/>
                        </a:lnTo>
                        <a:lnTo>
                          <a:pt x="5" y="52"/>
                        </a:lnTo>
                        <a:lnTo>
                          <a:pt x="3" y="42"/>
                        </a:lnTo>
                        <a:lnTo>
                          <a:pt x="1" y="43"/>
                        </a:lnTo>
                        <a:lnTo>
                          <a:pt x="0" y="42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48" name="Google Shape;3003;p98">
                    <a:extLst>
                      <a:ext uri="{FF2B5EF4-FFF2-40B4-BE49-F238E27FC236}">
                        <a16:creationId xmlns:a16="http://schemas.microsoft.com/office/drawing/2014/main" id="{3AA0A783-C292-B3DA-FE83-04A3A81ADD11}"/>
                      </a:ext>
                    </a:extLst>
                  </p:cNvPr>
                  <p:cNvSpPr/>
                  <p:nvPr/>
                </p:nvSpPr>
                <p:spPr>
                  <a:xfrm>
                    <a:off x="7086060" y="2956363"/>
                    <a:ext cx="97392" cy="12139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1" h="232" extrusionOk="0">
                        <a:moveTo>
                          <a:pt x="2" y="171"/>
                        </a:moveTo>
                        <a:lnTo>
                          <a:pt x="70" y="152"/>
                        </a:lnTo>
                        <a:lnTo>
                          <a:pt x="73" y="104"/>
                        </a:lnTo>
                        <a:lnTo>
                          <a:pt x="68" y="88"/>
                        </a:lnTo>
                        <a:lnTo>
                          <a:pt x="88" y="29"/>
                        </a:lnTo>
                        <a:lnTo>
                          <a:pt x="93" y="29"/>
                        </a:lnTo>
                        <a:lnTo>
                          <a:pt x="95" y="41"/>
                        </a:lnTo>
                        <a:lnTo>
                          <a:pt x="103" y="51"/>
                        </a:lnTo>
                        <a:lnTo>
                          <a:pt x="103" y="54"/>
                        </a:lnTo>
                        <a:lnTo>
                          <a:pt x="117" y="64"/>
                        </a:lnTo>
                        <a:lnTo>
                          <a:pt x="123" y="66"/>
                        </a:lnTo>
                        <a:lnTo>
                          <a:pt x="127" y="64"/>
                        </a:lnTo>
                        <a:lnTo>
                          <a:pt x="132" y="64"/>
                        </a:lnTo>
                        <a:lnTo>
                          <a:pt x="141" y="66"/>
                        </a:lnTo>
                        <a:lnTo>
                          <a:pt x="148" y="64"/>
                        </a:lnTo>
                        <a:lnTo>
                          <a:pt x="151" y="64"/>
                        </a:lnTo>
                        <a:lnTo>
                          <a:pt x="158" y="73"/>
                        </a:lnTo>
                        <a:lnTo>
                          <a:pt x="160" y="79"/>
                        </a:lnTo>
                        <a:lnTo>
                          <a:pt x="163" y="83"/>
                        </a:lnTo>
                        <a:lnTo>
                          <a:pt x="166" y="86"/>
                        </a:lnTo>
                        <a:lnTo>
                          <a:pt x="175" y="93"/>
                        </a:lnTo>
                        <a:lnTo>
                          <a:pt x="180" y="93"/>
                        </a:lnTo>
                        <a:lnTo>
                          <a:pt x="181" y="94"/>
                        </a:lnTo>
                        <a:lnTo>
                          <a:pt x="181" y="99"/>
                        </a:lnTo>
                        <a:lnTo>
                          <a:pt x="178" y="104"/>
                        </a:lnTo>
                        <a:lnTo>
                          <a:pt x="178" y="108"/>
                        </a:lnTo>
                        <a:lnTo>
                          <a:pt x="178" y="111"/>
                        </a:lnTo>
                        <a:lnTo>
                          <a:pt x="168" y="123"/>
                        </a:lnTo>
                        <a:lnTo>
                          <a:pt x="163" y="127"/>
                        </a:lnTo>
                        <a:lnTo>
                          <a:pt x="160" y="132"/>
                        </a:lnTo>
                        <a:lnTo>
                          <a:pt x="156" y="136"/>
                        </a:lnTo>
                        <a:lnTo>
                          <a:pt x="155" y="144"/>
                        </a:lnTo>
                        <a:lnTo>
                          <a:pt x="151" y="142"/>
                        </a:lnTo>
                        <a:lnTo>
                          <a:pt x="148" y="142"/>
                        </a:lnTo>
                        <a:lnTo>
                          <a:pt x="150" y="139"/>
                        </a:lnTo>
                        <a:lnTo>
                          <a:pt x="150" y="137"/>
                        </a:lnTo>
                        <a:lnTo>
                          <a:pt x="148" y="137"/>
                        </a:lnTo>
                        <a:lnTo>
                          <a:pt x="146" y="139"/>
                        </a:lnTo>
                        <a:lnTo>
                          <a:pt x="143" y="142"/>
                        </a:lnTo>
                        <a:lnTo>
                          <a:pt x="141" y="144"/>
                        </a:lnTo>
                        <a:lnTo>
                          <a:pt x="143" y="146"/>
                        </a:lnTo>
                        <a:lnTo>
                          <a:pt x="141" y="147"/>
                        </a:lnTo>
                        <a:lnTo>
                          <a:pt x="137" y="154"/>
                        </a:lnTo>
                        <a:lnTo>
                          <a:pt x="137" y="157"/>
                        </a:lnTo>
                        <a:lnTo>
                          <a:pt x="135" y="161"/>
                        </a:lnTo>
                        <a:lnTo>
                          <a:pt x="137" y="161"/>
                        </a:lnTo>
                        <a:lnTo>
                          <a:pt x="138" y="166"/>
                        </a:lnTo>
                        <a:lnTo>
                          <a:pt x="137" y="166"/>
                        </a:lnTo>
                        <a:lnTo>
                          <a:pt x="140" y="174"/>
                        </a:lnTo>
                        <a:lnTo>
                          <a:pt x="141" y="176"/>
                        </a:lnTo>
                        <a:lnTo>
                          <a:pt x="141" y="177"/>
                        </a:lnTo>
                        <a:lnTo>
                          <a:pt x="130" y="179"/>
                        </a:lnTo>
                        <a:lnTo>
                          <a:pt x="127" y="181"/>
                        </a:lnTo>
                        <a:lnTo>
                          <a:pt x="123" y="179"/>
                        </a:lnTo>
                        <a:lnTo>
                          <a:pt x="118" y="179"/>
                        </a:lnTo>
                        <a:lnTo>
                          <a:pt x="108" y="189"/>
                        </a:lnTo>
                        <a:lnTo>
                          <a:pt x="108" y="196"/>
                        </a:lnTo>
                        <a:lnTo>
                          <a:pt x="107" y="197"/>
                        </a:lnTo>
                        <a:lnTo>
                          <a:pt x="102" y="202"/>
                        </a:lnTo>
                        <a:lnTo>
                          <a:pt x="100" y="201"/>
                        </a:lnTo>
                        <a:lnTo>
                          <a:pt x="93" y="202"/>
                        </a:lnTo>
                        <a:lnTo>
                          <a:pt x="85" y="202"/>
                        </a:lnTo>
                        <a:lnTo>
                          <a:pt x="83" y="204"/>
                        </a:lnTo>
                        <a:lnTo>
                          <a:pt x="80" y="207"/>
                        </a:lnTo>
                        <a:lnTo>
                          <a:pt x="80" y="209"/>
                        </a:lnTo>
                        <a:lnTo>
                          <a:pt x="80" y="212"/>
                        </a:lnTo>
                        <a:lnTo>
                          <a:pt x="82" y="212"/>
                        </a:lnTo>
                        <a:lnTo>
                          <a:pt x="82" y="216"/>
                        </a:lnTo>
                        <a:lnTo>
                          <a:pt x="80" y="216"/>
                        </a:lnTo>
                        <a:lnTo>
                          <a:pt x="80" y="217"/>
                        </a:lnTo>
                        <a:lnTo>
                          <a:pt x="75" y="224"/>
                        </a:lnTo>
                        <a:lnTo>
                          <a:pt x="72" y="225"/>
                        </a:lnTo>
                        <a:lnTo>
                          <a:pt x="68" y="222"/>
                        </a:lnTo>
                        <a:lnTo>
                          <a:pt x="63" y="224"/>
                        </a:lnTo>
                        <a:lnTo>
                          <a:pt x="58" y="224"/>
                        </a:lnTo>
                        <a:lnTo>
                          <a:pt x="50" y="227"/>
                        </a:lnTo>
                        <a:lnTo>
                          <a:pt x="45" y="227"/>
                        </a:lnTo>
                        <a:lnTo>
                          <a:pt x="42" y="232"/>
                        </a:lnTo>
                        <a:lnTo>
                          <a:pt x="37" y="232"/>
                        </a:lnTo>
                        <a:lnTo>
                          <a:pt x="35" y="230"/>
                        </a:lnTo>
                        <a:lnTo>
                          <a:pt x="32" y="232"/>
                        </a:lnTo>
                        <a:lnTo>
                          <a:pt x="19" y="217"/>
                        </a:lnTo>
                        <a:lnTo>
                          <a:pt x="22" y="207"/>
                        </a:lnTo>
                        <a:lnTo>
                          <a:pt x="0" y="182"/>
                        </a:lnTo>
                        <a:lnTo>
                          <a:pt x="2" y="171"/>
                        </a:lnTo>
                        <a:lnTo>
                          <a:pt x="2" y="171"/>
                        </a:lnTo>
                        <a:close/>
                        <a:moveTo>
                          <a:pt x="88" y="20"/>
                        </a:moveTo>
                        <a:lnTo>
                          <a:pt x="88" y="16"/>
                        </a:lnTo>
                        <a:lnTo>
                          <a:pt x="90" y="13"/>
                        </a:lnTo>
                        <a:lnTo>
                          <a:pt x="92" y="6"/>
                        </a:lnTo>
                        <a:lnTo>
                          <a:pt x="90" y="6"/>
                        </a:lnTo>
                        <a:lnTo>
                          <a:pt x="92" y="5"/>
                        </a:lnTo>
                        <a:lnTo>
                          <a:pt x="90" y="3"/>
                        </a:lnTo>
                        <a:lnTo>
                          <a:pt x="92" y="1"/>
                        </a:lnTo>
                        <a:lnTo>
                          <a:pt x="92" y="1"/>
                        </a:lnTo>
                        <a:lnTo>
                          <a:pt x="92" y="0"/>
                        </a:lnTo>
                        <a:lnTo>
                          <a:pt x="90" y="1"/>
                        </a:lnTo>
                        <a:lnTo>
                          <a:pt x="87" y="1"/>
                        </a:lnTo>
                        <a:lnTo>
                          <a:pt x="87" y="6"/>
                        </a:lnTo>
                        <a:lnTo>
                          <a:pt x="85" y="8"/>
                        </a:lnTo>
                        <a:lnTo>
                          <a:pt x="83" y="6"/>
                        </a:lnTo>
                        <a:lnTo>
                          <a:pt x="83" y="8"/>
                        </a:lnTo>
                        <a:lnTo>
                          <a:pt x="83" y="11"/>
                        </a:lnTo>
                        <a:lnTo>
                          <a:pt x="85" y="11"/>
                        </a:lnTo>
                        <a:lnTo>
                          <a:pt x="87" y="20"/>
                        </a:lnTo>
                        <a:lnTo>
                          <a:pt x="88" y="20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49" name="Google Shape;3004;p98">
                    <a:extLst>
                      <a:ext uri="{FF2B5EF4-FFF2-40B4-BE49-F238E27FC236}">
                        <a16:creationId xmlns:a16="http://schemas.microsoft.com/office/drawing/2014/main" id="{070E4A75-CEB0-65CD-424B-0A63C0C66119}"/>
                      </a:ext>
                    </a:extLst>
                  </p:cNvPr>
                  <p:cNvSpPr/>
                  <p:nvPr/>
                </p:nvSpPr>
                <p:spPr>
                  <a:xfrm>
                    <a:off x="6965122" y="3045595"/>
                    <a:ext cx="157326" cy="8508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94" h="164" extrusionOk="0">
                        <a:moveTo>
                          <a:pt x="4" y="63"/>
                        </a:moveTo>
                        <a:lnTo>
                          <a:pt x="7" y="63"/>
                        </a:lnTo>
                        <a:lnTo>
                          <a:pt x="12" y="64"/>
                        </a:lnTo>
                        <a:lnTo>
                          <a:pt x="14" y="59"/>
                        </a:lnTo>
                        <a:lnTo>
                          <a:pt x="20" y="56"/>
                        </a:lnTo>
                        <a:lnTo>
                          <a:pt x="15" y="50"/>
                        </a:lnTo>
                        <a:lnTo>
                          <a:pt x="19" y="38"/>
                        </a:lnTo>
                        <a:lnTo>
                          <a:pt x="25" y="36"/>
                        </a:lnTo>
                        <a:lnTo>
                          <a:pt x="34" y="41"/>
                        </a:lnTo>
                        <a:lnTo>
                          <a:pt x="49" y="41"/>
                        </a:lnTo>
                        <a:lnTo>
                          <a:pt x="69" y="50"/>
                        </a:lnTo>
                        <a:lnTo>
                          <a:pt x="90" y="59"/>
                        </a:lnTo>
                        <a:lnTo>
                          <a:pt x="92" y="79"/>
                        </a:lnTo>
                        <a:lnTo>
                          <a:pt x="135" y="25"/>
                        </a:lnTo>
                        <a:lnTo>
                          <a:pt x="228" y="0"/>
                        </a:lnTo>
                        <a:lnTo>
                          <a:pt x="226" y="11"/>
                        </a:lnTo>
                        <a:lnTo>
                          <a:pt x="248" y="36"/>
                        </a:lnTo>
                        <a:lnTo>
                          <a:pt x="245" y="46"/>
                        </a:lnTo>
                        <a:lnTo>
                          <a:pt x="258" y="61"/>
                        </a:lnTo>
                        <a:lnTo>
                          <a:pt x="253" y="61"/>
                        </a:lnTo>
                        <a:lnTo>
                          <a:pt x="245" y="64"/>
                        </a:lnTo>
                        <a:lnTo>
                          <a:pt x="236" y="73"/>
                        </a:lnTo>
                        <a:lnTo>
                          <a:pt x="235" y="78"/>
                        </a:lnTo>
                        <a:lnTo>
                          <a:pt x="236" y="79"/>
                        </a:lnTo>
                        <a:lnTo>
                          <a:pt x="236" y="81"/>
                        </a:lnTo>
                        <a:lnTo>
                          <a:pt x="238" y="84"/>
                        </a:lnTo>
                        <a:lnTo>
                          <a:pt x="226" y="86"/>
                        </a:lnTo>
                        <a:lnTo>
                          <a:pt x="221" y="89"/>
                        </a:lnTo>
                        <a:lnTo>
                          <a:pt x="213" y="94"/>
                        </a:lnTo>
                        <a:lnTo>
                          <a:pt x="198" y="96"/>
                        </a:lnTo>
                        <a:lnTo>
                          <a:pt x="195" y="99"/>
                        </a:lnTo>
                        <a:lnTo>
                          <a:pt x="168" y="106"/>
                        </a:lnTo>
                        <a:lnTo>
                          <a:pt x="167" y="106"/>
                        </a:lnTo>
                        <a:lnTo>
                          <a:pt x="162" y="108"/>
                        </a:lnTo>
                        <a:lnTo>
                          <a:pt x="157" y="116"/>
                        </a:lnTo>
                        <a:lnTo>
                          <a:pt x="150" y="121"/>
                        </a:lnTo>
                        <a:lnTo>
                          <a:pt x="147" y="121"/>
                        </a:lnTo>
                        <a:lnTo>
                          <a:pt x="145" y="119"/>
                        </a:lnTo>
                        <a:lnTo>
                          <a:pt x="142" y="121"/>
                        </a:lnTo>
                        <a:lnTo>
                          <a:pt x="138" y="123"/>
                        </a:lnTo>
                        <a:lnTo>
                          <a:pt x="135" y="119"/>
                        </a:lnTo>
                        <a:lnTo>
                          <a:pt x="132" y="119"/>
                        </a:lnTo>
                        <a:lnTo>
                          <a:pt x="123" y="126"/>
                        </a:lnTo>
                        <a:lnTo>
                          <a:pt x="123" y="129"/>
                        </a:lnTo>
                        <a:lnTo>
                          <a:pt x="120" y="131"/>
                        </a:lnTo>
                        <a:lnTo>
                          <a:pt x="110" y="131"/>
                        </a:lnTo>
                        <a:lnTo>
                          <a:pt x="98" y="136"/>
                        </a:lnTo>
                        <a:lnTo>
                          <a:pt x="93" y="134"/>
                        </a:lnTo>
                        <a:lnTo>
                          <a:pt x="93" y="133"/>
                        </a:lnTo>
                        <a:lnTo>
                          <a:pt x="85" y="133"/>
                        </a:lnTo>
                        <a:lnTo>
                          <a:pt x="85" y="133"/>
                        </a:lnTo>
                        <a:lnTo>
                          <a:pt x="82" y="133"/>
                        </a:lnTo>
                        <a:lnTo>
                          <a:pt x="78" y="133"/>
                        </a:lnTo>
                        <a:lnTo>
                          <a:pt x="72" y="136"/>
                        </a:lnTo>
                        <a:lnTo>
                          <a:pt x="69" y="143"/>
                        </a:lnTo>
                        <a:lnTo>
                          <a:pt x="67" y="143"/>
                        </a:lnTo>
                        <a:lnTo>
                          <a:pt x="62" y="148"/>
                        </a:lnTo>
                        <a:lnTo>
                          <a:pt x="57" y="149"/>
                        </a:lnTo>
                        <a:lnTo>
                          <a:pt x="55" y="148"/>
                        </a:lnTo>
                        <a:lnTo>
                          <a:pt x="50" y="148"/>
                        </a:lnTo>
                        <a:lnTo>
                          <a:pt x="45" y="151"/>
                        </a:lnTo>
                        <a:lnTo>
                          <a:pt x="42" y="152"/>
                        </a:lnTo>
                        <a:lnTo>
                          <a:pt x="35" y="151"/>
                        </a:lnTo>
                        <a:lnTo>
                          <a:pt x="34" y="151"/>
                        </a:lnTo>
                        <a:lnTo>
                          <a:pt x="29" y="152"/>
                        </a:lnTo>
                        <a:lnTo>
                          <a:pt x="27" y="149"/>
                        </a:lnTo>
                        <a:lnTo>
                          <a:pt x="25" y="143"/>
                        </a:lnTo>
                        <a:lnTo>
                          <a:pt x="20" y="138"/>
                        </a:lnTo>
                        <a:lnTo>
                          <a:pt x="17" y="133"/>
                        </a:lnTo>
                        <a:lnTo>
                          <a:pt x="20" y="131"/>
                        </a:lnTo>
                        <a:lnTo>
                          <a:pt x="20" y="124"/>
                        </a:lnTo>
                        <a:lnTo>
                          <a:pt x="14" y="119"/>
                        </a:lnTo>
                        <a:lnTo>
                          <a:pt x="10" y="99"/>
                        </a:lnTo>
                        <a:lnTo>
                          <a:pt x="5" y="93"/>
                        </a:lnTo>
                        <a:lnTo>
                          <a:pt x="4" y="89"/>
                        </a:lnTo>
                        <a:lnTo>
                          <a:pt x="2" y="89"/>
                        </a:lnTo>
                        <a:lnTo>
                          <a:pt x="0" y="86"/>
                        </a:lnTo>
                        <a:lnTo>
                          <a:pt x="4" y="86"/>
                        </a:lnTo>
                        <a:lnTo>
                          <a:pt x="4" y="84"/>
                        </a:lnTo>
                        <a:lnTo>
                          <a:pt x="7" y="84"/>
                        </a:lnTo>
                        <a:lnTo>
                          <a:pt x="7" y="78"/>
                        </a:lnTo>
                        <a:lnTo>
                          <a:pt x="5" y="66"/>
                        </a:lnTo>
                        <a:lnTo>
                          <a:pt x="4" y="63"/>
                        </a:lnTo>
                        <a:lnTo>
                          <a:pt x="4" y="63"/>
                        </a:lnTo>
                        <a:close/>
                        <a:moveTo>
                          <a:pt x="236" y="162"/>
                        </a:moveTo>
                        <a:lnTo>
                          <a:pt x="241" y="161"/>
                        </a:lnTo>
                        <a:lnTo>
                          <a:pt x="248" y="164"/>
                        </a:lnTo>
                        <a:lnTo>
                          <a:pt x="241" y="164"/>
                        </a:lnTo>
                        <a:lnTo>
                          <a:pt x="236" y="162"/>
                        </a:lnTo>
                        <a:lnTo>
                          <a:pt x="236" y="162"/>
                        </a:lnTo>
                        <a:close/>
                        <a:moveTo>
                          <a:pt x="266" y="156"/>
                        </a:moveTo>
                        <a:lnTo>
                          <a:pt x="268" y="154"/>
                        </a:lnTo>
                        <a:lnTo>
                          <a:pt x="269" y="151"/>
                        </a:lnTo>
                        <a:lnTo>
                          <a:pt x="271" y="149"/>
                        </a:lnTo>
                        <a:lnTo>
                          <a:pt x="274" y="149"/>
                        </a:lnTo>
                        <a:lnTo>
                          <a:pt x="276" y="152"/>
                        </a:lnTo>
                        <a:lnTo>
                          <a:pt x="279" y="152"/>
                        </a:lnTo>
                        <a:lnTo>
                          <a:pt x="283" y="151"/>
                        </a:lnTo>
                        <a:lnTo>
                          <a:pt x="288" y="151"/>
                        </a:lnTo>
                        <a:lnTo>
                          <a:pt x="291" y="152"/>
                        </a:lnTo>
                        <a:lnTo>
                          <a:pt x="294" y="152"/>
                        </a:lnTo>
                        <a:lnTo>
                          <a:pt x="294" y="154"/>
                        </a:lnTo>
                        <a:lnTo>
                          <a:pt x="293" y="156"/>
                        </a:lnTo>
                        <a:lnTo>
                          <a:pt x="289" y="157"/>
                        </a:lnTo>
                        <a:lnTo>
                          <a:pt x="284" y="159"/>
                        </a:lnTo>
                        <a:lnTo>
                          <a:pt x="276" y="161"/>
                        </a:lnTo>
                        <a:lnTo>
                          <a:pt x="271" y="159"/>
                        </a:lnTo>
                        <a:lnTo>
                          <a:pt x="269" y="157"/>
                        </a:lnTo>
                        <a:lnTo>
                          <a:pt x="266" y="156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50" name="Google Shape;3005;p98">
                    <a:extLst>
                      <a:ext uri="{FF2B5EF4-FFF2-40B4-BE49-F238E27FC236}">
                        <a16:creationId xmlns:a16="http://schemas.microsoft.com/office/drawing/2014/main" id="{D125D472-2B52-D2EF-27CA-CF57A3871C49}"/>
                      </a:ext>
                    </a:extLst>
                  </p:cNvPr>
                  <p:cNvSpPr/>
                  <p:nvPr/>
                </p:nvSpPr>
                <p:spPr>
                  <a:xfrm>
                    <a:off x="7819180" y="3028994"/>
                    <a:ext cx="29967" cy="2386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7" h="47" extrusionOk="0">
                        <a:moveTo>
                          <a:pt x="50" y="2"/>
                        </a:moveTo>
                        <a:lnTo>
                          <a:pt x="45" y="0"/>
                        </a:lnTo>
                        <a:lnTo>
                          <a:pt x="42" y="2"/>
                        </a:lnTo>
                        <a:lnTo>
                          <a:pt x="42" y="2"/>
                        </a:lnTo>
                        <a:lnTo>
                          <a:pt x="38" y="0"/>
                        </a:lnTo>
                        <a:lnTo>
                          <a:pt x="33" y="0"/>
                        </a:lnTo>
                        <a:lnTo>
                          <a:pt x="32" y="0"/>
                        </a:lnTo>
                        <a:lnTo>
                          <a:pt x="28" y="2"/>
                        </a:lnTo>
                        <a:lnTo>
                          <a:pt x="23" y="2"/>
                        </a:lnTo>
                        <a:lnTo>
                          <a:pt x="18" y="5"/>
                        </a:lnTo>
                        <a:lnTo>
                          <a:pt x="15" y="5"/>
                        </a:lnTo>
                        <a:lnTo>
                          <a:pt x="13" y="8"/>
                        </a:lnTo>
                        <a:lnTo>
                          <a:pt x="5" y="13"/>
                        </a:lnTo>
                        <a:lnTo>
                          <a:pt x="0" y="18"/>
                        </a:lnTo>
                        <a:lnTo>
                          <a:pt x="2" y="23"/>
                        </a:lnTo>
                        <a:lnTo>
                          <a:pt x="2" y="32"/>
                        </a:lnTo>
                        <a:lnTo>
                          <a:pt x="5" y="35"/>
                        </a:lnTo>
                        <a:lnTo>
                          <a:pt x="5" y="38"/>
                        </a:lnTo>
                        <a:lnTo>
                          <a:pt x="8" y="42"/>
                        </a:lnTo>
                        <a:lnTo>
                          <a:pt x="13" y="42"/>
                        </a:lnTo>
                        <a:lnTo>
                          <a:pt x="17" y="43"/>
                        </a:lnTo>
                        <a:lnTo>
                          <a:pt x="20" y="43"/>
                        </a:lnTo>
                        <a:lnTo>
                          <a:pt x="25" y="47"/>
                        </a:lnTo>
                        <a:lnTo>
                          <a:pt x="28" y="45"/>
                        </a:lnTo>
                        <a:lnTo>
                          <a:pt x="30" y="40"/>
                        </a:lnTo>
                        <a:lnTo>
                          <a:pt x="33" y="40"/>
                        </a:lnTo>
                        <a:lnTo>
                          <a:pt x="37" y="42"/>
                        </a:lnTo>
                        <a:lnTo>
                          <a:pt x="40" y="37"/>
                        </a:lnTo>
                        <a:lnTo>
                          <a:pt x="40" y="35"/>
                        </a:lnTo>
                        <a:lnTo>
                          <a:pt x="45" y="33"/>
                        </a:lnTo>
                        <a:lnTo>
                          <a:pt x="48" y="32"/>
                        </a:lnTo>
                        <a:lnTo>
                          <a:pt x="48" y="27"/>
                        </a:lnTo>
                        <a:lnTo>
                          <a:pt x="50" y="20"/>
                        </a:lnTo>
                        <a:lnTo>
                          <a:pt x="53" y="18"/>
                        </a:lnTo>
                        <a:lnTo>
                          <a:pt x="53" y="15"/>
                        </a:lnTo>
                        <a:lnTo>
                          <a:pt x="57" y="10"/>
                        </a:lnTo>
                        <a:lnTo>
                          <a:pt x="55" y="5"/>
                        </a:lnTo>
                        <a:lnTo>
                          <a:pt x="50" y="2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51" name="Google Shape;3006;p98">
                    <a:extLst>
                      <a:ext uri="{FF2B5EF4-FFF2-40B4-BE49-F238E27FC236}">
                        <a16:creationId xmlns:a16="http://schemas.microsoft.com/office/drawing/2014/main" id="{BF28BDA3-0F1B-5EDB-FBE4-A89CF234D55F}"/>
                      </a:ext>
                    </a:extLst>
                  </p:cNvPr>
                  <p:cNvSpPr/>
                  <p:nvPr/>
                </p:nvSpPr>
                <p:spPr>
                  <a:xfrm>
                    <a:off x="7250878" y="2506050"/>
                    <a:ext cx="795194" cy="52086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486" h="1005" extrusionOk="0">
                        <a:moveTo>
                          <a:pt x="1483" y="176"/>
                        </a:moveTo>
                        <a:lnTo>
                          <a:pt x="1481" y="174"/>
                        </a:lnTo>
                        <a:lnTo>
                          <a:pt x="1481" y="171"/>
                        </a:lnTo>
                        <a:lnTo>
                          <a:pt x="1476" y="166"/>
                        </a:lnTo>
                        <a:lnTo>
                          <a:pt x="1476" y="164"/>
                        </a:lnTo>
                        <a:lnTo>
                          <a:pt x="1478" y="163"/>
                        </a:lnTo>
                        <a:lnTo>
                          <a:pt x="1476" y="158"/>
                        </a:lnTo>
                        <a:lnTo>
                          <a:pt x="1475" y="156"/>
                        </a:lnTo>
                        <a:lnTo>
                          <a:pt x="1470" y="156"/>
                        </a:lnTo>
                        <a:lnTo>
                          <a:pt x="1468" y="154"/>
                        </a:lnTo>
                        <a:lnTo>
                          <a:pt x="1463" y="153"/>
                        </a:lnTo>
                        <a:lnTo>
                          <a:pt x="1461" y="154"/>
                        </a:lnTo>
                        <a:lnTo>
                          <a:pt x="1456" y="154"/>
                        </a:lnTo>
                        <a:lnTo>
                          <a:pt x="1455" y="158"/>
                        </a:lnTo>
                        <a:lnTo>
                          <a:pt x="1453" y="161"/>
                        </a:lnTo>
                        <a:lnTo>
                          <a:pt x="1451" y="161"/>
                        </a:lnTo>
                        <a:lnTo>
                          <a:pt x="1448" y="161"/>
                        </a:lnTo>
                        <a:lnTo>
                          <a:pt x="1448" y="166"/>
                        </a:lnTo>
                        <a:lnTo>
                          <a:pt x="1443" y="166"/>
                        </a:lnTo>
                        <a:lnTo>
                          <a:pt x="1440" y="166"/>
                        </a:lnTo>
                        <a:lnTo>
                          <a:pt x="1438" y="169"/>
                        </a:lnTo>
                        <a:lnTo>
                          <a:pt x="1438" y="173"/>
                        </a:lnTo>
                        <a:lnTo>
                          <a:pt x="1435" y="174"/>
                        </a:lnTo>
                        <a:lnTo>
                          <a:pt x="1433" y="179"/>
                        </a:lnTo>
                        <a:lnTo>
                          <a:pt x="1433" y="181"/>
                        </a:lnTo>
                        <a:lnTo>
                          <a:pt x="1431" y="183"/>
                        </a:lnTo>
                        <a:lnTo>
                          <a:pt x="1428" y="184"/>
                        </a:lnTo>
                        <a:lnTo>
                          <a:pt x="1421" y="186"/>
                        </a:lnTo>
                        <a:lnTo>
                          <a:pt x="1420" y="186"/>
                        </a:lnTo>
                        <a:lnTo>
                          <a:pt x="1415" y="186"/>
                        </a:lnTo>
                        <a:lnTo>
                          <a:pt x="1413" y="188"/>
                        </a:lnTo>
                        <a:lnTo>
                          <a:pt x="1412" y="189"/>
                        </a:lnTo>
                        <a:lnTo>
                          <a:pt x="1410" y="186"/>
                        </a:lnTo>
                        <a:lnTo>
                          <a:pt x="1407" y="183"/>
                        </a:lnTo>
                        <a:lnTo>
                          <a:pt x="1403" y="183"/>
                        </a:lnTo>
                        <a:lnTo>
                          <a:pt x="1400" y="184"/>
                        </a:lnTo>
                        <a:lnTo>
                          <a:pt x="1397" y="186"/>
                        </a:lnTo>
                        <a:lnTo>
                          <a:pt x="1395" y="184"/>
                        </a:lnTo>
                        <a:lnTo>
                          <a:pt x="1392" y="179"/>
                        </a:lnTo>
                        <a:lnTo>
                          <a:pt x="1390" y="178"/>
                        </a:lnTo>
                        <a:lnTo>
                          <a:pt x="1385" y="173"/>
                        </a:lnTo>
                        <a:lnTo>
                          <a:pt x="1385" y="169"/>
                        </a:lnTo>
                        <a:lnTo>
                          <a:pt x="1387" y="168"/>
                        </a:lnTo>
                        <a:lnTo>
                          <a:pt x="1387" y="164"/>
                        </a:lnTo>
                        <a:lnTo>
                          <a:pt x="1385" y="161"/>
                        </a:lnTo>
                        <a:lnTo>
                          <a:pt x="1385" y="158"/>
                        </a:lnTo>
                        <a:lnTo>
                          <a:pt x="1380" y="158"/>
                        </a:lnTo>
                        <a:lnTo>
                          <a:pt x="1380" y="154"/>
                        </a:lnTo>
                        <a:lnTo>
                          <a:pt x="1380" y="151"/>
                        </a:lnTo>
                        <a:lnTo>
                          <a:pt x="1382" y="149"/>
                        </a:lnTo>
                        <a:lnTo>
                          <a:pt x="1383" y="146"/>
                        </a:lnTo>
                        <a:lnTo>
                          <a:pt x="1380" y="146"/>
                        </a:lnTo>
                        <a:lnTo>
                          <a:pt x="1378" y="146"/>
                        </a:lnTo>
                        <a:lnTo>
                          <a:pt x="1377" y="148"/>
                        </a:lnTo>
                        <a:lnTo>
                          <a:pt x="1373" y="148"/>
                        </a:lnTo>
                        <a:lnTo>
                          <a:pt x="1370" y="148"/>
                        </a:lnTo>
                        <a:lnTo>
                          <a:pt x="1367" y="148"/>
                        </a:lnTo>
                        <a:lnTo>
                          <a:pt x="1365" y="146"/>
                        </a:lnTo>
                        <a:lnTo>
                          <a:pt x="1363" y="146"/>
                        </a:lnTo>
                        <a:lnTo>
                          <a:pt x="1362" y="144"/>
                        </a:lnTo>
                        <a:lnTo>
                          <a:pt x="1357" y="143"/>
                        </a:lnTo>
                        <a:lnTo>
                          <a:pt x="1355" y="141"/>
                        </a:lnTo>
                        <a:lnTo>
                          <a:pt x="1353" y="138"/>
                        </a:lnTo>
                        <a:lnTo>
                          <a:pt x="1352" y="138"/>
                        </a:lnTo>
                        <a:lnTo>
                          <a:pt x="1350" y="136"/>
                        </a:lnTo>
                        <a:lnTo>
                          <a:pt x="1348" y="134"/>
                        </a:lnTo>
                        <a:lnTo>
                          <a:pt x="1347" y="134"/>
                        </a:lnTo>
                        <a:lnTo>
                          <a:pt x="1343" y="131"/>
                        </a:lnTo>
                        <a:lnTo>
                          <a:pt x="1343" y="129"/>
                        </a:lnTo>
                        <a:lnTo>
                          <a:pt x="1342" y="128"/>
                        </a:lnTo>
                        <a:lnTo>
                          <a:pt x="1338" y="128"/>
                        </a:lnTo>
                        <a:lnTo>
                          <a:pt x="1337" y="131"/>
                        </a:lnTo>
                        <a:lnTo>
                          <a:pt x="1335" y="129"/>
                        </a:lnTo>
                        <a:lnTo>
                          <a:pt x="1332" y="131"/>
                        </a:lnTo>
                        <a:lnTo>
                          <a:pt x="1332" y="133"/>
                        </a:lnTo>
                        <a:lnTo>
                          <a:pt x="1328" y="131"/>
                        </a:lnTo>
                        <a:lnTo>
                          <a:pt x="1327" y="129"/>
                        </a:lnTo>
                        <a:lnTo>
                          <a:pt x="1325" y="128"/>
                        </a:lnTo>
                        <a:lnTo>
                          <a:pt x="1320" y="128"/>
                        </a:lnTo>
                        <a:lnTo>
                          <a:pt x="1319" y="126"/>
                        </a:lnTo>
                        <a:lnTo>
                          <a:pt x="1320" y="124"/>
                        </a:lnTo>
                        <a:lnTo>
                          <a:pt x="1320" y="123"/>
                        </a:lnTo>
                        <a:lnTo>
                          <a:pt x="1317" y="123"/>
                        </a:lnTo>
                        <a:lnTo>
                          <a:pt x="1314" y="124"/>
                        </a:lnTo>
                        <a:lnTo>
                          <a:pt x="1309" y="124"/>
                        </a:lnTo>
                        <a:lnTo>
                          <a:pt x="1307" y="124"/>
                        </a:lnTo>
                        <a:lnTo>
                          <a:pt x="1305" y="124"/>
                        </a:lnTo>
                        <a:lnTo>
                          <a:pt x="1302" y="124"/>
                        </a:lnTo>
                        <a:lnTo>
                          <a:pt x="1299" y="124"/>
                        </a:lnTo>
                        <a:lnTo>
                          <a:pt x="1297" y="121"/>
                        </a:lnTo>
                        <a:lnTo>
                          <a:pt x="1294" y="119"/>
                        </a:lnTo>
                        <a:lnTo>
                          <a:pt x="1287" y="114"/>
                        </a:lnTo>
                        <a:lnTo>
                          <a:pt x="1285" y="111"/>
                        </a:lnTo>
                        <a:lnTo>
                          <a:pt x="1285" y="108"/>
                        </a:lnTo>
                        <a:lnTo>
                          <a:pt x="1285" y="105"/>
                        </a:lnTo>
                        <a:lnTo>
                          <a:pt x="1282" y="103"/>
                        </a:lnTo>
                        <a:lnTo>
                          <a:pt x="1279" y="103"/>
                        </a:lnTo>
                        <a:lnTo>
                          <a:pt x="1279" y="98"/>
                        </a:lnTo>
                        <a:lnTo>
                          <a:pt x="1277" y="96"/>
                        </a:lnTo>
                        <a:lnTo>
                          <a:pt x="1277" y="91"/>
                        </a:lnTo>
                        <a:lnTo>
                          <a:pt x="1275" y="88"/>
                        </a:lnTo>
                        <a:lnTo>
                          <a:pt x="1265" y="83"/>
                        </a:lnTo>
                        <a:lnTo>
                          <a:pt x="1262" y="78"/>
                        </a:lnTo>
                        <a:lnTo>
                          <a:pt x="1260" y="75"/>
                        </a:lnTo>
                        <a:lnTo>
                          <a:pt x="1259" y="71"/>
                        </a:lnTo>
                        <a:lnTo>
                          <a:pt x="1255" y="73"/>
                        </a:lnTo>
                        <a:lnTo>
                          <a:pt x="1255" y="71"/>
                        </a:lnTo>
                        <a:lnTo>
                          <a:pt x="1255" y="70"/>
                        </a:lnTo>
                        <a:lnTo>
                          <a:pt x="1255" y="66"/>
                        </a:lnTo>
                        <a:lnTo>
                          <a:pt x="1252" y="65"/>
                        </a:lnTo>
                        <a:lnTo>
                          <a:pt x="1250" y="61"/>
                        </a:lnTo>
                        <a:lnTo>
                          <a:pt x="1249" y="60"/>
                        </a:lnTo>
                        <a:lnTo>
                          <a:pt x="1247" y="56"/>
                        </a:lnTo>
                        <a:lnTo>
                          <a:pt x="1244" y="53"/>
                        </a:lnTo>
                        <a:lnTo>
                          <a:pt x="1242" y="50"/>
                        </a:lnTo>
                        <a:lnTo>
                          <a:pt x="1237" y="46"/>
                        </a:lnTo>
                        <a:lnTo>
                          <a:pt x="1237" y="45"/>
                        </a:lnTo>
                        <a:lnTo>
                          <a:pt x="1239" y="41"/>
                        </a:lnTo>
                        <a:lnTo>
                          <a:pt x="1237" y="40"/>
                        </a:lnTo>
                        <a:lnTo>
                          <a:pt x="1230" y="40"/>
                        </a:lnTo>
                        <a:lnTo>
                          <a:pt x="1230" y="38"/>
                        </a:lnTo>
                        <a:lnTo>
                          <a:pt x="1230" y="35"/>
                        </a:lnTo>
                        <a:lnTo>
                          <a:pt x="1229" y="33"/>
                        </a:lnTo>
                        <a:lnTo>
                          <a:pt x="1229" y="30"/>
                        </a:lnTo>
                        <a:lnTo>
                          <a:pt x="1227" y="26"/>
                        </a:lnTo>
                        <a:lnTo>
                          <a:pt x="1224" y="26"/>
                        </a:lnTo>
                        <a:lnTo>
                          <a:pt x="1224" y="25"/>
                        </a:lnTo>
                        <a:lnTo>
                          <a:pt x="1222" y="23"/>
                        </a:lnTo>
                        <a:lnTo>
                          <a:pt x="1221" y="23"/>
                        </a:lnTo>
                        <a:lnTo>
                          <a:pt x="1217" y="21"/>
                        </a:lnTo>
                        <a:lnTo>
                          <a:pt x="1216" y="20"/>
                        </a:lnTo>
                        <a:lnTo>
                          <a:pt x="1217" y="18"/>
                        </a:lnTo>
                        <a:lnTo>
                          <a:pt x="1216" y="16"/>
                        </a:lnTo>
                        <a:lnTo>
                          <a:pt x="1212" y="15"/>
                        </a:lnTo>
                        <a:lnTo>
                          <a:pt x="1211" y="16"/>
                        </a:lnTo>
                        <a:lnTo>
                          <a:pt x="1209" y="15"/>
                        </a:lnTo>
                        <a:lnTo>
                          <a:pt x="1206" y="15"/>
                        </a:lnTo>
                        <a:lnTo>
                          <a:pt x="1206" y="13"/>
                        </a:lnTo>
                        <a:lnTo>
                          <a:pt x="1206" y="12"/>
                        </a:lnTo>
                        <a:lnTo>
                          <a:pt x="1204" y="8"/>
                        </a:lnTo>
                        <a:lnTo>
                          <a:pt x="1201" y="8"/>
                        </a:lnTo>
                        <a:lnTo>
                          <a:pt x="1199" y="8"/>
                        </a:lnTo>
                        <a:lnTo>
                          <a:pt x="1197" y="5"/>
                        </a:lnTo>
                        <a:lnTo>
                          <a:pt x="1194" y="7"/>
                        </a:lnTo>
                        <a:lnTo>
                          <a:pt x="1191" y="7"/>
                        </a:lnTo>
                        <a:lnTo>
                          <a:pt x="1189" y="5"/>
                        </a:lnTo>
                        <a:lnTo>
                          <a:pt x="1187" y="7"/>
                        </a:lnTo>
                        <a:lnTo>
                          <a:pt x="1187" y="10"/>
                        </a:lnTo>
                        <a:lnTo>
                          <a:pt x="1186" y="10"/>
                        </a:lnTo>
                        <a:lnTo>
                          <a:pt x="1181" y="8"/>
                        </a:lnTo>
                        <a:lnTo>
                          <a:pt x="1179" y="7"/>
                        </a:lnTo>
                        <a:lnTo>
                          <a:pt x="1176" y="8"/>
                        </a:lnTo>
                        <a:lnTo>
                          <a:pt x="1171" y="8"/>
                        </a:lnTo>
                        <a:lnTo>
                          <a:pt x="1169" y="7"/>
                        </a:lnTo>
                        <a:lnTo>
                          <a:pt x="1167" y="3"/>
                        </a:lnTo>
                        <a:lnTo>
                          <a:pt x="1159" y="3"/>
                        </a:lnTo>
                        <a:lnTo>
                          <a:pt x="1156" y="0"/>
                        </a:lnTo>
                        <a:lnTo>
                          <a:pt x="1152" y="0"/>
                        </a:lnTo>
                        <a:lnTo>
                          <a:pt x="1149" y="0"/>
                        </a:lnTo>
                        <a:lnTo>
                          <a:pt x="1147" y="0"/>
                        </a:lnTo>
                        <a:lnTo>
                          <a:pt x="1141" y="2"/>
                        </a:lnTo>
                        <a:lnTo>
                          <a:pt x="1139" y="5"/>
                        </a:lnTo>
                        <a:lnTo>
                          <a:pt x="1137" y="5"/>
                        </a:lnTo>
                        <a:lnTo>
                          <a:pt x="1136" y="7"/>
                        </a:lnTo>
                        <a:lnTo>
                          <a:pt x="1131" y="7"/>
                        </a:lnTo>
                        <a:lnTo>
                          <a:pt x="1127" y="7"/>
                        </a:lnTo>
                        <a:lnTo>
                          <a:pt x="1122" y="5"/>
                        </a:lnTo>
                        <a:lnTo>
                          <a:pt x="1119" y="8"/>
                        </a:lnTo>
                        <a:lnTo>
                          <a:pt x="1116" y="8"/>
                        </a:lnTo>
                        <a:lnTo>
                          <a:pt x="1113" y="12"/>
                        </a:lnTo>
                        <a:lnTo>
                          <a:pt x="1109" y="13"/>
                        </a:lnTo>
                        <a:lnTo>
                          <a:pt x="1106" y="13"/>
                        </a:lnTo>
                        <a:lnTo>
                          <a:pt x="1106" y="13"/>
                        </a:lnTo>
                        <a:lnTo>
                          <a:pt x="1103" y="13"/>
                        </a:lnTo>
                        <a:lnTo>
                          <a:pt x="1099" y="15"/>
                        </a:lnTo>
                        <a:lnTo>
                          <a:pt x="1093" y="15"/>
                        </a:lnTo>
                        <a:lnTo>
                          <a:pt x="1091" y="18"/>
                        </a:lnTo>
                        <a:lnTo>
                          <a:pt x="1091" y="20"/>
                        </a:lnTo>
                        <a:lnTo>
                          <a:pt x="1086" y="25"/>
                        </a:lnTo>
                        <a:lnTo>
                          <a:pt x="1086" y="28"/>
                        </a:lnTo>
                        <a:lnTo>
                          <a:pt x="1083" y="30"/>
                        </a:lnTo>
                        <a:lnTo>
                          <a:pt x="1083" y="33"/>
                        </a:lnTo>
                        <a:lnTo>
                          <a:pt x="1081" y="35"/>
                        </a:lnTo>
                        <a:lnTo>
                          <a:pt x="1081" y="40"/>
                        </a:lnTo>
                        <a:lnTo>
                          <a:pt x="1083" y="41"/>
                        </a:lnTo>
                        <a:lnTo>
                          <a:pt x="1086" y="41"/>
                        </a:lnTo>
                        <a:lnTo>
                          <a:pt x="1091" y="38"/>
                        </a:lnTo>
                        <a:lnTo>
                          <a:pt x="1094" y="38"/>
                        </a:lnTo>
                        <a:lnTo>
                          <a:pt x="1098" y="38"/>
                        </a:lnTo>
                        <a:lnTo>
                          <a:pt x="1101" y="43"/>
                        </a:lnTo>
                        <a:lnTo>
                          <a:pt x="1103" y="48"/>
                        </a:lnTo>
                        <a:lnTo>
                          <a:pt x="1106" y="50"/>
                        </a:lnTo>
                        <a:lnTo>
                          <a:pt x="1106" y="53"/>
                        </a:lnTo>
                        <a:lnTo>
                          <a:pt x="1108" y="56"/>
                        </a:lnTo>
                        <a:lnTo>
                          <a:pt x="1108" y="61"/>
                        </a:lnTo>
                        <a:lnTo>
                          <a:pt x="1104" y="63"/>
                        </a:lnTo>
                        <a:lnTo>
                          <a:pt x="1101" y="68"/>
                        </a:lnTo>
                        <a:lnTo>
                          <a:pt x="1099" y="73"/>
                        </a:lnTo>
                        <a:lnTo>
                          <a:pt x="1098" y="75"/>
                        </a:lnTo>
                        <a:lnTo>
                          <a:pt x="1094" y="80"/>
                        </a:lnTo>
                        <a:lnTo>
                          <a:pt x="1094" y="83"/>
                        </a:lnTo>
                        <a:lnTo>
                          <a:pt x="1096" y="86"/>
                        </a:lnTo>
                        <a:lnTo>
                          <a:pt x="1096" y="88"/>
                        </a:lnTo>
                        <a:lnTo>
                          <a:pt x="1096" y="93"/>
                        </a:lnTo>
                        <a:lnTo>
                          <a:pt x="1099" y="96"/>
                        </a:lnTo>
                        <a:lnTo>
                          <a:pt x="1099" y="100"/>
                        </a:lnTo>
                        <a:lnTo>
                          <a:pt x="1096" y="101"/>
                        </a:lnTo>
                        <a:lnTo>
                          <a:pt x="1094" y="105"/>
                        </a:lnTo>
                        <a:lnTo>
                          <a:pt x="1096" y="108"/>
                        </a:lnTo>
                        <a:lnTo>
                          <a:pt x="1096" y="114"/>
                        </a:lnTo>
                        <a:lnTo>
                          <a:pt x="1096" y="116"/>
                        </a:lnTo>
                        <a:lnTo>
                          <a:pt x="1096" y="123"/>
                        </a:lnTo>
                        <a:lnTo>
                          <a:pt x="1098" y="123"/>
                        </a:lnTo>
                        <a:lnTo>
                          <a:pt x="1099" y="124"/>
                        </a:lnTo>
                        <a:lnTo>
                          <a:pt x="1103" y="123"/>
                        </a:lnTo>
                        <a:lnTo>
                          <a:pt x="1104" y="124"/>
                        </a:lnTo>
                        <a:lnTo>
                          <a:pt x="1104" y="128"/>
                        </a:lnTo>
                        <a:lnTo>
                          <a:pt x="1103" y="133"/>
                        </a:lnTo>
                        <a:lnTo>
                          <a:pt x="1099" y="136"/>
                        </a:lnTo>
                        <a:lnTo>
                          <a:pt x="1091" y="138"/>
                        </a:lnTo>
                        <a:lnTo>
                          <a:pt x="1086" y="141"/>
                        </a:lnTo>
                        <a:lnTo>
                          <a:pt x="1074" y="151"/>
                        </a:lnTo>
                        <a:lnTo>
                          <a:pt x="1071" y="151"/>
                        </a:lnTo>
                        <a:lnTo>
                          <a:pt x="1068" y="148"/>
                        </a:lnTo>
                        <a:lnTo>
                          <a:pt x="1061" y="148"/>
                        </a:lnTo>
                        <a:lnTo>
                          <a:pt x="1056" y="148"/>
                        </a:lnTo>
                        <a:lnTo>
                          <a:pt x="1056" y="146"/>
                        </a:lnTo>
                        <a:lnTo>
                          <a:pt x="1051" y="146"/>
                        </a:lnTo>
                        <a:lnTo>
                          <a:pt x="1049" y="148"/>
                        </a:lnTo>
                        <a:lnTo>
                          <a:pt x="1049" y="148"/>
                        </a:lnTo>
                        <a:lnTo>
                          <a:pt x="1044" y="181"/>
                        </a:lnTo>
                        <a:lnTo>
                          <a:pt x="1046" y="189"/>
                        </a:lnTo>
                        <a:lnTo>
                          <a:pt x="1043" y="194"/>
                        </a:lnTo>
                        <a:lnTo>
                          <a:pt x="1044" y="199"/>
                        </a:lnTo>
                        <a:lnTo>
                          <a:pt x="1041" y="209"/>
                        </a:lnTo>
                        <a:lnTo>
                          <a:pt x="1044" y="216"/>
                        </a:lnTo>
                        <a:lnTo>
                          <a:pt x="1056" y="221"/>
                        </a:lnTo>
                        <a:lnTo>
                          <a:pt x="1064" y="216"/>
                        </a:lnTo>
                        <a:lnTo>
                          <a:pt x="1074" y="216"/>
                        </a:lnTo>
                        <a:lnTo>
                          <a:pt x="1084" y="217"/>
                        </a:lnTo>
                        <a:lnTo>
                          <a:pt x="1089" y="221"/>
                        </a:lnTo>
                        <a:lnTo>
                          <a:pt x="1094" y="212"/>
                        </a:lnTo>
                        <a:lnTo>
                          <a:pt x="1094" y="209"/>
                        </a:lnTo>
                        <a:lnTo>
                          <a:pt x="1094" y="204"/>
                        </a:lnTo>
                        <a:lnTo>
                          <a:pt x="1101" y="203"/>
                        </a:lnTo>
                        <a:lnTo>
                          <a:pt x="1104" y="201"/>
                        </a:lnTo>
                        <a:lnTo>
                          <a:pt x="1114" y="203"/>
                        </a:lnTo>
                        <a:lnTo>
                          <a:pt x="1121" y="209"/>
                        </a:lnTo>
                        <a:lnTo>
                          <a:pt x="1129" y="217"/>
                        </a:lnTo>
                        <a:lnTo>
                          <a:pt x="1136" y="226"/>
                        </a:lnTo>
                        <a:lnTo>
                          <a:pt x="1146" y="231"/>
                        </a:lnTo>
                        <a:lnTo>
                          <a:pt x="1146" y="234"/>
                        </a:lnTo>
                        <a:lnTo>
                          <a:pt x="1147" y="237"/>
                        </a:lnTo>
                        <a:lnTo>
                          <a:pt x="1147" y="242"/>
                        </a:lnTo>
                        <a:lnTo>
                          <a:pt x="1146" y="244"/>
                        </a:lnTo>
                        <a:lnTo>
                          <a:pt x="1146" y="247"/>
                        </a:lnTo>
                        <a:lnTo>
                          <a:pt x="1144" y="249"/>
                        </a:lnTo>
                        <a:lnTo>
                          <a:pt x="1139" y="249"/>
                        </a:lnTo>
                        <a:lnTo>
                          <a:pt x="1137" y="247"/>
                        </a:lnTo>
                        <a:lnTo>
                          <a:pt x="1132" y="247"/>
                        </a:lnTo>
                        <a:lnTo>
                          <a:pt x="1129" y="249"/>
                        </a:lnTo>
                        <a:lnTo>
                          <a:pt x="1122" y="247"/>
                        </a:lnTo>
                        <a:lnTo>
                          <a:pt x="1119" y="247"/>
                        </a:lnTo>
                        <a:lnTo>
                          <a:pt x="1114" y="252"/>
                        </a:lnTo>
                        <a:lnTo>
                          <a:pt x="1108" y="257"/>
                        </a:lnTo>
                        <a:lnTo>
                          <a:pt x="1104" y="261"/>
                        </a:lnTo>
                        <a:lnTo>
                          <a:pt x="1099" y="257"/>
                        </a:lnTo>
                        <a:lnTo>
                          <a:pt x="1098" y="257"/>
                        </a:lnTo>
                        <a:lnTo>
                          <a:pt x="1098" y="262"/>
                        </a:lnTo>
                        <a:lnTo>
                          <a:pt x="1096" y="264"/>
                        </a:lnTo>
                        <a:lnTo>
                          <a:pt x="1093" y="264"/>
                        </a:lnTo>
                        <a:lnTo>
                          <a:pt x="1089" y="264"/>
                        </a:lnTo>
                        <a:lnTo>
                          <a:pt x="1088" y="267"/>
                        </a:lnTo>
                        <a:lnTo>
                          <a:pt x="1084" y="272"/>
                        </a:lnTo>
                        <a:lnTo>
                          <a:pt x="1083" y="279"/>
                        </a:lnTo>
                        <a:lnTo>
                          <a:pt x="1083" y="284"/>
                        </a:lnTo>
                        <a:lnTo>
                          <a:pt x="1081" y="287"/>
                        </a:lnTo>
                        <a:lnTo>
                          <a:pt x="1074" y="287"/>
                        </a:lnTo>
                        <a:lnTo>
                          <a:pt x="1064" y="294"/>
                        </a:lnTo>
                        <a:lnTo>
                          <a:pt x="1059" y="294"/>
                        </a:lnTo>
                        <a:lnTo>
                          <a:pt x="1053" y="294"/>
                        </a:lnTo>
                        <a:lnTo>
                          <a:pt x="1049" y="296"/>
                        </a:lnTo>
                        <a:lnTo>
                          <a:pt x="1046" y="304"/>
                        </a:lnTo>
                        <a:lnTo>
                          <a:pt x="1041" y="307"/>
                        </a:lnTo>
                        <a:lnTo>
                          <a:pt x="1036" y="310"/>
                        </a:lnTo>
                        <a:lnTo>
                          <a:pt x="1033" y="314"/>
                        </a:lnTo>
                        <a:lnTo>
                          <a:pt x="1031" y="317"/>
                        </a:lnTo>
                        <a:lnTo>
                          <a:pt x="1028" y="317"/>
                        </a:lnTo>
                        <a:lnTo>
                          <a:pt x="1023" y="315"/>
                        </a:lnTo>
                        <a:lnTo>
                          <a:pt x="1018" y="314"/>
                        </a:lnTo>
                        <a:lnTo>
                          <a:pt x="1010" y="312"/>
                        </a:lnTo>
                        <a:lnTo>
                          <a:pt x="1005" y="307"/>
                        </a:lnTo>
                        <a:lnTo>
                          <a:pt x="998" y="307"/>
                        </a:lnTo>
                        <a:lnTo>
                          <a:pt x="988" y="309"/>
                        </a:lnTo>
                        <a:lnTo>
                          <a:pt x="983" y="314"/>
                        </a:lnTo>
                        <a:lnTo>
                          <a:pt x="980" y="317"/>
                        </a:lnTo>
                        <a:lnTo>
                          <a:pt x="980" y="327"/>
                        </a:lnTo>
                        <a:lnTo>
                          <a:pt x="980" y="332"/>
                        </a:lnTo>
                        <a:lnTo>
                          <a:pt x="980" y="335"/>
                        </a:lnTo>
                        <a:lnTo>
                          <a:pt x="990" y="342"/>
                        </a:lnTo>
                        <a:lnTo>
                          <a:pt x="1000" y="347"/>
                        </a:lnTo>
                        <a:lnTo>
                          <a:pt x="1000" y="350"/>
                        </a:lnTo>
                        <a:lnTo>
                          <a:pt x="998" y="354"/>
                        </a:lnTo>
                        <a:lnTo>
                          <a:pt x="995" y="359"/>
                        </a:lnTo>
                        <a:lnTo>
                          <a:pt x="985" y="369"/>
                        </a:lnTo>
                        <a:lnTo>
                          <a:pt x="978" y="379"/>
                        </a:lnTo>
                        <a:lnTo>
                          <a:pt x="975" y="385"/>
                        </a:lnTo>
                        <a:lnTo>
                          <a:pt x="970" y="385"/>
                        </a:lnTo>
                        <a:lnTo>
                          <a:pt x="963" y="389"/>
                        </a:lnTo>
                        <a:lnTo>
                          <a:pt x="956" y="389"/>
                        </a:lnTo>
                        <a:lnTo>
                          <a:pt x="950" y="392"/>
                        </a:lnTo>
                        <a:lnTo>
                          <a:pt x="943" y="397"/>
                        </a:lnTo>
                        <a:lnTo>
                          <a:pt x="936" y="397"/>
                        </a:lnTo>
                        <a:lnTo>
                          <a:pt x="926" y="399"/>
                        </a:lnTo>
                        <a:lnTo>
                          <a:pt x="920" y="400"/>
                        </a:lnTo>
                        <a:lnTo>
                          <a:pt x="912" y="402"/>
                        </a:lnTo>
                        <a:lnTo>
                          <a:pt x="895" y="407"/>
                        </a:lnTo>
                        <a:lnTo>
                          <a:pt x="882" y="412"/>
                        </a:lnTo>
                        <a:lnTo>
                          <a:pt x="875" y="418"/>
                        </a:lnTo>
                        <a:lnTo>
                          <a:pt x="863" y="427"/>
                        </a:lnTo>
                        <a:lnTo>
                          <a:pt x="860" y="430"/>
                        </a:lnTo>
                        <a:lnTo>
                          <a:pt x="853" y="430"/>
                        </a:lnTo>
                        <a:lnTo>
                          <a:pt x="847" y="427"/>
                        </a:lnTo>
                        <a:lnTo>
                          <a:pt x="847" y="425"/>
                        </a:lnTo>
                        <a:lnTo>
                          <a:pt x="845" y="422"/>
                        </a:lnTo>
                        <a:lnTo>
                          <a:pt x="835" y="425"/>
                        </a:lnTo>
                        <a:lnTo>
                          <a:pt x="827" y="425"/>
                        </a:lnTo>
                        <a:lnTo>
                          <a:pt x="819" y="422"/>
                        </a:lnTo>
                        <a:lnTo>
                          <a:pt x="812" y="422"/>
                        </a:lnTo>
                        <a:lnTo>
                          <a:pt x="797" y="415"/>
                        </a:lnTo>
                        <a:lnTo>
                          <a:pt x="780" y="410"/>
                        </a:lnTo>
                        <a:lnTo>
                          <a:pt x="774" y="402"/>
                        </a:lnTo>
                        <a:lnTo>
                          <a:pt x="767" y="402"/>
                        </a:lnTo>
                        <a:lnTo>
                          <a:pt x="749" y="400"/>
                        </a:lnTo>
                        <a:lnTo>
                          <a:pt x="734" y="400"/>
                        </a:lnTo>
                        <a:lnTo>
                          <a:pt x="730" y="400"/>
                        </a:lnTo>
                        <a:lnTo>
                          <a:pt x="727" y="402"/>
                        </a:lnTo>
                        <a:lnTo>
                          <a:pt x="727" y="404"/>
                        </a:lnTo>
                        <a:lnTo>
                          <a:pt x="719" y="407"/>
                        </a:lnTo>
                        <a:lnTo>
                          <a:pt x="707" y="407"/>
                        </a:lnTo>
                        <a:lnTo>
                          <a:pt x="687" y="407"/>
                        </a:lnTo>
                        <a:lnTo>
                          <a:pt x="672" y="407"/>
                        </a:lnTo>
                        <a:lnTo>
                          <a:pt x="661" y="407"/>
                        </a:lnTo>
                        <a:lnTo>
                          <a:pt x="651" y="407"/>
                        </a:lnTo>
                        <a:lnTo>
                          <a:pt x="646" y="408"/>
                        </a:lnTo>
                        <a:lnTo>
                          <a:pt x="642" y="407"/>
                        </a:lnTo>
                        <a:lnTo>
                          <a:pt x="637" y="397"/>
                        </a:lnTo>
                        <a:lnTo>
                          <a:pt x="634" y="392"/>
                        </a:lnTo>
                        <a:lnTo>
                          <a:pt x="629" y="385"/>
                        </a:lnTo>
                        <a:lnTo>
                          <a:pt x="626" y="380"/>
                        </a:lnTo>
                        <a:lnTo>
                          <a:pt x="623" y="375"/>
                        </a:lnTo>
                        <a:lnTo>
                          <a:pt x="623" y="372"/>
                        </a:lnTo>
                        <a:lnTo>
                          <a:pt x="619" y="369"/>
                        </a:lnTo>
                        <a:lnTo>
                          <a:pt x="616" y="367"/>
                        </a:lnTo>
                        <a:lnTo>
                          <a:pt x="613" y="367"/>
                        </a:lnTo>
                        <a:lnTo>
                          <a:pt x="613" y="364"/>
                        </a:lnTo>
                        <a:lnTo>
                          <a:pt x="611" y="360"/>
                        </a:lnTo>
                        <a:lnTo>
                          <a:pt x="609" y="360"/>
                        </a:lnTo>
                        <a:lnTo>
                          <a:pt x="608" y="360"/>
                        </a:lnTo>
                        <a:lnTo>
                          <a:pt x="601" y="360"/>
                        </a:lnTo>
                        <a:lnTo>
                          <a:pt x="594" y="357"/>
                        </a:lnTo>
                        <a:lnTo>
                          <a:pt x="586" y="352"/>
                        </a:lnTo>
                        <a:lnTo>
                          <a:pt x="583" y="350"/>
                        </a:lnTo>
                        <a:lnTo>
                          <a:pt x="581" y="350"/>
                        </a:lnTo>
                        <a:lnTo>
                          <a:pt x="576" y="350"/>
                        </a:lnTo>
                        <a:lnTo>
                          <a:pt x="574" y="347"/>
                        </a:lnTo>
                        <a:lnTo>
                          <a:pt x="566" y="344"/>
                        </a:lnTo>
                        <a:lnTo>
                          <a:pt x="551" y="340"/>
                        </a:lnTo>
                        <a:lnTo>
                          <a:pt x="549" y="340"/>
                        </a:lnTo>
                        <a:lnTo>
                          <a:pt x="546" y="342"/>
                        </a:lnTo>
                        <a:lnTo>
                          <a:pt x="539" y="342"/>
                        </a:lnTo>
                        <a:lnTo>
                          <a:pt x="529" y="342"/>
                        </a:lnTo>
                        <a:lnTo>
                          <a:pt x="506" y="339"/>
                        </a:lnTo>
                        <a:lnTo>
                          <a:pt x="501" y="335"/>
                        </a:lnTo>
                        <a:lnTo>
                          <a:pt x="495" y="329"/>
                        </a:lnTo>
                        <a:lnTo>
                          <a:pt x="495" y="324"/>
                        </a:lnTo>
                        <a:lnTo>
                          <a:pt x="495" y="320"/>
                        </a:lnTo>
                        <a:lnTo>
                          <a:pt x="496" y="319"/>
                        </a:lnTo>
                        <a:lnTo>
                          <a:pt x="500" y="317"/>
                        </a:lnTo>
                        <a:lnTo>
                          <a:pt x="501" y="312"/>
                        </a:lnTo>
                        <a:lnTo>
                          <a:pt x="498" y="309"/>
                        </a:lnTo>
                        <a:lnTo>
                          <a:pt x="496" y="304"/>
                        </a:lnTo>
                        <a:lnTo>
                          <a:pt x="498" y="302"/>
                        </a:lnTo>
                        <a:lnTo>
                          <a:pt x="498" y="297"/>
                        </a:lnTo>
                        <a:lnTo>
                          <a:pt x="496" y="294"/>
                        </a:lnTo>
                        <a:lnTo>
                          <a:pt x="493" y="289"/>
                        </a:lnTo>
                        <a:lnTo>
                          <a:pt x="490" y="287"/>
                        </a:lnTo>
                        <a:lnTo>
                          <a:pt x="485" y="286"/>
                        </a:lnTo>
                        <a:lnTo>
                          <a:pt x="483" y="281"/>
                        </a:lnTo>
                        <a:lnTo>
                          <a:pt x="481" y="279"/>
                        </a:lnTo>
                        <a:lnTo>
                          <a:pt x="480" y="274"/>
                        </a:lnTo>
                        <a:lnTo>
                          <a:pt x="480" y="271"/>
                        </a:lnTo>
                        <a:lnTo>
                          <a:pt x="476" y="267"/>
                        </a:lnTo>
                        <a:lnTo>
                          <a:pt x="473" y="264"/>
                        </a:lnTo>
                        <a:lnTo>
                          <a:pt x="470" y="264"/>
                        </a:lnTo>
                        <a:lnTo>
                          <a:pt x="466" y="261"/>
                        </a:lnTo>
                        <a:lnTo>
                          <a:pt x="463" y="259"/>
                        </a:lnTo>
                        <a:lnTo>
                          <a:pt x="460" y="259"/>
                        </a:lnTo>
                        <a:lnTo>
                          <a:pt x="456" y="262"/>
                        </a:lnTo>
                        <a:lnTo>
                          <a:pt x="455" y="262"/>
                        </a:lnTo>
                        <a:lnTo>
                          <a:pt x="451" y="262"/>
                        </a:lnTo>
                        <a:lnTo>
                          <a:pt x="448" y="257"/>
                        </a:lnTo>
                        <a:lnTo>
                          <a:pt x="446" y="256"/>
                        </a:lnTo>
                        <a:lnTo>
                          <a:pt x="441" y="256"/>
                        </a:lnTo>
                        <a:lnTo>
                          <a:pt x="438" y="259"/>
                        </a:lnTo>
                        <a:lnTo>
                          <a:pt x="435" y="261"/>
                        </a:lnTo>
                        <a:lnTo>
                          <a:pt x="435" y="262"/>
                        </a:lnTo>
                        <a:lnTo>
                          <a:pt x="433" y="262"/>
                        </a:lnTo>
                        <a:lnTo>
                          <a:pt x="428" y="261"/>
                        </a:lnTo>
                        <a:lnTo>
                          <a:pt x="427" y="257"/>
                        </a:lnTo>
                        <a:lnTo>
                          <a:pt x="427" y="256"/>
                        </a:lnTo>
                        <a:lnTo>
                          <a:pt x="423" y="251"/>
                        </a:lnTo>
                        <a:lnTo>
                          <a:pt x="418" y="249"/>
                        </a:lnTo>
                        <a:lnTo>
                          <a:pt x="415" y="246"/>
                        </a:lnTo>
                        <a:lnTo>
                          <a:pt x="412" y="244"/>
                        </a:lnTo>
                        <a:lnTo>
                          <a:pt x="410" y="242"/>
                        </a:lnTo>
                        <a:lnTo>
                          <a:pt x="408" y="239"/>
                        </a:lnTo>
                        <a:lnTo>
                          <a:pt x="408" y="236"/>
                        </a:lnTo>
                        <a:lnTo>
                          <a:pt x="407" y="234"/>
                        </a:lnTo>
                        <a:lnTo>
                          <a:pt x="405" y="234"/>
                        </a:lnTo>
                        <a:lnTo>
                          <a:pt x="405" y="236"/>
                        </a:lnTo>
                        <a:lnTo>
                          <a:pt x="403" y="236"/>
                        </a:lnTo>
                        <a:lnTo>
                          <a:pt x="402" y="232"/>
                        </a:lnTo>
                        <a:lnTo>
                          <a:pt x="400" y="232"/>
                        </a:lnTo>
                        <a:lnTo>
                          <a:pt x="400" y="227"/>
                        </a:lnTo>
                        <a:lnTo>
                          <a:pt x="400" y="224"/>
                        </a:lnTo>
                        <a:lnTo>
                          <a:pt x="398" y="224"/>
                        </a:lnTo>
                        <a:lnTo>
                          <a:pt x="393" y="222"/>
                        </a:lnTo>
                        <a:lnTo>
                          <a:pt x="390" y="222"/>
                        </a:lnTo>
                        <a:lnTo>
                          <a:pt x="392" y="224"/>
                        </a:lnTo>
                        <a:lnTo>
                          <a:pt x="387" y="227"/>
                        </a:lnTo>
                        <a:lnTo>
                          <a:pt x="383" y="229"/>
                        </a:lnTo>
                        <a:lnTo>
                          <a:pt x="377" y="236"/>
                        </a:lnTo>
                        <a:lnTo>
                          <a:pt x="377" y="239"/>
                        </a:lnTo>
                        <a:lnTo>
                          <a:pt x="377" y="242"/>
                        </a:lnTo>
                        <a:lnTo>
                          <a:pt x="375" y="247"/>
                        </a:lnTo>
                        <a:lnTo>
                          <a:pt x="367" y="249"/>
                        </a:lnTo>
                        <a:lnTo>
                          <a:pt x="363" y="252"/>
                        </a:lnTo>
                        <a:lnTo>
                          <a:pt x="362" y="257"/>
                        </a:lnTo>
                        <a:lnTo>
                          <a:pt x="362" y="266"/>
                        </a:lnTo>
                        <a:lnTo>
                          <a:pt x="367" y="276"/>
                        </a:lnTo>
                        <a:lnTo>
                          <a:pt x="372" y="281"/>
                        </a:lnTo>
                        <a:lnTo>
                          <a:pt x="372" y="284"/>
                        </a:lnTo>
                        <a:lnTo>
                          <a:pt x="365" y="289"/>
                        </a:lnTo>
                        <a:lnTo>
                          <a:pt x="360" y="291"/>
                        </a:lnTo>
                        <a:lnTo>
                          <a:pt x="355" y="296"/>
                        </a:lnTo>
                        <a:lnTo>
                          <a:pt x="352" y="297"/>
                        </a:lnTo>
                        <a:lnTo>
                          <a:pt x="350" y="296"/>
                        </a:lnTo>
                        <a:lnTo>
                          <a:pt x="348" y="294"/>
                        </a:lnTo>
                        <a:lnTo>
                          <a:pt x="345" y="294"/>
                        </a:lnTo>
                        <a:lnTo>
                          <a:pt x="335" y="296"/>
                        </a:lnTo>
                        <a:lnTo>
                          <a:pt x="329" y="296"/>
                        </a:lnTo>
                        <a:lnTo>
                          <a:pt x="319" y="292"/>
                        </a:lnTo>
                        <a:lnTo>
                          <a:pt x="314" y="291"/>
                        </a:lnTo>
                        <a:lnTo>
                          <a:pt x="310" y="292"/>
                        </a:lnTo>
                        <a:lnTo>
                          <a:pt x="309" y="302"/>
                        </a:lnTo>
                        <a:lnTo>
                          <a:pt x="307" y="307"/>
                        </a:lnTo>
                        <a:lnTo>
                          <a:pt x="305" y="312"/>
                        </a:lnTo>
                        <a:lnTo>
                          <a:pt x="304" y="325"/>
                        </a:lnTo>
                        <a:lnTo>
                          <a:pt x="304" y="335"/>
                        </a:lnTo>
                        <a:lnTo>
                          <a:pt x="302" y="339"/>
                        </a:lnTo>
                        <a:lnTo>
                          <a:pt x="305" y="340"/>
                        </a:lnTo>
                        <a:lnTo>
                          <a:pt x="310" y="342"/>
                        </a:lnTo>
                        <a:lnTo>
                          <a:pt x="309" y="347"/>
                        </a:lnTo>
                        <a:lnTo>
                          <a:pt x="309" y="350"/>
                        </a:lnTo>
                        <a:lnTo>
                          <a:pt x="305" y="350"/>
                        </a:lnTo>
                        <a:lnTo>
                          <a:pt x="302" y="352"/>
                        </a:lnTo>
                        <a:lnTo>
                          <a:pt x="299" y="352"/>
                        </a:lnTo>
                        <a:lnTo>
                          <a:pt x="295" y="350"/>
                        </a:lnTo>
                        <a:lnTo>
                          <a:pt x="292" y="350"/>
                        </a:lnTo>
                        <a:lnTo>
                          <a:pt x="287" y="352"/>
                        </a:lnTo>
                        <a:lnTo>
                          <a:pt x="275" y="354"/>
                        </a:lnTo>
                        <a:lnTo>
                          <a:pt x="269" y="357"/>
                        </a:lnTo>
                        <a:lnTo>
                          <a:pt x="265" y="357"/>
                        </a:lnTo>
                        <a:lnTo>
                          <a:pt x="262" y="355"/>
                        </a:lnTo>
                        <a:lnTo>
                          <a:pt x="259" y="357"/>
                        </a:lnTo>
                        <a:lnTo>
                          <a:pt x="254" y="360"/>
                        </a:lnTo>
                        <a:lnTo>
                          <a:pt x="254" y="364"/>
                        </a:lnTo>
                        <a:lnTo>
                          <a:pt x="257" y="367"/>
                        </a:lnTo>
                        <a:lnTo>
                          <a:pt x="264" y="367"/>
                        </a:lnTo>
                        <a:lnTo>
                          <a:pt x="270" y="367"/>
                        </a:lnTo>
                        <a:lnTo>
                          <a:pt x="270" y="369"/>
                        </a:lnTo>
                        <a:lnTo>
                          <a:pt x="267" y="372"/>
                        </a:lnTo>
                        <a:lnTo>
                          <a:pt x="269" y="379"/>
                        </a:lnTo>
                        <a:lnTo>
                          <a:pt x="269" y="382"/>
                        </a:lnTo>
                        <a:lnTo>
                          <a:pt x="272" y="385"/>
                        </a:lnTo>
                        <a:lnTo>
                          <a:pt x="272" y="389"/>
                        </a:lnTo>
                        <a:lnTo>
                          <a:pt x="277" y="395"/>
                        </a:lnTo>
                        <a:lnTo>
                          <a:pt x="277" y="400"/>
                        </a:lnTo>
                        <a:lnTo>
                          <a:pt x="284" y="404"/>
                        </a:lnTo>
                        <a:lnTo>
                          <a:pt x="285" y="412"/>
                        </a:lnTo>
                        <a:lnTo>
                          <a:pt x="282" y="413"/>
                        </a:lnTo>
                        <a:lnTo>
                          <a:pt x="280" y="418"/>
                        </a:lnTo>
                        <a:lnTo>
                          <a:pt x="285" y="422"/>
                        </a:lnTo>
                        <a:lnTo>
                          <a:pt x="282" y="423"/>
                        </a:lnTo>
                        <a:lnTo>
                          <a:pt x="282" y="427"/>
                        </a:lnTo>
                        <a:lnTo>
                          <a:pt x="277" y="428"/>
                        </a:lnTo>
                        <a:lnTo>
                          <a:pt x="277" y="435"/>
                        </a:lnTo>
                        <a:lnTo>
                          <a:pt x="272" y="437"/>
                        </a:lnTo>
                        <a:lnTo>
                          <a:pt x="262" y="435"/>
                        </a:lnTo>
                        <a:lnTo>
                          <a:pt x="252" y="423"/>
                        </a:lnTo>
                        <a:lnTo>
                          <a:pt x="247" y="425"/>
                        </a:lnTo>
                        <a:lnTo>
                          <a:pt x="237" y="422"/>
                        </a:lnTo>
                        <a:lnTo>
                          <a:pt x="222" y="420"/>
                        </a:lnTo>
                        <a:lnTo>
                          <a:pt x="216" y="423"/>
                        </a:lnTo>
                        <a:lnTo>
                          <a:pt x="202" y="420"/>
                        </a:lnTo>
                        <a:lnTo>
                          <a:pt x="191" y="422"/>
                        </a:lnTo>
                        <a:lnTo>
                          <a:pt x="186" y="423"/>
                        </a:lnTo>
                        <a:lnTo>
                          <a:pt x="179" y="422"/>
                        </a:lnTo>
                        <a:lnTo>
                          <a:pt x="176" y="425"/>
                        </a:lnTo>
                        <a:lnTo>
                          <a:pt x="171" y="427"/>
                        </a:lnTo>
                        <a:lnTo>
                          <a:pt x="157" y="425"/>
                        </a:lnTo>
                        <a:lnTo>
                          <a:pt x="147" y="423"/>
                        </a:lnTo>
                        <a:lnTo>
                          <a:pt x="142" y="420"/>
                        </a:lnTo>
                        <a:lnTo>
                          <a:pt x="134" y="420"/>
                        </a:lnTo>
                        <a:lnTo>
                          <a:pt x="132" y="422"/>
                        </a:lnTo>
                        <a:lnTo>
                          <a:pt x="126" y="422"/>
                        </a:lnTo>
                        <a:lnTo>
                          <a:pt x="123" y="420"/>
                        </a:lnTo>
                        <a:lnTo>
                          <a:pt x="119" y="422"/>
                        </a:lnTo>
                        <a:lnTo>
                          <a:pt x="119" y="427"/>
                        </a:lnTo>
                        <a:lnTo>
                          <a:pt x="121" y="432"/>
                        </a:lnTo>
                        <a:lnTo>
                          <a:pt x="121" y="437"/>
                        </a:lnTo>
                        <a:lnTo>
                          <a:pt x="114" y="438"/>
                        </a:lnTo>
                        <a:lnTo>
                          <a:pt x="99" y="438"/>
                        </a:lnTo>
                        <a:lnTo>
                          <a:pt x="81" y="437"/>
                        </a:lnTo>
                        <a:lnTo>
                          <a:pt x="76" y="435"/>
                        </a:lnTo>
                        <a:lnTo>
                          <a:pt x="69" y="433"/>
                        </a:lnTo>
                        <a:lnTo>
                          <a:pt x="64" y="438"/>
                        </a:lnTo>
                        <a:lnTo>
                          <a:pt x="66" y="440"/>
                        </a:lnTo>
                        <a:lnTo>
                          <a:pt x="61" y="443"/>
                        </a:lnTo>
                        <a:lnTo>
                          <a:pt x="59" y="445"/>
                        </a:lnTo>
                        <a:lnTo>
                          <a:pt x="63" y="447"/>
                        </a:lnTo>
                        <a:lnTo>
                          <a:pt x="63" y="450"/>
                        </a:lnTo>
                        <a:lnTo>
                          <a:pt x="54" y="462"/>
                        </a:lnTo>
                        <a:lnTo>
                          <a:pt x="51" y="467"/>
                        </a:lnTo>
                        <a:lnTo>
                          <a:pt x="56" y="470"/>
                        </a:lnTo>
                        <a:lnTo>
                          <a:pt x="66" y="472"/>
                        </a:lnTo>
                        <a:lnTo>
                          <a:pt x="71" y="477"/>
                        </a:lnTo>
                        <a:lnTo>
                          <a:pt x="76" y="477"/>
                        </a:lnTo>
                        <a:lnTo>
                          <a:pt x="79" y="473"/>
                        </a:lnTo>
                        <a:lnTo>
                          <a:pt x="81" y="467"/>
                        </a:lnTo>
                        <a:lnTo>
                          <a:pt x="83" y="468"/>
                        </a:lnTo>
                        <a:lnTo>
                          <a:pt x="96" y="477"/>
                        </a:lnTo>
                        <a:lnTo>
                          <a:pt x="96" y="480"/>
                        </a:lnTo>
                        <a:lnTo>
                          <a:pt x="89" y="488"/>
                        </a:lnTo>
                        <a:lnTo>
                          <a:pt x="81" y="487"/>
                        </a:lnTo>
                        <a:lnTo>
                          <a:pt x="69" y="488"/>
                        </a:lnTo>
                        <a:lnTo>
                          <a:pt x="68" y="485"/>
                        </a:lnTo>
                        <a:lnTo>
                          <a:pt x="63" y="482"/>
                        </a:lnTo>
                        <a:lnTo>
                          <a:pt x="54" y="488"/>
                        </a:lnTo>
                        <a:lnTo>
                          <a:pt x="49" y="488"/>
                        </a:lnTo>
                        <a:lnTo>
                          <a:pt x="43" y="492"/>
                        </a:lnTo>
                        <a:lnTo>
                          <a:pt x="38" y="493"/>
                        </a:lnTo>
                        <a:lnTo>
                          <a:pt x="36" y="500"/>
                        </a:lnTo>
                        <a:lnTo>
                          <a:pt x="44" y="503"/>
                        </a:lnTo>
                        <a:lnTo>
                          <a:pt x="44" y="506"/>
                        </a:lnTo>
                        <a:lnTo>
                          <a:pt x="36" y="510"/>
                        </a:lnTo>
                        <a:lnTo>
                          <a:pt x="26" y="511"/>
                        </a:lnTo>
                        <a:lnTo>
                          <a:pt x="28" y="513"/>
                        </a:lnTo>
                        <a:lnTo>
                          <a:pt x="30" y="518"/>
                        </a:lnTo>
                        <a:lnTo>
                          <a:pt x="20" y="520"/>
                        </a:lnTo>
                        <a:lnTo>
                          <a:pt x="20" y="525"/>
                        </a:lnTo>
                        <a:lnTo>
                          <a:pt x="15" y="526"/>
                        </a:lnTo>
                        <a:lnTo>
                          <a:pt x="5" y="525"/>
                        </a:lnTo>
                        <a:lnTo>
                          <a:pt x="0" y="528"/>
                        </a:lnTo>
                        <a:lnTo>
                          <a:pt x="0" y="535"/>
                        </a:lnTo>
                        <a:lnTo>
                          <a:pt x="5" y="543"/>
                        </a:lnTo>
                        <a:lnTo>
                          <a:pt x="10" y="541"/>
                        </a:lnTo>
                        <a:lnTo>
                          <a:pt x="16" y="541"/>
                        </a:lnTo>
                        <a:lnTo>
                          <a:pt x="18" y="546"/>
                        </a:lnTo>
                        <a:lnTo>
                          <a:pt x="15" y="551"/>
                        </a:lnTo>
                        <a:lnTo>
                          <a:pt x="18" y="556"/>
                        </a:lnTo>
                        <a:lnTo>
                          <a:pt x="23" y="558"/>
                        </a:lnTo>
                        <a:lnTo>
                          <a:pt x="23" y="565"/>
                        </a:lnTo>
                        <a:lnTo>
                          <a:pt x="21" y="568"/>
                        </a:lnTo>
                        <a:lnTo>
                          <a:pt x="16" y="578"/>
                        </a:lnTo>
                        <a:lnTo>
                          <a:pt x="15" y="591"/>
                        </a:lnTo>
                        <a:lnTo>
                          <a:pt x="13" y="590"/>
                        </a:lnTo>
                        <a:lnTo>
                          <a:pt x="18" y="596"/>
                        </a:lnTo>
                        <a:lnTo>
                          <a:pt x="21" y="596"/>
                        </a:lnTo>
                        <a:lnTo>
                          <a:pt x="30" y="595"/>
                        </a:lnTo>
                        <a:lnTo>
                          <a:pt x="34" y="593"/>
                        </a:lnTo>
                        <a:lnTo>
                          <a:pt x="38" y="590"/>
                        </a:lnTo>
                        <a:lnTo>
                          <a:pt x="39" y="588"/>
                        </a:lnTo>
                        <a:lnTo>
                          <a:pt x="43" y="586"/>
                        </a:lnTo>
                        <a:lnTo>
                          <a:pt x="44" y="588"/>
                        </a:lnTo>
                        <a:lnTo>
                          <a:pt x="48" y="591"/>
                        </a:lnTo>
                        <a:lnTo>
                          <a:pt x="56" y="591"/>
                        </a:lnTo>
                        <a:lnTo>
                          <a:pt x="56" y="588"/>
                        </a:lnTo>
                        <a:lnTo>
                          <a:pt x="54" y="586"/>
                        </a:lnTo>
                        <a:lnTo>
                          <a:pt x="54" y="583"/>
                        </a:lnTo>
                        <a:lnTo>
                          <a:pt x="59" y="581"/>
                        </a:lnTo>
                        <a:lnTo>
                          <a:pt x="61" y="580"/>
                        </a:lnTo>
                        <a:lnTo>
                          <a:pt x="64" y="580"/>
                        </a:lnTo>
                        <a:lnTo>
                          <a:pt x="64" y="581"/>
                        </a:lnTo>
                        <a:lnTo>
                          <a:pt x="69" y="581"/>
                        </a:lnTo>
                        <a:lnTo>
                          <a:pt x="73" y="576"/>
                        </a:lnTo>
                        <a:lnTo>
                          <a:pt x="71" y="571"/>
                        </a:lnTo>
                        <a:lnTo>
                          <a:pt x="74" y="568"/>
                        </a:lnTo>
                        <a:lnTo>
                          <a:pt x="76" y="565"/>
                        </a:lnTo>
                        <a:lnTo>
                          <a:pt x="78" y="560"/>
                        </a:lnTo>
                        <a:lnTo>
                          <a:pt x="79" y="555"/>
                        </a:lnTo>
                        <a:lnTo>
                          <a:pt x="86" y="555"/>
                        </a:lnTo>
                        <a:lnTo>
                          <a:pt x="89" y="558"/>
                        </a:lnTo>
                        <a:lnTo>
                          <a:pt x="94" y="560"/>
                        </a:lnTo>
                        <a:lnTo>
                          <a:pt x="94" y="563"/>
                        </a:lnTo>
                        <a:lnTo>
                          <a:pt x="93" y="568"/>
                        </a:lnTo>
                        <a:lnTo>
                          <a:pt x="94" y="573"/>
                        </a:lnTo>
                        <a:lnTo>
                          <a:pt x="99" y="573"/>
                        </a:lnTo>
                        <a:lnTo>
                          <a:pt x="101" y="576"/>
                        </a:lnTo>
                        <a:lnTo>
                          <a:pt x="101" y="581"/>
                        </a:lnTo>
                        <a:lnTo>
                          <a:pt x="101" y="586"/>
                        </a:lnTo>
                        <a:lnTo>
                          <a:pt x="101" y="595"/>
                        </a:lnTo>
                        <a:lnTo>
                          <a:pt x="104" y="600"/>
                        </a:lnTo>
                        <a:lnTo>
                          <a:pt x="104" y="603"/>
                        </a:lnTo>
                        <a:lnTo>
                          <a:pt x="109" y="604"/>
                        </a:lnTo>
                        <a:lnTo>
                          <a:pt x="116" y="604"/>
                        </a:lnTo>
                        <a:lnTo>
                          <a:pt x="119" y="601"/>
                        </a:lnTo>
                        <a:lnTo>
                          <a:pt x="121" y="600"/>
                        </a:lnTo>
                        <a:lnTo>
                          <a:pt x="129" y="595"/>
                        </a:lnTo>
                        <a:lnTo>
                          <a:pt x="132" y="593"/>
                        </a:lnTo>
                        <a:lnTo>
                          <a:pt x="134" y="588"/>
                        </a:lnTo>
                        <a:lnTo>
                          <a:pt x="137" y="586"/>
                        </a:lnTo>
                        <a:lnTo>
                          <a:pt x="147" y="580"/>
                        </a:lnTo>
                        <a:lnTo>
                          <a:pt x="156" y="578"/>
                        </a:lnTo>
                        <a:lnTo>
                          <a:pt x="156" y="583"/>
                        </a:lnTo>
                        <a:lnTo>
                          <a:pt x="166" y="581"/>
                        </a:lnTo>
                        <a:lnTo>
                          <a:pt x="169" y="578"/>
                        </a:lnTo>
                        <a:lnTo>
                          <a:pt x="179" y="578"/>
                        </a:lnTo>
                        <a:lnTo>
                          <a:pt x="181" y="581"/>
                        </a:lnTo>
                        <a:lnTo>
                          <a:pt x="172" y="588"/>
                        </a:lnTo>
                        <a:lnTo>
                          <a:pt x="176" y="588"/>
                        </a:lnTo>
                        <a:lnTo>
                          <a:pt x="176" y="588"/>
                        </a:lnTo>
                        <a:lnTo>
                          <a:pt x="179" y="586"/>
                        </a:lnTo>
                        <a:lnTo>
                          <a:pt x="182" y="586"/>
                        </a:lnTo>
                        <a:lnTo>
                          <a:pt x="186" y="590"/>
                        </a:lnTo>
                        <a:lnTo>
                          <a:pt x="189" y="588"/>
                        </a:lnTo>
                        <a:lnTo>
                          <a:pt x="192" y="588"/>
                        </a:lnTo>
                        <a:lnTo>
                          <a:pt x="196" y="586"/>
                        </a:lnTo>
                        <a:lnTo>
                          <a:pt x="197" y="585"/>
                        </a:lnTo>
                        <a:lnTo>
                          <a:pt x="201" y="585"/>
                        </a:lnTo>
                        <a:lnTo>
                          <a:pt x="204" y="588"/>
                        </a:lnTo>
                        <a:lnTo>
                          <a:pt x="207" y="595"/>
                        </a:lnTo>
                        <a:lnTo>
                          <a:pt x="217" y="609"/>
                        </a:lnTo>
                        <a:lnTo>
                          <a:pt x="224" y="613"/>
                        </a:lnTo>
                        <a:lnTo>
                          <a:pt x="224" y="619"/>
                        </a:lnTo>
                        <a:lnTo>
                          <a:pt x="229" y="621"/>
                        </a:lnTo>
                        <a:lnTo>
                          <a:pt x="230" y="624"/>
                        </a:lnTo>
                        <a:lnTo>
                          <a:pt x="240" y="626"/>
                        </a:lnTo>
                        <a:lnTo>
                          <a:pt x="250" y="626"/>
                        </a:lnTo>
                        <a:lnTo>
                          <a:pt x="255" y="626"/>
                        </a:lnTo>
                        <a:lnTo>
                          <a:pt x="255" y="631"/>
                        </a:lnTo>
                        <a:lnTo>
                          <a:pt x="265" y="634"/>
                        </a:lnTo>
                        <a:lnTo>
                          <a:pt x="274" y="638"/>
                        </a:lnTo>
                        <a:lnTo>
                          <a:pt x="277" y="649"/>
                        </a:lnTo>
                        <a:lnTo>
                          <a:pt x="284" y="656"/>
                        </a:lnTo>
                        <a:lnTo>
                          <a:pt x="292" y="659"/>
                        </a:lnTo>
                        <a:lnTo>
                          <a:pt x="295" y="664"/>
                        </a:lnTo>
                        <a:lnTo>
                          <a:pt x="295" y="676"/>
                        </a:lnTo>
                        <a:lnTo>
                          <a:pt x="300" y="684"/>
                        </a:lnTo>
                        <a:lnTo>
                          <a:pt x="305" y="686"/>
                        </a:lnTo>
                        <a:lnTo>
                          <a:pt x="309" y="696"/>
                        </a:lnTo>
                        <a:lnTo>
                          <a:pt x="310" y="704"/>
                        </a:lnTo>
                        <a:lnTo>
                          <a:pt x="307" y="709"/>
                        </a:lnTo>
                        <a:lnTo>
                          <a:pt x="307" y="706"/>
                        </a:lnTo>
                        <a:lnTo>
                          <a:pt x="302" y="704"/>
                        </a:lnTo>
                        <a:lnTo>
                          <a:pt x="295" y="711"/>
                        </a:lnTo>
                        <a:lnTo>
                          <a:pt x="295" y="711"/>
                        </a:lnTo>
                        <a:lnTo>
                          <a:pt x="297" y="714"/>
                        </a:lnTo>
                        <a:lnTo>
                          <a:pt x="297" y="717"/>
                        </a:lnTo>
                        <a:lnTo>
                          <a:pt x="304" y="721"/>
                        </a:lnTo>
                        <a:lnTo>
                          <a:pt x="304" y="729"/>
                        </a:lnTo>
                        <a:lnTo>
                          <a:pt x="305" y="732"/>
                        </a:lnTo>
                        <a:lnTo>
                          <a:pt x="304" y="736"/>
                        </a:lnTo>
                        <a:lnTo>
                          <a:pt x="307" y="737"/>
                        </a:lnTo>
                        <a:lnTo>
                          <a:pt x="309" y="741"/>
                        </a:lnTo>
                        <a:lnTo>
                          <a:pt x="309" y="744"/>
                        </a:lnTo>
                        <a:lnTo>
                          <a:pt x="312" y="744"/>
                        </a:lnTo>
                        <a:lnTo>
                          <a:pt x="314" y="749"/>
                        </a:lnTo>
                        <a:lnTo>
                          <a:pt x="319" y="752"/>
                        </a:lnTo>
                        <a:lnTo>
                          <a:pt x="322" y="747"/>
                        </a:lnTo>
                        <a:lnTo>
                          <a:pt x="327" y="747"/>
                        </a:lnTo>
                        <a:lnTo>
                          <a:pt x="329" y="751"/>
                        </a:lnTo>
                        <a:lnTo>
                          <a:pt x="335" y="751"/>
                        </a:lnTo>
                        <a:lnTo>
                          <a:pt x="340" y="756"/>
                        </a:lnTo>
                        <a:lnTo>
                          <a:pt x="343" y="757"/>
                        </a:lnTo>
                        <a:lnTo>
                          <a:pt x="345" y="762"/>
                        </a:lnTo>
                        <a:lnTo>
                          <a:pt x="350" y="762"/>
                        </a:lnTo>
                        <a:lnTo>
                          <a:pt x="352" y="766"/>
                        </a:lnTo>
                        <a:lnTo>
                          <a:pt x="352" y="766"/>
                        </a:lnTo>
                        <a:lnTo>
                          <a:pt x="353" y="764"/>
                        </a:lnTo>
                        <a:lnTo>
                          <a:pt x="360" y="767"/>
                        </a:lnTo>
                        <a:lnTo>
                          <a:pt x="362" y="771"/>
                        </a:lnTo>
                        <a:lnTo>
                          <a:pt x="367" y="771"/>
                        </a:lnTo>
                        <a:lnTo>
                          <a:pt x="370" y="771"/>
                        </a:lnTo>
                        <a:lnTo>
                          <a:pt x="373" y="767"/>
                        </a:lnTo>
                        <a:lnTo>
                          <a:pt x="378" y="767"/>
                        </a:lnTo>
                        <a:lnTo>
                          <a:pt x="387" y="771"/>
                        </a:lnTo>
                        <a:lnTo>
                          <a:pt x="390" y="772"/>
                        </a:lnTo>
                        <a:lnTo>
                          <a:pt x="395" y="772"/>
                        </a:lnTo>
                        <a:lnTo>
                          <a:pt x="400" y="774"/>
                        </a:lnTo>
                        <a:lnTo>
                          <a:pt x="407" y="782"/>
                        </a:lnTo>
                        <a:lnTo>
                          <a:pt x="412" y="782"/>
                        </a:lnTo>
                        <a:lnTo>
                          <a:pt x="417" y="784"/>
                        </a:lnTo>
                        <a:lnTo>
                          <a:pt x="420" y="787"/>
                        </a:lnTo>
                        <a:lnTo>
                          <a:pt x="423" y="792"/>
                        </a:lnTo>
                        <a:lnTo>
                          <a:pt x="425" y="796"/>
                        </a:lnTo>
                        <a:lnTo>
                          <a:pt x="428" y="796"/>
                        </a:lnTo>
                        <a:lnTo>
                          <a:pt x="428" y="789"/>
                        </a:lnTo>
                        <a:lnTo>
                          <a:pt x="431" y="786"/>
                        </a:lnTo>
                        <a:lnTo>
                          <a:pt x="433" y="789"/>
                        </a:lnTo>
                        <a:lnTo>
                          <a:pt x="438" y="789"/>
                        </a:lnTo>
                        <a:lnTo>
                          <a:pt x="443" y="791"/>
                        </a:lnTo>
                        <a:lnTo>
                          <a:pt x="443" y="797"/>
                        </a:lnTo>
                        <a:lnTo>
                          <a:pt x="450" y="802"/>
                        </a:lnTo>
                        <a:lnTo>
                          <a:pt x="458" y="800"/>
                        </a:lnTo>
                        <a:lnTo>
                          <a:pt x="463" y="800"/>
                        </a:lnTo>
                        <a:lnTo>
                          <a:pt x="463" y="810"/>
                        </a:lnTo>
                        <a:lnTo>
                          <a:pt x="465" y="815"/>
                        </a:lnTo>
                        <a:lnTo>
                          <a:pt x="470" y="814"/>
                        </a:lnTo>
                        <a:lnTo>
                          <a:pt x="476" y="817"/>
                        </a:lnTo>
                        <a:lnTo>
                          <a:pt x="478" y="814"/>
                        </a:lnTo>
                        <a:lnTo>
                          <a:pt x="485" y="814"/>
                        </a:lnTo>
                        <a:lnTo>
                          <a:pt x="488" y="809"/>
                        </a:lnTo>
                        <a:lnTo>
                          <a:pt x="498" y="810"/>
                        </a:lnTo>
                        <a:lnTo>
                          <a:pt x="503" y="812"/>
                        </a:lnTo>
                        <a:lnTo>
                          <a:pt x="505" y="817"/>
                        </a:lnTo>
                        <a:lnTo>
                          <a:pt x="511" y="820"/>
                        </a:lnTo>
                        <a:lnTo>
                          <a:pt x="516" y="825"/>
                        </a:lnTo>
                        <a:lnTo>
                          <a:pt x="521" y="827"/>
                        </a:lnTo>
                        <a:lnTo>
                          <a:pt x="528" y="825"/>
                        </a:lnTo>
                        <a:lnTo>
                          <a:pt x="529" y="825"/>
                        </a:lnTo>
                        <a:lnTo>
                          <a:pt x="536" y="824"/>
                        </a:lnTo>
                        <a:lnTo>
                          <a:pt x="541" y="824"/>
                        </a:lnTo>
                        <a:lnTo>
                          <a:pt x="541" y="824"/>
                        </a:lnTo>
                        <a:lnTo>
                          <a:pt x="546" y="820"/>
                        </a:lnTo>
                        <a:lnTo>
                          <a:pt x="551" y="820"/>
                        </a:lnTo>
                        <a:lnTo>
                          <a:pt x="554" y="824"/>
                        </a:lnTo>
                        <a:lnTo>
                          <a:pt x="554" y="830"/>
                        </a:lnTo>
                        <a:lnTo>
                          <a:pt x="559" y="834"/>
                        </a:lnTo>
                        <a:lnTo>
                          <a:pt x="559" y="834"/>
                        </a:lnTo>
                        <a:lnTo>
                          <a:pt x="564" y="830"/>
                        </a:lnTo>
                        <a:lnTo>
                          <a:pt x="569" y="822"/>
                        </a:lnTo>
                        <a:lnTo>
                          <a:pt x="581" y="815"/>
                        </a:lnTo>
                        <a:lnTo>
                          <a:pt x="589" y="814"/>
                        </a:lnTo>
                        <a:lnTo>
                          <a:pt x="591" y="817"/>
                        </a:lnTo>
                        <a:lnTo>
                          <a:pt x="603" y="819"/>
                        </a:lnTo>
                        <a:lnTo>
                          <a:pt x="608" y="820"/>
                        </a:lnTo>
                        <a:lnTo>
                          <a:pt x="614" y="819"/>
                        </a:lnTo>
                        <a:lnTo>
                          <a:pt x="621" y="819"/>
                        </a:lnTo>
                        <a:lnTo>
                          <a:pt x="624" y="824"/>
                        </a:lnTo>
                        <a:lnTo>
                          <a:pt x="626" y="824"/>
                        </a:lnTo>
                        <a:lnTo>
                          <a:pt x="629" y="824"/>
                        </a:lnTo>
                        <a:lnTo>
                          <a:pt x="637" y="820"/>
                        </a:lnTo>
                        <a:lnTo>
                          <a:pt x="641" y="820"/>
                        </a:lnTo>
                        <a:lnTo>
                          <a:pt x="644" y="815"/>
                        </a:lnTo>
                        <a:lnTo>
                          <a:pt x="647" y="814"/>
                        </a:lnTo>
                        <a:lnTo>
                          <a:pt x="651" y="814"/>
                        </a:lnTo>
                        <a:lnTo>
                          <a:pt x="651" y="812"/>
                        </a:lnTo>
                        <a:lnTo>
                          <a:pt x="656" y="810"/>
                        </a:lnTo>
                        <a:lnTo>
                          <a:pt x="657" y="805"/>
                        </a:lnTo>
                        <a:lnTo>
                          <a:pt x="662" y="800"/>
                        </a:lnTo>
                        <a:lnTo>
                          <a:pt x="667" y="800"/>
                        </a:lnTo>
                        <a:lnTo>
                          <a:pt x="676" y="799"/>
                        </a:lnTo>
                        <a:lnTo>
                          <a:pt x="682" y="792"/>
                        </a:lnTo>
                        <a:lnTo>
                          <a:pt x="681" y="787"/>
                        </a:lnTo>
                        <a:lnTo>
                          <a:pt x="684" y="787"/>
                        </a:lnTo>
                        <a:lnTo>
                          <a:pt x="691" y="784"/>
                        </a:lnTo>
                        <a:lnTo>
                          <a:pt x="694" y="789"/>
                        </a:lnTo>
                        <a:lnTo>
                          <a:pt x="701" y="787"/>
                        </a:lnTo>
                        <a:lnTo>
                          <a:pt x="711" y="791"/>
                        </a:lnTo>
                        <a:lnTo>
                          <a:pt x="712" y="789"/>
                        </a:lnTo>
                        <a:lnTo>
                          <a:pt x="712" y="784"/>
                        </a:lnTo>
                        <a:lnTo>
                          <a:pt x="722" y="779"/>
                        </a:lnTo>
                        <a:lnTo>
                          <a:pt x="725" y="779"/>
                        </a:lnTo>
                        <a:lnTo>
                          <a:pt x="729" y="782"/>
                        </a:lnTo>
                        <a:lnTo>
                          <a:pt x="732" y="782"/>
                        </a:lnTo>
                        <a:lnTo>
                          <a:pt x="734" y="784"/>
                        </a:lnTo>
                        <a:lnTo>
                          <a:pt x="730" y="791"/>
                        </a:lnTo>
                        <a:lnTo>
                          <a:pt x="732" y="794"/>
                        </a:lnTo>
                        <a:lnTo>
                          <a:pt x="735" y="792"/>
                        </a:lnTo>
                        <a:lnTo>
                          <a:pt x="737" y="792"/>
                        </a:lnTo>
                        <a:lnTo>
                          <a:pt x="739" y="796"/>
                        </a:lnTo>
                        <a:lnTo>
                          <a:pt x="742" y="799"/>
                        </a:lnTo>
                        <a:lnTo>
                          <a:pt x="742" y="802"/>
                        </a:lnTo>
                        <a:lnTo>
                          <a:pt x="739" y="807"/>
                        </a:lnTo>
                        <a:lnTo>
                          <a:pt x="740" y="810"/>
                        </a:lnTo>
                        <a:lnTo>
                          <a:pt x="745" y="810"/>
                        </a:lnTo>
                        <a:lnTo>
                          <a:pt x="749" y="810"/>
                        </a:lnTo>
                        <a:lnTo>
                          <a:pt x="752" y="812"/>
                        </a:lnTo>
                        <a:lnTo>
                          <a:pt x="757" y="815"/>
                        </a:lnTo>
                        <a:lnTo>
                          <a:pt x="760" y="814"/>
                        </a:lnTo>
                        <a:lnTo>
                          <a:pt x="765" y="815"/>
                        </a:lnTo>
                        <a:lnTo>
                          <a:pt x="770" y="814"/>
                        </a:lnTo>
                        <a:lnTo>
                          <a:pt x="775" y="814"/>
                        </a:lnTo>
                        <a:lnTo>
                          <a:pt x="779" y="819"/>
                        </a:lnTo>
                        <a:lnTo>
                          <a:pt x="784" y="822"/>
                        </a:lnTo>
                        <a:lnTo>
                          <a:pt x="784" y="829"/>
                        </a:lnTo>
                        <a:lnTo>
                          <a:pt x="789" y="829"/>
                        </a:lnTo>
                        <a:lnTo>
                          <a:pt x="794" y="834"/>
                        </a:lnTo>
                        <a:lnTo>
                          <a:pt x="794" y="840"/>
                        </a:lnTo>
                        <a:lnTo>
                          <a:pt x="797" y="847"/>
                        </a:lnTo>
                        <a:lnTo>
                          <a:pt x="797" y="854"/>
                        </a:lnTo>
                        <a:lnTo>
                          <a:pt x="797" y="864"/>
                        </a:lnTo>
                        <a:lnTo>
                          <a:pt x="797" y="869"/>
                        </a:lnTo>
                        <a:lnTo>
                          <a:pt x="795" y="870"/>
                        </a:lnTo>
                        <a:lnTo>
                          <a:pt x="790" y="872"/>
                        </a:lnTo>
                        <a:lnTo>
                          <a:pt x="790" y="877"/>
                        </a:lnTo>
                        <a:lnTo>
                          <a:pt x="787" y="877"/>
                        </a:lnTo>
                        <a:lnTo>
                          <a:pt x="787" y="880"/>
                        </a:lnTo>
                        <a:lnTo>
                          <a:pt x="789" y="885"/>
                        </a:lnTo>
                        <a:lnTo>
                          <a:pt x="787" y="887"/>
                        </a:lnTo>
                        <a:lnTo>
                          <a:pt x="784" y="887"/>
                        </a:lnTo>
                        <a:lnTo>
                          <a:pt x="780" y="889"/>
                        </a:lnTo>
                        <a:lnTo>
                          <a:pt x="779" y="894"/>
                        </a:lnTo>
                        <a:lnTo>
                          <a:pt x="780" y="895"/>
                        </a:lnTo>
                        <a:lnTo>
                          <a:pt x="779" y="898"/>
                        </a:lnTo>
                        <a:lnTo>
                          <a:pt x="779" y="903"/>
                        </a:lnTo>
                        <a:lnTo>
                          <a:pt x="782" y="905"/>
                        </a:lnTo>
                        <a:lnTo>
                          <a:pt x="784" y="907"/>
                        </a:lnTo>
                        <a:lnTo>
                          <a:pt x="787" y="910"/>
                        </a:lnTo>
                        <a:lnTo>
                          <a:pt x="787" y="915"/>
                        </a:lnTo>
                        <a:lnTo>
                          <a:pt x="789" y="920"/>
                        </a:lnTo>
                        <a:lnTo>
                          <a:pt x="795" y="917"/>
                        </a:lnTo>
                        <a:lnTo>
                          <a:pt x="805" y="915"/>
                        </a:lnTo>
                        <a:lnTo>
                          <a:pt x="807" y="918"/>
                        </a:lnTo>
                        <a:lnTo>
                          <a:pt x="805" y="920"/>
                        </a:lnTo>
                        <a:lnTo>
                          <a:pt x="809" y="923"/>
                        </a:lnTo>
                        <a:lnTo>
                          <a:pt x="815" y="922"/>
                        </a:lnTo>
                        <a:lnTo>
                          <a:pt x="815" y="925"/>
                        </a:lnTo>
                        <a:lnTo>
                          <a:pt x="814" y="928"/>
                        </a:lnTo>
                        <a:lnTo>
                          <a:pt x="817" y="932"/>
                        </a:lnTo>
                        <a:lnTo>
                          <a:pt x="824" y="933"/>
                        </a:lnTo>
                        <a:lnTo>
                          <a:pt x="822" y="935"/>
                        </a:lnTo>
                        <a:lnTo>
                          <a:pt x="824" y="938"/>
                        </a:lnTo>
                        <a:lnTo>
                          <a:pt x="825" y="937"/>
                        </a:lnTo>
                        <a:lnTo>
                          <a:pt x="832" y="937"/>
                        </a:lnTo>
                        <a:lnTo>
                          <a:pt x="837" y="938"/>
                        </a:lnTo>
                        <a:lnTo>
                          <a:pt x="837" y="942"/>
                        </a:lnTo>
                        <a:lnTo>
                          <a:pt x="835" y="947"/>
                        </a:lnTo>
                        <a:lnTo>
                          <a:pt x="835" y="948"/>
                        </a:lnTo>
                        <a:lnTo>
                          <a:pt x="828" y="957"/>
                        </a:lnTo>
                        <a:lnTo>
                          <a:pt x="825" y="960"/>
                        </a:lnTo>
                        <a:lnTo>
                          <a:pt x="825" y="963"/>
                        </a:lnTo>
                        <a:lnTo>
                          <a:pt x="828" y="962"/>
                        </a:lnTo>
                        <a:lnTo>
                          <a:pt x="837" y="963"/>
                        </a:lnTo>
                        <a:lnTo>
                          <a:pt x="838" y="963"/>
                        </a:lnTo>
                        <a:lnTo>
                          <a:pt x="842" y="962"/>
                        </a:lnTo>
                        <a:lnTo>
                          <a:pt x="845" y="965"/>
                        </a:lnTo>
                        <a:lnTo>
                          <a:pt x="843" y="970"/>
                        </a:lnTo>
                        <a:lnTo>
                          <a:pt x="845" y="975"/>
                        </a:lnTo>
                        <a:lnTo>
                          <a:pt x="850" y="977"/>
                        </a:lnTo>
                        <a:lnTo>
                          <a:pt x="853" y="975"/>
                        </a:lnTo>
                        <a:lnTo>
                          <a:pt x="860" y="975"/>
                        </a:lnTo>
                        <a:lnTo>
                          <a:pt x="870" y="970"/>
                        </a:lnTo>
                        <a:lnTo>
                          <a:pt x="875" y="972"/>
                        </a:lnTo>
                        <a:lnTo>
                          <a:pt x="875" y="975"/>
                        </a:lnTo>
                        <a:lnTo>
                          <a:pt x="868" y="982"/>
                        </a:lnTo>
                        <a:lnTo>
                          <a:pt x="872" y="977"/>
                        </a:lnTo>
                        <a:lnTo>
                          <a:pt x="875" y="980"/>
                        </a:lnTo>
                        <a:lnTo>
                          <a:pt x="878" y="983"/>
                        </a:lnTo>
                        <a:lnTo>
                          <a:pt x="883" y="982"/>
                        </a:lnTo>
                        <a:lnTo>
                          <a:pt x="888" y="982"/>
                        </a:lnTo>
                        <a:lnTo>
                          <a:pt x="887" y="977"/>
                        </a:lnTo>
                        <a:lnTo>
                          <a:pt x="887" y="972"/>
                        </a:lnTo>
                        <a:lnTo>
                          <a:pt x="885" y="967"/>
                        </a:lnTo>
                        <a:lnTo>
                          <a:pt x="885" y="960"/>
                        </a:lnTo>
                        <a:lnTo>
                          <a:pt x="888" y="957"/>
                        </a:lnTo>
                        <a:lnTo>
                          <a:pt x="888" y="955"/>
                        </a:lnTo>
                        <a:lnTo>
                          <a:pt x="897" y="953"/>
                        </a:lnTo>
                        <a:lnTo>
                          <a:pt x="898" y="957"/>
                        </a:lnTo>
                        <a:lnTo>
                          <a:pt x="897" y="955"/>
                        </a:lnTo>
                        <a:lnTo>
                          <a:pt x="898" y="953"/>
                        </a:lnTo>
                        <a:lnTo>
                          <a:pt x="900" y="953"/>
                        </a:lnTo>
                        <a:lnTo>
                          <a:pt x="902" y="950"/>
                        </a:lnTo>
                        <a:lnTo>
                          <a:pt x="905" y="948"/>
                        </a:lnTo>
                        <a:lnTo>
                          <a:pt x="910" y="947"/>
                        </a:lnTo>
                        <a:lnTo>
                          <a:pt x="913" y="947"/>
                        </a:lnTo>
                        <a:lnTo>
                          <a:pt x="912" y="950"/>
                        </a:lnTo>
                        <a:lnTo>
                          <a:pt x="915" y="952"/>
                        </a:lnTo>
                        <a:lnTo>
                          <a:pt x="918" y="952"/>
                        </a:lnTo>
                        <a:lnTo>
                          <a:pt x="918" y="948"/>
                        </a:lnTo>
                        <a:lnTo>
                          <a:pt x="922" y="945"/>
                        </a:lnTo>
                        <a:lnTo>
                          <a:pt x="926" y="950"/>
                        </a:lnTo>
                        <a:lnTo>
                          <a:pt x="930" y="947"/>
                        </a:lnTo>
                        <a:lnTo>
                          <a:pt x="933" y="947"/>
                        </a:lnTo>
                        <a:lnTo>
                          <a:pt x="933" y="950"/>
                        </a:lnTo>
                        <a:lnTo>
                          <a:pt x="940" y="947"/>
                        </a:lnTo>
                        <a:lnTo>
                          <a:pt x="940" y="943"/>
                        </a:lnTo>
                        <a:lnTo>
                          <a:pt x="946" y="942"/>
                        </a:lnTo>
                        <a:lnTo>
                          <a:pt x="951" y="945"/>
                        </a:lnTo>
                        <a:lnTo>
                          <a:pt x="958" y="943"/>
                        </a:lnTo>
                        <a:lnTo>
                          <a:pt x="958" y="935"/>
                        </a:lnTo>
                        <a:lnTo>
                          <a:pt x="963" y="933"/>
                        </a:lnTo>
                        <a:lnTo>
                          <a:pt x="970" y="933"/>
                        </a:lnTo>
                        <a:lnTo>
                          <a:pt x="973" y="930"/>
                        </a:lnTo>
                        <a:lnTo>
                          <a:pt x="978" y="933"/>
                        </a:lnTo>
                        <a:lnTo>
                          <a:pt x="978" y="937"/>
                        </a:lnTo>
                        <a:lnTo>
                          <a:pt x="983" y="938"/>
                        </a:lnTo>
                        <a:lnTo>
                          <a:pt x="986" y="940"/>
                        </a:lnTo>
                        <a:lnTo>
                          <a:pt x="996" y="940"/>
                        </a:lnTo>
                        <a:lnTo>
                          <a:pt x="998" y="943"/>
                        </a:lnTo>
                        <a:lnTo>
                          <a:pt x="1005" y="940"/>
                        </a:lnTo>
                        <a:lnTo>
                          <a:pt x="1010" y="943"/>
                        </a:lnTo>
                        <a:lnTo>
                          <a:pt x="1008" y="947"/>
                        </a:lnTo>
                        <a:lnTo>
                          <a:pt x="1005" y="948"/>
                        </a:lnTo>
                        <a:lnTo>
                          <a:pt x="1003" y="957"/>
                        </a:lnTo>
                        <a:lnTo>
                          <a:pt x="1005" y="957"/>
                        </a:lnTo>
                        <a:lnTo>
                          <a:pt x="1006" y="962"/>
                        </a:lnTo>
                        <a:lnTo>
                          <a:pt x="1016" y="965"/>
                        </a:lnTo>
                        <a:lnTo>
                          <a:pt x="1018" y="968"/>
                        </a:lnTo>
                        <a:lnTo>
                          <a:pt x="1023" y="970"/>
                        </a:lnTo>
                        <a:lnTo>
                          <a:pt x="1028" y="972"/>
                        </a:lnTo>
                        <a:lnTo>
                          <a:pt x="1033" y="970"/>
                        </a:lnTo>
                        <a:lnTo>
                          <a:pt x="1034" y="972"/>
                        </a:lnTo>
                        <a:lnTo>
                          <a:pt x="1038" y="972"/>
                        </a:lnTo>
                        <a:lnTo>
                          <a:pt x="1041" y="973"/>
                        </a:lnTo>
                        <a:lnTo>
                          <a:pt x="1043" y="973"/>
                        </a:lnTo>
                        <a:lnTo>
                          <a:pt x="1044" y="973"/>
                        </a:lnTo>
                        <a:lnTo>
                          <a:pt x="1048" y="973"/>
                        </a:lnTo>
                        <a:lnTo>
                          <a:pt x="1051" y="972"/>
                        </a:lnTo>
                        <a:lnTo>
                          <a:pt x="1051" y="970"/>
                        </a:lnTo>
                        <a:lnTo>
                          <a:pt x="1053" y="965"/>
                        </a:lnTo>
                        <a:lnTo>
                          <a:pt x="1054" y="970"/>
                        </a:lnTo>
                        <a:lnTo>
                          <a:pt x="1059" y="973"/>
                        </a:lnTo>
                        <a:lnTo>
                          <a:pt x="1061" y="973"/>
                        </a:lnTo>
                        <a:lnTo>
                          <a:pt x="1068" y="978"/>
                        </a:lnTo>
                        <a:lnTo>
                          <a:pt x="1071" y="977"/>
                        </a:lnTo>
                        <a:lnTo>
                          <a:pt x="1074" y="977"/>
                        </a:lnTo>
                        <a:lnTo>
                          <a:pt x="1076" y="973"/>
                        </a:lnTo>
                        <a:lnTo>
                          <a:pt x="1079" y="977"/>
                        </a:lnTo>
                        <a:lnTo>
                          <a:pt x="1083" y="975"/>
                        </a:lnTo>
                        <a:lnTo>
                          <a:pt x="1086" y="977"/>
                        </a:lnTo>
                        <a:lnTo>
                          <a:pt x="1086" y="978"/>
                        </a:lnTo>
                        <a:lnTo>
                          <a:pt x="1083" y="978"/>
                        </a:lnTo>
                        <a:lnTo>
                          <a:pt x="1081" y="982"/>
                        </a:lnTo>
                        <a:lnTo>
                          <a:pt x="1078" y="985"/>
                        </a:lnTo>
                        <a:lnTo>
                          <a:pt x="1078" y="988"/>
                        </a:lnTo>
                        <a:lnTo>
                          <a:pt x="1084" y="995"/>
                        </a:lnTo>
                        <a:lnTo>
                          <a:pt x="1088" y="998"/>
                        </a:lnTo>
                        <a:lnTo>
                          <a:pt x="1088" y="1000"/>
                        </a:lnTo>
                        <a:lnTo>
                          <a:pt x="1088" y="1005"/>
                        </a:lnTo>
                        <a:lnTo>
                          <a:pt x="1089" y="1003"/>
                        </a:lnTo>
                        <a:lnTo>
                          <a:pt x="1091" y="1000"/>
                        </a:lnTo>
                        <a:lnTo>
                          <a:pt x="1096" y="1001"/>
                        </a:lnTo>
                        <a:lnTo>
                          <a:pt x="1096" y="1003"/>
                        </a:lnTo>
                        <a:lnTo>
                          <a:pt x="1099" y="1003"/>
                        </a:lnTo>
                        <a:lnTo>
                          <a:pt x="1103" y="998"/>
                        </a:lnTo>
                        <a:lnTo>
                          <a:pt x="1103" y="995"/>
                        </a:lnTo>
                        <a:lnTo>
                          <a:pt x="1099" y="995"/>
                        </a:lnTo>
                        <a:lnTo>
                          <a:pt x="1099" y="995"/>
                        </a:lnTo>
                        <a:lnTo>
                          <a:pt x="1098" y="990"/>
                        </a:lnTo>
                        <a:lnTo>
                          <a:pt x="1094" y="990"/>
                        </a:lnTo>
                        <a:lnTo>
                          <a:pt x="1093" y="985"/>
                        </a:lnTo>
                        <a:lnTo>
                          <a:pt x="1094" y="983"/>
                        </a:lnTo>
                        <a:lnTo>
                          <a:pt x="1098" y="982"/>
                        </a:lnTo>
                        <a:lnTo>
                          <a:pt x="1098" y="978"/>
                        </a:lnTo>
                        <a:lnTo>
                          <a:pt x="1098" y="977"/>
                        </a:lnTo>
                        <a:lnTo>
                          <a:pt x="1099" y="977"/>
                        </a:lnTo>
                        <a:lnTo>
                          <a:pt x="1101" y="975"/>
                        </a:lnTo>
                        <a:lnTo>
                          <a:pt x="1101" y="975"/>
                        </a:lnTo>
                        <a:lnTo>
                          <a:pt x="1101" y="977"/>
                        </a:lnTo>
                        <a:lnTo>
                          <a:pt x="1103" y="977"/>
                        </a:lnTo>
                        <a:lnTo>
                          <a:pt x="1103" y="978"/>
                        </a:lnTo>
                        <a:lnTo>
                          <a:pt x="1103" y="978"/>
                        </a:lnTo>
                        <a:lnTo>
                          <a:pt x="1104" y="980"/>
                        </a:lnTo>
                        <a:lnTo>
                          <a:pt x="1104" y="980"/>
                        </a:lnTo>
                        <a:lnTo>
                          <a:pt x="1104" y="980"/>
                        </a:lnTo>
                        <a:lnTo>
                          <a:pt x="1108" y="978"/>
                        </a:lnTo>
                        <a:lnTo>
                          <a:pt x="1113" y="978"/>
                        </a:lnTo>
                        <a:lnTo>
                          <a:pt x="1114" y="975"/>
                        </a:lnTo>
                        <a:lnTo>
                          <a:pt x="1118" y="975"/>
                        </a:lnTo>
                        <a:lnTo>
                          <a:pt x="1122" y="975"/>
                        </a:lnTo>
                        <a:lnTo>
                          <a:pt x="1127" y="972"/>
                        </a:lnTo>
                        <a:lnTo>
                          <a:pt x="1126" y="968"/>
                        </a:lnTo>
                        <a:lnTo>
                          <a:pt x="1129" y="968"/>
                        </a:lnTo>
                        <a:lnTo>
                          <a:pt x="1134" y="968"/>
                        </a:lnTo>
                        <a:lnTo>
                          <a:pt x="1139" y="970"/>
                        </a:lnTo>
                        <a:lnTo>
                          <a:pt x="1142" y="968"/>
                        </a:lnTo>
                        <a:lnTo>
                          <a:pt x="1147" y="967"/>
                        </a:lnTo>
                        <a:lnTo>
                          <a:pt x="1152" y="962"/>
                        </a:lnTo>
                        <a:lnTo>
                          <a:pt x="1156" y="958"/>
                        </a:lnTo>
                        <a:lnTo>
                          <a:pt x="1156" y="957"/>
                        </a:lnTo>
                        <a:lnTo>
                          <a:pt x="1157" y="957"/>
                        </a:lnTo>
                        <a:lnTo>
                          <a:pt x="1159" y="958"/>
                        </a:lnTo>
                        <a:lnTo>
                          <a:pt x="1161" y="957"/>
                        </a:lnTo>
                        <a:lnTo>
                          <a:pt x="1164" y="953"/>
                        </a:lnTo>
                        <a:lnTo>
                          <a:pt x="1167" y="952"/>
                        </a:lnTo>
                        <a:lnTo>
                          <a:pt x="1166" y="947"/>
                        </a:lnTo>
                        <a:lnTo>
                          <a:pt x="1166" y="943"/>
                        </a:lnTo>
                        <a:lnTo>
                          <a:pt x="1166" y="940"/>
                        </a:lnTo>
                        <a:lnTo>
                          <a:pt x="1164" y="937"/>
                        </a:lnTo>
                        <a:lnTo>
                          <a:pt x="1167" y="940"/>
                        </a:lnTo>
                        <a:lnTo>
                          <a:pt x="1172" y="942"/>
                        </a:lnTo>
                        <a:lnTo>
                          <a:pt x="1174" y="945"/>
                        </a:lnTo>
                        <a:lnTo>
                          <a:pt x="1179" y="950"/>
                        </a:lnTo>
                        <a:lnTo>
                          <a:pt x="1182" y="948"/>
                        </a:lnTo>
                        <a:lnTo>
                          <a:pt x="1179" y="952"/>
                        </a:lnTo>
                        <a:lnTo>
                          <a:pt x="1176" y="953"/>
                        </a:lnTo>
                        <a:lnTo>
                          <a:pt x="1177" y="955"/>
                        </a:lnTo>
                        <a:lnTo>
                          <a:pt x="1186" y="952"/>
                        </a:lnTo>
                        <a:lnTo>
                          <a:pt x="1186" y="947"/>
                        </a:lnTo>
                        <a:lnTo>
                          <a:pt x="1191" y="945"/>
                        </a:lnTo>
                        <a:lnTo>
                          <a:pt x="1192" y="943"/>
                        </a:lnTo>
                        <a:lnTo>
                          <a:pt x="1196" y="945"/>
                        </a:lnTo>
                        <a:lnTo>
                          <a:pt x="1201" y="945"/>
                        </a:lnTo>
                        <a:lnTo>
                          <a:pt x="1201" y="942"/>
                        </a:lnTo>
                        <a:lnTo>
                          <a:pt x="1204" y="942"/>
                        </a:lnTo>
                        <a:lnTo>
                          <a:pt x="1206" y="938"/>
                        </a:lnTo>
                        <a:lnTo>
                          <a:pt x="1207" y="942"/>
                        </a:lnTo>
                        <a:lnTo>
                          <a:pt x="1211" y="945"/>
                        </a:lnTo>
                        <a:lnTo>
                          <a:pt x="1214" y="943"/>
                        </a:lnTo>
                        <a:lnTo>
                          <a:pt x="1214" y="940"/>
                        </a:lnTo>
                        <a:lnTo>
                          <a:pt x="1217" y="940"/>
                        </a:lnTo>
                        <a:lnTo>
                          <a:pt x="1217" y="940"/>
                        </a:lnTo>
                        <a:lnTo>
                          <a:pt x="1221" y="940"/>
                        </a:lnTo>
                        <a:lnTo>
                          <a:pt x="1222" y="938"/>
                        </a:lnTo>
                        <a:lnTo>
                          <a:pt x="1227" y="938"/>
                        </a:lnTo>
                        <a:lnTo>
                          <a:pt x="1230" y="935"/>
                        </a:lnTo>
                        <a:lnTo>
                          <a:pt x="1232" y="933"/>
                        </a:lnTo>
                        <a:lnTo>
                          <a:pt x="1232" y="937"/>
                        </a:lnTo>
                        <a:lnTo>
                          <a:pt x="1234" y="933"/>
                        </a:lnTo>
                        <a:lnTo>
                          <a:pt x="1237" y="935"/>
                        </a:lnTo>
                        <a:lnTo>
                          <a:pt x="1240" y="933"/>
                        </a:lnTo>
                        <a:lnTo>
                          <a:pt x="1239" y="930"/>
                        </a:lnTo>
                        <a:lnTo>
                          <a:pt x="1240" y="927"/>
                        </a:lnTo>
                        <a:lnTo>
                          <a:pt x="1242" y="923"/>
                        </a:lnTo>
                        <a:lnTo>
                          <a:pt x="1240" y="918"/>
                        </a:lnTo>
                        <a:lnTo>
                          <a:pt x="1244" y="918"/>
                        </a:lnTo>
                        <a:lnTo>
                          <a:pt x="1245" y="917"/>
                        </a:lnTo>
                        <a:lnTo>
                          <a:pt x="1250" y="917"/>
                        </a:lnTo>
                        <a:lnTo>
                          <a:pt x="1252" y="918"/>
                        </a:lnTo>
                        <a:lnTo>
                          <a:pt x="1255" y="918"/>
                        </a:lnTo>
                        <a:lnTo>
                          <a:pt x="1257" y="913"/>
                        </a:lnTo>
                        <a:lnTo>
                          <a:pt x="1259" y="913"/>
                        </a:lnTo>
                        <a:lnTo>
                          <a:pt x="1260" y="910"/>
                        </a:lnTo>
                        <a:lnTo>
                          <a:pt x="1262" y="908"/>
                        </a:lnTo>
                        <a:lnTo>
                          <a:pt x="1262" y="912"/>
                        </a:lnTo>
                        <a:lnTo>
                          <a:pt x="1264" y="910"/>
                        </a:lnTo>
                        <a:lnTo>
                          <a:pt x="1267" y="907"/>
                        </a:lnTo>
                        <a:lnTo>
                          <a:pt x="1270" y="908"/>
                        </a:lnTo>
                        <a:lnTo>
                          <a:pt x="1270" y="905"/>
                        </a:lnTo>
                        <a:lnTo>
                          <a:pt x="1274" y="905"/>
                        </a:lnTo>
                        <a:lnTo>
                          <a:pt x="1275" y="900"/>
                        </a:lnTo>
                        <a:lnTo>
                          <a:pt x="1270" y="900"/>
                        </a:lnTo>
                        <a:lnTo>
                          <a:pt x="1267" y="902"/>
                        </a:lnTo>
                        <a:lnTo>
                          <a:pt x="1262" y="897"/>
                        </a:lnTo>
                        <a:lnTo>
                          <a:pt x="1269" y="897"/>
                        </a:lnTo>
                        <a:lnTo>
                          <a:pt x="1274" y="892"/>
                        </a:lnTo>
                        <a:lnTo>
                          <a:pt x="1275" y="894"/>
                        </a:lnTo>
                        <a:lnTo>
                          <a:pt x="1277" y="892"/>
                        </a:lnTo>
                        <a:lnTo>
                          <a:pt x="1284" y="895"/>
                        </a:lnTo>
                        <a:lnTo>
                          <a:pt x="1285" y="890"/>
                        </a:lnTo>
                        <a:lnTo>
                          <a:pt x="1282" y="890"/>
                        </a:lnTo>
                        <a:lnTo>
                          <a:pt x="1280" y="887"/>
                        </a:lnTo>
                        <a:lnTo>
                          <a:pt x="1280" y="885"/>
                        </a:lnTo>
                        <a:lnTo>
                          <a:pt x="1285" y="887"/>
                        </a:lnTo>
                        <a:lnTo>
                          <a:pt x="1289" y="885"/>
                        </a:lnTo>
                        <a:lnTo>
                          <a:pt x="1289" y="884"/>
                        </a:lnTo>
                        <a:lnTo>
                          <a:pt x="1285" y="884"/>
                        </a:lnTo>
                        <a:lnTo>
                          <a:pt x="1284" y="880"/>
                        </a:lnTo>
                        <a:lnTo>
                          <a:pt x="1282" y="877"/>
                        </a:lnTo>
                        <a:lnTo>
                          <a:pt x="1285" y="877"/>
                        </a:lnTo>
                        <a:lnTo>
                          <a:pt x="1287" y="879"/>
                        </a:lnTo>
                        <a:lnTo>
                          <a:pt x="1289" y="879"/>
                        </a:lnTo>
                        <a:lnTo>
                          <a:pt x="1290" y="882"/>
                        </a:lnTo>
                        <a:lnTo>
                          <a:pt x="1290" y="877"/>
                        </a:lnTo>
                        <a:lnTo>
                          <a:pt x="1287" y="875"/>
                        </a:lnTo>
                        <a:lnTo>
                          <a:pt x="1287" y="872"/>
                        </a:lnTo>
                        <a:lnTo>
                          <a:pt x="1290" y="872"/>
                        </a:lnTo>
                        <a:lnTo>
                          <a:pt x="1292" y="869"/>
                        </a:lnTo>
                        <a:lnTo>
                          <a:pt x="1295" y="872"/>
                        </a:lnTo>
                        <a:lnTo>
                          <a:pt x="1295" y="875"/>
                        </a:lnTo>
                        <a:lnTo>
                          <a:pt x="1297" y="875"/>
                        </a:lnTo>
                        <a:lnTo>
                          <a:pt x="1300" y="879"/>
                        </a:lnTo>
                        <a:lnTo>
                          <a:pt x="1300" y="874"/>
                        </a:lnTo>
                        <a:lnTo>
                          <a:pt x="1299" y="870"/>
                        </a:lnTo>
                        <a:lnTo>
                          <a:pt x="1297" y="870"/>
                        </a:lnTo>
                        <a:lnTo>
                          <a:pt x="1295" y="867"/>
                        </a:lnTo>
                        <a:lnTo>
                          <a:pt x="1299" y="867"/>
                        </a:lnTo>
                        <a:lnTo>
                          <a:pt x="1299" y="864"/>
                        </a:lnTo>
                        <a:lnTo>
                          <a:pt x="1295" y="862"/>
                        </a:lnTo>
                        <a:lnTo>
                          <a:pt x="1300" y="859"/>
                        </a:lnTo>
                        <a:lnTo>
                          <a:pt x="1299" y="855"/>
                        </a:lnTo>
                        <a:lnTo>
                          <a:pt x="1294" y="855"/>
                        </a:lnTo>
                        <a:lnTo>
                          <a:pt x="1292" y="857"/>
                        </a:lnTo>
                        <a:lnTo>
                          <a:pt x="1294" y="854"/>
                        </a:lnTo>
                        <a:lnTo>
                          <a:pt x="1299" y="850"/>
                        </a:lnTo>
                        <a:lnTo>
                          <a:pt x="1307" y="849"/>
                        </a:lnTo>
                        <a:lnTo>
                          <a:pt x="1304" y="845"/>
                        </a:lnTo>
                        <a:lnTo>
                          <a:pt x="1300" y="849"/>
                        </a:lnTo>
                        <a:lnTo>
                          <a:pt x="1295" y="844"/>
                        </a:lnTo>
                        <a:lnTo>
                          <a:pt x="1300" y="844"/>
                        </a:lnTo>
                        <a:lnTo>
                          <a:pt x="1297" y="839"/>
                        </a:lnTo>
                        <a:lnTo>
                          <a:pt x="1294" y="839"/>
                        </a:lnTo>
                        <a:lnTo>
                          <a:pt x="1295" y="837"/>
                        </a:lnTo>
                        <a:lnTo>
                          <a:pt x="1294" y="835"/>
                        </a:lnTo>
                        <a:lnTo>
                          <a:pt x="1297" y="835"/>
                        </a:lnTo>
                        <a:lnTo>
                          <a:pt x="1297" y="832"/>
                        </a:lnTo>
                        <a:lnTo>
                          <a:pt x="1299" y="832"/>
                        </a:lnTo>
                        <a:lnTo>
                          <a:pt x="1302" y="832"/>
                        </a:lnTo>
                        <a:lnTo>
                          <a:pt x="1302" y="835"/>
                        </a:lnTo>
                        <a:lnTo>
                          <a:pt x="1305" y="835"/>
                        </a:lnTo>
                        <a:lnTo>
                          <a:pt x="1310" y="830"/>
                        </a:lnTo>
                        <a:lnTo>
                          <a:pt x="1310" y="827"/>
                        </a:lnTo>
                        <a:lnTo>
                          <a:pt x="1317" y="827"/>
                        </a:lnTo>
                        <a:lnTo>
                          <a:pt x="1314" y="824"/>
                        </a:lnTo>
                        <a:lnTo>
                          <a:pt x="1309" y="824"/>
                        </a:lnTo>
                        <a:lnTo>
                          <a:pt x="1310" y="820"/>
                        </a:lnTo>
                        <a:lnTo>
                          <a:pt x="1314" y="824"/>
                        </a:lnTo>
                        <a:lnTo>
                          <a:pt x="1319" y="822"/>
                        </a:lnTo>
                        <a:lnTo>
                          <a:pt x="1317" y="817"/>
                        </a:lnTo>
                        <a:lnTo>
                          <a:pt x="1319" y="815"/>
                        </a:lnTo>
                        <a:lnTo>
                          <a:pt x="1317" y="814"/>
                        </a:lnTo>
                        <a:lnTo>
                          <a:pt x="1317" y="810"/>
                        </a:lnTo>
                        <a:lnTo>
                          <a:pt x="1320" y="809"/>
                        </a:lnTo>
                        <a:lnTo>
                          <a:pt x="1319" y="805"/>
                        </a:lnTo>
                        <a:lnTo>
                          <a:pt x="1319" y="804"/>
                        </a:lnTo>
                        <a:lnTo>
                          <a:pt x="1314" y="802"/>
                        </a:lnTo>
                        <a:lnTo>
                          <a:pt x="1320" y="804"/>
                        </a:lnTo>
                        <a:lnTo>
                          <a:pt x="1323" y="802"/>
                        </a:lnTo>
                        <a:lnTo>
                          <a:pt x="1327" y="794"/>
                        </a:lnTo>
                        <a:lnTo>
                          <a:pt x="1330" y="794"/>
                        </a:lnTo>
                        <a:lnTo>
                          <a:pt x="1332" y="797"/>
                        </a:lnTo>
                        <a:lnTo>
                          <a:pt x="1333" y="799"/>
                        </a:lnTo>
                        <a:lnTo>
                          <a:pt x="1333" y="794"/>
                        </a:lnTo>
                        <a:lnTo>
                          <a:pt x="1337" y="792"/>
                        </a:lnTo>
                        <a:lnTo>
                          <a:pt x="1335" y="787"/>
                        </a:lnTo>
                        <a:lnTo>
                          <a:pt x="1330" y="787"/>
                        </a:lnTo>
                        <a:lnTo>
                          <a:pt x="1328" y="786"/>
                        </a:lnTo>
                        <a:lnTo>
                          <a:pt x="1330" y="784"/>
                        </a:lnTo>
                        <a:lnTo>
                          <a:pt x="1333" y="786"/>
                        </a:lnTo>
                        <a:lnTo>
                          <a:pt x="1335" y="782"/>
                        </a:lnTo>
                        <a:lnTo>
                          <a:pt x="1333" y="781"/>
                        </a:lnTo>
                        <a:lnTo>
                          <a:pt x="1330" y="779"/>
                        </a:lnTo>
                        <a:lnTo>
                          <a:pt x="1333" y="776"/>
                        </a:lnTo>
                        <a:lnTo>
                          <a:pt x="1335" y="777"/>
                        </a:lnTo>
                        <a:lnTo>
                          <a:pt x="1337" y="774"/>
                        </a:lnTo>
                        <a:lnTo>
                          <a:pt x="1333" y="772"/>
                        </a:lnTo>
                        <a:lnTo>
                          <a:pt x="1325" y="772"/>
                        </a:lnTo>
                        <a:lnTo>
                          <a:pt x="1327" y="771"/>
                        </a:lnTo>
                        <a:lnTo>
                          <a:pt x="1332" y="767"/>
                        </a:lnTo>
                        <a:lnTo>
                          <a:pt x="1335" y="767"/>
                        </a:lnTo>
                        <a:lnTo>
                          <a:pt x="1337" y="767"/>
                        </a:lnTo>
                        <a:lnTo>
                          <a:pt x="1338" y="764"/>
                        </a:lnTo>
                        <a:lnTo>
                          <a:pt x="1342" y="766"/>
                        </a:lnTo>
                        <a:lnTo>
                          <a:pt x="1342" y="767"/>
                        </a:lnTo>
                        <a:lnTo>
                          <a:pt x="1345" y="766"/>
                        </a:lnTo>
                        <a:lnTo>
                          <a:pt x="1343" y="762"/>
                        </a:lnTo>
                        <a:lnTo>
                          <a:pt x="1342" y="756"/>
                        </a:lnTo>
                        <a:lnTo>
                          <a:pt x="1340" y="756"/>
                        </a:lnTo>
                        <a:lnTo>
                          <a:pt x="1337" y="757"/>
                        </a:lnTo>
                        <a:lnTo>
                          <a:pt x="1337" y="759"/>
                        </a:lnTo>
                        <a:lnTo>
                          <a:pt x="1337" y="761"/>
                        </a:lnTo>
                        <a:lnTo>
                          <a:pt x="1332" y="759"/>
                        </a:lnTo>
                        <a:lnTo>
                          <a:pt x="1327" y="764"/>
                        </a:lnTo>
                        <a:lnTo>
                          <a:pt x="1323" y="764"/>
                        </a:lnTo>
                        <a:lnTo>
                          <a:pt x="1323" y="761"/>
                        </a:lnTo>
                        <a:lnTo>
                          <a:pt x="1330" y="759"/>
                        </a:lnTo>
                        <a:lnTo>
                          <a:pt x="1340" y="749"/>
                        </a:lnTo>
                        <a:lnTo>
                          <a:pt x="1340" y="749"/>
                        </a:lnTo>
                        <a:lnTo>
                          <a:pt x="1335" y="749"/>
                        </a:lnTo>
                        <a:lnTo>
                          <a:pt x="1333" y="746"/>
                        </a:lnTo>
                        <a:lnTo>
                          <a:pt x="1332" y="747"/>
                        </a:lnTo>
                        <a:lnTo>
                          <a:pt x="1323" y="739"/>
                        </a:lnTo>
                        <a:lnTo>
                          <a:pt x="1319" y="737"/>
                        </a:lnTo>
                        <a:lnTo>
                          <a:pt x="1310" y="744"/>
                        </a:lnTo>
                        <a:lnTo>
                          <a:pt x="1307" y="742"/>
                        </a:lnTo>
                        <a:lnTo>
                          <a:pt x="1302" y="736"/>
                        </a:lnTo>
                        <a:lnTo>
                          <a:pt x="1297" y="737"/>
                        </a:lnTo>
                        <a:lnTo>
                          <a:pt x="1292" y="741"/>
                        </a:lnTo>
                        <a:lnTo>
                          <a:pt x="1290" y="744"/>
                        </a:lnTo>
                        <a:lnTo>
                          <a:pt x="1290" y="739"/>
                        </a:lnTo>
                        <a:lnTo>
                          <a:pt x="1297" y="736"/>
                        </a:lnTo>
                        <a:lnTo>
                          <a:pt x="1300" y="736"/>
                        </a:lnTo>
                        <a:lnTo>
                          <a:pt x="1302" y="734"/>
                        </a:lnTo>
                        <a:lnTo>
                          <a:pt x="1309" y="736"/>
                        </a:lnTo>
                        <a:lnTo>
                          <a:pt x="1314" y="734"/>
                        </a:lnTo>
                        <a:lnTo>
                          <a:pt x="1314" y="731"/>
                        </a:lnTo>
                        <a:lnTo>
                          <a:pt x="1315" y="729"/>
                        </a:lnTo>
                        <a:lnTo>
                          <a:pt x="1319" y="729"/>
                        </a:lnTo>
                        <a:lnTo>
                          <a:pt x="1323" y="722"/>
                        </a:lnTo>
                        <a:lnTo>
                          <a:pt x="1330" y="722"/>
                        </a:lnTo>
                        <a:lnTo>
                          <a:pt x="1330" y="719"/>
                        </a:lnTo>
                        <a:lnTo>
                          <a:pt x="1325" y="711"/>
                        </a:lnTo>
                        <a:lnTo>
                          <a:pt x="1312" y="704"/>
                        </a:lnTo>
                        <a:lnTo>
                          <a:pt x="1305" y="699"/>
                        </a:lnTo>
                        <a:lnTo>
                          <a:pt x="1295" y="691"/>
                        </a:lnTo>
                        <a:lnTo>
                          <a:pt x="1290" y="691"/>
                        </a:lnTo>
                        <a:lnTo>
                          <a:pt x="1282" y="696"/>
                        </a:lnTo>
                        <a:lnTo>
                          <a:pt x="1279" y="694"/>
                        </a:lnTo>
                        <a:lnTo>
                          <a:pt x="1272" y="689"/>
                        </a:lnTo>
                        <a:lnTo>
                          <a:pt x="1272" y="688"/>
                        </a:lnTo>
                        <a:lnTo>
                          <a:pt x="1269" y="686"/>
                        </a:lnTo>
                        <a:lnTo>
                          <a:pt x="1264" y="688"/>
                        </a:lnTo>
                        <a:lnTo>
                          <a:pt x="1257" y="688"/>
                        </a:lnTo>
                        <a:lnTo>
                          <a:pt x="1252" y="689"/>
                        </a:lnTo>
                        <a:lnTo>
                          <a:pt x="1245" y="698"/>
                        </a:lnTo>
                        <a:lnTo>
                          <a:pt x="1252" y="688"/>
                        </a:lnTo>
                        <a:lnTo>
                          <a:pt x="1255" y="684"/>
                        </a:lnTo>
                        <a:lnTo>
                          <a:pt x="1259" y="686"/>
                        </a:lnTo>
                        <a:lnTo>
                          <a:pt x="1262" y="686"/>
                        </a:lnTo>
                        <a:lnTo>
                          <a:pt x="1264" y="684"/>
                        </a:lnTo>
                        <a:lnTo>
                          <a:pt x="1267" y="686"/>
                        </a:lnTo>
                        <a:lnTo>
                          <a:pt x="1274" y="683"/>
                        </a:lnTo>
                        <a:lnTo>
                          <a:pt x="1275" y="689"/>
                        </a:lnTo>
                        <a:lnTo>
                          <a:pt x="1279" y="693"/>
                        </a:lnTo>
                        <a:lnTo>
                          <a:pt x="1284" y="693"/>
                        </a:lnTo>
                        <a:lnTo>
                          <a:pt x="1287" y="689"/>
                        </a:lnTo>
                        <a:lnTo>
                          <a:pt x="1295" y="689"/>
                        </a:lnTo>
                        <a:lnTo>
                          <a:pt x="1300" y="693"/>
                        </a:lnTo>
                        <a:lnTo>
                          <a:pt x="1304" y="693"/>
                        </a:lnTo>
                        <a:lnTo>
                          <a:pt x="1309" y="698"/>
                        </a:lnTo>
                        <a:lnTo>
                          <a:pt x="1315" y="694"/>
                        </a:lnTo>
                        <a:lnTo>
                          <a:pt x="1325" y="698"/>
                        </a:lnTo>
                        <a:lnTo>
                          <a:pt x="1328" y="696"/>
                        </a:lnTo>
                        <a:lnTo>
                          <a:pt x="1325" y="689"/>
                        </a:lnTo>
                        <a:lnTo>
                          <a:pt x="1322" y="688"/>
                        </a:lnTo>
                        <a:lnTo>
                          <a:pt x="1315" y="683"/>
                        </a:lnTo>
                        <a:lnTo>
                          <a:pt x="1315" y="681"/>
                        </a:lnTo>
                        <a:lnTo>
                          <a:pt x="1314" y="678"/>
                        </a:lnTo>
                        <a:lnTo>
                          <a:pt x="1309" y="679"/>
                        </a:lnTo>
                        <a:lnTo>
                          <a:pt x="1304" y="678"/>
                        </a:lnTo>
                        <a:lnTo>
                          <a:pt x="1297" y="669"/>
                        </a:lnTo>
                        <a:lnTo>
                          <a:pt x="1297" y="663"/>
                        </a:lnTo>
                        <a:lnTo>
                          <a:pt x="1289" y="656"/>
                        </a:lnTo>
                        <a:lnTo>
                          <a:pt x="1287" y="649"/>
                        </a:lnTo>
                        <a:lnTo>
                          <a:pt x="1282" y="648"/>
                        </a:lnTo>
                        <a:lnTo>
                          <a:pt x="1285" y="643"/>
                        </a:lnTo>
                        <a:lnTo>
                          <a:pt x="1284" y="643"/>
                        </a:lnTo>
                        <a:lnTo>
                          <a:pt x="1275" y="629"/>
                        </a:lnTo>
                        <a:lnTo>
                          <a:pt x="1262" y="623"/>
                        </a:lnTo>
                        <a:lnTo>
                          <a:pt x="1259" y="624"/>
                        </a:lnTo>
                        <a:lnTo>
                          <a:pt x="1259" y="621"/>
                        </a:lnTo>
                        <a:lnTo>
                          <a:pt x="1247" y="616"/>
                        </a:lnTo>
                        <a:lnTo>
                          <a:pt x="1245" y="616"/>
                        </a:lnTo>
                        <a:lnTo>
                          <a:pt x="1245" y="606"/>
                        </a:lnTo>
                        <a:lnTo>
                          <a:pt x="1247" y="598"/>
                        </a:lnTo>
                        <a:lnTo>
                          <a:pt x="1245" y="593"/>
                        </a:lnTo>
                        <a:lnTo>
                          <a:pt x="1245" y="586"/>
                        </a:lnTo>
                        <a:lnTo>
                          <a:pt x="1247" y="588"/>
                        </a:lnTo>
                        <a:lnTo>
                          <a:pt x="1250" y="586"/>
                        </a:lnTo>
                        <a:lnTo>
                          <a:pt x="1255" y="580"/>
                        </a:lnTo>
                        <a:lnTo>
                          <a:pt x="1259" y="581"/>
                        </a:lnTo>
                        <a:lnTo>
                          <a:pt x="1262" y="576"/>
                        </a:lnTo>
                        <a:lnTo>
                          <a:pt x="1257" y="575"/>
                        </a:lnTo>
                        <a:lnTo>
                          <a:pt x="1255" y="571"/>
                        </a:lnTo>
                        <a:lnTo>
                          <a:pt x="1259" y="568"/>
                        </a:lnTo>
                        <a:lnTo>
                          <a:pt x="1267" y="568"/>
                        </a:lnTo>
                        <a:lnTo>
                          <a:pt x="1267" y="563"/>
                        </a:lnTo>
                        <a:lnTo>
                          <a:pt x="1274" y="563"/>
                        </a:lnTo>
                        <a:lnTo>
                          <a:pt x="1272" y="560"/>
                        </a:lnTo>
                        <a:lnTo>
                          <a:pt x="1267" y="556"/>
                        </a:lnTo>
                        <a:lnTo>
                          <a:pt x="1272" y="555"/>
                        </a:lnTo>
                        <a:lnTo>
                          <a:pt x="1277" y="558"/>
                        </a:lnTo>
                        <a:lnTo>
                          <a:pt x="1277" y="556"/>
                        </a:lnTo>
                        <a:lnTo>
                          <a:pt x="1282" y="556"/>
                        </a:lnTo>
                        <a:lnTo>
                          <a:pt x="1287" y="553"/>
                        </a:lnTo>
                        <a:lnTo>
                          <a:pt x="1289" y="553"/>
                        </a:lnTo>
                        <a:lnTo>
                          <a:pt x="1295" y="546"/>
                        </a:lnTo>
                        <a:lnTo>
                          <a:pt x="1297" y="550"/>
                        </a:lnTo>
                        <a:lnTo>
                          <a:pt x="1299" y="546"/>
                        </a:lnTo>
                        <a:lnTo>
                          <a:pt x="1299" y="548"/>
                        </a:lnTo>
                        <a:lnTo>
                          <a:pt x="1305" y="553"/>
                        </a:lnTo>
                        <a:lnTo>
                          <a:pt x="1310" y="548"/>
                        </a:lnTo>
                        <a:lnTo>
                          <a:pt x="1310" y="546"/>
                        </a:lnTo>
                        <a:lnTo>
                          <a:pt x="1307" y="545"/>
                        </a:lnTo>
                        <a:lnTo>
                          <a:pt x="1307" y="540"/>
                        </a:lnTo>
                        <a:lnTo>
                          <a:pt x="1310" y="540"/>
                        </a:lnTo>
                        <a:lnTo>
                          <a:pt x="1312" y="540"/>
                        </a:lnTo>
                        <a:lnTo>
                          <a:pt x="1309" y="535"/>
                        </a:lnTo>
                        <a:lnTo>
                          <a:pt x="1309" y="531"/>
                        </a:lnTo>
                        <a:lnTo>
                          <a:pt x="1314" y="530"/>
                        </a:lnTo>
                        <a:lnTo>
                          <a:pt x="1310" y="528"/>
                        </a:lnTo>
                        <a:lnTo>
                          <a:pt x="1305" y="530"/>
                        </a:lnTo>
                        <a:lnTo>
                          <a:pt x="1299" y="530"/>
                        </a:lnTo>
                        <a:lnTo>
                          <a:pt x="1299" y="528"/>
                        </a:lnTo>
                        <a:lnTo>
                          <a:pt x="1294" y="528"/>
                        </a:lnTo>
                        <a:lnTo>
                          <a:pt x="1292" y="530"/>
                        </a:lnTo>
                        <a:lnTo>
                          <a:pt x="1275" y="530"/>
                        </a:lnTo>
                        <a:lnTo>
                          <a:pt x="1274" y="528"/>
                        </a:lnTo>
                        <a:lnTo>
                          <a:pt x="1270" y="526"/>
                        </a:lnTo>
                        <a:lnTo>
                          <a:pt x="1267" y="523"/>
                        </a:lnTo>
                        <a:lnTo>
                          <a:pt x="1264" y="521"/>
                        </a:lnTo>
                        <a:lnTo>
                          <a:pt x="1264" y="520"/>
                        </a:lnTo>
                        <a:lnTo>
                          <a:pt x="1252" y="525"/>
                        </a:lnTo>
                        <a:lnTo>
                          <a:pt x="1245" y="525"/>
                        </a:lnTo>
                        <a:lnTo>
                          <a:pt x="1249" y="526"/>
                        </a:lnTo>
                        <a:lnTo>
                          <a:pt x="1249" y="530"/>
                        </a:lnTo>
                        <a:lnTo>
                          <a:pt x="1245" y="533"/>
                        </a:lnTo>
                        <a:lnTo>
                          <a:pt x="1239" y="535"/>
                        </a:lnTo>
                        <a:lnTo>
                          <a:pt x="1239" y="536"/>
                        </a:lnTo>
                        <a:lnTo>
                          <a:pt x="1242" y="538"/>
                        </a:lnTo>
                        <a:lnTo>
                          <a:pt x="1239" y="543"/>
                        </a:lnTo>
                        <a:lnTo>
                          <a:pt x="1237" y="545"/>
                        </a:lnTo>
                        <a:lnTo>
                          <a:pt x="1232" y="543"/>
                        </a:lnTo>
                        <a:lnTo>
                          <a:pt x="1227" y="545"/>
                        </a:lnTo>
                        <a:lnTo>
                          <a:pt x="1221" y="545"/>
                        </a:lnTo>
                        <a:lnTo>
                          <a:pt x="1214" y="533"/>
                        </a:lnTo>
                        <a:lnTo>
                          <a:pt x="1214" y="528"/>
                        </a:lnTo>
                        <a:lnTo>
                          <a:pt x="1214" y="523"/>
                        </a:lnTo>
                        <a:lnTo>
                          <a:pt x="1207" y="523"/>
                        </a:lnTo>
                        <a:lnTo>
                          <a:pt x="1204" y="525"/>
                        </a:lnTo>
                        <a:lnTo>
                          <a:pt x="1204" y="523"/>
                        </a:lnTo>
                        <a:lnTo>
                          <a:pt x="1201" y="523"/>
                        </a:lnTo>
                        <a:lnTo>
                          <a:pt x="1199" y="525"/>
                        </a:lnTo>
                        <a:lnTo>
                          <a:pt x="1197" y="523"/>
                        </a:lnTo>
                        <a:lnTo>
                          <a:pt x="1197" y="525"/>
                        </a:lnTo>
                        <a:lnTo>
                          <a:pt x="1194" y="520"/>
                        </a:lnTo>
                        <a:lnTo>
                          <a:pt x="1192" y="516"/>
                        </a:lnTo>
                        <a:lnTo>
                          <a:pt x="1184" y="511"/>
                        </a:lnTo>
                        <a:lnTo>
                          <a:pt x="1179" y="510"/>
                        </a:lnTo>
                        <a:lnTo>
                          <a:pt x="1179" y="505"/>
                        </a:lnTo>
                        <a:lnTo>
                          <a:pt x="1177" y="500"/>
                        </a:lnTo>
                        <a:lnTo>
                          <a:pt x="1179" y="498"/>
                        </a:lnTo>
                        <a:lnTo>
                          <a:pt x="1179" y="495"/>
                        </a:lnTo>
                        <a:lnTo>
                          <a:pt x="1179" y="493"/>
                        </a:lnTo>
                        <a:lnTo>
                          <a:pt x="1181" y="488"/>
                        </a:lnTo>
                        <a:lnTo>
                          <a:pt x="1182" y="487"/>
                        </a:lnTo>
                        <a:lnTo>
                          <a:pt x="1184" y="485"/>
                        </a:lnTo>
                        <a:lnTo>
                          <a:pt x="1192" y="487"/>
                        </a:lnTo>
                        <a:lnTo>
                          <a:pt x="1201" y="487"/>
                        </a:lnTo>
                        <a:lnTo>
                          <a:pt x="1207" y="487"/>
                        </a:lnTo>
                        <a:lnTo>
                          <a:pt x="1209" y="482"/>
                        </a:lnTo>
                        <a:lnTo>
                          <a:pt x="1207" y="480"/>
                        </a:lnTo>
                        <a:lnTo>
                          <a:pt x="1211" y="480"/>
                        </a:lnTo>
                        <a:lnTo>
                          <a:pt x="1211" y="475"/>
                        </a:lnTo>
                        <a:lnTo>
                          <a:pt x="1209" y="473"/>
                        </a:lnTo>
                        <a:lnTo>
                          <a:pt x="1211" y="472"/>
                        </a:lnTo>
                        <a:lnTo>
                          <a:pt x="1212" y="460"/>
                        </a:lnTo>
                        <a:lnTo>
                          <a:pt x="1222" y="455"/>
                        </a:lnTo>
                        <a:lnTo>
                          <a:pt x="1227" y="455"/>
                        </a:lnTo>
                        <a:lnTo>
                          <a:pt x="1230" y="450"/>
                        </a:lnTo>
                        <a:lnTo>
                          <a:pt x="1234" y="448"/>
                        </a:lnTo>
                        <a:lnTo>
                          <a:pt x="1234" y="440"/>
                        </a:lnTo>
                        <a:lnTo>
                          <a:pt x="1239" y="435"/>
                        </a:lnTo>
                        <a:lnTo>
                          <a:pt x="1239" y="430"/>
                        </a:lnTo>
                        <a:lnTo>
                          <a:pt x="1242" y="430"/>
                        </a:lnTo>
                        <a:lnTo>
                          <a:pt x="1245" y="425"/>
                        </a:lnTo>
                        <a:lnTo>
                          <a:pt x="1250" y="425"/>
                        </a:lnTo>
                        <a:lnTo>
                          <a:pt x="1252" y="425"/>
                        </a:lnTo>
                        <a:lnTo>
                          <a:pt x="1257" y="425"/>
                        </a:lnTo>
                        <a:lnTo>
                          <a:pt x="1259" y="422"/>
                        </a:lnTo>
                        <a:lnTo>
                          <a:pt x="1265" y="430"/>
                        </a:lnTo>
                        <a:lnTo>
                          <a:pt x="1277" y="435"/>
                        </a:lnTo>
                        <a:lnTo>
                          <a:pt x="1277" y="438"/>
                        </a:lnTo>
                        <a:lnTo>
                          <a:pt x="1274" y="440"/>
                        </a:lnTo>
                        <a:lnTo>
                          <a:pt x="1274" y="443"/>
                        </a:lnTo>
                        <a:lnTo>
                          <a:pt x="1269" y="450"/>
                        </a:lnTo>
                        <a:lnTo>
                          <a:pt x="1267" y="455"/>
                        </a:lnTo>
                        <a:lnTo>
                          <a:pt x="1262" y="455"/>
                        </a:lnTo>
                        <a:lnTo>
                          <a:pt x="1264" y="457"/>
                        </a:lnTo>
                        <a:lnTo>
                          <a:pt x="1262" y="463"/>
                        </a:lnTo>
                        <a:lnTo>
                          <a:pt x="1267" y="467"/>
                        </a:lnTo>
                        <a:lnTo>
                          <a:pt x="1267" y="470"/>
                        </a:lnTo>
                        <a:lnTo>
                          <a:pt x="1265" y="472"/>
                        </a:lnTo>
                        <a:lnTo>
                          <a:pt x="1265" y="473"/>
                        </a:lnTo>
                        <a:lnTo>
                          <a:pt x="1267" y="477"/>
                        </a:lnTo>
                        <a:lnTo>
                          <a:pt x="1272" y="475"/>
                        </a:lnTo>
                        <a:lnTo>
                          <a:pt x="1279" y="470"/>
                        </a:lnTo>
                        <a:lnTo>
                          <a:pt x="1277" y="475"/>
                        </a:lnTo>
                        <a:lnTo>
                          <a:pt x="1272" y="477"/>
                        </a:lnTo>
                        <a:lnTo>
                          <a:pt x="1272" y="480"/>
                        </a:lnTo>
                        <a:lnTo>
                          <a:pt x="1275" y="480"/>
                        </a:lnTo>
                        <a:lnTo>
                          <a:pt x="1274" y="482"/>
                        </a:lnTo>
                        <a:lnTo>
                          <a:pt x="1272" y="483"/>
                        </a:lnTo>
                        <a:lnTo>
                          <a:pt x="1267" y="483"/>
                        </a:lnTo>
                        <a:lnTo>
                          <a:pt x="1264" y="487"/>
                        </a:lnTo>
                        <a:lnTo>
                          <a:pt x="1260" y="487"/>
                        </a:lnTo>
                        <a:lnTo>
                          <a:pt x="1259" y="490"/>
                        </a:lnTo>
                        <a:lnTo>
                          <a:pt x="1262" y="492"/>
                        </a:lnTo>
                        <a:lnTo>
                          <a:pt x="1264" y="495"/>
                        </a:lnTo>
                        <a:lnTo>
                          <a:pt x="1265" y="495"/>
                        </a:lnTo>
                        <a:lnTo>
                          <a:pt x="1269" y="492"/>
                        </a:lnTo>
                        <a:lnTo>
                          <a:pt x="1272" y="492"/>
                        </a:lnTo>
                        <a:lnTo>
                          <a:pt x="1275" y="487"/>
                        </a:lnTo>
                        <a:lnTo>
                          <a:pt x="1282" y="483"/>
                        </a:lnTo>
                        <a:lnTo>
                          <a:pt x="1284" y="482"/>
                        </a:lnTo>
                        <a:lnTo>
                          <a:pt x="1282" y="478"/>
                        </a:lnTo>
                        <a:lnTo>
                          <a:pt x="1287" y="473"/>
                        </a:lnTo>
                        <a:lnTo>
                          <a:pt x="1299" y="467"/>
                        </a:lnTo>
                        <a:lnTo>
                          <a:pt x="1300" y="467"/>
                        </a:lnTo>
                        <a:lnTo>
                          <a:pt x="1302" y="462"/>
                        </a:lnTo>
                        <a:lnTo>
                          <a:pt x="1307" y="462"/>
                        </a:lnTo>
                        <a:lnTo>
                          <a:pt x="1314" y="458"/>
                        </a:lnTo>
                        <a:lnTo>
                          <a:pt x="1317" y="460"/>
                        </a:lnTo>
                        <a:lnTo>
                          <a:pt x="1319" y="458"/>
                        </a:lnTo>
                        <a:lnTo>
                          <a:pt x="1325" y="458"/>
                        </a:lnTo>
                        <a:lnTo>
                          <a:pt x="1332" y="452"/>
                        </a:lnTo>
                        <a:lnTo>
                          <a:pt x="1333" y="455"/>
                        </a:lnTo>
                        <a:lnTo>
                          <a:pt x="1333" y="455"/>
                        </a:lnTo>
                        <a:lnTo>
                          <a:pt x="1345" y="450"/>
                        </a:lnTo>
                        <a:lnTo>
                          <a:pt x="1417" y="405"/>
                        </a:lnTo>
                        <a:lnTo>
                          <a:pt x="1423" y="372"/>
                        </a:lnTo>
                        <a:lnTo>
                          <a:pt x="1443" y="357"/>
                        </a:lnTo>
                        <a:lnTo>
                          <a:pt x="1445" y="355"/>
                        </a:lnTo>
                        <a:lnTo>
                          <a:pt x="1445" y="352"/>
                        </a:lnTo>
                        <a:lnTo>
                          <a:pt x="1443" y="350"/>
                        </a:lnTo>
                        <a:lnTo>
                          <a:pt x="1441" y="347"/>
                        </a:lnTo>
                        <a:lnTo>
                          <a:pt x="1441" y="345"/>
                        </a:lnTo>
                        <a:lnTo>
                          <a:pt x="1445" y="344"/>
                        </a:lnTo>
                        <a:lnTo>
                          <a:pt x="1451" y="345"/>
                        </a:lnTo>
                        <a:lnTo>
                          <a:pt x="1451" y="344"/>
                        </a:lnTo>
                        <a:lnTo>
                          <a:pt x="1453" y="340"/>
                        </a:lnTo>
                        <a:lnTo>
                          <a:pt x="1451" y="339"/>
                        </a:lnTo>
                        <a:lnTo>
                          <a:pt x="1451" y="335"/>
                        </a:lnTo>
                        <a:lnTo>
                          <a:pt x="1453" y="334"/>
                        </a:lnTo>
                        <a:lnTo>
                          <a:pt x="1453" y="329"/>
                        </a:lnTo>
                        <a:lnTo>
                          <a:pt x="1453" y="325"/>
                        </a:lnTo>
                        <a:lnTo>
                          <a:pt x="1450" y="324"/>
                        </a:lnTo>
                        <a:lnTo>
                          <a:pt x="1450" y="315"/>
                        </a:lnTo>
                        <a:lnTo>
                          <a:pt x="1450" y="312"/>
                        </a:lnTo>
                        <a:lnTo>
                          <a:pt x="1448" y="307"/>
                        </a:lnTo>
                        <a:lnTo>
                          <a:pt x="1448" y="304"/>
                        </a:lnTo>
                        <a:lnTo>
                          <a:pt x="1446" y="299"/>
                        </a:lnTo>
                        <a:lnTo>
                          <a:pt x="1445" y="297"/>
                        </a:lnTo>
                        <a:lnTo>
                          <a:pt x="1443" y="294"/>
                        </a:lnTo>
                        <a:lnTo>
                          <a:pt x="1436" y="286"/>
                        </a:lnTo>
                        <a:lnTo>
                          <a:pt x="1435" y="282"/>
                        </a:lnTo>
                        <a:lnTo>
                          <a:pt x="1436" y="281"/>
                        </a:lnTo>
                        <a:lnTo>
                          <a:pt x="1440" y="279"/>
                        </a:lnTo>
                        <a:lnTo>
                          <a:pt x="1443" y="277"/>
                        </a:lnTo>
                        <a:lnTo>
                          <a:pt x="1445" y="276"/>
                        </a:lnTo>
                        <a:lnTo>
                          <a:pt x="1446" y="272"/>
                        </a:lnTo>
                        <a:lnTo>
                          <a:pt x="1450" y="266"/>
                        </a:lnTo>
                        <a:lnTo>
                          <a:pt x="1451" y="266"/>
                        </a:lnTo>
                        <a:lnTo>
                          <a:pt x="1456" y="267"/>
                        </a:lnTo>
                        <a:lnTo>
                          <a:pt x="1460" y="267"/>
                        </a:lnTo>
                        <a:lnTo>
                          <a:pt x="1475" y="271"/>
                        </a:lnTo>
                        <a:lnTo>
                          <a:pt x="1476" y="271"/>
                        </a:lnTo>
                        <a:lnTo>
                          <a:pt x="1480" y="271"/>
                        </a:lnTo>
                        <a:lnTo>
                          <a:pt x="1481" y="269"/>
                        </a:lnTo>
                        <a:lnTo>
                          <a:pt x="1481" y="266"/>
                        </a:lnTo>
                        <a:lnTo>
                          <a:pt x="1480" y="262"/>
                        </a:lnTo>
                        <a:lnTo>
                          <a:pt x="1480" y="261"/>
                        </a:lnTo>
                        <a:lnTo>
                          <a:pt x="1480" y="259"/>
                        </a:lnTo>
                        <a:lnTo>
                          <a:pt x="1480" y="257"/>
                        </a:lnTo>
                        <a:lnTo>
                          <a:pt x="1478" y="254"/>
                        </a:lnTo>
                        <a:lnTo>
                          <a:pt x="1480" y="251"/>
                        </a:lnTo>
                        <a:lnTo>
                          <a:pt x="1481" y="249"/>
                        </a:lnTo>
                        <a:lnTo>
                          <a:pt x="1481" y="246"/>
                        </a:lnTo>
                        <a:lnTo>
                          <a:pt x="1480" y="242"/>
                        </a:lnTo>
                        <a:lnTo>
                          <a:pt x="1481" y="241"/>
                        </a:lnTo>
                        <a:lnTo>
                          <a:pt x="1483" y="241"/>
                        </a:lnTo>
                        <a:lnTo>
                          <a:pt x="1483" y="237"/>
                        </a:lnTo>
                        <a:lnTo>
                          <a:pt x="1483" y="236"/>
                        </a:lnTo>
                        <a:lnTo>
                          <a:pt x="1481" y="232"/>
                        </a:lnTo>
                        <a:lnTo>
                          <a:pt x="1481" y="231"/>
                        </a:lnTo>
                        <a:lnTo>
                          <a:pt x="1485" y="229"/>
                        </a:lnTo>
                        <a:lnTo>
                          <a:pt x="1485" y="227"/>
                        </a:lnTo>
                        <a:lnTo>
                          <a:pt x="1483" y="224"/>
                        </a:lnTo>
                        <a:lnTo>
                          <a:pt x="1481" y="221"/>
                        </a:lnTo>
                        <a:lnTo>
                          <a:pt x="1481" y="214"/>
                        </a:lnTo>
                        <a:lnTo>
                          <a:pt x="1483" y="214"/>
                        </a:lnTo>
                        <a:lnTo>
                          <a:pt x="1483" y="214"/>
                        </a:lnTo>
                        <a:lnTo>
                          <a:pt x="1483" y="212"/>
                        </a:lnTo>
                        <a:lnTo>
                          <a:pt x="1483" y="211"/>
                        </a:lnTo>
                        <a:lnTo>
                          <a:pt x="1483" y="208"/>
                        </a:lnTo>
                        <a:lnTo>
                          <a:pt x="1480" y="206"/>
                        </a:lnTo>
                        <a:lnTo>
                          <a:pt x="1480" y="204"/>
                        </a:lnTo>
                        <a:lnTo>
                          <a:pt x="1480" y="201"/>
                        </a:lnTo>
                        <a:lnTo>
                          <a:pt x="1481" y="198"/>
                        </a:lnTo>
                        <a:lnTo>
                          <a:pt x="1480" y="196"/>
                        </a:lnTo>
                        <a:lnTo>
                          <a:pt x="1478" y="194"/>
                        </a:lnTo>
                        <a:lnTo>
                          <a:pt x="1478" y="193"/>
                        </a:lnTo>
                        <a:lnTo>
                          <a:pt x="1481" y="188"/>
                        </a:lnTo>
                        <a:lnTo>
                          <a:pt x="1485" y="188"/>
                        </a:lnTo>
                        <a:lnTo>
                          <a:pt x="1485" y="186"/>
                        </a:lnTo>
                        <a:lnTo>
                          <a:pt x="1486" y="183"/>
                        </a:lnTo>
                        <a:lnTo>
                          <a:pt x="1486" y="178"/>
                        </a:lnTo>
                        <a:lnTo>
                          <a:pt x="1483" y="176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52" name="Google Shape;3007;p98">
                    <a:extLst>
                      <a:ext uri="{FF2B5EF4-FFF2-40B4-BE49-F238E27FC236}">
                        <a16:creationId xmlns:a16="http://schemas.microsoft.com/office/drawing/2014/main" id="{50D9F1A6-93A3-9245-586A-A9CDAB3436D9}"/>
                      </a:ext>
                    </a:extLst>
                  </p:cNvPr>
                  <p:cNvSpPr/>
                  <p:nvPr/>
                </p:nvSpPr>
                <p:spPr>
                  <a:xfrm>
                    <a:off x="7958313" y="2956363"/>
                    <a:ext cx="23545" cy="4876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" h="93" extrusionOk="0">
                        <a:moveTo>
                          <a:pt x="38" y="6"/>
                        </a:moveTo>
                        <a:lnTo>
                          <a:pt x="36" y="6"/>
                        </a:lnTo>
                        <a:lnTo>
                          <a:pt x="35" y="1"/>
                        </a:lnTo>
                        <a:lnTo>
                          <a:pt x="30" y="0"/>
                        </a:lnTo>
                        <a:lnTo>
                          <a:pt x="26" y="1"/>
                        </a:lnTo>
                        <a:lnTo>
                          <a:pt x="26" y="5"/>
                        </a:lnTo>
                        <a:lnTo>
                          <a:pt x="21" y="6"/>
                        </a:lnTo>
                        <a:lnTo>
                          <a:pt x="16" y="11"/>
                        </a:lnTo>
                        <a:lnTo>
                          <a:pt x="11" y="20"/>
                        </a:lnTo>
                        <a:lnTo>
                          <a:pt x="13" y="21"/>
                        </a:lnTo>
                        <a:lnTo>
                          <a:pt x="11" y="25"/>
                        </a:lnTo>
                        <a:lnTo>
                          <a:pt x="10" y="26"/>
                        </a:lnTo>
                        <a:lnTo>
                          <a:pt x="5" y="34"/>
                        </a:lnTo>
                        <a:lnTo>
                          <a:pt x="1" y="43"/>
                        </a:lnTo>
                        <a:lnTo>
                          <a:pt x="0" y="44"/>
                        </a:lnTo>
                        <a:lnTo>
                          <a:pt x="1" y="46"/>
                        </a:lnTo>
                        <a:lnTo>
                          <a:pt x="1" y="54"/>
                        </a:lnTo>
                        <a:lnTo>
                          <a:pt x="3" y="63"/>
                        </a:lnTo>
                        <a:lnTo>
                          <a:pt x="5" y="64"/>
                        </a:lnTo>
                        <a:lnTo>
                          <a:pt x="6" y="68"/>
                        </a:lnTo>
                        <a:lnTo>
                          <a:pt x="5" y="68"/>
                        </a:lnTo>
                        <a:lnTo>
                          <a:pt x="5" y="71"/>
                        </a:lnTo>
                        <a:lnTo>
                          <a:pt x="8" y="74"/>
                        </a:lnTo>
                        <a:lnTo>
                          <a:pt x="10" y="74"/>
                        </a:lnTo>
                        <a:lnTo>
                          <a:pt x="11" y="78"/>
                        </a:lnTo>
                        <a:lnTo>
                          <a:pt x="18" y="79"/>
                        </a:lnTo>
                        <a:lnTo>
                          <a:pt x="21" y="84"/>
                        </a:lnTo>
                        <a:lnTo>
                          <a:pt x="21" y="89"/>
                        </a:lnTo>
                        <a:lnTo>
                          <a:pt x="21" y="93"/>
                        </a:lnTo>
                        <a:lnTo>
                          <a:pt x="25" y="91"/>
                        </a:lnTo>
                        <a:lnTo>
                          <a:pt x="28" y="93"/>
                        </a:lnTo>
                        <a:lnTo>
                          <a:pt x="26" y="88"/>
                        </a:lnTo>
                        <a:lnTo>
                          <a:pt x="28" y="83"/>
                        </a:lnTo>
                        <a:lnTo>
                          <a:pt x="26" y="76"/>
                        </a:lnTo>
                        <a:lnTo>
                          <a:pt x="30" y="73"/>
                        </a:lnTo>
                        <a:lnTo>
                          <a:pt x="36" y="63"/>
                        </a:lnTo>
                        <a:lnTo>
                          <a:pt x="36" y="58"/>
                        </a:lnTo>
                        <a:lnTo>
                          <a:pt x="38" y="56"/>
                        </a:lnTo>
                        <a:lnTo>
                          <a:pt x="35" y="56"/>
                        </a:lnTo>
                        <a:lnTo>
                          <a:pt x="36" y="48"/>
                        </a:lnTo>
                        <a:lnTo>
                          <a:pt x="38" y="41"/>
                        </a:lnTo>
                        <a:lnTo>
                          <a:pt x="36" y="34"/>
                        </a:lnTo>
                        <a:lnTo>
                          <a:pt x="40" y="31"/>
                        </a:lnTo>
                        <a:lnTo>
                          <a:pt x="40" y="20"/>
                        </a:lnTo>
                        <a:lnTo>
                          <a:pt x="41" y="13"/>
                        </a:lnTo>
                        <a:lnTo>
                          <a:pt x="43" y="13"/>
                        </a:lnTo>
                        <a:lnTo>
                          <a:pt x="43" y="10"/>
                        </a:lnTo>
                        <a:lnTo>
                          <a:pt x="38" y="6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</p:grpSp>
            <p:grpSp>
              <p:nvGrpSpPr>
                <p:cNvPr id="514" name="Google Shape;3008;p98">
                  <a:extLst>
                    <a:ext uri="{FF2B5EF4-FFF2-40B4-BE49-F238E27FC236}">
                      <a16:creationId xmlns:a16="http://schemas.microsoft.com/office/drawing/2014/main" id="{78FF8F7C-D797-ABC5-14D6-536271BD247A}"/>
                    </a:ext>
                  </a:extLst>
                </p:cNvPr>
                <p:cNvGrpSpPr/>
                <p:nvPr/>
              </p:nvGrpSpPr>
              <p:grpSpPr>
                <a:xfrm>
                  <a:off x="6194309" y="2823772"/>
                  <a:ext cx="889496" cy="857837"/>
                  <a:chOff x="6193473" y="2824589"/>
                  <a:chExt cx="889376" cy="858085"/>
                </a:xfrm>
                <a:grpFill/>
              </p:grpSpPr>
              <p:sp>
                <p:nvSpPr>
                  <p:cNvPr id="657" name="Google Shape;3009;p98">
                    <a:extLst>
                      <a:ext uri="{FF2B5EF4-FFF2-40B4-BE49-F238E27FC236}">
                        <a16:creationId xmlns:a16="http://schemas.microsoft.com/office/drawing/2014/main" id="{B285AD72-590E-8A38-8654-4EB7DE29705A}"/>
                      </a:ext>
                    </a:extLst>
                  </p:cNvPr>
                  <p:cNvSpPr/>
                  <p:nvPr/>
                </p:nvSpPr>
                <p:spPr>
                  <a:xfrm>
                    <a:off x="6727527" y="2895145"/>
                    <a:ext cx="162678" cy="1203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4" h="231" extrusionOk="0">
                        <a:moveTo>
                          <a:pt x="243" y="54"/>
                        </a:moveTo>
                        <a:lnTo>
                          <a:pt x="239" y="46"/>
                        </a:lnTo>
                        <a:lnTo>
                          <a:pt x="241" y="41"/>
                        </a:lnTo>
                        <a:lnTo>
                          <a:pt x="236" y="30"/>
                        </a:lnTo>
                        <a:lnTo>
                          <a:pt x="229" y="21"/>
                        </a:lnTo>
                        <a:lnTo>
                          <a:pt x="226" y="13"/>
                        </a:lnTo>
                        <a:lnTo>
                          <a:pt x="223" y="6"/>
                        </a:lnTo>
                        <a:lnTo>
                          <a:pt x="219" y="5"/>
                        </a:lnTo>
                        <a:lnTo>
                          <a:pt x="216" y="8"/>
                        </a:lnTo>
                        <a:lnTo>
                          <a:pt x="210" y="11"/>
                        </a:lnTo>
                        <a:lnTo>
                          <a:pt x="195" y="8"/>
                        </a:lnTo>
                        <a:lnTo>
                          <a:pt x="183" y="11"/>
                        </a:lnTo>
                        <a:lnTo>
                          <a:pt x="173" y="6"/>
                        </a:lnTo>
                        <a:lnTo>
                          <a:pt x="173" y="10"/>
                        </a:lnTo>
                        <a:lnTo>
                          <a:pt x="176" y="15"/>
                        </a:lnTo>
                        <a:lnTo>
                          <a:pt x="175" y="18"/>
                        </a:lnTo>
                        <a:lnTo>
                          <a:pt x="171" y="13"/>
                        </a:lnTo>
                        <a:lnTo>
                          <a:pt x="166" y="10"/>
                        </a:lnTo>
                        <a:lnTo>
                          <a:pt x="166" y="6"/>
                        </a:lnTo>
                        <a:lnTo>
                          <a:pt x="168" y="5"/>
                        </a:lnTo>
                        <a:lnTo>
                          <a:pt x="166" y="3"/>
                        </a:lnTo>
                        <a:lnTo>
                          <a:pt x="163" y="5"/>
                        </a:lnTo>
                        <a:lnTo>
                          <a:pt x="158" y="3"/>
                        </a:lnTo>
                        <a:lnTo>
                          <a:pt x="150" y="1"/>
                        </a:lnTo>
                        <a:lnTo>
                          <a:pt x="148" y="1"/>
                        </a:lnTo>
                        <a:lnTo>
                          <a:pt x="151" y="3"/>
                        </a:lnTo>
                        <a:lnTo>
                          <a:pt x="151" y="5"/>
                        </a:lnTo>
                        <a:lnTo>
                          <a:pt x="148" y="5"/>
                        </a:lnTo>
                        <a:lnTo>
                          <a:pt x="143" y="5"/>
                        </a:lnTo>
                        <a:lnTo>
                          <a:pt x="138" y="6"/>
                        </a:lnTo>
                        <a:lnTo>
                          <a:pt x="136" y="5"/>
                        </a:lnTo>
                        <a:lnTo>
                          <a:pt x="136" y="3"/>
                        </a:lnTo>
                        <a:lnTo>
                          <a:pt x="141" y="3"/>
                        </a:lnTo>
                        <a:lnTo>
                          <a:pt x="145" y="1"/>
                        </a:lnTo>
                        <a:lnTo>
                          <a:pt x="140" y="1"/>
                        </a:lnTo>
                        <a:lnTo>
                          <a:pt x="133" y="3"/>
                        </a:lnTo>
                        <a:lnTo>
                          <a:pt x="130" y="5"/>
                        </a:lnTo>
                        <a:lnTo>
                          <a:pt x="123" y="8"/>
                        </a:lnTo>
                        <a:lnTo>
                          <a:pt x="120" y="10"/>
                        </a:lnTo>
                        <a:lnTo>
                          <a:pt x="115" y="11"/>
                        </a:lnTo>
                        <a:lnTo>
                          <a:pt x="108" y="15"/>
                        </a:lnTo>
                        <a:lnTo>
                          <a:pt x="108" y="18"/>
                        </a:lnTo>
                        <a:lnTo>
                          <a:pt x="100" y="18"/>
                        </a:lnTo>
                        <a:lnTo>
                          <a:pt x="92" y="13"/>
                        </a:lnTo>
                        <a:lnTo>
                          <a:pt x="85" y="11"/>
                        </a:lnTo>
                        <a:lnTo>
                          <a:pt x="77" y="13"/>
                        </a:lnTo>
                        <a:lnTo>
                          <a:pt x="70" y="8"/>
                        </a:lnTo>
                        <a:lnTo>
                          <a:pt x="68" y="8"/>
                        </a:lnTo>
                        <a:lnTo>
                          <a:pt x="65" y="10"/>
                        </a:lnTo>
                        <a:lnTo>
                          <a:pt x="58" y="6"/>
                        </a:lnTo>
                        <a:lnTo>
                          <a:pt x="50" y="5"/>
                        </a:lnTo>
                        <a:lnTo>
                          <a:pt x="32" y="3"/>
                        </a:lnTo>
                        <a:lnTo>
                          <a:pt x="22" y="0"/>
                        </a:lnTo>
                        <a:lnTo>
                          <a:pt x="10" y="0"/>
                        </a:lnTo>
                        <a:lnTo>
                          <a:pt x="7" y="1"/>
                        </a:lnTo>
                        <a:lnTo>
                          <a:pt x="7" y="1"/>
                        </a:lnTo>
                        <a:lnTo>
                          <a:pt x="5" y="5"/>
                        </a:lnTo>
                        <a:lnTo>
                          <a:pt x="4" y="15"/>
                        </a:lnTo>
                        <a:lnTo>
                          <a:pt x="7" y="20"/>
                        </a:lnTo>
                        <a:lnTo>
                          <a:pt x="7" y="25"/>
                        </a:lnTo>
                        <a:lnTo>
                          <a:pt x="4" y="33"/>
                        </a:lnTo>
                        <a:lnTo>
                          <a:pt x="0" y="40"/>
                        </a:lnTo>
                        <a:lnTo>
                          <a:pt x="4" y="45"/>
                        </a:lnTo>
                        <a:lnTo>
                          <a:pt x="5" y="56"/>
                        </a:lnTo>
                        <a:lnTo>
                          <a:pt x="14" y="231"/>
                        </a:lnTo>
                        <a:lnTo>
                          <a:pt x="304" y="227"/>
                        </a:lnTo>
                        <a:lnTo>
                          <a:pt x="304" y="227"/>
                        </a:lnTo>
                        <a:lnTo>
                          <a:pt x="299" y="226"/>
                        </a:lnTo>
                        <a:lnTo>
                          <a:pt x="294" y="221"/>
                        </a:lnTo>
                        <a:lnTo>
                          <a:pt x="293" y="217"/>
                        </a:lnTo>
                        <a:lnTo>
                          <a:pt x="288" y="217"/>
                        </a:lnTo>
                        <a:lnTo>
                          <a:pt x="284" y="211"/>
                        </a:lnTo>
                        <a:lnTo>
                          <a:pt x="281" y="212"/>
                        </a:lnTo>
                        <a:lnTo>
                          <a:pt x="276" y="212"/>
                        </a:lnTo>
                        <a:lnTo>
                          <a:pt x="269" y="207"/>
                        </a:lnTo>
                        <a:lnTo>
                          <a:pt x="266" y="196"/>
                        </a:lnTo>
                        <a:lnTo>
                          <a:pt x="266" y="192"/>
                        </a:lnTo>
                        <a:lnTo>
                          <a:pt x="266" y="187"/>
                        </a:lnTo>
                        <a:lnTo>
                          <a:pt x="264" y="184"/>
                        </a:lnTo>
                        <a:lnTo>
                          <a:pt x="264" y="182"/>
                        </a:lnTo>
                        <a:lnTo>
                          <a:pt x="266" y="184"/>
                        </a:lnTo>
                        <a:lnTo>
                          <a:pt x="274" y="184"/>
                        </a:lnTo>
                        <a:lnTo>
                          <a:pt x="271" y="182"/>
                        </a:lnTo>
                        <a:lnTo>
                          <a:pt x="269" y="182"/>
                        </a:lnTo>
                        <a:lnTo>
                          <a:pt x="264" y="176"/>
                        </a:lnTo>
                        <a:lnTo>
                          <a:pt x="263" y="176"/>
                        </a:lnTo>
                        <a:lnTo>
                          <a:pt x="263" y="176"/>
                        </a:lnTo>
                        <a:lnTo>
                          <a:pt x="261" y="174"/>
                        </a:lnTo>
                        <a:lnTo>
                          <a:pt x="258" y="167"/>
                        </a:lnTo>
                        <a:lnTo>
                          <a:pt x="249" y="154"/>
                        </a:lnTo>
                        <a:lnTo>
                          <a:pt x="244" y="152"/>
                        </a:lnTo>
                        <a:lnTo>
                          <a:pt x="243" y="146"/>
                        </a:lnTo>
                        <a:lnTo>
                          <a:pt x="228" y="126"/>
                        </a:lnTo>
                        <a:lnTo>
                          <a:pt x="228" y="121"/>
                        </a:lnTo>
                        <a:lnTo>
                          <a:pt x="226" y="118"/>
                        </a:lnTo>
                        <a:lnTo>
                          <a:pt x="224" y="109"/>
                        </a:lnTo>
                        <a:lnTo>
                          <a:pt x="223" y="106"/>
                        </a:lnTo>
                        <a:lnTo>
                          <a:pt x="223" y="104"/>
                        </a:lnTo>
                        <a:lnTo>
                          <a:pt x="215" y="96"/>
                        </a:lnTo>
                        <a:lnTo>
                          <a:pt x="215" y="93"/>
                        </a:lnTo>
                        <a:lnTo>
                          <a:pt x="215" y="89"/>
                        </a:lnTo>
                        <a:lnTo>
                          <a:pt x="213" y="86"/>
                        </a:lnTo>
                        <a:lnTo>
                          <a:pt x="198" y="74"/>
                        </a:lnTo>
                        <a:lnTo>
                          <a:pt x="198" y="71"/>
                        </a:lnTo>
                        <a:lnTo>
                          <a:pt x="188" y="63"/>
                        </a:lnTo>
                        <a:lnTo>
                          <a:pt x="188" y="58"/>
                        </a:lnTo>
                        <a:lnTo>
                          <a:pt x="183" y="51"/>
                        </a:lnTo>
                        <a:lnTo>
                          <a:pt x="185" y="48"/>
                        </a:lnTo>
                        <a:lnTo>
                          <a:pt x="183" y="45"/>
                        </a:lnTo>
                        <a:lnTo>
                          <a:pt x="185" y="45"/>
                        </a:lnTo>
                        <a:lnTo>
                          <a:pt x="186" y="45"/>
                        </a:lnTo>
                        <a:lnTo>
                          <a:pt x="188" y="45"/>
                        </a:lnTo>
                        <a:lnTo>
                          <a:pt x="190" y="51"/>
                        </a:lnTo>
                        <a:lnTo>
                          <a:pt x="191" y="53"/>
                        </a:lnTo>
                        <a:lnTo>
                          <a:pt x="193" y="56"/>
                        </a:lnTo>
                        <a:lnTo>
                          <a:pt x="201" y="63"/>
                        </a:lnTo>
                        <a:lnTo>
                          <a:pt x="201" y="68"/>
                        </a:lnTo>
                        <a:lnTo>
                          <a:pt x="205" y="71"/>
                        </a:lnTo>
                        <a:lnTo>
                          <a:pt x="211" y="74"/>
                        </a:lnTo>
                        <a:lnTo>
                          <a:pt x="211" y="78"/>
                        </a:lnTo>
                        <a:lnTo>
                          <a:pt x="223" y="89"/>
                        </a:lnTo>
                        <a:lnTo>
                          <a:pt x="229" y="93"/>
                        </a:lnTo>
                        <a:lnTo>
                          <a:pt x="231" y="94"/>
                        </a:lnTo>
                        <a:lnTo>
                          <a:pt x="231" y="91"/>
                        </a:lnTo>
                        <a:lnTo>
                          <a:pt x="234" y="88"/>
                        </a:lnTo>
                        <a:lnTo>
                          <a:pt x="236" y="81"/>
                        </a:lnTo>
                        <a:lnTo>
                          <a:pt x="234" y="79"/>
                        </a:lnTo>
                        <a:lnTo>
                          <a:pt x="238" y="73"/>
                        </a:lnTo>
                        <a:lnTo>
                          <a:pt x="238" y="68"/>
                        </a:lnTo>
                        <a:lnTo>
                          <a:pt x="241" y="56"/>
                        </a:lnTo>
                        <a:lnTo>
                          <a:pt x="243" y="54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58" name="Google Shape;3010;p98">
                    <a:extLst>
                      <a:ext uri="{FF2B5EF4-FFF2-40B4-BE49-F238E27FC236}">
                        <a16:creationId xmlns:a16="http://schemas.microsoft.com/office/drawing/2014/main" id="{4E29F0C5-1BCB-C4F9-EEBB-9E8E79914890}"/>
                      </a:ext>
                    </a:extLst>
                  </p:cNvPr>
                  <p:cNvSpPr/>
                  <p:nvPr/>
                </p:nvSpPr>
                <p:spPr>
                  <a:xfrm>
                    <a:off x="6697560" y="3013430"/>
                    <a:ext cx="215120" cy="2168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02" h="417" extrusionOk="0">
                        <a:moveTo>
                          <a:pt x="69" y="4"/>
                        </a:moveTo>
                        <a:lnTo>
                          <a:pt x="359" y="0"/>
                        </a:lnTo>
                        <a:lnTo>
                          <a:pt x="358" y="4"/>
                        </a:lnTo>
                        <a:lnTo>
                          <a:pt x="358" y="5"/>
                        </a:lnTo>
                        <a:lnTo>
                          <a:pt x="359" y="7"/>
                        </a:lnTo>
                        <a:lnTo>
                          <a:pt x="359" y="7"/>
                        </a:lnTo>
                        <a:lnTo>
                          <a:pt x="359" y="9"/>
                        </a:lnTo>
                        <a:lnTo>
                          <a:pt x="359" y="10"/>
                        </a:lnTo>
                        <a:lnTo>
                          <a:pt x="361" y="10"/>
                        </a:lnTo>
                        <a:lnTo>
                          <a:pt x="363" y="17"/>
                        </a:lnTo>
                        <a:lnTo>
                          <a:pt x="366" y="22"/>
                        </a:lnTo>
                        <a:lnTo>
                          <a:pt x="366" y="23"/>
                        </a:lnTo>
                        <a:lnTo>
                          <a:pt x="366" y="23"/>
                        </a:lnTo>
                        <a:lnTo>
                          <a:pt x="364" y="22"/>
                        </a:lnTo>
                        <a:lnTo>
                          <a:pt x="363" y="20"/>
                        </a:lnTo>
                        <a:lnTo>
                          <a:pt x="363" y="22"/>
                        </a:lnTo>
                        <a:lnTo>
                          <a:pt x="363" y="25"/>
                        </a:lnTo>
                        <a:lnTo>
                          <a:pt x="369" y="40"/>
                        </a:lnTo>
                        <a:lnTo>
                          <a:pt x="369" y="50"/>
                        </a:lnTo>
                        <a:lnTo>
                          <a:pt x="368" y="58"/>
                        </a:lnTo>
                        <a:lnTo>
                          <a:pt x="371" y="67"/>
                        </a:lnTo>
                        <a:lnTo>
                          <a:pt x="376" y="75"/>
                        </a:lnTo>
                        <a:lnTo>
                          <a:pt x="381" y="75"/>
                        </a:lnTo>
                        <a:lnTo>
                          <a:pt x="391" y="82"/>
                        </a:lnTo>
                        <a:lnTo>
                          <a:pt x="391" y="87"/>
                        </a:lnTo>
                        <a:lnTo>
                          <a:pt x="396" y="87"/>
                        </a:lnTo>
                        <a:lnTo>
                          <a:pt x="401" y="88"/>
                        </a:lnTo>
                        <a:lnTo>
                          <a:pt x="401" y="92"/>
                        </a:lnTo>
                        <a:lnTo>
                          <a:pt x="402" y="92"/>
                        </a:lnTo>
                        <a:lnTo>
                          <a:pt x="399" y="97"/>
                        </a:lnTo>
                        <a:lnTo>
                          <a:pt x="396" y="98"/>
                        </a:lnTo>
                        <a:lnTo>
                          <a:pt x="391" y="98"/>
                        </a:lnTo>
                        <a:lnTo>
                          <a:pt x="389" y="102"/>
                        </a:lnTo>
                        <a:lnTo>
                          <a:pt x="384" y="102"/>
                        </a:lnTo>
                        <a:lnTo>
                          <a:pt x="381" y="103"/>
                        </a:lnTo>
                        <a:lnTo>
                          <a:pt x="376" y="105"/>
                        </a:lnTo>
                        <a:lnTo>
                          <a:pt x="376" y="107"/>
                        </a:lnTo>
                        <a:lnTo>
                          <a:pt x="377" y="108"/>
                        </a:lnTo>
                        <a:lnTo>
                          <a:pt x="376" y="112"/>
                        </a:lnTo>
                        <a:lnTo>
                          <a:pt x="369" y="112"/>
                        </a:lnTo>
                        <a:lnTo>
                          <a:pt x="368" y="113"/>
                        </a:lnTo>
                        <a:lnTo>
                          <a:pt x="368" y="116"/>
                        </a:lnTo>
                        <a:lnTo>
                          <a:pt x="364" y="121"/>
                        </a:lnTo>
                        <a:lnTo>
                          <a:pt x="368" y="123"/>
                        </a:lnTo>
                        <a:lnTo>
                          <a:pt x="369" y="125"/>
                        </a:lnTo>
                        <a:lnTo>
                          <a:pt x="366" y="128"/>
                        </a:lnTo>
                        <a:lnTo>
                          <a:pt x="364" y="135"/>
                        </a:lnTo>
                        <a:lnTo>
                          <a:pt x="363" y="145"/>
                        </a:lnTo>
                        <a:lnTo>
                          <a:pt x="358" y="151"/>
                        </a:lnTo>
                        <a:lnTo>
                          <a:pt x="358" y="155"/>
                        </a:lnTo>
                        <a:lnTo>
                          <a:pt x="356" y="156"/>
                        </a:lnTo>
                        <a:lnTo>
                          <a:pt x="354" y="161"/>
                        </a:lnTo>
                        <a:lnTo>
                          <a:pt x="358" y="171"/>
                        </a:lnTo>
                        <a:lnTo>
                          <a:pt x="359" y="176"/>
                        </a:lnTo>
                        <a:lnTo>
                          <a:pt x="359" y="176"/>
                        </a:lnTo>
                        <a:lnTo>
                          <a:pt x="359" y="178"/>
                        </a:lnTo>
                        <a:lnTo>
                          <a:pt x="356" y="185"/>
                        </a:lnTo>
                        <a:lnTo>
                          <a:pt x="356" y="191"/>
                        </a:lnTo>
                        <a:lnTo>
                          <a:pt x="349" y="203"/>
                        </a:lnTo>
                        <a:lnTo>
                          <a:pt x="346" y="210"/>
                        </a:lnTo>
                        <a:lnTo>
                          <a:pt x="344" y="210"/>
                        </a:lnTo>
                        <a:lnTo>
                          <a:pt x="339" y="210"/>
                        </a:lnTo>
                        <a:lnTo>
                          <a:pt x="339" y="213"/>
                        </a:lnTo>
                        <a:lnTo>
                          <a:pt x="334" y="223"/>
                        </a:lnTo>
                        <a:lnTo>
                          <a:pt x="333" y="226"/>
                        </a:lnTo>
                        <a:lnTo>
                          <a:pt x="326" y="229"/>
                        </a:lnTo>
                        <a:lnTo>
                          <a:pt x="323" y="238"/>
                        </a:lnTo>
                        <a:lnTo>
                          <a:pt x="319" y="253"/>
                        </a:lnTo>
                        <a:lnTo>
                          <a:pt x="316" y="253"/>
                        </a:lnTo>
                        <a:lnTo>
                          <a:pt x="314" y="253"/>
                        </a:lnTo>
                        <a:lnTo>
                          <a:pt x="313" y="256"/>
                        </a:lnTo>
                        <a:lnTo>
                          <a:pt x="308" y="261"/>
                        </a:lnTo>
                        <a:lnTo>
                          <a:pt x="306" y="266"/>
                        </a:lnTo>
                        <a:lnTo>
                          <a:pt x="308" y="268"/>
                        </a:lnTo>
                        <a:lnTo>
                          <a:pt x="308" y="273"/>
                        </a:lnTo>
                        <a:lnTo>
                          <a:pt x="304" y="279"/>
                        </a:lnTo>
                        <a:lnTo>
                          <a:pt x="303" y="284"/>
                        </a:lnTo>
                        <a:lnTo>
                          <a:pt x="303" y="294"/>
                        </a:lnTo>
                        <a:lnTo>
                          <a:pt x="303" y="304"/>
                        </a:lnTo>
                        <a:lnTo>
                          <a:pt x="299" y="306"/>
                        </a:lnTo>
                        <a:lnTo>
                          <a:pt x="298" y="309"/>
                        </a:lnTo>
                        <a:lnTo>
                          <a:pt x="294" y="308"/>
                        </a:lnTo>
                        <a:lnTo>
                          <a:pt x="291" y="306"/>
                        </a:lnTo>
                        <a:lnTo>
                          <a:pt x="288" y="308"/>
                        </a:lnTo>
                        <a:lnTo>
                          <a:pt x="281" y="306"/>
                        </a:lnTo>
                        <a:lnTo>
                          <a:pt x="281" y="311"/>
                        </a:lnTo>
                        <a:lnTo>
                          <a:pt x="279" y="312"/>
                        </a:lnTo>
                        <a:lnTo>
                          <a:pt x="276" y="317"/>
                        </a:lnTo>
                        <a:lnTo>
                          <a:pt x="278" y="321"/>
                        </a:lnTo>
                        <a:lnTo>
                          <a:pt x="281" y="321"/>
                        </a:lnTo>
                        <a:lnTo>
                          <a:pt x="291" y="321"/>
                        </a:lnTo>
                        <a:lnTo>
                          <a:pt x="294" y="324"/>
                        </a:lnTo>
                        <a:lnTo>
                          <a:pt x="298" y="327"/>
                        </a:lnTo>
                        <a:lnTo>
                          <a:pt x="299" y="331"/>
                        </a:lnTo>
                        <a:lnTo>
                          <a:pt x="301" y="332"/>
                        </a:lnTo>
                        <a:lnTo>
                          <a:pt x="306" y="339"/>
                        </a:lnTo>
                        <a:lnTo>
                          <a:pt x="309" y="341"/>
                        </a:lnTo>
                        <a:lnTo>
                          <a:pt x="309" y="342"/>
                        </a:lnTo>
                        <a:lnTo>
                          <a:pt x="311" y="344"/>
                        </a:lnTo>
                        <a:lnTo>
                          <a:pt x="316" y="344"/>
                        </a:lnTo>
                        <a:lnTo>
                          <a:pt x="319" y="347"/>
                        </a:lnTo>
                        <a:lnTo>
                          <a:pt x="321" y="352"/>
                        </a:lnTo>
                        <a:lnTo>
                          <a:pt x="324" y="356"/>
                        </a:lnTo>
                        <a:lnTo>
                          <a:pt x="326" y="364"/>
                        </a:lnTo>
                        <a:lnTo>
                          <a:pt x="329" y="366"/>
                        </a:lnTo>
                        <a:lnTo>
                          <a:pt x="329" y="374"/>
                        </a:lnTo>
                        <a:lnTo>
                          <a:pt x="323" y="382"/>
                        </a:lnTo>
                        <a:lnTo>
                          <a:pt x="316" y="391"/>
                        </a:lnTo>
                        <a:lnTo>
                          <a:pt x="314" y="389"/>
                        </a:lnTo>
                        <a:lnTo>
                          <a:pt x="309" y="394"/>
                        </a:lnTo>
                        <a:lnTo>
                          <a:pt x="306" y="396"/>
                        </a:lnTo>
                        <a:lnTo>
                          <a:pt x="304" y="397"/>
                        </a:lnTo>
                        <a:lnTo>
                          <a:pt x="303" y="401"/>
                        </a:lnTo>
                        <a:lnTo>
                          <a:pt x="303" y="401"/>
                        </a:lnTo>
                        <a:lnTo>
                          <a:pt x="296" y="404"/>
                        </a:lnTo>
                        <a:lnTo>
                          <a:pt x="293" y="407"/>
                        </a:lnTo>
                        <a:lnTo>
                          <a:pt x="288" y="409"/>
                        </a:lnTo>
                        <a:lnTo>
                          <a:pt x="283" y="409"/>
                        </a:lnTo>
                        <a:lnTo>
                          <a:pt x="274" y="409"/>
                        </a:lnTo>
                        <a:lnTo>
                          <a:pt x="268" y="410"/>
                        </a:lnTo>
                        <a:lnTo>
                          <a:pt x="265" y="410"/>
                        </a:lnTo>
                        <a:lnTo>
                          <a:pt x="263" y="412"/>
                        </a:lnTo>
                        <a:lnTo>
                          <a:pt x="260" y="410"/>
                        </a:lnTo>
                        <a:lnTo>
                          <a:pt x="256" y="414"/>
                        </a:lnTo>
                        <a:lnTo>
                          <a:pt x="256" y="417"/>
                        </a:lnTo>
                        <a:lnTo>
                          <a:pt x="255" y="417"/>
                        </a:lnTo>
                        <a:lnTo>
                          <a:pt x="248" y="415"/>
                        </a:lnTo>
                        <a:lnTo>
                          <a:pt x="248" y="412"/>
                        </a:lnTo>
                        <a:lnTo>
                          <a:pt x="243" y="410"/>
                        </a:lnTo>
                        <a:lnTo>
                          <a:pt x="240" y="412"/>
                        </a:lnTo>
                        <a:lnTo>
                          <a:pt x="233" y="410"/>
                        </a:lnTo>
                        <a:lnTo>
                          <a:pt x="228" y="409"/>
                        </a:lnTo>
                        <a:lnTo>
                          <a:pt x="226" y="410"/>
                        </a:lnTo>
                        <a:lnTo>
                          <a:pt x="225" y="414"/>
                        </a:lnTo>
                        <a:lnTo>
                          <a:pt x="226" y="415"/>
                        </a:lnTo>
                        <a:lnTo>
                          <a:pt x="226" y="417"/>
                        </a:lnTo>
                        <a:lnTo>
                          <a:pt x="225" y="415"/>
                        </a:lnTo>
                        <a:lnTo>
                          <a:pt x="218" y="415"/>
                        </a:lnTo>
                        <a:lnTo>
                          <a:pt x="218" y="415"/>
                        </a:lnTo>
                        <a:lnTo>
                          <a:pt x="216" y="414"/>
                        </a:lnTo>
                        <a:lnTo>
                          <a:pt x="216" y="410"/>
                        </a:lnTo>
                        <a:lnTo>
                          <a:pt x="215" y="409"/>
                        </a:lnTo>
                        <a:lnTo>
                          <a:pt x="213" y="404"/>
                        </a:lnTo>
                        <a:lnTo>
                          <a:pt x="210" y="402"/>
                        </a:lnTo>
                        <a:lnTo>
                          <a:pt x="203" y="401"/>
                        </a:lnTo>
                        <a:lnTo>
                          <a:pt x="201" y="399"/>
                        </a:lnTo>
                        <a:lnTo>
                          <a:pt x="200" y="396"/>
                        </a:lnTo>
                        <a:lnTo>
                          <a:pt x="196" y="391"/>
                        </a:lnTo>
                        <a:lnTo>
                          <a:pt x="195" y="389"/>
                        </a:lnTo>
                        <a:lnTo>
                          <a:pt x="190" y="389"/>
                        </a:lnTo>
                        <a:lnTo>
                          <a:pt x="186" y="392"/>
                        </a:lnTo>
                        <a:lnTo>
                          <a:pt x="185" y="394"/>
                        </a:lnTo>
                        <a:lnTo>
                          <a:pt x="180" y="396"/>
                        </a:lnTo>
                        <a:lnTo>
                          <a:pt x="176" y="396"/>
                        </a:lnTo>
                        <a:lnTo>
                          <a:pt x="176" y="394"/>
                        </a:lnTo>
                        <a:lnTo>
                          <a:pt x="173" y="394"/>
                        </a:lnTo>
                        <a:lnTo>
                          <a:pt x="168" y="394"/>
                        </a:lnTo>
                        <a:lnTo>
                          <a:pt x="165" y="396"/>
                        </a:lnTo>
                        <a:lnTo>
                          <a:pt x="163" y="399"/>
                        </a:lnTo>
                        <a:lnTo>
                          <a:pt x="160" y="399"/>
                        </a:lnTo>
                        <a:lnTo>
                          <a:pt x="155" y="397"/>
                        </a:lnTo>
                        <a:lnTo>
                          <a:pt x="150" y="394"/>
                        </a:lnTo>
                        <a:lnTo>
                          <a:pt x="148" y="391"/>
                        </a:lnTo>
                        <a:lnTo>
                          <a:pt x="145" y="391"/>
                        </a:lnTo>
                        <a:lnTo>
                          <a:pt x="142" y="387"/>
                        </a:lnTo>
                        <a:lnTo>
                          <a:pt x="142" y="384"/>
                        </a:lnTo>
                        <a:lnTo>
                          <a:pt x="140" y="384"/>
                        </a:lnTo>
                        <a:lnTo>
                          <a:pt x="140" y="382"/>
                        </a:lnTo>
                        <a:lnTo>
                          <a:pt x="138" y="381"/>
                        </a:lnTo>
                        <a:lnTo>
                          <a:pt x="135" y="377"/>
                        </a:lnTo>
                        <a:lnTo>
                          <a:pt x="132" y="376"/>
                        </a:lnTo>
                        <a:lnTo>
                          <a:pt x="132" y="369"/>
                        </a:lnTo>
                        <a:lnTo>
                          <a:pt x="132" y="367"/>
                        </a:lnTo>
                        <a:lnTo>
                          <a:pt x="128" y="364"/>
                        </a:lnTo>
                        <a:lnTo>
                          <a:pt x="120" y="362"/>
                        </a:lnTo>
                        <a:lnTo>
                          <a:pt x="118" y="361"/>
                        </a:lnTo>
                        <a:lnTo>
                          <a:pt x="118" y="356"/>
                        </a:lnTo>
                        <a:lnTo>
                          <a:pt x="117" y="354"/>
                        </a:lnTo>
                        <a:lnTo>
                          <a:pt x="112" y="352"/>
                        </a:lnTo>
                        <a:lnTo>
                          <a:pt x="108" y="351"/>
                        </a:lnTo>
                        <a:lnTo>
                          <a:pt x="108" y="344"/>
                        </a:lnTo>
                        <a:lnTo>
                          <a:pt x="107" y="342"/>
                        </a:lnTo>
                        <a:lnTo>
                          <a:pt x="98" y="337"/>
                        </a:lnTo>
                        <a:lnTo>
                          <a:pt x="97" y="337"/>
                        </a:lnTo>
                        <a:lnTo>
                          <a:pt x="93" y="336"/>
                        </a:lnTo>
                        <a:lnTo>
                          <a:pt x="92" y="337"/>
                        </a:lnTo>
                        <a:lnTo>
                          <a:pt x="87" y="336"/>
                        </a:lnTo>
                        <a:lnTo>
                          <a:pt x="82" y="332"/>
                        </a:lnTo>
                        <a:lnTo>
                          <a:pt x="83" y="331"/>
                        </a:lnTo>
                        <a:lnTo>
                          <a:pt x="85" y="329"/>
                        </a:lnTo>
                        <a:lnTo>
                          <a:pt x="88" y="326"/>
                        </a:lnTo>
                        <a:lnTo>
                          <a:pt x="88" y="322"/>
                        </a:lnTo>
                        <a:lnTo>
                          <a:pt x="87" y="321"/>
                        </a:lnTo>
                        <a:lnTo>
                          <a:pt x="83" y="321"/>
                        </a:lnTo>
                        <a:lnTo>
                          <a:pt x="78" y="317"/>
                        </a:lnTo>
                        <a:lnTo>
                          <a:pt x="77" y="316"/>
                        </a:lnTo>
                        <a:lnTo>
                          <a:pt x="73" y="312"/>
                        </a:lnTo>
                        <a:lnTo>
                          <a:pt x="69" y="312"/>
                        </a:lnTo>
                        <a:lnTo>
                          <a:pt x="64" y="311"/>
                        </a:lnTo>
                        <a:lnTo>
                          <a:pt x="60" y="308"/>
                        </a:lnTo>
                        <a:lnTo>
                          <a:pt x="59" y="304"/>
                        </a:lnTo>
                        <a:lnTo>
                          <a:pt x="60" y="301"/>
                        </a:lnTo>
                        <a:lnTo>
                          <a:pt x="59" y="299"/>
                        </a:lnTo>
                        <a:lnTo>
                          <a:pt x="50" y="299"/>
                        </a:lnTo>
                        <a:lnTo>
                          <a:pt x="49" y="301"/>
                        </a:lnTo>
                        <a:lnTo>
                          <a:pt x="44" y="301"/>
                        </a:lnTo>
                        <a:lnTo>
                          <a:pt x="40" y="298"/>
                        </a:lnTo>
                        <a:lnTo>
                          <a:pt x="39" y="291"/>
                        </a:lnTo>
                        <a:lnTo>
                          <a:pt x="40" y="288"/>
                        </a:lnTo>
                        <a:lnTo>
                          <a:pt x="42" y="286"/>
                        </a:lnTo>
                        <a:lnTo>
                          <a:pt x="44" y="281"/>
                        </a:lnTo>
                        <a:lnTo>
                          <a:pt x="42" y="278"/>
                        </a:lnTo>
                        <a:lnTo>
                          <a:pt x="37" y="269"/>
                        </a:lnTo>
                        <a:lnTo>
                          <a:pt x="32" y="261"/>
                        </a:lnTo>
                        <a:lnTo>
                          <a:pt x="30" y="259"/>
                        </a:lnTo>
                        <a:lnTo>
                          <a:pt x="25" y="254"/>
                        </a:lnTo>
                        <a:lnTo>
                          <a:pt x="27" y="253"/>
                        </a:lnTo>
                        <a:lnTo>
                          <a:pt x="27" y="251"/>
                        </a:lnTo>
                        <a:lnTo>
                          <a:pt x="24" y="248"/>
                        </a:lnTo>
                        <a:lnTo>
                          <a:pt x="24" y="246"/>
                        </a:lnTo>
                        <a:lnTo>
                          <a:pt x="24" y="244"/>
                        </a:lnTo>
                        <a:lnTo>
                          <a:pt x="27" y="241"/>
                        </a:lnTo>
                        <a:lnTo>
                          <a:pt x="24" y="238"/>
                        </a:lnTo>
                        <a:lnTo>
                          <a:pt x="15" y="234"/>
                        </a:lnTo>
                        <a:lnTo>
                          <a:pt x="14" y="231"/>
                        </a:lnTo>
                        <a:lnTo>
                          <a:pt x="14" y="226"/>
                        </a:lnTo>
                        <a:lnTo>
                          <a:pt x="12" y="221"/>
                        </a:lnTo>
                        <a:lnTo>
                          <a:pt x="14" y="219"/>
                        </a:lnTo>
                        <a:lnTo>
                          <a:pt x="10" y="216"/>
                        </a:lnTo>
                        <a:lnTo>
                          <a:pt x="14" y="214"/>
                        </a:lnTo>
                        <a:lnTo>
                          <a:pt x="14" y="211"/>
                        </a:lnTo>
                        <a:lnTo>
                          <a:pt x="10" y="211"/>
                        </a:lnTo>
                        <a:lnTo>
                          <a:pt x="4" y="214"/>
                        </a:lnTo>
                        <a:lnTo>
                          <a:pt x="0" y="213"/>
                        </a:lnTo>
                        <a:lnTo>
                          <a:pt x="0" y="208"/>
                        </a:lnTo>
                        <a:lnTo>
                          <a:pt x="9" y="200"/>
                        </a:lnTo>
                        <a:lnTo>
                          <a:pt x="12" y="196"/>
                        </a:lnTo>
                        <a:lnTo>
                          <a:pt x="10" y="191"/>
                        </a:lnTo>
                        <a:lnTo>
                          <a:pt x="7" y="190"/>
                        </a:lnTo>
                        <a:lnTo>
                          <a:pt x="7" y="186"/>
                        </a:lnTo>
                        <a:lnTo>
                          <a:pt x="12" y="185"/>
                        </a:lnTo>
                        <a:lnTo>
                          <a:pt x="15" y="180"/>
                        </a:lnTo>
                        <a:lnTo>
                          <a:pt x="12" y="176"/>
                        </a:lnTo>
                        <a:lnTo>
                          <a:pt x="12" y="173"/>
                        </a:lnTo>
                        <a:lnTo>
                          <a:pt x="15" y="170"/>
                        </a:lnTo>
                        <a:lnTo>
                          <a:pt x="19" y="170"/>
                        </a:lnTo>
                        <a:lnTo>
                          <a:pt x="27" y="161"/>
                        </a:lnTo>
                        <a:lnTo>
                          <a:pt x="29" y="155"/>
                        </a:lnTo>
                        <a:lnTo>
                          <a:pt x="27" y="153"/>
                        </a:lnTo>
                        <a:lnTo>
                          <a:pt x="27" y="146"/>
                        </a:lnTo>
                        <a:lnTo>
                          <a:pt x="32" y="145"/>
                        </a:lnTo>
                        <a:lnTo>
                          <a:pt x="37" y="145"/>
                        </a:lnTo>
                        <a:lnTo>
                          <a:pt x="42" y="146"/>
                        </a:lnTo>
                        <a:lnTo>
                          <a:pt x="45" y="143"/>
                        </a:lnTo>
                        <a:lnTo>
                          <a:pt x="50" y="143"/>
                        </a:lnTo>
                        <a:lnTo>
                          <a:pt x="49" y="57"/>
                        </a:lnTo>
                        <a:lnTo>
                          <a:pt x="49" y="55"/>
                        </a:lnTo>
                        <a:lnTo>
                          <a:pt x="49" y="48"/>
                        </a:lnTo>
                        <a:lnTo>
                          <a:pt x="72" y="45"/>
                        </a:lnTo>
                        <a:lnTo>
                          <a:pt x="69" y="4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59" name="Google Shape;3011;p98">
                    <a:extLst>
                      <a:ext uri="{FF2B5EF4-FFF2-40B4-BE49-F238E27FC236}">
                        <a16:creationId xmlns:a16="http://schemas.microsoft.com/office/drawing/2014/main" id="{F4C9978D-4EFA-B568-0496-DEC9B157B2EE}"/>
                      </a:ext>
                    </a:extLst>
                  </p:cNvPr>
                  <p:cNvSpPr/>
                  <p:nvPr/>
                </p:nvSpPr>
                <p:spPr>
                  <a:xfrm>
                    <a:off x="6845254" y="3098512"/>
                    <a:ext cx="196926" cy="13073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69" h="252" extrusionOk="0">
                        <a:moveTo>
                          <a:pt x="53" y="211"/>
                        </a:moveTo>
                        <a:lnTo>
                          <a:pt x="53" y="203"/>
                        </a:lnTo>
                        <a:lnTo>
                          <a:pt x="50" y="201"/>
                        </a:lnTo>
                        <a:lnTo>
                          <a:pt x="48" y="193"/>
                        </a:lnTo>
                        <a:lnTo>
                          <a:pt x="45" y="189"/>
                        </a:lnTo>
                        <a:lnTo>
                          <a:pt x="43" y="184"/>
                        </a:lnTo>
                        <a:lnTo>
                          <a:pt x="40" y="181"/>
                        </a:lnTo>
                        <a:lnTo>
                          <a:pt x="35" y="181"/>
                        </a:lnTo>
                        <a:lnTo>
                          <a:pt x="33" y="179"/>
                        </a:lnTo>
                        <a:lnTo>
                          <a:pt x="33" y="178"/>
                        </a:lnTo>
                        <a:lnTo>
                          <a:pt x="30" y="176"/>
                        </a:lnTo>
                        <a:lnTo>
                          <a:pt x="25" y="169"/>
                        </a:lnTo>
                        <a:lnTo>
                          <a:pt x="23" y="168"/>
                        </a:lnTo>
                        <a:lnTo>
                          <a:pt x="22" y="164"/>
                        </a:lnTo>
                        <a:lnTo>
                          <a:pt x="18" y="161"/>
                        </a:lnTo>
                        <a:lnTo>
                          <a:pt x="15" y="158"/>
                        </a:lnTo>
                        <a:lnTo>
                          <a:pt x="5" y="158"/>
                        </a:lnTo>
                        <a:lnTo>
                          <a:pt x="2" y="158"/>
                        </a:lnTo>
                        <a:lnTo>
                          <a:pt x="0" y="154"/>
                        </a:lnTo>
                        <a:lnTo>
                          <a:pt x="3" y="149"/>
                        </a:lnTo>
                        <a:lnTo>
                          <a:pt x="5" y="148"/>
                        </a:lnTo>
                        <a:lnTo>
                          <a:pt x="5" y="143"/>
                        </a:lnTo>
                        <a:lnTo>
                          <a:pt x="12" y="145"/>
                        </a:lnTo>
                        <a:lnTo>
                          <a:pt x="15" y="143"/>
                        </a:lnTo>
                        <a:lnTo>
                          <a:pt x="18" y="145"/>
                        </a:lnTo>
                        <a:lnTo>
                          <a:pt x="22" y="146"/>
                        </a:lnTo>
                        <a:lnTo>
                          <a:pt x="23" y="143"/>
                        </a:lnTo>
                        <a:lnTo>
                          <a:pt x="27" y="141"/>
                        </a:lnTo>
                        <a:lnTo>
                          <a:pt x="27" y="131"/>
                        </a:lnTo>
                        <a:lnTo>
                          <a:pt x="27" y="121"/>
                        </a:lnTo>
                        <a:lnTo>
                          <a:pt x="28" y="116"/>
                        </a:lnTo>
                        <a:lnTo>
                          <a:pt x="32" y="110"/>
                        </a:lnTo>
                        <a:lnTo>
                          <a:pt x="32" y="105"/>
                        </a:lnTo>
                        <a:lnTo>
                          <a:pt x="30" y="103"/>
                        </a:lnTo>
                        <a:lnTo>
                          <a:pt x="32" y="98"/>
                        </a:lnTo>
                        <a:lnTo>
                          <a:pt x="37" y="93"/>
                        </a:lnTo>
                        <a:lnTo>
                          <a:pt x="38" y="90"/>
                        </a:lnTo>
                        <a:lnTo>
                          <a:pt x="40" y="90"/>
                        </a:lnTo>
                        <a:lnTo>
                          <a:pt x="43" y="90"/>
                        </a:lnTo>
                        <a:lnTo>
                          <a:pt x="47" y="75"/>
                        </a:lnTo>
                        <a:lnTo>
                          <a:pt x="50" y="66"/>
                        </a:lnTo>
                        <a:lnTo>
                          <a:pt x="57" y="63"/>
                        </a:lnTo>
                        <a:lnTo>
                          <a:pt x="58" y="60"/>
                        </a:lnTo>
                        <a:lnTo>
                          <a:pt x="63" y="50"/>
                        </a:lnTo>
                        <a:lnTo>
                          <a:pt x="63" y="47"/>
                        </a:lnTo>
                        <a:lnTo>
                          <a:pt x="68" y="47"/>
                        </a:lnTo>
                        <a:lnTo>
                          <a:pt x="70" y="47"/>
                        </a:lnTo>
                        <a:lnTo>
                          <a:pt x="73" y="40"/>
                        </a:lnTo>
                        <a:lnTo>
                          <a:pt x="80" y="28"/>
                        </a:lnTo>
                        <a:lnTo>
                          <a:pt x="80" y="22"/>
                        </a:lnTo>
                        <a:lnTo>
                          <a:pt x="83" y="15"/>
                        </a:lnTo>
                        <a:lnTo>
                          <a:pt x="83" y="13"/>
                        </a:lnTo>
                        <a:lnTo>
                          <a:pt x="87" y="15"/>
                        </a:lnTo>
                        <a:lnTo>
                          <a:pt x="92" y="15"/>
                        </a:lnTo>
                        <a:lnTo>
                          <a:pt x="93" y="12"/>
                        </a:lnTo>
                        <a:lnTo>
                          <a:pt x="98" y="12"/>
                        </a:lnTo>
                        <a:lnTo>
                          <a:pt x="105" y="0"/>
                        </a:lnTo>
                        <a:lnTo>
                          <a:pt x="106" y="2"/>
                        </a:lnTo>
                        <a:lnTo>
                          <a:pt x="108" y="3"/>
                        </a:lnTo>
                        <a:lnTo>
                          <a:pt x="118" y="7"/>
                        </a:lnTo>
                        <a:lnTo>
                          <a:pt x="123" y="7"/>
                        </a:lnTo>
                        <a:lnTo>
                          <a:pt x="126" y="3"/>
                        </a:lnTo>
                        <a:lnTo>
                          <a:pt x="131" y="2"/>
                        </a:lnTo>
                        <a:lnTo>
                          <a:pt x="135" y="5"/>
                        </a:lnTo>
                        <a:lnTo>
                          <a:pt x="136" y="3"/>
                        </a:lnTo>
                        <a:lnTo>
                          <a:pt x="141" y="3"/>
                        </a:lnTo>
                        <a:lnTo>
                          <a:pt x="148" y="8"/>
                        </a:lnTo>
                        <a:lnTo>
                          <a:pt x="150" y="8"/>
                        </a:lnTo>
                        <a:lnTo>
                          <a:pt x="153" y="7"/>
                        </a:lnTo>
                        <a:lnTo>
                          <a:pt x="158" y="8"/>
                        </a:lnTo>
                        <a:lnTo>
                          <a:pt x="163" y="12"/>
                        </a:lnTo>
                        <a:lnTo>
                          <a:pt x="166" y="12"/>
                        </a:lnTo>
                        <a:lnTo>
                          <a:pt x="175" y="20"/>
                        </a:lnTo>
                        <a:lnTo>
                          <a:pt x="176" y="23"/>
                        </a:lnTo>
                        <a:lnTo>
                          <a:pt x="185" y="23"/>
                        </a:lnTo>
                        <a:lnTo>
                          <a:pt x="185" y="25"/>
                        </a:lnTo>
                        <a:lnTo>
                          <a:pt x="190" y="25"/>
                        </a:lnTo>
                        <a:lnTo>
                          <a:pt x="191" y="28"/>
                        </a:lnTo>
                        <a:lnTo>
                          <a:pt x="196" y="32"/>
                        </a:lnTo>
                        <a:lnTo>
                          <a:pt x="203" y="37"/>
                        </a:lnTo>
                        <a:lnTo>
                          <a:pt x="208" y="38"/>
                        </a:lnTo>
                        <a:lnTo>
                          <a:pt x="213" y="43"/>
                        </a:lnTo>
                        <a:lnTo>
                          <a:pt x="213" y="48"/>
                        </a:lnTo>
                        <a:lnTo>
                          <a:pt x="214" y="50"/>
                        </a:lnTo>
                        <a:lnTo>
                          <a:pt x="218" y="51"/>
                        </a:lnTo>
                        <a:lnTo>
                          <a:pt x="224" y="58"/>
                        </a:lnTo>
                        <a:lnTo>
                          <a:pt x="219" y="60"/>
                        </a:lnTo>
                        <a:lnTo>
                          <a:pt x="218" y="65"/>
                        </a:lnTo>
                        <a:lnTo>
                          <a:pt x="216" y="70"/>
                        </a:lnTo>
                        <a:lnTo>
                          <a:pt x="218" y="75"/>
                        </a:lnTo>
                        <a:lnTo>
                          <a:pt x="214" y="78"/>
                        </a:lnTo>
                        <a:lnTo>
                          <a:pt x="214" y="83"/>
                        </a:lnTo>
                        <a:lnTo>
                          <a:pt x="211" y="88"/>
                        </a:lnTo>
                        <a:lnTo>
                          <a:pt x="213" y="90"/>
                        </a:lnTo>
                        <a:lnTo>
                          <a:pt x="223" y="90"/>
                        </a:lnTo>
                        <a:lnTo>
                          <a:pt x="228" y="86"/>
                        </a:lnTo>
                        <a:lnTo>
                          <a:pt x="234" y="85"/>
                        </a:lnTo>
                        <a:lnTo>
                          <a:pt x="239" y="88"/>
                        </a:lnTo>
                        <a:lnTo>
                          <a:pt x="238" y="90"/>
                        </a:lnTo>
                        <a:lnTo>
                          <a:pt x="239" y="98"/>
                        </a:lnTo>
                        <a:lnTo>
                          <a:pt x="243" y="110"/>
                        </a:lnTo>
                        <a:lnTo>
                          <a:pt x="249" y="113"/>
                        </a:lnTo>
                        <a:lnTo>
                          <a:pt x="248" y="120"/>
                        </a:lnTo>
                        <a:lnTo>
                          <a:pt x="251" y="126"/>
                        </a:lnTo>
                        <a:lnTo>
                          <a:pt x="261" y="128"/>
                        </a:lnTo>
                        <a:lnTo>
                          <a:pt x="266" y="133"/>
                        </a:lnTo>
                        <a:lnTo>
                          <a:pt x="337" y="153"/>
                        </a:lnTo>
                        <a:lnTo>
                          <a:pt x="369" y="151"/>
                        </a:lnTo>
                        <a:lnTo>
                          <a:pt x="294" y="219"/>
                        </a:lnTo>
                        <a:lnTo>
                          <a:pt x="279" y="219"/>
                        </a:lnTo>
                        <a:lnTo>
                          <a:pt x="264" y="219"/>
                        </a:lnTo>
                        <a:lnTo>
                          <a:pt x="259" y="223"/>
                        </a:lnTo>
                        <a:lnTo>
                          <a:pt x="254" y="223"/>
                        </a:lnTo>
                        <a:lnTo>
                          <a:pt x="249" y="226"/>
                        </a:lnTo>
                        <a:lnTo>
                          <a:pt x="246" y="231"/>
                        </a:lnTo>
                        <a:lnTo>
                          <a:pt x="243" y="233"/>
                        </a:lnTo>
                        <a:lnTo>
                          <a:pt x="236" y="236"/>
                        </a:lnTo>
                        <a:lnTo>
                          <a:pt x="228" y="236"/>
                        </a:lnTo>
                        <a:lnTo>
                          <a:pt x="221" y="241"/>
                        </a:lnTo>
                        <a:lnTo>
                          <a:pt x="218" y="243"/>
                        </a:lnTo>
                        <a:lnTo>
                          <a:pt x="218" y="244"/>
                        </a:lnTo>
                        <a:lnTo>
                          <a:pt x="211" y="244"/>
                        </a:lnTo>
                        <a:lnTo>
                          <a:pt x="203" y="244"/>
                        </a:lnTo>
                        <a:lnTo>
                          <a:pt x="198" y="243"/>
                        </a:lnTo>
                        <a:lnTo>
                          <a:pt x="196" y="238"/>
                        </a:lnTo>
                        <a:lnTo>
                          <a:pt x="193" y="236"/>
                        </a:lnTo>
                        <a:lnTo>
                          <a:pt x="181" y="238"/>
                        </a:lnTo>
                        <a:lnTo>
                          <a:pt x="178" y="239"/>
                        </a:lnTo>
                        <a:lnTo>
                          <a:pt x="175" y="239"/>
                        </a:lnTo>
                        <a:lnTo>
                          <a:pt x="170" y="241"/>
                        </a:lnTo>
                        <a:lnTo>
                          <a:pt x="166" y="244"/>
                        </a:lnTo>
                        <a:lnTo>
                          <a:pt x="161" y="252"/>
                        </a:lnTo>
                        <a:lnTo>
                          <a:pt x="156" y="252"/>
                        </a:lnTo>
                        <a:lnTo>
                          <a:pt x="153" y="252"/>
                        </a:lnTo>
                        <a:lnTo>
                          <a:pt x="148" y="251"/>
                        </a:lnTo>
                        <a:lnTo>
                          <a:pt x="141" y="252"/>
                        </a:lnTo>
                        <a:lnTo>
                          <a:pt x="136" y="251"/>
                        </a:lnTo>
                        <a:lnTo>
                          <a:pt x="128" y="251"/>
                        </a:lnTo>
                        <a:lnTo>
                          <a:pt x="123" y="249"/>
                        </a:lnTo>
                        <a:lnTo>
                          <a:pt x="120" y="244"/>
                        </a:lnTo>
                        <a:lnTo>
                          <a:pt x="113" y="241"/>
                        </a:lnTo>
                        <a:lnTo>
                          <a:pt x="103" y="233"/>
                        </a:lnTo>
                        <a:lnTo>
                          <a:pt x="100" y="229"/>
                        </a:lnTo>
                        <a:lnTo>
                          <a:pt x="87" y="231"/>
                        </a:lnTo>
                        <a:lnTo>
                          <a:pt x="82" y="229"/>
                        </a:lnTo>
                        <a:lnTo>
                          <a:pt x="77" y="231"/>
                        </a:lnTo>
                        <a:lnTo>
                          <a:pt x="72" y="231"/>
                        </a:lnTo>
                        <a:lnTo>
                          <a:pt x="67" y="226"/>
                        </a:lnTo>
                        <a:lnTo>
                          <a:pt x="67" y="213"/>
                        </a:lnTo>
                        <a:lnTo>
                          <a:pt x="63" y="213"/>
                        </a:lnTo>
                        <a:lnTo>
                          <a:pt x="58" y="213"/>
                        </a:lnTo>
                        <a:lnTo>
                          <a:pt x="57" y="209"/>
                        </a:lnTo>
                        <a:lnTo>
                          <a:pt x="53" y="211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60" name="Google Shape;3012;p98">
                    <a:extLst>
                      <a:ext uri="{FF2B5EF4-FFF2-40B4-BE49-F238E27FC236}">
                        <a16:creationId xmlns:a16="http://schemas.microsoft.com/office/drawing/2014/main" id="{4B4A9558-38D1-AEC6-1B0D-13628BE4E21D}"/>
                      </a:ext>
                    </a:extLst>
                  </p:cNvPr>
                  <p:cNvSpPr/>
                  <p:nvPr/>
                </p:nvSpPr>
                <p:spPr>
                  <a:xfrm>
                    <a:off x="6886994" y="3061159"/>
                    <a:ext cx="87760" cy="6744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63" h="129" extrusionOk="0">
                        <a:moveTo>
                          <a:pt x="146" y="129"/>
                        </a:moveTo>
                        <a:lnTo>
                          <a:pt x="140" y="122"/>
                        </a:lnTo>
                        <a:lnTo>
                          <a:pt x="136" y="121"/>
                        </a:lnTo>
                        <a:lnTo>
                          <a:pt x="135" y="119"/>
                        </a:lnTo>
                        <a:lnTo>
                          <a:pt x="135" y="114"/>
                        </a:lnTo>
                        <a:lnTo>
                          <a:pt x="130" y="109"/>
                        </a:lnTo>
                        <a:lnTo>
                          <a:pt x="125" y="108"/>
                        </a:lnTo>
                        <a:lnTo>
                          <a:pt x="118" y="103"/>
                        </a:lnTo>
                        <a:lnTo>
                          <a:pt x="113" y="99"/>
                        </a:lnTo>
                        <a:lnTo>
                          <a:pt x="112" y="96"/>
                        </a:lnTo>
                        <a:lnTo>
                          <a:pt x="107" y="96"/>
                        </a:lnTo>
                        <a:lnTo>
                          <a:pt x="107" y="94"/>
                        </a:lnTo>
                        <a:lnTo>
                          <a:pt x="98" y="94"/>
                        </a:lnTo>
                        <a:lnTo>
                          <a:pt x="97" y="91"/>
                        </a:lnTo>
                        <a:lnTo>
                          <a:pt x="88" y="83"/>
                        </a:lnTo>
                        <a:lnTo>
                          <a:pt x="85" y="83"/>
                        </a:lnTo>
                        <a:lnTo>
                          <a:pt x="80" y="79"/>
                        </a:lnTo>
                        <a:lnTo>
                          <a:pt x="75" y="78"/>
                        </a:lnTo>
                        <a:lnTo>
                          <a:pt x="72" y="79"/>
                        </a:lnTo>
                        <a:lnTo>
                          <a:pt x="70" y="79"/>
                        </a:lnTo>
                        <a:lnTo>
                          <a:pt x="63" y="74"/>
                        </a:lnTo>
                        <a:lnTo>
                          <a:pt x="58" y="74"/>
                        </a:lnTo>
                        <a:lnTo>
                          <a:pt x="57" y="76"/>
                        </a:lnTo>
                        <a:lnTo>
                          <a:pt x="53" y="73"/>
                        </a:lnTo>
                        <a:lnTo>
                          <a:pt x="48" y="74"/>
                        </a:lnTo>
                        <a:lnTo>
                          <a:pt x="45" y="78"/>
                        </a:lnTo>
                        <a:lnTo>
                          <a:pt x="40" y="78"/>
                        </a:lnTo>
                        <a:lnTo>
                          <a:pt x="30" y="74"/>
                        </a:lnTo>
                        <a:lnTo>
                          <a:pt x="28" y="73"/>
                        </a:lnTo>
                        <a:lnTo>
                          <a:pt x="27" y="71"/>
                        </a:lnTo>
                        <a:lnTo>
                          <a:pt x="20" y="83"/>
                        </a:lnTo>
                        <a:lnTo>
                          <a:pt x="15" y="83"/>
                        </a:lnTo>
                        <a:lnTo>
                          <a:pt x="14" y="86"/>
                        </a:lnTo>
                        <a:lnTo>
                          <a:pt x="9" y="86"/>
                        </a:lnTo>
                        <a:lnTo>
                          <a:pt x="5" y="84"/>
                        </a:lnTo>
                        <a:lnTo>
                          <a:pt x="4" y="79"/>
                        </a:lnTo>
                        <a:lnTo>
                          <a:pt x="0" y="69"/>
                        </a:lnTo>
                        <a:lnTo>
                          <a:pt x="2" y="64"/>
                        </a:lnTo>
                        <a:lnTo>
                          <a:pt x="4" y="63"/>
                        </a:lnTo>
                        <a:lnTo>
                          <a:pt x="4" y="59"/>
                        </a:lnTo>
                        <a:lnTo>
                          <a:pt x="9" y="53"/>
                        </a:lnTo>
                        <a:lnTo>
                          <a:pt x="10" y="43"/>
                        </a:lnTo>
                        <a:lnTo>
                          <a:pt x="12" y="36"/>
                        </a:lnTo>
                        <a:lnTo>
                          <a:pt x="15" y="33"/>
                        </a:lnTo>
                        <a:lnTo>
                          <a:pt x="14" y="31"/>
                        </a:lnTo>
                        <a:lnTo>
                          <a:pt x="10" y="29"/>
                        </a:lnTo>
                        <a:lnTo>
                          <a:pt x="14" y="24"/>
                        </a:lnTo>
                        <a:lnTo>
                          <a:pt x="14" y="21"/>
                        </a:lnTo>
                        <a:lnTo>
                          <a:pt x="15" y="20"/>
                        </a:lnTo>
                        <a:lnTo>
                          <a:pt x="22" y="20"/>
                        </a:lnTo>
                        <a:lnTo>
                          <a:pt x="23" y="16"/>
                        </a:lnTo>
                        <a:lnTo>
                          <a:pt x="22" y="15"/>
                        </a:lnTo>
                        <a:lnTo>
                          <a:pt x="22" y="13"/>
                        </a:lnTo>
                        <a:lnTo>
                          <a:pt x="27" y="11"/>
                        </a:lnTo>
                        <a:lnTo>
                          <a:pt x="30" y="10"/>
                        </a:lnTo>
                        <a:lnTo>
                          <a:pt x="35" y="10"/>
                        </a:lnTo>
                        <a:lnTo>
                          <a:pt x="37" y="6"/>
                        </a:lnTo>
                        <a:lnTo>
                          <a:pt x="42" y="6"/>
                        </a:lnTo>
                        <a:lnTo>
                          <a:pt x="45" y="5"/>
                        </a:lnTo>
                        <a:lnTo>
                          <a:pt x="48" y="0"/>
                        </a:lnTo>
                        <a:lnTo>
                          <a:pt x="48" y="0"/>
                        </a:lnTo>
                        <a:lnTo>
                          <a:pt x="55" y="5"/>
                        </a:lnTo>
                        <a:lnTo>
                          <a:pt x="65" y="29"/>
                        </a:lnTo>
                        <a:lnTo>
                          <a:pt x="68" y="44"/>
                        </a:lnTo>
                        <a:lnTo>
                          <a:pt x="70" y="44"/>
                        </a:lnTo>
                        <a:lnTo>
                          <a:pt x="70" y="51"/>
                        </a:lnTo>
                        <a:lnTo>
                          <a:pt x="70" y="53"/>
                        </a:lnTo>
                        <a:lnTo>
                          <a:pt x="73" y="54"/>
                        </a:lnTo>
                        <a:lnTo>
                          <a:pt x="77" y="59"/>
                        </a:lnTo>
                        <a:lnTo>
                          <a:pt x="77" y="66"/>
                        </a:lnTo>
                        <a:lnTo>
                          <a:pt x="82" y="66"/>
                        </a:lnTo>
                        <a:lnTo>
                          <a:pt x="82" y="61"/>
                        </a:lnTo>
                        <a:lnTo>
                          <a:pt x="80" y="61"/>
                        </a:lnTo>
                        <a:lnTo>
                          <a:pt x="80" y="56"/>
                        </a:lnTo>
                        <a:lnTo>
                          <a:pt x="82" y="56"/>
                        </a:lnTo>
                        <a:lnTo>
                          <a:pt x="87" y="61"/>
                        </a:lnTo>
                        <a:lnTo>
                          <a:pt x="85" y="63"/>
                        </a:lnTo>
                        <a:lnTo>
                          <a:pt x="90" y="68"/>
                        </a:lnTo>
                        <a:lnTo>
                          <a:pt x="92" y="71"/>
                        </a:lnTo>
                        <a:lnTo>
                          <a:pt x="95" y="69"/>
                        </a:lnTo>
                        <a:lnTo>
                          <a:pt x="98" y="69"/>
                        </a:lnTo>
                        <a:lnTo>
                          <a:pt x="100" y="69"/>
                        </a:lnTo>
                        <a:lnTo>
                          <a:pt x="103" y="69"/>
                        </a:lnTo>
                        <a:lnTo>
                          <a:pt x="107" y="73"/>
                        </a:lnTo>
                        <a:lnTo>
                          <a:pt x="110" y="76"/>
                        </a:lnTo>
                        <a:lnTo>
                          <a:pt x="116" y="78"/>
                        </a:lnTo>
                        <a:lnTo>
                          <a:pt x="118" y="79"/>
                        </a:lnTo>
                        <a:lnTo>
                          <a:pt x="126" y="88"/>
                        </a:lnTo>
                        <a:lnTo>
                          <a:pt x="130" y="93"/>
                        </a:lnTo>
                        <a:lnTo>
                          <a:pt x="135" y="96"/>
                        </a:lnTo>
                        <a:lnTo>
                          <a:pt x="138" y="99"/>
                        </a:lnTo>
                        <a:lnTo>
                          <a:pt x="140" y="99"/>
                        </a:lnTo>
                        <a:lnTo>
                          <a:pt x="140" y="98"/>
                        </a:lnTo>
                        <a:lnTo>
                          <a:pt x="141" y="99"/>
                        </a:lnTo>
                        <a:lnTo>
                          <a:pt x="146" y="109"/>
                        </a:lnTo>
                        <a:lnTo>
                          <a:pt x="148" y="109"/>
                        </a:lnTo>
                        <a:lnTo>
                          <a:pt x="151" y="114"/>
                        </a:lnTo>
                        <a:lnTo>
                          <a:pt x="151" y="114"/>
                        </a:lnTo>
                        <a:lnTo>
                          <a:pt x="153" y="119"/>
                        </a:lnTo>
                        <a:lnTo>
                          <a:pt x="156" y="119"/>
                        </a:lnTo>
                        <a:lnTo>
                          <a:pt x="158" y="121"/>
                        </a:lnTo>
                        <a:lnTo>
                          <a:pt x="160" y="119"/>
                        </a:lnTo>
                        <a:lnTo>
                          <a:pt x="161" y="121"/>
                        </a:lnTo>
                        <a:lnTo>
                          <a:pt x="163" y="121"/>
                        </a:lnTo>
                        <a:lnTo>
                          <a:pt x="158" y="126"/>
                        </a:lnTo>
                        <a:lnTo>
                          <a:pt x="155" y="126"/>
                        </a:lnTo>
                        <a:lnTo>
                          <a:pt x="151" y="127"/>
                        </a:lnTo>
                        <a:lnTo>
                          <a:pt x="146" y="129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61" name="Google Shape;3013;p98">
                    <a:extLst>
                      <a:ext uri="{FF2B5EF4-FFF2-40B4-BE49-F238E27FC236}">
                        <a16:creationId xmlns:a16="http://schemas.microsoft.com/office/drawing/2014/main" id="{5E09D1AE-9263-AD7B-D41D-72F24C88F415}"/>
                      </a:ext>
                    </a:extLst>
                  </p:cNvPr>
                  <p:cNvSpPr/>
                  <p:nvPr/>
                </p:nvSpPr>
                <p:spPr>
                  <a:xfrm>
                    <a:off x="6958701" y="3123414"/>
                    <a:ext cx="19264" cy="2075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7" h="40" extrusionOk="0">
                        <a:moveTo>
                          <a:pt x="28" y="38"/>
                        </a:moveTo>
                        <a:lnTo>
                          <a:pt x="23" y="35"/>
                        </a:lnTo>
                        <a:lnTo>
                          <a:pt x="17" y="36"/>
                        </a:lnTo>
                        <a:lnTo>
                          <a:pt x="12" y="40"/>
                        </a:lnTo>
                        <a:lnTo>
                          <a:pt x="2" y="40"/>
                        </a:lnTo>
                        <a:lnTo>
                          <a:pt x="0" y="38"/>
                        </a:lnTo>
                        <a:lnTo>
                          <a:pt x="3" y="33"/>
                        </a:lnTo>
                        <a:lnTo>
                          <a:pt x="3" y="28"/>
                        </a:lnTo>
                        <a:lnTo>
                          <a:pt x="7" y="25"/>
                        </a:lnTo>
                        <a:lnTo>
                          <a:pt x="5" y="20"/>
                        </a:lnTo>
                        <a:lnTo>
                          <a:pt x="7" y="15"/>
                        </a:lnTo>
                        <a:lnTo>
                          <a:pt x="8" y="10"/>
                        </a:lnTo>
                        <a:lnTo>
                          <a:pt x="18" y="6"/>
                        </a:lnTo>
                        <a:lnTo>
                          <a:pt x="22" y="5"/>
                        </a:lnTo>
                        <a:lnTo>
                          <a:pt x="25" y="5"/>
                        </a:lnTo>
                        <a:lnTo>
                          <a:pt x="30" y="0"/>
                        </a:lnTo>
                        <a:lnTo>
                          <a:pt x="30" y="0"/>
                        </a:lnTo>
                        <a:lnTo>
                          <a:pt x="30" y="1"/>
                        </a:lnTo>
                        <a:lnTo>
                          <a:pt x="35" y="6"/>
                        </a:lnTo>
                        <a:lnTo>
                          <a:pt x="37" y="6"/>
                        </a:lnTo>
                        <a:lnTo>
                          <a:pt x="37" y="8"/>
                        </a:lnTo>
                        <a:lnTo>
                          <a:pt x="37" y="15"/>
                        </a:lnTo>
                        <a:lnTo>
                          <a:pt x="35" y="16"/>
                        </a:lnTo>
                        <a:lnTo>
                          <a:pt x="30" y="21"/>
                        </a:lnTo>
                        <a:lnTo>
                          <a:pt x="27" y="21"/>
                        </a:lnTo>
                        <a:lnTo>
                          <a:pt x="23" y="25"/>
                        </a:lnTo>
                        <a:lnTo>
                          <a:pt x="18" y="25"/>
                        </a:lnTo>
                        <a:lnTo>
                          <a:pt x="22" y="26"/>
                        </a:lnTo>
                        <a:lnTo>
                          <a:pt x="23" y="28"/>
                        </a:lnTo>
                        <a:lnTo>
                          <a:pt x="27" y="26"/>
                        </a:lnTo>
                        <a:lnTo>
                          <a:pt x="33" y="26"/>
                        </a:lnTo>
                        <a:lnTo>
                          <a:pt x="33" y="28"/>
                        </a:lnTo>
                        <a:lnTo>
                          <a:pt x="28" y="36"/>
                        </a:lnTo>
                        <a:lnTo>
                          <a:pt x="28" y="38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62" name="Google Shape;3014;p98">
                    <a:extLst>
                      <a:ext uri="{FF2B5EF4-FFF2-40B4-BE49-F238E27FC236}">
                        <a16:creationId xmlns:a16="http://schemas.microsoft.com/office/drawing/2014/main" id="{DAC17CB6-B5D3-303E-8A5E-AECEE0BA7C51}"/>
                      </a:ext>
                    </a:extLst>
                  </p:cNvPr>
                  <p:cNvSpPr/>
                  <p:nvPr/>
                </p:nvSpPr>
                <p:spPr>
                  <a:xfrm>
                    <a:off x="6949068" y="3132753"/>
                    <a:ext cx="133781" cy="15356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50" h="298" extrusionOk="0">
                        <a:moveTo>
                          <a:pt x="24" y="178"/>
                        </a:moveTo>
                        <a:lnTo>
                          <a:pt x="24" y="177"/>
                        </a:lnTo>
                        <a:lnTo>
                          <a:pt x="27" y="175"/>
                        </a:lnTo>
                        <a:lnTo>
                          <a:pt x="34" y="170"/>
                        </a:lnTo>
                        <a:lnTo>
                          <a:pt x="42" y="170"/>
                        </a:lnTo>
                        <a:lnTo>
                          <a:pt x="49" y="167"/>
                        </a:lnTo>
                        <a:lnTo>
                          <a:pt x="52" y="165"/>
                        </a:lnTo>
                        <a:lnTo>
                          <a:pt x="55" y="160"/>
                        </a:lnTo>
                        <a:lnTo>
                          <a:pt x="60" y="157"/>
                        </a:lnTo>
                        <a:lnTo>
                          <a:pt x="65" y="157"/>
                        </a:lnTo>
                        <a:lnTo>
                          <a:pt x="70" y="153"/>
                        </a:lnTo>
                        <a:lnTo>
                          <a:pt x="85" y="153"/>
                        </a:lnTo>
                        <a:lnTo>
                          <a:pt x="100" y="153"/>
                        </a:lnTo>
                        <a:lnTo>
                          <a:pt x="175" y="85"/>
                        </a:lnTo>
                        <a:lnTo>
                          <a:pt x="143" y="87"/>
                        </a:lnTo>
                        <a:lnTo>
                          <a:pt x="72" y="67"/>
                        </a:lnTo>
                        <a:lnTo>
                          <a:pt x="67" y="62"/>
                        </a:lnTo>
                        <a:lnTo>
                          <a:pt x="57" y="60"/>
                        </a:lnTo>
                        <a:lnTo>
                          <a:pt x="54" y="54"/>
                        </a:lnTo>
                        <a:lnTo>
                          <a:pt x="55" y="47"/>
                        </a:lnTo>
                        <a:lnTo>
                          <a:pt x="49" y="44"/>
                        </a:lnTo>
                        <a:lnTo>
                          <a:pt x="45" y="32"/>
                        </a:lnTo>
                        <a:lnTo>
                          <a:pt x="44" y="24"/>
                        </a:lnTo>
                        <a:lnTo>
                          <a:pt x="45" y="20"/>
                        </a:lnTo>
                        <a:lnTo>
                          <a:pt x="50" y="12"/>
                        </a:lnTo>
                        <a:lnTo>
                          <a:pt x="52" y="14"/>
                        </a:lnTo>
                        <a:lnTo>
                          <a:pt x="54" y="14"/>
                        </a:lnTo>
                        <a:lnTo>
                          <a:pt x="69" y="29"/>
                        </a:lnTo>
                        <a:lnTo>
                          <a:pt x="70" y="32"/>
                        </a:lnTo>
                        <a:lnTo>
                          <a:pt x="74" y="32"/>
                        </a:lnTo>
                        <a:lnTo>
                          <a:pt x="79" y="37"/>
                        </a:lnTo>
                        <a:lnTo>
                          <a:pt x="85" y="39"/>
                        </a:lnTo>
                        <a:lnTo>
                          <a:pt x="92" y="39"/>
                        </a:lnTo>
                        <a:lnTo>
                          <a:pt x="94" y="35"/>
                        </a:lnTo>
                        <a:lnTo>
                          <a:pt x="100" y="32"/>
                        </a:lnTo>
                        <a:lnTo>
                          <a:pt x="103" y="32"/>
                        </a:lnTo>
                        <a:lnTo>
                          <a:pt x="112" y="27"/>
                        </a:lnTo>
                        <a:lnTo>
                          <a:pt x="115" y="27"/>
                        </a:lnTo>
                        <a:lnTo>
                          <a:pt x="117" y="27"/>
                        </a:lnTo>
                        <a:lnTo>
                          <a:pt x="123" y="27"/>
                        </a:lnTo>
                        <a:lnTo>
                          <a:pt x="125" y="27"/>
                        </a:lnTo>
                        <a:lnTo>
                          <a:pt x="130" y="29"/>
                        </a:lnTo>
                        <a:lnTo>
                          <a:pt x="137" y="29"/>
                        </a:lnTo>
                        <a:lnTo>
                          <a:pt x="152" y="20"/>
                        </a:lnTo>
                        <a:lnTo>
                          <a:pt x="157" y="19"/>
                        </a:lnTo>
                        <a:lnTo>
                          <a:pt x="162" y="20"/>
                        </a:lnTo>
                        <a:lnTo>
                          <a:pt x="165" y="20"/>
                        </a:lnTo>
                        <a:lnTo>
                          <a:pt x="172" y="20"/>
                        </a:lnTo>
                        <a:lnTo>
                          <a:pt x="178" y="17"/>
                        </a:lnTo>
                        <a:lnTo>
                          <a:pt x="185" y="17"/>
                        </a:lnTo>
                        <a:lnTo>
                          <a:pt x="188" y="17"/>
                        </a:lnTo>
                        <a:lnTo>
                          <a:pt x="190" y="17"/>
                        </a:lnTo>
                        <a:lnTo>
                          <a:pt x="201" y="15"/>
                        </a:lnTo>
                        <a:lnTo>
                          <a:pt x="206" y="12"/>
                        </a:lnTo>
                        <a:lnTo>
                          <a:pt x="213" y="12"/>
                        </a:lnTo>
                        <a:lnTo>
                          <a:pt x="216" y="14"/>
                        </a:lnTo>
                        <a:lnTo>
                          <a:pt x="216" y="12"/>
                        </a:lnTo>
                        <a:lnTo>
                          <a:pt x="225" y="10"/>
                        </a:lnTo>
                        <a:lnTo>
                          <a:pt x="228" y="7"/>
                        </a:lnTo>
                        <a:lnTo>
                          <a:pt x="230" y="7"/>
                        </a:lnTo>
                        <a:lnTo>
                          <a:pt x="231" y="4"/>
                        </a:lnTo>
                        <a:lnTo>
                          <a:pt x="230" y="4"/>
                        </a:lnTo>
                        <a:lnTo>
                          <a:pt x="233" y="0"/>
                        </a:lnTo>
                        <a:lnTo>
                          <a:pt x="235" y="0"/>
                        </a:lnTo>
                        <a:lnTo>
                          <a:pt x="235" y="0"/>
                        </a:lnTo>
                        <a:lnTo>
                          <a:pt x="238" y="2"/>
                        </a:lnTo>
                        <a:lnTo>
                          <a:pt x="245" y="4"/>
                        </a:lnTo>
                        <a:lnTo>
                          <a:pt x="246" y="4"/>
                        </a:lnTo>
                        <a:lnTo>
                          <a:pt x="248" y="4"/>
                        </a:lnTo>
                        <a:lnTo>
                          <a:pt x="246" y="7"/>
                        </a:lnTo>
                        <a:lnTo>
                          <a:pt x="245" y="12"/>
                        </a:lnTo>
                        <a:lnTo>
                          <a:pt x="245" y="15"/>
                        </a:lnTo>
                        <a:lnTo>
                          <a:pt x="243" y="17"/>
                        </a:lnTo>
                        <a:lnTo>
                          <a:pt x="243" y="19"/>
                        </a:lnTo>
                        <a:lnTo>
                          <a:pt x="246" y="19"/>
                        </a:lnTo>
                        <a:lnTo>
                          <a:pt x="246" y="20"/>
                        </a:lnTo>
                        <a:lnTo>
                          <a:pt x="245" y="22"/>
                        </a:lnTo>
                        <a:lnTo>
                          <a:pt x="243" y="27"/>
                        </a:lnTo>
                        <a:lnTo>
                          <a:pt x="245" y="29"/>
                        </a:lnTo>
                        <a:lnTo>
                          <a:pt x="245" y="34"/>
                        </a:lnTo>
                        <a:lnTo>
                          <a:pt x="243" y="37"/>
                        </a:lnTo>
                        <a:lnTo>
                          <a:pt x="246" y="37"/>
                        </a:lnTo>
                        <a:lnTo>
                          <a:pt x="246" y="35"/>
                        </a:lnTo>
                        <a:lnTo>
                          <a:pt x="248" y="35"/>
                        </a:lnTo>
                        <a:lnTo>
                          <a:pt x="250" y="39"/>
                        </a:lnTo>
                        <a:lnTo>
                          <a:pt x="248" y="39"/>
                        </a:lnTo>
                        <a:lnTo>
                          <a:pt x="248" y="39"/>
                        </a:lnTo>
                        <a:lnTo>
                          <a:pt x="245" y="39"/>
                        </a:lnTo>
                        <a:lnTo>
                          <a:pt x="241" y="39"/>
                        </a:lnTo>
                        <a:lnTo>
                          <a:pt x="238" y="44"/>
                        </a:lnTo>
                        <a:lnTo>
                          <a:pt x="240" y="47"/>
                        </a:lnTo>
                        <a:lnTo>
                          <a:pt x="240" y="52"/>
                        </a:lnTo>
                        <a:lnTo>
                          <a:pt x="238" y="54"/>
                        </a:lnTo>
                        <a:lnTo>
                          <a:pt x="238" y="60"/>
                        </a:lnTo>
                        <a:lnTo>
                          <a:pt x="230" y="70"/>
                        </a:lnTo>
                        <a:lnTo>
                          <a:pt x="225" y="82"/>
                        </a:lnTo>
                        <a:lnTo>
                          <a:pt x="221" y="85"/>
                        </a:lnTo>
                        <a:lnTo>
                          <a:pt x="218" y="85"/>
                        </a:lnTo>
                        <a:lnTo>
                          <a:pt x="213" y="90"/>
                        </a:lnTo>
                        <a:lnTo>
                          <a:pt x="213" y="93"/>
                        </a:lnTo>
                        <a:lnTo>
                          <a:pt x="215" y="97"/>
                        </a:lnTo>
                        <a:lnTo>
                          <a:pt x="213" y="98"/>
                        </a:lnTo>
                        <a:lnTo>
                          <a:pt x="198" y="122"/>
                        </a:lnTo>
                        <a:lnTo>
                          <a:pt x="198" y="128"/>
                        </a:lnTo>
                        <a:lnTo>
                          <a:pt x="190" y="140"/>
                        </a:lnTo>
                        <a:lnTo>
                          <a:pt x="188" y="143"/>
                        </a:lnTo>
                        <a:lnTo>
                          <a:pt x="172" y="163"/>
                        </a:lnTo>
                        <a:lnTo>
                          <a:pt x="172" y="168"/>
                        </a:lnTo>
                        <a:lnTo>
                          <a:pt x="163" y="175"/>
                        </a:lnTo>
                        <a:lnTo>
                          <a:pt x="150" y="190"/>
                        </a:lnTo>
                        <a:lnTo>
                          <a:pt x="123" y="211"/>
                        </a:lnTo>
                        <a:lnTo>
                          <a:pt x="112" y="220"/>
                        </a:lnTo>
                        <a:lnTo>
                          <a:pt x="103" y="221"/>
                        </a:lnTo>
                        <a:lnTo>
                          <a:pt x="97" y="226"/>
                        </a:lnTo>
                        <a:lnTo>
                          <a:pt x="89" y="231"/>
                        </a:lnTo>
                        <a:lnTo>
                          <a:pt x="72" y="248"/>
                        </a:lnTo>
                        <a:lnTo>
                          <a:pt x="69" y="248"/>
                        </a:lnTo>
                        <a:lnTo>
                          <a:pt x="55" y="261"/>
                        </a:lnTo>
                        <a:lnTo>
                          <a:pt x="52" y="263"/>
                        </a:lnTo>
                        <a:lnTo>
                          <a:pt x="50" y="266"/>
                        </a:lnTo>
                        <a:lnTo>
                          <a:pt x="45" y="268"/>
                        </a:lnTo>
                        <a:lnTo>
                          <a:pt x="40" y="271"/>
                        </a:lnTo>
                        <a:lnTo>
                          <a:pt x="39" y="276"/>
                        </a:lnTo>
                        <a:lnTo>
                          <a:pt x="19" y="296"/>
                        </a:lnTo>
                        <a:lnTo>
                          <a:pt x="19" y="298"/>
                        </a:lnTo>
                        <a:lnTo>
                          <a:pt x="0" y="283"/>
                        </a:lnTo>
                        <a:lnTo>
                          <a:pt x="2" y="196"/>
                        </a:lnTo>
                        <a:lnTo>
                          <a:pt x="24" y="178"/>
                        </a:lnTo>
                        <a:lnTo>
                          <a:pt x="24" y="178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63" name="Google Shape;3015;p98">
                    <a:extLst>
                      <a:ext uri="{FF2B5EF4-FFF2-40B4-BE49-F238E27FC236}">
                        <a16:creationId xmlns:a16="http://schemas.microsoft.com/office/drawing/2014/main" id="{551FC694-6CBB-B540-EA05-14DD69982F5C}"/>
                      </a:ext>
                    </a:extLst>
                  </p:cNvPr>
                  <p:cNvSpPr/>
                  <p:nvPr/>
                </p:nvSpPr>
                <p:spPr>
                  <a:xfrm>
                    <a:off x="6825990" y="3206421"/>
                    <a:ext cx="135921" cy="11517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54" h="223" extrusionOk="0">
                        <a:moveTo>
                          <a:pt x="63" y="29"/>
                        </a:moveTo>
                        <a:lnTo>
                          <a:pt x="64" y="25"/>
                        </a:lnTo>
                        <a:lnTo>
                          <a:pt x="66" y="24"/>
                        </a:lnTo>
                        <a:lnTo>
                          <a:pt x="69" y="22"/>
                        </a:lnTo>
                        <a:lnTo>
                          <a:pt x="74" y="17"/>
                        </a:lnTo>
                        <a:lnTo>
                          <a:pt x="76" y="19"/>
                        </a:lnTo>
                        <a:lnTo>
                          <a:pt x="83" y="10"/>
                        </a:lnTo>
                        <a:lnTo>
                          <a:pt x="93" y="0"/>
                        </a:lnTo>
                        <a:lnTo>
                          <a:pt x="94" y="4"/>
                        </a:lnTo>
                        <a:lnTo>
                          <a:pt x="99" y="4"/>
                        </a:lnTo>
                        <a:lnTo>
                          <a:pt x="103" y="4"/>
                        </a:lnTo>
                        <a:lnTo>
                          <a:pt x="103" y="17"/>
                        </a:lnTo>
                        <a:lnTo>
                          <a:pt x="108" y="22"/>
                        </a:lnTo>
                        <a:lnTo>
                          <a:pt x="113" y="22"/>
                        </a:lnTo>
                        <a:lnTo>
                          <a:pt x="118" y="20"/>
                        </a:lnTo>
                        <a:lnTo>
                          <a:pt x="123" y="22"/>
                        </a:lnTo>
                        <a:lnTo>
                          <a:pt x="136" y="20"/>
                        </a:lnTo>
                        <a:lnTo>
                          <a:pt x="139" y="24"/>
                        </a:lnTo>
                        <a:lnTo>
                          <a:pt x="149" y="32"/>
                        </a:lnTo>
                        <a:lnTo>
                          <a:pt x="156" y="35"/>
                        </a:lnTo>
                        <a:lnTo>
                          <a:pt x="159" y="40"/>
                        </a:lnTo>
                        <a:lnTo>
                          <a:pt x="164" y="42"/>
                        </a:lnTo>
                        <a:lnTo>
                          <a:pt x="172" y="42"/>
                        </a:lnTo>
                        <a:lnTo>
                          <a:pt x="177" y="43"/>
                        </a:lnTo>
                        <a:lnTo>
                          <a:pt x="184" y="42"/>
                        </a:lnTo>
                        <a:lnTo>
                          <a:pt x="189" y="43"/>
                        </a:lnTo>
                        <a:lnTo>
                          <a:pt x="192" y="43"/>
                        </a:lnTo>
                        <a:lnTo>
                          <a:pt x="197" y="43"/>
                        </a:lnTo>
                        <a:lnTo>
                          <a:pt x="202" y="35"/>
                        </a:lnTo>
                        <a:lnTo>
                          <a:pt x="206" y="32"/>
                        </a:lnTo>
                        <a:lnTo>
                          <a:pt x="211" y="30"/>
                        </a:lnTo>
                        <a:lnTo>
                          <a:pt x="214" y="30"/>
                        </a:lnTo>
                        <a:lnTo>
                          <a:pt x="217" y="29"/>
                        </a:lnTo>
                        <a:lnTo>
                          <a:pt x="229" y="27"/>
                        </a:lnTo>
                        <a:lnTo>
                          <a:pt x="232" y="29"/>
                        </a:lnTo>
                        <a:lnTo>
                          <a:pt x="234" y="34"/>
                        </a:lnTo>
                        <a:lnTo>
                          <a:pt x="239" y="35"/>
                        </a:lnTo>
                        <a:lnTo>
                          <a:pt x="247" y="35"/>
                        </a:lnTo>
                        <a:lnTo>
                          <a:pt x="254" y="35"/>
                        </a:lnTo>
                        <a:lnTo>
                          <a:pt x="232" y="53"/>
                        </a:lnTo>
                        <a:lnTo>
                          <a:pt x="230" y="140"/>
                        </a:lnTo>
                        <a:lnTo>
                          <a:pt x="249" y="155"/>
                        </a:lnTo>
                        <a:lnTo>
                          <a:pt x="247" y="156"/>
                        </a:lnTo>
                        <a:lnTo>
                          <a:pt x="240" y="165"/>
                        </a:lnTo>
                        <a:lnTo>
                          <a:pt x="237" y="165"/>
                        </a:lnTo>
                        <a:lnTo>
                          <a:pt x="235" y="168"/>
                        </a:lnTo>
                        <a:lnTo>
                          <a:pt x="237" y="170"/>
                        </a:lnTo>
                        <a:lnTo>
                          <a:pt x="229" y="173"/>
                        </a:lnTo>
                        <a:lnTo>
                          <a:pt x="224" y="178"/>
                        </a:lnTo>
                        <a:lnTo>
                          <a:pt x="217" y="178"/>
                        </a:lnTo>
                        <a:lnTo>
                          <a:pt x="214" y="180"/>
                        </a:lnTo>
                        <a:lnTo>
                          <a:pt x="214" y="181"/>
                        </a:lnTo>
                        <a:lnTo>
                          <a:pt x="211" y="185"/>
                        </a:lnTo>
                        <a:lnTo>
                          <a:pt x="209" y="186"/>
                        </a:lnTo>
                        <a:lnTo>
                          <a:pt x="211" y="188"/>
                        </a:lnTo>
                        <a:lnTo>
                          <a:pt x="207" y="193"/>
                        </a:lnTo>
                        <a:lnTo>
                          <a:pt x="204" y="198"/>
                        </a:lnTo>
                        <a:lnTo>
                          <a:pt x="204" y="203"/>
                        </a:lnTo>
                        <a:lnTo>
                          <a:pt x="199" y="210"/>
                        </a:lnTo>
                        <a:lnTo>
                          <a:pt x="191" y="221"/>
                        </a:lnTo>
                        <a:lnTo>
                          <a:pt x="186" y="223"/>
                        </a:lnTo>
                        <a:lnTo>
                          <a:pt x="184" y="223"/>
                        </a:lnTo>
                        <a:lnTo>
                          <a:pt x="154" y="205"/>
                        </a:lnTo>
                        <a:lnTo>
                          <a:pt x="151" y="201"/>
                        </a:lnTo>
                        <a:lnTo>
                          <a:pt x="151" y="200"/>
                        </a:lnTo>
                        <a:lnTo>
                          <a:pt x="152" y="196"/>
                        </a:lnTo>
                        <a:lnTo>
                          <a:pt x="147" y="190"/>
                        </a:lnTo>
                        <a:lnTo>
                          <a:pt x="58" y="143"/>
                        </a:lnTo>
                        <a:lnTo>
                          <a:pt x="51" y="143"/>
                        </a:lnTo>
                        <a:lnTo>
                          <a:pt x="58" y="122"/>
                        </a:lnTo>
                        <a:lnTo>
                          <a:pt x="58" y="115"/>
                        </a:lnTo>
                        <a:lnTo>
                          <a:pt x="63" y="112"/>
                        </a:lnTo>
                        <a:lnTo>
                          <a:pt x="66" y="107"/>
                        </a:lnTo>
                        <a:lnTo>
                          <a:pt x="69" y="103"/>
                        </a:lnTo>
                        <a:lnTo>
                          <a:pt x="71" y="100"/>
                        </a:lnTo>
                        <a:lnTo>
                          <a:pt x="74" y="97"/>
                        </a:lnTo>
                        <a:lnTo>
                          <a:pt x="74" y="95"/>
                        </a:lnTo>
                        <a:lnTo>
                          <a:pt x="83" y="95"/>
                        </a:lnTo>
                        <a:lnTo>
                          <a:pt x="84" y="90"/>
                        </a:lnTo>
                        <a:lnTo>
                          <a:pt x="84" y="87"/>
                        </a:lnTo>
                        <a:lnTo>
                          <a:pt x="89" y="80"/>
                        </a:lnTo>
                        <a:lnTo>
                          <a:pt x="91" y="77"/>
                        </a:lnTo>
                        <a:lnTo>
                          <a:pt x="89" y="72"/>
                        </a:lnTo>
                        <a:lnTo>
                          <a:pt x="86" y="68"/>
                        </a:lnTo>
                        <a:lnTo>
                          <a:pt x="88" y="67"/>
                        </a:lnTo>
                        <a:lnTo>
                          <a:pt x="84" y="63"/>
                        </a:lnTo>
                        <a:lnTo>
                          <a:pt x="81" y="63"/>
                        </a:lnTo>
                        <a:lnTo>
                          <a:pt x="79" y="57"/>
                        </a:lnTo>
                        <a:lnTo>
                          <a:pt x="73" y="52"/>
                        </a:lnTo>
                        <a:lnTo>
                          <a:pt x="73" y="47"/>
                        </a:lnTo>
                        <a:lnTo>
                          <a:pt x="71" y="42"/>
                        </a:lnTo>
                        <a:lnTo>
                          <a:pt x="68" y="42"/>
                        </a:lnTo>
                        <a:lnTo>
                          <a:pt x="69" y="37"/>
                        </a:lnTo>
                        <a:lnTo>
                          <a:pt x="66" y="37"/>
                        </a:lnTo>
                        <a:lnTo>
                          <a:pt x="64" y="30"/>
                        </a:lnTo>
                        <a:lnTo>
                          <a:pt x="63" y="29"/>
                        </a:lnTo>
                        <a:lnTo>
                          <a:pt x="63" y="29"/>
                        </a:lnTo>
                        <a:lnTo>
                          <a:pt x="63" y="29"/>
                        </a:lnTo>
                        <a:lnTo>
                          <a:pt x="63" y="29"/>
                        </a:lnTo>
                        <a:close/>
                        <a:moveTo>
                          <a:pt x="0" y="145"/>
                        </a:moveTo>
                        <a:lnTo>
                          <a:pt x="8" y="145"/>
                        </a:lnTo>
                        <a:lnTo>
                          <a:pt x="18" y="145"/>
                        </a:lnTo>
                        <a:lnTo>
                          <a:pt x="0" y="145"/>
                        </a:lnTo>
                        <a:lnTo>
                          <a:pt x="0" y="145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64" name="Google Shape;3016;p98">
                    <a:extLst>
                      <a:ext uri="{FF2B5EF4-FFF2-40B4-BE49-F238E27FC236}">
                        <a16:creationId xmlns:a16="http://schemas.microsoft.com/office/drawing/2014/main" id="{BD7E92A7-1F9E-7906-9C28-2FCA05FA7B44}"/>
                      </a:ext>
                    </a:extLst>
                  </p:cNvPr>
                  <p:cNvSpPr/>
                  <p:nvPr/>
                </p:nvSpPr>
                <p:spPr>
                  <a:xfrm>
                    <a:off x="6799233" y="3220948"/>
                    <a:ext cx="74917" cy="6536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41" h="124" extrusionOk="0">
                        <a:moveTo>
                          <a:pt x="108" y="93"/>
                        </a:moveTo>
                        <a:lnTo>
                          <a:pt x="108" y="86"/>
                        </a:lnTo>
                        <a:lnTo>
                          <a:pt x="113" y="83"/>
                        </a:lnTo>
                        <a:lnTo>
                          <a:pt x="116" y="78"/>
                        </a:lnTo>
                        <a:lnTo>
                          <a:pt x="119" y="74"/>
                        </a:lnTo>
                        <a:lnTo>
                          <a:pt x="121" y="71"/>
                        </a:lnTo>
                        <a:lnTo>
                          <a:pt x="124" y="68"/>
                        </a:lnTo>
                        <a:lnTo>
                          <a:pt x="124" y="66"/>
                        </a:lnTo>
                        <a:lnTo>
                          <a:pt x="133" y="66"/>
                        </a:lnTo>
                        <a:lnTo>
                          <a:pt x="134" y="61"/>
                        </a:lnTo>
                        <a:lnTo>
                          <a:pt x="134" y="58"/>
                        </a:lnTo>
                        <a:lnTo>
                          <a:pt x="139" y="51"/>
                        </a:lnTo>
                        <a:lnTo>
                          <a:pt x="141" y="48"/>
                        </a:lnTo>
                        <a:lnTo>
                          <a:pt x="139" y="43"/>
                        </a:lnTo>
                        <a:lnTo>
                          <a:pt x="136" y="39"/>
                        </a:lnTo>
                        <a:lnTo>
                          <a:pt x="138" y="38"/>
                        </a:lnTo>
                        <a:lnTo>
                          <a:pt x="134" y="34"/>
                        </a:lnTo>
                        <a:lnTo>
                          <a:pt x="131" y="34"/>
                        </a:lnTo>
                        <a:lnTo>
                          <a:pt x="129" y="28"/>
                        </a:lnTo>
                        <a:lnTo>
                          <a:pt x="123" y="23"/>
                        </a:lnTo>
                        <a:lnTo>
                          <a:pt x="123" y="18"/>
                        </a:lnTo>
                        <a:lnTo>
                          <a:pt x="121" y="13"/>
                        </a:lnTo>
                        <a:lnTo>
                          <a:pt x="118" y="13"/>
                        </a:lnTo>
                        <a:lnTo>
                          <a:pt x="119" y="8"/>
                        </a:lnTo>
                        <a:lnTo>
                          <a:pt x="116" y="8"/>
                        </a:lnTo>
                        <a:lnTo>
                          <a:pt x="114" y="1"/>
                        </a:lnTo>
                        <a:lnTo>
                          <a:pt x="113" y="0"/>
                        </a:lnTo>
                        <a:lnTo>
                          <a:pt x="106" y="3"/>
                        </a:lnTo>
                        <a:lnTo>
                          <a:pt x="103" y="6"/>
                        </a:lnTo>
                        <a:lnTo>
                          <a:pt x="98" y="8"/>
                        </a:lnTo>
                        <a:lnTo>
                          <a:pt x="93" y="8"/>
                        </a:lnTo>
                        <a:lnTo>
                          <a:pt x="84" y="8"/>
                        </a:lnTo>
                        <a:lnTo>
                          <a:pt x="78" y="9"/>
                        </a:lnTo>
                        <a:lnTo>
                          <a:pt x="75" y="9"/>
                        </a:lnTo>
                        <a:lnTo>
                          <a:pt x="73" y="11"/>
                        </a:lnTo>
                        <a:lnTo>
                          <a:pt x="70" y="9"/>
                        </a:lnTo>
                        <a:lnTo>
                          <a:pt x="66" y="13"/>
                        </a:lnTo>
                        <a:lnTo>
                          <a:pt x="66" y="16"/>
                        </a:lnTo>
                        <a:lnTo>
                          <a:pt x="65" y="16"/>
                        </a:lnTo>
                        <a:lnTo>
                          <a:pt x="58" y="14"/>
                        </a:lnTo>
                        <a:lnTo>
                          <a:pt x="58" y="11"/>
                        </a:lnTo>
                        <a:lnTo>
                          <a:pt x="53" y="9"/>
                        </a:lnTo>
                        <a:lnTo>
                          <a:pt x="50" y="11"/>
                        </a:lnTo>
                        <a:lnTo>
                          <a:pt x="43" y="9"/>
                        </a:lnTo>
                        <a:lnTo>
                          <a:pt x="38" y="8"/>
                        </a:lnTo>
                        <a:lnTo>
                          <a:pt x="36" y="9"/>
                        </a:lnTo>
                        <a:lnTo>
                          <a:pt x="35" y="13"/>
                        </a:lnTo>
                        <a:lnTo>
                          <a:pt x="36" y="14"/>
                        </a:lnTo>
                        <a:lnTo>
                          <a:pt x="36" y="16"/>
                        </a:lnTo>
                        <a:lnTo>
                          <a:pt x="36" y="16"/>
                        </a:lnTo>
                        <a:lnTo>
                          <a:pt x="35" y="19"/>
                        </a:lnTo>
                        <a:lnTo>
                          <a:pt x="33" y="23"/>
                        </a:lnTo>
                        <a:lnTo>
                          <a:pt x="33" y="28"/>
                        </a:lnTo>
                        <a:lnTo>
                          <a:pt x="31" y="36"/>
                        </a:lnTo>
                        <a:lnTo>
                          <a:pt x="31" y="41"/>
                        </a:lnTo>
                        <a:lnTo>
                          <a:pt x="33" y="43"/>
                        </a:lnTo>
                        <a:lnTo>
                          <a:pt x="36" y="46"/>
                        </a:lnTo>
                        <a:lnTo>
                          <a:pt x="38" y="49"/>
                        </a:lnTo>
                        <a:lnTo>
                          <a:pt x="36" y="53"/>
                        </a:lnTo>
                        <a:lnTo>
                          <a:pt x="25" y="68"/>
                        </a:lnTo>
                        <a:lnTo>
                          <a:pt x="16" y="74"/>
                        </a:lnTo>
                        <a:lnTo>
                          <a:pt x="15" y="78"/>
                        </a:lnTo>
                        <a:lnTo>
                          <a:pt x="5" y="94"/>
                        </a:lnTo>
                        <a:lnTo>
                          <a:pt x="3" y="96"/>
                        </a:lnTo>
                        <a:lnTo>
                          <a:pt x="3" y="103"/>
                        </a:lnTo>
                        <a:lnTo>
                          <a:pt x="3" y="111"/>
                        </a:lnTo>
                        <a:lnTo>
                          <a:pt x="0" y="117"/>
                        </a:lnTo>
                        <a:lnTo>
                          <a:pt x="0" y="122"/>
                        </a:lnTo>
                        <a:lnTo>
                          <a:pt x="0" y="124"/>
                        </a:lnTo>
                        <a:lnTo>
                          <a:pt x="0" y="124"/>
                        </a:lnTo>
                        <a:lnTo>
                          <a:pt x="5" y="124"/>
                        </a:lnTo>
                        <a:lnTo>
                          <a:pt x="8" y="121"/>
                        </a:lnTo>
                        <a:lnTo>
                          <a:pt x="11" y="122"/>
                        </a:lnTo>
                        <a:lnTo>
                          <a:pt x="13" y="124"/>
                        </a:lnTo>
                        <a:lnTo>
                          <a:pt x="16" y="124"/>
                        </a:lnTo>
                        <a:lnTo>
                          <a:pt x="18" y="122"/>
                        </a:lnTo>
                        <a:lnTo>
                          <a:pt x="18" y="119"/>
                        </a:lnTo>
                        <a:lnTo>
                          <a:pt x="23" y="119"/>
                        </a:lnTo>
                        <a:lnTo>
                          <a:pt x="23" y="119"/>
                        </a:lnTo>
                        <a:lnTo>
                          <a:pt x="25" y="117"/>
                        </a:lnTo>
                        <a:lnTo>
                          <a:pt x="26" y="117"/>
                        </a:lnTo>
                        <a:lnTo>
                          <a:pt x="28" y="116"/>
                        </a:lnTo>
                        <a:lnTo>
                          <a:pt x="50" y="116"/>
                        </a:lnTo>
                        <a:lnTo>
                          <a:pt x="50" y="116"/>
                        </a:lnTo>
                        <a:lnTo>
                          <a:pt x="68" y="116"/>
                        </a:lnTo>
                        <a:lnTo>
                          <a:pt x="101" y="114"/>
                        </a:lnTo>
                        <a:lnTo>
                          <a:pt x="108" y="93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65" name="Google Shape;3017;p98">
                    <a:extLst>
                      <a:ext uri="{FF2B5EF4-FFF2-40B4-BE49-F238E27FC236}">
                        <a16:creationId xmlns:a16="http://schemas.microsoft.com/office/drawing/2014/main" id="{EE553EDA-84C6-FF75-0263-D91ECF6D90AE}"/>
                      </a:ext>
                    </a:extLst>
                  </p:cNvPr>
                  <p:cNvSpPr/>
                  <p:nvPr/>
                </p:nvSpPr>
                <p:spPr>
                  <a:xfrm>
                    <a:off x="6603378" y="3142091"/>
                    <a:ext cx="169099" cy="9960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16" h="192" extrusionOk="0">
                        <a:moveTo>
                          <a:pt x="200" y="0"/>
                        </a:moveTo>
                        <a:lnTo>
                          <a:pt x="203" y="3"/>
                        </a:lnTo>
                        <a:lnTo>
                          <a:pt x="203" y="5"/>
                        </a:lnTo>
                        <a:lnTo>
                          <a:pt x="201" y="6"/>
                        </a:lnTo>
                        <a:lnTo>
                          <a:pt x="206" y="11"/>
                        </a:lnTo>
                        <a:lnTo>
                          <a:pt x="208" y="13"/>
                        </a:lnTo>
                        <a:lnTo>
                          <a:pt x="213" y="21"/>
                        </a:lnTo>
                        <a:lnTo>
                          <a:pt x="218" y="30"/>
                        </a:lnTo>
                        <a:lnTo>
                          <a:pt x="220" y="33"/>
                        </a:lnTo>
                        <a:lnTo>
                          <a:pt x="218" y="38"/>
                        </a:lnTo>
                        <a:lnTo>
                          <a:pt x="216" y="40"/>
                        </a:lnTo>
                        <a:lnTo>
                          <a:pt x="215" y="43"/>
                        </a:lnTo>
                        <a:lnTo>
                          <a:pt x="216" y="50"/>
                        </a:lnTo>
                        <a:lnTo>
                          <a:pt x="220" y="53"/>
                        </a:lnTo>
                        <a:lnTo>
                          <a:pt x="225" y="53"/>
                        </a:lnTo>
                        <a:lnTo>
                          <a:pt x="226" y="51"/>
                        </a:lnTo>
                        <a:lnTo>
                          <a:pt x="235" y="51"/>
                        </a:lnTo>
                        <a:lnTo>
                          <a:pt x="236" y="53"/>
                        </a:lnTo>
                        <a:lnTo>
                          <a:pt x="235" y="56"/>
                        </a:lnTo>
                        <a:lnTo>
                          <a:pt x="236" y="60"/>
                        </a:lnTo>
                        <a:lnTo>
                          <a:pt x="240" y="63"/>
                        </a:lnTo>
                        <a:lnTo>
                          <a:pt x="245" y="64"/>
                        </a:lnTo>
                        <a:lnTo>
                          <a:pt x="249" y="64"/>
                        </a:lnTo>
                        <a:lnTo>
                          <a:pt x="253" y="68"/>
                        </a:lnTo>
                        <a:lnTo>
                          <a:pt x="254" y="69"/>
                        </a:lnTo>
                        <a:lnTo>
                          <a:pt x="259" y="73"/>
                        </a:lnTo>
                        <a:lnTo>
                          <a:pt x="263" y="73"/>
                        </a:lnTo>
                        <a:lnTo>
                          <a:pt x="264" y="74"/>
                        </a:lnTo>
                        <a:lnTo>
                          <a:pt x="264" y="78"/>
                        </a:lnTo>
                        <a:lnTo>
                          <a:pt x="261" y="81"/>
                        </a:lnTo>
                        <a:lnTo>
                          <a:pt x="259" y="83"/>
                        </a:lnTo>
                        <a:lnTo>
                          <a:pt x="258" y="84"/>
                        </a:lnTo>
                        <a:lnTo>
                          <a:pt x="263" y="88"/>
                        </a:lnTo>
                        <a:lnTo>
                          <a:pt x="268" y="89"/>
                        </a:lnTo>
                        <a:lnTo>
                          <a:pt x="269" y="88"/>
                        </a:lnTo>
                        <a:lnTo>
                          <a:pt x="273" y="89"/>
                        </a:lnTo>
                        <a:lnTo>
                          <a:pt x="274" y="89"/>
                        </a:lnTo>
                        <a:lnTo>
                          <a:pt x="283" y="94"/>
                        </a:lnTo>
                        <a:lnTo>
                          <a:pt x="284" y="96"/>
                        </a:lnTo>
                        <a:lnTo>
                          <a:pt x="284" y="103"/>
                        </a:lnTo>
                        <a:lnTo>
                          <a:pt x="288" y="104"/>
                        </a:lnTo>
                        <a:lnTo>
                          <a:pt x="293" y="106"/>
                        </a:lnTo>
                        <a:lnTo>
                          <a:pt x="294" y="108"/>
                        </a:lnTo>
                        <a:lnTo>
                          <a:pt x="294" y="113"/>
                        </a:lnTo>
                        <a:lnTo>
                          <a:pt x="296" y="114"/>
                        </a:lnTo>
                        <a:lnTo>
                          <a:pt x="304" y="116"/>
                        </a:lnTo>
                        <a:lnTo>
                          <a:pt x="308" y="119"/>
                        </a:lnTo>
                        <a:lnTo>
                          <a:pt x="308" y="121"/>
                        </a:lnTo>
                        <a:lnTo>
                          <a:pt x="308" y="128"/>
                        </a:lnTo>
                        <a:lnTo>
                          <a:pt x="311" y="129"/>
                        </a:lnTo>
                        <a:lnTo>
                          <a:pt x="314" y="133"/>
                        </a:lnTo>
                        <a:lnTo>
                          <a:pt x="316" y="134"/>
                        </a:lnTo>
                        <a:lnTo>
                          <a:pt x="316" y="136"/>
                        </a:lnTo>
                        <a:lnTo>
                          <a:pt x="316" y="136"/>
                        </a:lnTo>
                        <a:lnTo>
                          <a:pt x="311" y="133"/>
                        </a:lnTo>
                        <a:lnTo>
                          <a:pt x="306" y="133"/>
                        </a:lnTo>
                        <a:lnTo>
                          <a:pt x="298" y="136"/>
                        </a:lnTo>
                        <a:lnTo>
                          <a:pt x="298" y="134"/>
                        </a:lnTo>
                        <a:lnTo>
                          <a:pt x="288" y="134"/>
                        </a:lnTo>
                        <a:lnTo>
                          <a:pt x="284" y="133"/>
                        </a:lnTo>
                        <a:lnTo>
                          <a:pt x="281" y="133"/>
                        </a:lnTo>
                        <a:lnTo>
                          <a:pt x="278" y="131"/>
                        </a:lnTo>
                        <a:lnTo>
                          <a:pt x="276" y="131"/>
                        </a:lnTo>
                        <a:lnTo>
                          <a:pt x="271" y="131"/>
                        </a:lnTo>
                        <a:lnTo>
                          <a:pt x="268" y="128"/>
                        </a:lnTo>
                        <a:lnTo>
                          <a:pt x="264" y="129"/>
                        </a:lnTo>
                        <a:lnTo>
                          <a:pt x="264" y="131"/>
                        </a:lnTo>
                        <a:lnTo>
                          <a:pt x="266" y="133"/>
                        </a:lnTo>
                        <a:lnTo>
                          <a:pt x="263" y="136"/>
                        </a:lnTo>
                        <a:lnTo>
                          <a:pt x="259" y="136"/>
                        </a:lnTo>
                        <a:lnTo>
                          <a:pt x="256" y="138"/>
                        </a:lnTo>
                        <a:lnTo>
                          <a:pt x="249" y="138"/>
                        </a:lnTo>
                        <a:lnTo>
                          <a:pt x="248" y="139"/>
                        </a:lnTo>
                        <a:lnTo>
                          <a:pt x="245" y="139"/>
                        </a:lnTo>
                        <a:lnTo>
                          <a:pt x="245" y="136"/>
                        </a:lnTo>
                        <a:lnTo>
                          <a:pt x="243" y="136"/>
                        </a:lnTo>
                        <a:lnTo>
                          <a:pt x="241" y="134"/>
                        </a:lnTo>
                        <a:lnTo>
                          <a:pt x="238" y="134"/>
                        </a:lnTo>
                        <a:lnTo>
                          <a:pt x="228" y="138"/>
                        </a:lnTo>
                        <a:lnTo>
                          <a:pt x="225" y="139"/>
                        </a:lnTo>
                        <a:lnTo>
                          <a:pt x="223" y="141"/>
                        </a:lnTo>
                        <a:lnTo>
                          <a:pt x="213" y="143"/>
                        </a:lnTo>
                        <a:lnTo>
                          <a:pt x="210" y="144"/>
                        </a:lnTo>
                        <a:lnTo>
                          <a:pt x="206" y="141"/>
                        </a:lnTo>
                        <a:lnTo>
                          <a:pt x="201" y="141"/>
                        </a:lnTo>
                        <a:lnTo>
                          <a:pt x="198" y="141"/>
                        </a:lnTo>
                        <a:lnTo>
                          <a:pt x="193" y="144"/>
                        </a:lnTo>
                        <a:lnTo>
                          <a:pt x="190" y="148"/>
                        </a:lnTo>
                        <a:lnTo>
                          <a:pt x="190" y="151"/>
                        </a:lnTo>
                        <a:lnTo>
                          <a:pt x="193" y="153"/>
                        </a:lnTo>
                        <a:lnTo>
                          <a:pt x="191" y="154"/>
                        </a:lnTo>
                        <a:lnTo>
                          <a:pt x="186" y="154"/>
                        </a:lnTo>
                        <a:lnTo>
                          <a:pt x="185" y="154"/>
                        </a:lnTo>
                        <a:lnTo>
                          <a:pt x="178" y="153"/>
                        </a:lnTo>
                        <a:lnTo>
                          <a:pt x="175" y="151"/>
                        </a:lnTo>
                        <a:lnTo>
                          <a:pt x="171" y="151"/>
                        </a:lnTo>
                        <a:lnTo>
                          <a:pt x="168" y="153"/>
                        </a:lnTo>
                        <a:lnTo>
                          <a:pt x="165" y="153"/>
                        </a:lnTo>
                        <a:lnTo>
                          <a:pt x="158" y="151"/>
                        </a:lnTo>
                        <a:lnTo>
                          <a:pt x="153" y="149"/>
                        </a:lnTo>
                        <a:lnTo>
                          <a:pt x="148" y="149"/>
                        </a:lnTo>
                        <a:lnTo>
                          <a:pt x="147" y="148"/>
                        </a:lnTo>
                        <a:lnTo>
                          <a:pt x="140" y="143"/>
                        </a:lnTo>
                        <a:lnTo>
                          <a:pt x="137" y="143"/>
                        </a:lnTo>
                        <a:lnTo>
                          <a:pt x="130" y="136"/>
                        </a:lnTo>
                        <a:lnTo>
                          <a:pt x="127" y="136"/>
                        </a:lnTo>
                        <a:lnTo>
                          <a:pt x="123" y="134"/>
                        </a:lnTo>
                        <a:lnTo>
                          <a:pt x="122" y="134"/>
                        </a:lnTo>
                        <a:lnTo>
                          <a:pt x="120" y="136"/>
                        </a:lnTo>
                        <a:lnTo>
                          <a:pt x="117" y="136"/>
                        </a:lnTo>
                        <a:lnTo>
                          <a:pt x="112" y="138"/>
                        </a:lnTo>
                        <a:lnTo>
                          <a:pt x="110" y="138"/>
                        </a:lnTo>
                        <a:lnTo>
                          <a:pt x="108" y="139"/>
                        </a:lnTo>
                        <a:lnTo>
                          <a:pt x="107" y="143"/>
                        </a:lnTo>
                        <a:lnTo>
                          <a:pt x="105" y="146"/>
                        </a:lnTo>
                        <a:lnTo>
                          <a:pt x="105" y="148"/>
                        </a:lnTo>
                        <a:lnTo>
                          <a:pt x="103" y="149"/>
                        </a:lnTo>
                        <a:lnTo>
                          <a:pt x="100" y="149"/>
                        </a:lnTo>
                        <a:lnTo>
                          <a:pt x="100" y="153"/>
                        </a:lnTo>
                        <a:lnTo>
                          <a:pt x="103" y="156"/>
                        </a:lnTo>
                        <a:lnTo>
                          <a:pt x="102" y="159"/>
                        </a:lnTo>
                        <a:lnTo>
                          <a:pt x="100" y="161"/>
                        </a:lnTo>
                        <a:lnTo>
                          <a:pt x="100" y="166"/>
                        </a:lnTo>
                        <a:lnTo>
                          <a:pt x="98" y="166"/>
                        </a:lnTo>
                        <a:lnTo>
                          <a:pt x="95" y="166"/>
                        </a:lnTo>
                        <a:lnTo>
                          <a:pt x="92" y="164"/>
                        </a:lnTo>
                        <a:lnTo>
                          <a:pt x="90" y="162"/>
                        </a:lnTo>
                        <a:lnTo>
                          <a:pt x="87" y="162"/>
                        </a:lnTo>
                        <a:lnTo>
                          <a:pt x="82" y="162"/>
                        </a:lnTo>
                        <a:lnTo>
                          <a:pt x="80" y="164"/>
                        </a:lnTo>
                        <a:lnTo>
                          <a:pt x="75" y="164"/>
                        </a:lnTo>
                        <a:lnTo>
                          <a:pt x="65" y="167"/>
                        </a:lnTo>
                        <a:lnTo>
                          <a:pt x="63" y="171"/>
                        </a:lnTo>
                        <a:lnTo>
                          <a:pt x="58" y="171"/>
                        </a:lnTo>
                        <a:lnTo>
                          <a:pt x="53" y="176"/>
                        </a:lnTo>
                        <a:lnTo>
                          <a:pt x="42" y="192"/>
                        </a:lnTo>
                        <a:lnTo>
                          <a:pt x="42" y="192"/>
                        </a:lnTo>
                        <a:lnTo>
                          <a:pt x="40" y="191"/>
                        </a:lnTo>
                        <a:lnTo>
                          <a:pt x="40" y="187"/>
                        </a:lnTo>
                        <a:lnTo>
                          <a:pt x="40" y="182"/>
                        </a:lnTo>
                        <a:lnTo>
                          <a:pt x="32" y="177"/>
                        </a:lnTo>
                        <a:lnTo>
                          <a:pt x="29" y="174"/>
                        </a:lnTo>
                        <a:lnTo>
                          <a:pt x="25" y="167"/>
                        </a:lnTo>
                        <a:lnTo>
                          <a:pt x="20" y="161"/>
                        </a:lnTo>
                        <a:lnTo>
                          <a:pt x="19" y="156"/>
                        </a:lnTo>
                        <a:lnTo>
                          <a:pt x="14" y="151"/>
                        </a:lnTo>
                        <a:lnTo>
                          <a:pt x="7" y="148"/>
                        </a:lnTo>
                        <a:lnTo>
                          <a:pt x="5" y="146"/>
                        </a:lnTo>
                        <a:lnTo>
                          <a:pt x="5" y="138"/>
                        </a:lnTo>
                        <a:lnTo>
                          <a:pt x="4" y="133"/>
                        </a:lnTo>
                        <a:lnTo>
                          <a:pt x="2" y="128"/>
                        </a:lnTo>
                        <a:lnTo>
                          <a:pt x="4" y="123"/>
                        </a:lnTo>
                        <a:lnTo>
                          <a:pt x="2" y="116"/>
                        </a:lnTo>
                        <a:lnTo>
                          <a:pt x="0" y="111"/>
                        </a:lnTo>
                        <a:lnTo>
                          <a:pt x="4" y="108"/>
                        </a:lnTo>
                        <a:lnTo>
                          <a:pt x="5" y="108"/>
                        </a:lnTo>
                        <a:lnTo>
                          <a:pt x="10" y="101"/>
                        </a:lnTo>
                        <a:lnTo>
                          <a:pt x="14" y="96"/>
                        </a:lnTo>
                        <a:lnTo>
                          <a:pt x="17" y="89"/>
                        </a:lnTo>
                        <a:lnTo>
                          <a:pt x="20" y="84"/>
                        </a:lnTo>
                        <a:lnTo>
                          <a:pt x="24" y="83"/>
                        </a:lnTo>
                        <a:lnTo>
                          <a:pt x="29" y="78"/>
                        </a:lnTo>
                        <a:lnTo>
                          <a:pt x="29" y="76"/>
                        </a:lnTo>
                        <a:lnTo>
                          <a:pt x="30" y="78"/>
                        </a:lnTo>
                        <a:lnTo>
                          <a:pt x="32" y="83"/>
                        </a:lnTo>
                        <a:lnTo>
                          <a:pt x="35" y="83"/>
                        </a:lnTo>
                        <a:lnTo>
                          <a:pt x="40" y="83"/>
                        </a:lnTo>
                        <a:lnTo>
                          <a:pt x="47" y="81"/>
                        </a:lnTo>
                        <a:lnTo>
                          <a:pt x="50" y="76"/>
                        </a:lnTo>
                        <a:lnTo>
                          <a:pt x="50" y="73"/>
                        </a:lnTo>
                        <a:lnTo>
                          <a:pt x="52" y="69"/>
                        </a:lnTo>
                        <a:lnTo>
                          <a:pt x="55" y="73"/>
                        </a:lnTo>
                        <a:lnTo>
                          <a:pt x="57" y="78"/>
                        </a:lnTo>
                        <a:lnTo>
                          <a:pt x="58" y="79"/>
                        </a:lnTo>
                        <a:lnTo>
                          <a:pt x="63" y="78"/>
                        </a:lnTo>
                        <a:lnTo>
                          <a:pt x="68" y="74"/>
                        </a:lnTo>
                        <a:lnTo>
                          <a:pt x="77" y="71"/>
                        </a:lnTo>
                        <a:lnTo>
                          <a:pt x="82" y="68"/>
                        </a:lnTo>
                        <a:lnTo>
                          <a:pt x="97" y="64"/>
                        </a:lnTo>
                        <a:lnTo>
                          <a:pt x="103" y="64"/>
                        </a:lnTo>
                        <a:lnTo>
                          <a:pt x="107" y="61"/>
                        </a:lnTo>
                        <a:lnTo>
                          <a:pt x="113" y="58"/>
                        </a:lnTo>
                        <a:lnTo>
                          <a:pt x="112" y="55"/>
                        </a:lnTo>
                        <a:lnTo>
                          <a:pt x="110" y="55"/>
                        </a:lnTo>
                        <a:lnTo>
                          <a:pt x="105" y="50"/>
                        </a:lnTo>
                        <a:lnTo>
                          <a:pt x="105" y="46"/>
                        </a:lnTo>
                        <a:lnTo>
                          <a:pt x="108" y="45"/>
                        </a:lnTo>
                        <a:lnTo>
                          <a:pt x="113" y="45"/>
                        </a:lnTo>
                        <a:lnTo>
                          <a:pt x="118" y="45"/>
                        </a:lnTo>
                        <a:lnTo>
                          <a:pt x="122" y="46"/>
                        </a:lnTo>
                        <a:lnTo>
                          <a:pt x="128" y="46"/>
                        </a:lnTo>
                        <a:lnTo>
                          <a:pt x="135" y="46"/>
                        </a:lnTo>
                        <a:lnTo>
                          <a:pt x="145" y="45"/>
                        </a:lnTo>
                        <a:lnTo>
                          <a:pt x="150" y="41"/>
                        </a:lnTo>
                        <a:lnTo>
                          <a:pt x="153" y="40"/>
                        </a:lnTo>
                        <a:lnTo>
                          <a:pt x="155" y="36"/>
                        </a:lnTo>
                        <a:lnTo>
                          <a:pt x="153" y="33"/>
                        </a:lnTo>
                        <a:lnTo>
                          <a:pt x="155" y="30"/>
                        </a:lnTo>
                        <a:lnTo>
                          <a:pt x="158" y="28"/>
                        </a:lnTo>
                        <a:lnTo>
                          <a:pt x="158" y="25"/>
                        </a:lnTo>
                        <a:lnTo>
                          <a:pt x="161" y="21"/>
                        </a:lnTo>
                        <a:lnTo>
                          <a:pt x="163" y="21"/>
                        </a:lnTo>
                        <a:lnTo>
                          <a:pt x="165" y="21"/>
                        </a:lnTo>
                        <a:lnTo>
                          <a:pt x="170" y="15"/>
                        </a:lnTo>
                        <a:lnTo>
                          <a:pt x="173" y="15"/>
                        </a:lnTo>
                        <a:lnTo>
                          <a:pt x="173" y="11"/>
                        </a:lnTo>
                        <a:lnTo>
                          <a:pt x="173" y="8"/>
                        </a:lnTo>
                        <a:lnTo>
                          <a:pt x="180" y="5"/>
                        </a:lnTo>
                        <a:lnTo>
                          <a:pt x="185" y="3"/>
                        </a:lnTo>
                        <a:lnTo>
                          <a:pt x="190" y="3"/>
                        </a:lnTo>
                        <a:lnTo>
                          <a:pt x="193" y="5"/>
                        </a:lnTo>
                        <a:lnTo>
                          <a:pt x="200" y="1"/>
                        </a:lnTo>
                        <a:lnTo>
                          <a:pt x="200" y="0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66" name="Google Shape;3018;p98">
                    <a:extLst>
                      <a:ext uri="{FF2B5EF4-FFF2-40B4-BE49-F238E27FC236}">
                        <a16:creationId xmlns:a16="http://schemas.microsoft.com/office/drawing/2014/main" id="{40290290-8DA6-E20A-5C78-07AD18F6C609}"/>
                      </a:ext>
                    </a:extLst>
                  </p:cNvPr>
                  <p:cNvSpPr/>
                  <p:nvPr/>
                </p:nvSpPr>
                <p:spPr>
                  <a:xfrm>
                    <a:off x="6533812" y="2878543"/>
                    <a:ext cx="202277" cy="16393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77" h="318" extrusionOk="0">
                        <a:moveTo>
                          <a:pt x="354" y="316"/>
                        </a:moveTo>
                        <a:lnTo>
                          <a:pt x="354" y="309"/>
                        </a:lnTo>
                        <a:lnTo>
                          <a:pt x="377" y="306"/>
                        </a:lnTo>
                        <a:lnTo>
                          <a:pt x="365" y="90"/>
                        </a:lnTo>
                        <a:lnTo>
                          <a:pt x="364" y="79"/>
                        </a:lnTo>
                        <a:lnTo>
                          <a:pt x="360" y="74"/>
                        </a:lnTo>
                        <a:lnTo>
                          <a:pt x="364" y="67"/>
                        </a:lnTo>
                        <a:lnTo>
                          <a:pt x="367" y="59"/>
                        </a:lnTo>
                        <a:lnTo>
                          <a:pt x="367" y="54"/>
                        </a:lnTo>
                        <a:lnTo>
                          <a:pt x="364" y="49"/>
                        </a:lnTo>
                        <a:lnTo>
                          <a:pt x="365" y="39"/>
                        </a:lnTo>
                        <a:lnTo>
                          <a:pt x="367" y="35"/>
                        </a:lnTo>
                        <a:lnTo>
                          <a:pt x="365" y="29"/>
                        </a:lnTo>
                        <a:lnTo>
                          <a:pt x="362" y="25"/>
                        </a:lnTo>
                        <a:lnTo>
                          <a:pt x="357" y="25"/>
                        </a:lnTo>
                        <a:lnTo>
                          <a:pt x="354" y="25"/>
                        </a:lnTo>
                        <a:lnTo>
                          <a:pt x="337" y="24"/>
                        </a:lnTo>
                        <a:lnTo>
                          <a:pt x="334" y="20"/>
                        </a:lnTo>
                        <a:lnTo>
                          <a:pt x="327" y="20"/>
                        </a:lnTo>
                        <a:lnTo>
                          <a:pt x="319" y="19"/>
                        </a:lnTo>
                        <a:lnTo>
                          <a:pt x="317" y="15"/>
                        </a:lnTo>
                        <a:lnTo>
                          <a:pt x="319" y="15"/>
                        </a:lnTo>
                        <a:lnTo>
                          <a:pt x="319" y="12"/>
                        </a:lnTo>
                        <a:lnTo>
                          <a:pt x="307" y="7"/>
                        </a:lnTo>
                        <a:lnTo>
                          <a:pt x="302" y="7"/>
                        </a:lnTo>
                        <a:lnTo>
                          <a:pt x="294" y="5"/>
                        </a:lnTo>
                        <a:lnTo>
                          <a:pt x="292" y="4"/>
                        </a:lnTo>
                        <a:lnTo>
                          <a:pt x="289" y="7"/>
                        </a:lnTo>
                        <a:lnTo>
                          <a:pt x="284" y="4"/>
                        </a:lnTo>
                        <a:lnTo>
                          <a:pt x="282" y="4"/>
                        </a:lnTo>
                        <a:lnTo>
                          <a:pt x="276" y="7"/>
                        </a:lnTo>
                        <a:lnTo>
                          <a:pt x="264" y="9"/>
                        </a:lnTo>
                        <a:lnTo>
                          <a:pt x="252" y="14"/>
                        </a:lnTo>
                        <a:lnTo>
                          <a:pt x="247" y="19"/>
                        </a:lnTo>
                        <a:lnTo>
                          <a:pt x="246" y="24"/>
                        </a:lnTo>
                        <a:lnTo>
                          <a:pt x="242" y="27"/>
                        </a:lnTo>
                        <a:lnTo>
                          <a:pt x="242" y="37"/>
                        </a:lnTo>
                        <a:lnTo>
                          <a:pt x="246" y="44"/>
                        </a:lnTo>
                        <a:lnTo>
                          <a:pt x="249" y="52"/>
                        </a:lnTo>
                        <a:lnTo>
                          <a:pt x="247" y="57"/>
                        </a:lnTo>
                        <a:lnTo>
                          <a:pt x="241" y="64"/>
                        </a:lnTo>
                        <a:lnTo>
                          <a:pt x="241" y="65"/>
                        </a:lnTo>
                        <a:lnTo>
                          <a:pt x="232" y="72"/>
                        </a:lnTo>
                        <a:lnTo>
                          <a:pt x="227" y="74"/>
                        </a:lnTo>
                        <a:lnTo>
                          <a:pt x="216" y="70"/>
                        </a:lnTo>
                        <a:lnTo>
                          <a:pt x="207" y="62"/>
                        </a:lnTo>
                        <a:lnTo>
                          <a:pt x="199" y="57"/>
                        </a:lnTo>
                        <a:lnTo>
                          <a:pt x="187" y="52"/>
                        </a:lnTo>
                        <a:lnTo>
                          <a:pt x="171" y="45"/>
                        </a:lnTo>
                        <a:lnTo>
                          <a:pt x="163" y="44"/>
                        </a:lnTo>
                        <a:lnTo>
                          <a:pt x="159" y="45"/>
                        </a:lnTo>
                        <a:lnTo>
                          <a:pt x="151" y="45"/>
                        </a:lnTo>
                        <a:lnTo>
                          <a:pt x="143" y="42"/>
                        </a:lnTo>
                        <a:lnTo>
                          <a:pt x="134" y="29"/>
                        </a:lnTo>
                        <a:lnTo>
                          <a:pt x="134" y="22"/>
                        </a:lnTo>
                        <a:lnTo>
                          <a:pt x="129" y="15"/>
                        </a:lnTo>
                        <a:lnTo>
                          <a:pt x="113" y="12"/>
                        </a:lnTo>
                        <a:lnTo>
                          <a:pt x="104" y="9"/>
                        </a:lnTo>
                        <a:lnTo>
                          <a:pt x="91" y="7"/>
                        </a:lnTo>
                        <a:lnTo>
                          <a:pt x="84" y="5"/>
                        </a:lnTo>
                        <a:lnTo>
                          <a:pt x="68" y="7"/>
                        </a:lnTo>
                        <a:lnTo>
                          <a:pt x="55" y="5"/>
                        </a:lnTo>
                        <a:lnTo>
                          <a:pt x="51" y="2"/>
                        </a:lnTo>
                        <a:lnTo>
                          <a:pt x="45" y="0"/>
                        </a:lnTo>
                        <a:lnTo>
                          <a:pt x="45" y="2"/>
                        </a:lnTo>
                        <a:lnTo>
                          <a:pt x="46" y="10"/>
                        </a:lnTo>
                        <a:lnTo>
                          <a:pt x="48" y="12"/>
                        </a:lnTo>
                        <a:lnTo>
                          <a:pt x="43" y="20"/>
                        </a:lnTo>
                        <a:lnTo>
                          <a:pt x="28" y="29"/>
                        </a:lnTo>
                        <a:lnTo>
                          <a:pt x="28" y="30"/>
                        </a:lnTo>
                        <a:lnTo>
                          <a:pt x="25" y="35"/>
                        </a:lnTo>
                        <a:lnTo>
                          <a:pt x="18" y="35"/>
                        </a:lnTo>
                        <a:lnTo>
                          <a:pt x="15" y="39"/>
                        </a:lnTo>
                        <a:lnTo>
                          <a:pt x="15" y="40"/>
                        </a:lnTo>
                        <a:lnTo>
                          <a:pt x="15" y="44"/>
                        </a:lnTo>
                        <a:lnTo>
                          <a:pt x="16" y="50"/>
                        </a:lnTo>
                        <a:lnTo>
                          <a:pt x="16" y="55"/>
                        </a:lnTo>
                        <a:lnTo>
                          <a:pt x="15" y="57"/>
                        </a:lnTo>
                        <a:lnTo>
                          <a:pt x="16" y="59"/>
                        </a:lnTo>
                        <a:lnTo>
                          <a:pt x="15" y="60"/>
                        </a:lnTo>
                        <a:lnTo>
                          <a:pt x="11" y="65"/>
                        </a:lnTo>
                        <a:lnTo>
                          <a:pt x="8" y="67"/>
                        </a:lnTo>
                        <a:lnTo>
                          <a:pt x="6" y="69"/>
                        </a:lnTo>
                        <a:lnTo>
                          <a:pt x="3" y="69"/>
                        </a:lnTo>
                        <a:lnTo>
                          <a:pt x="3" y="69"/>
                        </a:lnTo>
                        <a:lnTo>
                          <a:pt x="1" y="70"/>
                        </a:lnTo>
                        <a:lnTo>
                          <a:pt x="1" y="77"/>
                        </a:lnTo>
                        <a:lnTo>
                          <a:pt x="3" y="79"/>
                        </a:lnTo>
                        <a:lnTo>
                          <a:pt x="6" y="83"/>
                        </a:lnTo>
                        <a:lnTo>
                          <a:pt x="6" y="98"/>
                        </a:lnTo>
                        <a:lnTo>
                          <a:pt x="8" y="107"/>
                        </a:lnTo>
                        <a:lnTo>
                          <a:pt x="6" y="108"/>
                        </a:lnTo>
                        <a:lnTo>
                          <a:pt x="8" y="120"/>
                        </a:lnTo>
                        <a:lnTo>
                          <a:pt x="11" y="127"/>
                        </a:lnTo>
                        <a:lnTo>
                          <a:pt x="8" y="138"/>
                        </a:lnTo>
                        <a:lnTo>
                          <a:pt x="8" y="140"/>
                        </a:lnTo>
                        <a:lnTo>
                          <a:pt x="10" y="145"/>
                        </a:lnTo>
                        <a:lnTo>
                          <a:pt x="11" y="153"/>
                        </a:lnTo>
                        <a:lnTo>
                          <a:pt x="10" y="157"/>
                        </a:lnTo>
                        <a:lnTo>
                          <a:pt x="3" y="160"/>
                        </a:lnTo>
                        <a:lnTo>
                          <a:pt x="1" y="162"/>
                        </a:lnTo>
                        <a:lnTo>
                          <a:pt x="0" y="163"/>
                        </a:lnTo>
                        <a:lnTo>
                          <a:pt x="3" y="167"/>
                        </a:lnTo>
                        <a:lnTo>
                          <a:pt x="10" y="173"/>
                        </a:lnTo>
                        <a:lnTo>
                          <a:pt x="13" y="183"/>
                        </a:lnTo>
                        <a:lnTo>
                          <a:pt x="15" y="183"/>
                        </a:lnTo>
                        <a:lnTo>
                          <a:pt x="16" y="190"/>
                        </a:lnTo>
                        <a:lnTo>
                          <a:pt x="16" y="191"/>
                        </a:lnTo>
                        <a:lnTo>
                          <a:pt x="16" y="198"/>
                        </a:lnTo>
                        <a:lnTo>
                          <a:pt x="20" y="201"/>
                        </a:lnTo>
                        <a:lnTo>
                          <a:pt x="20" y="205"/>
                        </a:lnTo>
                        <a:lnTo>
                          <a:pt x="23" y="208"/>
                        </a:lnTo>
                        <a:lnTo>
                          <a:pt x="33" y="208"/>
                        </a:lnTo>
                        <a:lnTo>
                          <a:pt x="41" y="208"/>
                        </a:lnTo>
                        <a:lnTo>
                          <a:pt x="46" y="210"/>
                        </a:lnTo>
                        <a:lnTo>
                          <a:pt x="50" y="215"/>
                        </a:lnTo>
                        <a:lnTo>
                          <a:pt x="55" y="225"/>
                        </a:lnTo>
                        <a:lnTo>
                          <a:pt x="56" y="226"/>
                        </a:lnTo>
                        <a:lnTo>
                          <a:pt x="60" y="230"/>
                        </a:lnTo>
                        <a:lnTo>
                          <a:pt x="63" y="231"/>
                        </a:lnTo>
                        <a:lnTo>
                          <a:pt x="104" y="241"/>
                        </a:lnTo>
                        <a:lnTo>
                          <a:pt x="109" y="246"/>
                        </a:lnTo>
                        <a:lnTo>
                          <a:pt x="158" y="226"/>
                        </a:lnTo>
                        <a:lnTo>
                          <a:pt x="354" y="316"/>
                        </a:lnTo>
                        <a:lnTo>
                          <a:pt x="354" y="318"/>
                        </a:lnTo>
                        <a:lnTo>
                          <a:pt x="354" y="316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67" name="Google Shape;3019;p98">
                    <a:extLst>
                      <a:ext uri="{FF2B5EF4-FFF2-40B4-BE49-F238E27FC236}">
                        <a16:creationId xmlns:a16="http://schemas.microsoft.com/office/drawing/2014/main" id="{E5750114-40A2-94F8-52AB-17FF54CE7FB1}"/>
                      </a:ext>
                    </a:extLst>
                  </p:cNvPr>
                  <p:cNvSpPr/>
                  <p:nvPr/>
                </p:nvSpPr>
                <p:spPr>
                  <a:xfrm>
                    <a:off x="6509196" y="2824589"/>
                    <a:ext cx="50301" cy="8923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5" h="172" extrusionOk="0">
                        <a:moveTo>
                          <a:pt x="50" y="172"/>
                        </a:moveTo>
                        <a:lnTo>
                          <a:pt x="53" y="172"/>
                        </a:lnTo>
                        <a:lnTo>
                          <a:pt x="55" y="170"/>
                        </a:lnTo>
                        <a:lnTo>
                          <a:pt x="58" y="168"/>
                        </a:lnTo>
                        <a:lnTo>
                          <a:pt x="62" y="163"/>
                        </a:lnTo>
                        <a:lnTo>
                          <a:pt x="63" y="162"/>
                        </a:lnTo>
                        <a:lnTo>
                          <a:pt x="62" y="160"/>
                        </a:lnTo>
                        <a:lnTo>
                          <a:pt x="63" y="158"/>
                        </a:lnTo>
                        <a:lnTo>
                          <a:pt x="63" y="153"/>
                        </a:lnTo>
                        <a:lnTo>
                          <a:pt x="62" y="147"/>
                        </a:lnTo>
                        <a:lnTo>
                          <a:pt x="62" y="143"/>
                        </a:lnTo>
                        <a:lnTo>
                          <a:pt x="62" y="142"/>
                        </a:lnTo>
                        <a:lnTo>
                          <a:pt x="65" y="138"/>
                        </a:lnTo>
                        <a:lnTo>
                          <a:pt x="72" y="138"/>
                        </a:lnTo>
                        <a:lnTo>
                          <a:pt x="75" y="133"/>
                        </a:lnTo>
                        <a:lnTo>
                          <a:pt x="75" y="132"/>
                        </a:lnTo>
                        <a:lnTo>
                          <a:pt x="90" y="123"/>
                        </a:lnTo>
                        <a:lnTo>
                          <a:pt x="95" y="115"/>
                        </a:lnTo>
                        <a:lnTo>
                          <a:pt x="93" y="113"/>
                        </a:lnTo>
                        <a:lnTo>
                          <a:pt x="92" y="105"/>
                        </a:lnTo>
                        <a:lnTo>
                          <a:pt x="92" y="103"/>
                        </a:lnTo>
                        <a:lnTo>
                          <a:pt x="90" y="103"/>
                        </a:lnTo>
                        <a:lnTo>
                          <a:pt x="82" y="98"/>
                        </a:lnTo>
                        <a:lnTo>
                          <a:pt x="82" y="97"/>
                        </a:lnTo>
                        <a:lnTo>
                          <a:pt x="82" y="93"/>
                        </a:lnTo>
                        <a:lnTo>
                          <a:pt x="78" y="92"/>
                        </a:lnTo>
                        <a:lnTo>
                          <a:pt x="77" y="93"/>
                        </a:lnTo>
                        <a:lnTo>
                          <a:pt x="77" y="95"/>
                        </a:lnTo>
                        <a:lnTo>
                          <a:pt x="75" y="95"/>
                        </a:lnTo>
                        <a:lnTo>
                          <a:pt x="72" y="95"/>
                        </a:lnTo>
                        <a:lnTo>
                          <a:pt x="70" y="92"/>
                        </a:lnTo>
                        <a:lnTo>
                          <a:pt x="67" y="92"/>
                        </a:lnTo>
                        <a:lnTo>
                          <a:pt x="58" y="87"/>
                        </a:lnTo>
                        <a:lnTo>
                          <a:pt x="55" y="80"/>
                        </a:lnTo>
                        <a:lnTo>
                          <a:pt x="58" y="74"/>
                        </a:lnTo>
                        <a:lnTo>
                          <a:pt x="70" y="67"/>
                        </a:lnTo>
                        <a:lnTo>
                          <a:pt x="77" y="60"/>
                        </a:lnTo>
                        <a:lnTo>
                          <a:pt x="78" y="59"/>
                        </a:lnTo>
                        <a:lnTo>
                          <a:pt x="77" y="55"/>
                        </a:lnTo>
                        <a:lnTo>
                          <a:pt x="78" y="54"/>
                        </a:lnTo>
                        <a:lnTo>
                          <a:pt x="78" y="50"/>
                        </a:lnTo>
                        <a:lnTo>
                          <a:pt x="77" y="49"/>
                        </a:lnTo>
                        <a:lnTo>
                          <a:pt x="77" y="42"/>
                        </a:lnTo>
                        <a:lnTo>
                          <a:pt x="70" y="40"/>
                        </a:lnTo>
                        <a:lnTo>
                          <a:pt x="63" y="32"/>
                        </a:lnTo>
                        <a:lnTo>
                          <a:pt x="65" y="27"/>
                        </a:lnTo>
                        <a:lnTo>
                          <a:pt x="70" y="24"/>
                        </a:lnTo>
                        <a:lnTo>
                          <a:pt x="72" y="19"/>
                        </a:lnTo>
                        <a:lnTo>
                          <a:pt x="75" y="12"/>
                        </a:lnTo>
                        <a:lnTo>
                          <a:pt x="75" y="9"/>
                        </a:lnTo>
                        <a:lnTo>
                          <a:pt x="73" y="7"/>
                        </a:lnTo>
                        <a:lnTo>
                          <a:pt x="65" y="14"/>
                        </a:lnTo>
                        <a:lnTo>
                          <a:pt x="62" y="17"/>
                        </a:lnTo>
                        <a:lnTo>
                          <a:pt x="60" y="15"/>
                        </a:lnTo>
                        <a:lnTo>
                          <a:pt x="55" y="7"/>
                        </a:lnTo>
                        <a:lnTo>
                          <a:pt x="53" y="7"/>
                        </a:lnTo>
                        <a:lnTo>
                          <a:pt x="53" y="4"/>
                        </a:lnTo>
                        <a:lnTo>
                          <a:pt x="50" y="0"/>
                        </a:lnTo>
                        <a:lnTo>
                          <a:pt x="45" y="2"/>
                        </a:lnTo>
                        <a:lnTo>
                          <a:pt x="45" y="4"/>
                        </a:lnTo>
                        <a:lnTo>
                          <a:pt x="43" y="2"/>
                        </a:lnTo>
                        <a:lnTo>
                          <a:pt x="37" y="2"/>
                        </a:lnTo>
                        <a:lnTo>
                          <a:pt x="27" y="7"/>
                        </a:lnTo>
                        <a:lnTo>
                          <a:pt x="22" y="12"/>
                        </a:lnTo>
                        <a:lnTo>
                          <a:pt x="22" y="12"/>
                        </a:lnTo>
                        <a:lnTo>
                          <a:pt x="20" y="15"/>
                        </a:lnTo>
                        <a:lnTo>
                          <a:pt x="22" y="17"/>
                        </a:lnTo>
                        <a:lnTo>
                          <a:pt x="20" y="24"/>
                        </a:lnTo>
                        <a:lnTo>
                          <a:pt x="20" y="30"/>
                        </a:lnTo>
                        <a:lnTo>
                          <a:pt x="17" y="40"/>
                        </a:lnTo>
                        <a:lnTo>
                          <a:pt x="19" y="47"/>
                        </a:lnTo>
                        <a:lnTo>
                          <a:pt x="22" y="50"/>
                        </a:lnTo>
                        <a:lnTo>
                          <a:pt x="22" y="52"/>
                        </a:lnTo>
                        <a:lnTo>
                          <a:pt x="20" y="54"/>
                        </a:lnTo>
                        <a:lnTo>
                          <a:pt x="17" y="57"/>
                        </a:lnTo>
                        <a:lnTo>
                          <a:pt x="20" y="59"/>
                        </a:lnTo>
                        <a:lnTo>
                          <a:pt x="19" y="62"/>
                        </a:lnTo>
                        <a:lnTo>
                          <a:pt x="17" y="69"/>
                        </a:lnTo>
                        <a:lnTo>
                          <a:pt x="14" y="70"/>
                        </a:lnTo>
                        <a:lnTo>
                          <a:pt x="12" y="74"/>
                        </a:lnTo>
                        <a:lnTo>
                          <a:pt x="9" y="75"/>
                        </a:lnTo>
                        <a:lnTo>
                          <a:pt x="4" y="80"/>
                        </a:lnTo>
                        <a:lnTo>
                          <a:pt x="0" y="92"/>
                        </a:lnTo>
                        <a:lnTo>
                          <a:pt x="2" y="92"/>
                        </a:lnTo>
                        <a:lnTo>
                          <a:pt x="5" y="98"/>
                        </a:lnTo>
                        <a:lnTo>
                          <a:pt x="4" y="100"/>
                        </a:lnTo>
                        <a:lnTo>
                          <a:pt x="7" y="105"/>
                        </a:lnTo>
                        <a:lnTo>
                          <a:pt x="9" y="105"/>
                        </a:lnTo>
                        <a:lnTo>
                          <a:pt x="15" y="110"/>
                        </a:lnTo>
                        <a:lnTo>
                          <a:pt x="17" y="117"/>
                        </a:lnTo>
                        <a:lnTo>
                          <a:pt x="24" y="118"/>
                        </a:lnTo>
                        <a:lnTo>
                          <a:pt x="25" y="120"/>
                        </a:lnTo>
                        <a:lnTo>
                          <a:pt x="28" y="122"/>
                        </a:lnTo>
                        <a:lnTo>
                          <a:pt x="35" y="127"/>
                        </a:lnTo>
                        <a:lnTo>
                          <a:pt x="50" y="172"/>
                        </a:lnTo>
                        <a:lnTo>
                          <a:pt x="50" y="172"/>
                        </a:lnTo>
                        <a:close/>
                        <a:moveTo>
                          <a:pt x="72" y="88"/>
                        </a:moveTo>
                        <a:lnTo>
                          <a:pt x="73" y="87"/>
                        </a:lnTo>
                        <a:lnTo>
                          <a:pt x="77" y="87"/>
                        </a:lnTo>
                        <a:lnTo>
                          <a:pt x="78" y="88"/>
                        </a:lnTo>
                        <a:lnTo>
                          <a:pt x="75" y="90"/>
                        </a:lnTo>
                        <a:lnTo>
                          <a:pt x="72" y="88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68" name="Google Shape;3020;p98">
                    <a:extLst>
                      <a:ext uri="{FF2B5EF4-FFF2-40B4-BE49-F238E27FC236}">
                        <a16:creationId xmlns:a16="http://schemas.microsoft.com/office/drawing/2014/main" id="{1C8FB4BC-B9F4-A769-BAC9-C968525027B8}"/>
                      </a:ext>
                    </a:extLst>
                  </p:cNvPr>
                  <p:cNvSpPr/>
                  <p:nvPr/>
                </p:nvSpPr>
                <p:spPr>
                  <a:xfrm>
                    <a:off x="6307989" y="2828739"/>
                    <a:ext cx="260070" cy="21996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87" h="425" extrusionOk="0">
                        <a:moveTo>
                          <a:pt x="487" y="327"/>
                        </a:moveTo>
                        <a:lnTo>
                          <a:pt x="484" y="326"/>
                        </a:lnTo>
                        <a:lnTo>
                          <a:pt x="480" y="322"/>
                        </a:lnTo>
                        <a:lnTo>
                          <a:pt x="479" y="321"/>
                        </a:lnTo>
                        <a:lnTo>
                          <a:pt x="474" y="311"/>
                        </a:lnTo>
                        <a:lnTo>
                          <a:pt x="470" y="306"/>
                        </a:lnTo>
                        <a:lnTo>
                          <a:pt x="465" y="304"/>
                        </a:lnTo>
                        <a:lnTo>
                          <a:pt x="457" y="304"/>
                        </a:lnTo>
                        <a:lnTo>
                          <a:pt x="447" y="304"/>
                        </a:lnTo>
                        <a:lnTo>
                          <a:pt x="444" y="301"/>
                        </a:lnTo>
                        <a:lnTo>
                          <a:pt x="444" y="297"/>
                        </a:lnTo>
                        <a:lnTo>
                          <a:pt x="440" y="294"/>
                        </a:lnTo>
                        <a:lnTo>
                          <a:pt x="440" y="287"/>
                        </a:lnTo>
                        <a:lnTo>
                          <a:pt x="440" y="286"/>
                        </a:lnTo>
                        <a:lnTo>
                          <a:pt x="439" y="279"/>
                        </a:lnTo>
                        <a:lnTo>
                          <a:pt x="437" y="279"/>
                        </a:lnTo>
                        <a:lnTo>
                          <a:pt x="434" y="269"/>
                        </a:lnTo>
                        <a:lnTo>
                          <a:pt x="427" y="263"/>
                        </a:lnTo>
                        <a:lnTo>
                          <a:pt x="424" y="259"/>
                        </a:lnTo>
                        <a:lnTo>
                          <a:pt x="425" y="258"/>
                        </a:lnTo>
                        <a:lnTo>
                          <a:pt x="427" y="256"/>
                        </a:lnTo>
                        <a:lnTo>
                          <a:pt x="434" y="253"/>
                        </a:lnTo>
                        <a:lnTo>
                          <a:pt x="435" y="249"/>
                        </a:lnTo>
                        <a:lnTo>
                          <a:pt x="434" y="241"/>
                        </a:lnTo>
                        <a:lnTo>
                          <a:pt x="432" y="236"/>
                        </a:lnTo>
                        <a:lnTo>
                          <a:pt x="432" y="234"/>
                        </a:lnTo>
                        <a:lnTo>
                          <a:pt x="435" y="223"/>
                        </a:lnTo>
                        <a:lnTo>
                          <a:pt x="432" y="216"/>
                        </a:lnTo>
                        <a:lnTo>
                          <a:pt x="430" y="204"/>
                        </a:lnTo>
                        <a:lnTo>
                          <a:pt x="432" y="203"/>
                        </a:lnTo>
                        <a:lnTo>
                          <a:pt x="430" y="194"/>
                        </a:lnTo>
                        <a:lnTo>
                          <a:pt x="430" y="179"/>
                        </a:lnTo>
                        <a:lnTo>
                          <a:pt x="427" y="175"/>
                        </a:lnTo>
                        <a:lnTo>
                          <a:pt x="425" y="173"/>
                        </a:lnTo>
                        <a:lnTo>
                          <a:pt x="425" y="166"/>
                        </a:lnTo>
                        <a:lnTo>
                          <a:pt x="427" y="165"/>
                        </a:lnTo>
                        <a:lnTo>
                          <a:pt x="412" y="120"/>
                        </a:lnTo>
                        <a:lnTo>
                          <a:pt x="405" y="115"/>
                        </a:lnTo>
                        <a:lnTo>
                          <a:pt x="402" y="113"/>
                        </a:lnTo>
                        <a:lnTo>
                          <a:pt x="401" y="111"/>
                        </a:lnTo>
                        <a:lnTo>
                          <a:pt x="394" y="110"/>
                        </a:lnTo>
                        <a:lnTo>
                          <a:pt x="392" y="103"/>
                        </a:lnTo>
                        <a:lnTo>
                          <a:pt x="386" y="98"/>
                        </a:lnTo>
                        <a:lnTo>
                          <a:pt x="384" y="98"/>
                        </a:lnTo>
                        <a:lnTo>
                          <a:pt x="381" y="93"/>
                        </a:lnTo>
                        <a:lnTo>
                          <a:pt x="382" y="91"/>
                        </a:lnTo>
                        <a:lnTo>
                          <a:pt x="379" y="85"/>
                        </a:lnTo>
                        <a:lnTo>
                          <a:pt x="377" y="85"/>
                        </a:lnTo>
                        <a:lnTo>
                          <a:pt x="381" y="73"/>
                        </a:lnTo>
                        <a:lnTo>
                          <a:pt x="386" y="68"/>
                        </a:lnTo>
                        <a:lnTo>
                          <a:pt x="389" y="67"/>
                        </a:lnTo>
                        <a:lnTo>
                          <a:pt x="391" y="63"/>
                        </a:lnTo>
                        <a:lnTo>
                          <a:pt x="394" y="62"/>
                        </a:lnTo>
                        <a:lnTo>
                          <a:pt x="396" y="55"/>
                        </a:lnTo>
                        <a:lnTo>
                          <a:pt x="397" y="52"/>
                        </a:lnTo>
                        <a:lnTo>
                          <a:pt x="394" y="50"/>
                        </a:lnTo>
                        <a:lnTo>
                          <a:pt x="397" y="47"/>
                        </a:lnTo>
                        <a:lnTo>
                          <a:pt x="399" y="45"/>
                        </a:lnTo>
                        <a:lnTo>
                          <a:pt x="399" y="43"/>
                        </a:lnTo>
                        <a:lnTo>
                          <a:pt x="396" y="40"/>
                        </a:lnTo>
                        <a:lnTo>
                          <a:pt x="394" y="33"/>
                        </a:lnTo>
                        <a:lnTo>
                          <a:pt x="397" y="23"/>
                        </a:lnTo>
                        <a:lnTo>
                          <a:pt x="397" y="17"/>
                        </a:lnTo>
                        <a:lnTo>
                          <a:pt x="399" y="10"/>
                        </a:lnTo>
                        <a:lnTo>
                          <a:pt x="397" y="8"/>
                        </a:lnTo>
                        <a:lnTo>
                          <a:pt x="399" y="5"/>
                        </a:lnTo>
                        <a:lnTo>
                          <a:pt x="397" y="3"/>
                        </a:lnTo>
                        <a:lnTo>
                          <a:pt x="391" y="5"/>
                        </a:lnTo>
                        <a:lnTo>
                          <a:pt x="387" y="3"/>
                        </a:lnTo>
                        <a:lnTo>
                          <a:pt x="377" y="7"/>
                        </a:lnTo>
                        <a:lnTo>
                          <a:pt x="371" y="2"/>
                        </a:lnTo>
                        <a:lnTo>
                          <a:pt x="364" y="0"/>
                        </a:lnTo>
                        <a:lnTo>
                          <a:pt x="364" y="2"/>
                        </a:lnTo>
                        <a:lnTo>
                          <a:pt x="361" y="7"/>
                        </a:lnTo>
                        <a:lnTo>
                          <a:pt x="352" y="5"/>
                        </a:lnTo>
                        <a:lnTo>
                          <a:pt x="351" y="2"/>
                        </a:lnTo>
                        <a:lnTo>
                          <a:pt x="347" y="0"/>
                        </a:lnTo>
                        <a:lnTo>
                          <a:pt x="342" y="0"/>
                        </a:lnTo>
                        <a:lnTo>
                          <a:pt x="342" y="3"/>
                        </a:lnTo>
                        <a:lnTo>
                          <a:pt x="337" y="5"/>
                        </a:lnTo>
                        <a:lnTo>
                          <a:pt x="334" y="8"/>
                        </a:lnTo>
                        <a:lnTo>
                          <a:pt x="331" y="7"/>
                        </a:lnTo>
                        <a:lnTo>
                          <a:pt x="327" y="7"/>
                        </a:lnTo>
                        <a:lnTo>
                          <a:pt x="322" y="10"/>
                        </a:lnTo>
                        <a:lnTo>
                          <a:pt x="317" y="10"/>
                        </a:lnTo>
                        <a:lnTo>
                          <a:pt x="314" y="5"/>
                        </a:lnTo>
                        <a:lnTo>
                          <a:pt x="307" y="5"/>
                        </a:lnTo>
                        <a:lnTo>
                          <a:pt x="304" y="5"/>
                        </a:lnTo>
                        <a:lnTo>
                          <a:pt x="298" y="5"/>
                        </a:lnTo>
                        <a:lnTo>
                          <a:pt x="293" y="5"/>
                        </a:lnTo>
                        <a:lnTo>
                          <a:pt x="291" y="5"/>
                        </a:lnTo>
                        <a:lnTo>
                          <a:pt x="286" y="3"/>
                        </a:lnTo>
                        <a:lnTo>
                          <a:pt x="283" y="5"/>
                        </a:lnTo>
                        <a:lnTo>
                          <a:pt x="281" y="8"/>
                        </a:lnTo>
                        <a:lnTo>
                          <a:pt x="276" y="8"/>
                        </a:lnTo>
                        <a:lnTo>
                          <a:pt x="271" y="7"/>
                        </a:lnTo>
                        <a:lnTo>
                          <a:pt x="264" y="13"/>
                        </a:lnTo>
                        <a:lnTo>
                          <a:pt x="261" y="13"/>
                        </a:lnTo>
                        <a:lnTo>
                          <a:pt x="256" y="10"/>
                        </a:lnTo>
                        <a:lnTo>
                          <a:pt x="251" y="12"/>
                        </a:lnTo>
                        <a:lnTo>
                          <a:pt x="241" y="12"/>
                        </a:lnTo>
                        <a:lnTo>
                          <a:pt x="236" y="12"/>
                        </a:lnTo>
                        <a:lnTo>
                          <a:pt x="224" y="20"/>
                        </a:lnTo>
                        <a:lnTo>
                          <a:pt x="218" y="20"/>
                        </a:lnTo>
                        <a:lnTo>
                          <a:pt x="214" y="20"/>
                        </a:lnTo>
                        <a:lnTo>
                          <a:pt x="208" y="23"/>
                        </a:lnTo>
                        <a:lnTo>
                          <a:pt x="208" y="27"/>
                        </a:lnTo>
                        <a:lnTo>
                          <a:pt x="205" y="30"/>
                        </a:lnTo>
                        <a:lnTo>
                          <a:pt x="203" y="30"/>
                        </a:lnTo>
                        <a:lnTo>
                          <a:pt x="201" y="28"/>
                        </a:lnTo>
                        <a:lnTo>
                          <a:pt x="198" y="28"/>
                        </a:lnTo>
                        <a:lnTo>
                          <a:pt x="195" y="30"/>
                        </a:lnTo>
                        <a:lnTo>
                          <a:pt x="193" y="33"/>
                        </a:lnTo>
                        <a:lnTo>
                          <a:pt x="186" y="33"/>
                        </a:lnTo>
                        <a:lnTo>
                          <a:pt x="181" y="35"/>
                        </a:lnTo>
                        <a:lnTo>
                          <a:pt x="178" y="38"/>
                        </a:lnTo>
                        <a:lnTo>
                          <a:pt x="176" y="40"/>
                        </a:lnTo>
                        <a:lnTo>
                          <a:pt x="173" y="45"/>
                        </a:lnTo>
                        <a:lnTo>
                          <a:pt x="165" y="47"/>
                        </a:lnTo>
                        <a:lnTo>
                          <a:pt x="158" y="48"/>
                        </a:lnTo>
                        <a:lnTo>
                          <a:pt x="160" y="50"/>
                        </a:lnTo>
                        <a:lnTo>
                          <a:pt x="161" y="53"/>
                        </a:lnTo>
                        <a:lnTo>
                          <a:pt x="165" y="57"/>
                        </a:lnTo>
                        <a:lnTo>
                          <a:pt x="165" y="60"/>
                        </a:lnTo>
                        <a:lnTo>
                          <a:pt x="165" y="62"/>
                        </a:lnTo>
                        <a:lnTo>
                          <a:pt x="166" y="68"/>
                        </a:lnTo>
                        <a:lnTo>
                          <a:pt x="166" y="77"/>
                        </a:lnTo>
                        <a:lnTo>
                          <a:pt x="166" y="80"/>
                        </a:lnTo>
                        <a:lnTo>
                          <a:pt x="168" y="96"/>
                        </a:lnTo>
                        <a:lnTo>
                          <a:pt x="171" y="103"/>
                        </a:lnTo>
                        <a:lnTo>
                          <a:pt x="173" y="108"/>
                        </a:lnTo>
                        <a:lnTo>
                          <a:pt x="176" y="108"/>
                        </a:lnTo>
                        <a:lnTo>
                          <a:pt x="180" y="110"/>
                        </a:lnTo>
                        <a:lnTo>
                          <a:pt x="181" y="110"/>
                        </a:lnTo>
                        <a:lnTo>
                          <a:pt x="185" y="111"/>
                        </a:lnTo>
                        <a:lnTo>
                          <a:pt x="181" y="118"/>
                        </a:lnTo>
                        <a:lnTo>
                          <a:pt x="181" y="120"/>
                        </a:lnTo>
                        <a:lnTo>
                          <a:pt x="178" y="123"/>
                        </a:lnTo>
                        <a:lnTo>
                          <a:pt x="150" y="123"/>
                        </a:lnTo>
                        <a:lnTo>
                          <a:pt x="145" y="125"/>
                        </a:lnTo>
                        <a:lnTo>
                          <a:pt x="138" y="133"/>
                        </a:lnTo>
                        <a:lnTo>
                          <a:pt x="133" y="136"/>
                        </a:lnTo>
                        <a:lnTo>
                          <a:pt x="131" y="141"/>
                        </a:lnTo>
                        <a:lnTo>
                          <a:pt x="131" y="150"/>
                        </a:lnTo>
                        <a:lnTo>
                          <a:pt x="130" y="153"/>
                        </a:lnTo>
                        <a:lnTo>
                          <a:pt x="113" y="163"/>
                        </a:lnTo>
                        <a:lnTo>
                          <a:pt x="87" y="178"/>
                        </a:lnTo>
                        <a:lnTo>
                          <a:pt x="67" y="188"/>
                        </a:lnTo>
                        <a:lnTo>
                          <a:pt x="57" y="189"/>
                        </a:lnTo>
                        <a:lnTo>
                          <a:pt x="48" y="189"/>
                        </a:lnTo>
                        <a:lnTo>
                          <a:pt x="43" y="191"/>
                        </a:lnTo>
                        <a:lnTo>
                          <a:pt x="37" y="191"/>
                        </a:lnTo>
                        <a:lnTo>
                          <a:pt x="23" y="193"/>
                        </a:lnTo>
                        <a:lnTo>
                          <a:pt x="17" y="198"/>
                        </a:lnTo>
                        <a:lnTo>
                          <a:pt x="12" y="203"/>
                        </a:lnTo>
                        <a:lnTo>
                          <a:pt x="0" y="211"/>
                        </a:lnTo>
                        <a:lnTo>
                          <a:pt x="0" y="229"/>
                        </a:lnTo>
                        <a:lnTo>
                          <a:pt x="0" y="229"/>
                        </a:lnTo>
                        <a:lnTo>
                          <a:pt x="0" y="236"/>
                        </a:lnTo>
                        <a:lnTo>
                          <a:pt x="0" y="236"/>
                        </a:lnTo>
                        <a:lnTo>
                          <a:pt x="0" y="236"/>
                        </a:lnTo>
                        <a:lnTo>
                          <a:pt x="88" y="289"/>
                        </a:lnTo>
                        <a:lnTo>
                          <a:pt x="88" y="289"/>
                        </a:lnTo>
                        <a:lnTo>
                          <a:pt x="246" y="384"/>
                        </a:lnTo>
                        <a:lnTo>
                          <a:pt x="249" y="394"/>
                        </a:lnTo>
                        <a:lnTo>
                          <a:pt x="254" y="399"/>
                        </a:lnTo>
                        <a:lnTo>
                          <a:pt x="264" y="399"/>
                        </a:lnTo>
                        <a:lnTo>
                          <a:pt x="271" y="400"/>
                        </a:lnTo>
                        <a:lnTo>
                          <a:pt x="274" y="405"/>
                        </a:lnTo>
                        <a:lnTo>
                          <a:pt x="281" y="407"/>
                        </a:lnTo>
                        <a:lnTo>
                          <a:pt x="286" y="410"/>
                        </a:lnTo>
                        <a:lnTo>
                          <a:pt x="286" y="414"/>
                        </a:lnTo>
                        <a:lnTo>
                          <a:pt x="283" y="420"/>
                        </a:lnTo>
                        <a:lnTo>
                          <a:pt x="284" y="424"/>
                        </a:lnTo>
                        <a:lnTo>
                          <a:pt x="291" y="425"/>
                        </a:lnTo>
                        <a:lnTo>
                          <a:pt x="301" y="424"/>
                        </a:lnTo>
                        <a:lnTo>
                          <a:pt x="311" y="422"/>
                        </a:lnTo>
                        <a:lnTo>
                          <a:pt x="311" y="422"/>
                        </a:lnTo>
                        <a:lnTo>
                          <a:pt x="311" y="422"/>
                        </a:lnTo>
                        <a:lnTo>
                          <a:pt x="347" y="414"/>
                        </a:lnTo>
                        <a:lnTo>
                          <a:pt x="377" y="389"/>
                        </a:lnTo>
                        <a:lnTo>
                          <a:pt x="487" y="327"/>
                        </a:lnTo>
                        <a:lnTo>
                          <a:pt x="487" y="327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69" name="Google Shape;3021;p98">
                    <a:extLst>
                      <a:ext uri="{FF2B5EF4-FFF2-40B4-BE49-F238E27FC236}">
                        <a16:creationId xmlns:a16="http://schemas.microsoft.com/office/drawing/2014/main" id="{DBB9116D-60F0-16CD-97EC-5C98E45ADE20}"/>
                      </a:ext>
                    </a:extLst>
                  </p:cNvPr>
                  <p:cNvSpPr/>
                  <p:nvPr/>
                </p:nvSpPr>
                <p:spPr>
                  <a:xfrm>
                    <a:off x="6255547" y="2843265"/>
                    <a:ext cx="150905" cy="10375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3" h="201" extrusionOk="0">
                        <a:moveTo>
                          <a:pt x="98" y="201"/>
                        </a:moveTo>
                        <a:lnTo>
                          <a:pt x="98" y="183"/>
                        </a:lnTo>
                        <a:lnTo>
                          <a:pt x="110" y="175"/>
                        </a:lnTo>
                        <a:lnTo>
                          <a:pt x="115" y="170"/>
                        </a:lnTo>
                        <a:lnTo>
                          <a:pt x="121" y="165"/>
                        </a:lnTo>
                        <a:lnTo>
                          <a:pt x="135" y="163"/>
                        </a:lnTo>
                        <a:lnTo>
                          <a:pt x="141" y="163"/>
                        </a:lnTo>
                        <a:lnTo>
                          <a:pt x="146" y="161"/>
                        </a:lnTo>
                        <a:lnTo>
                          <a:pt x="155" y="161"/>
                        </a:lnTo>
                        <a:lnTo>
                          <a:pt x="165" y="160"/>
                        </a:lnTo>
                        <a:lnTo>
                          <a:pt x="185" y="150"/>
                        </a:lnTo>
                        <a:lnTo>
                          <a:pt x="211" y="135"/>
                        </a:lnTo>
                        <a:lnTo>
                          <a:pt x="228" y="125"/>
                        </a:lnTo>
                        <a:lnTo>
                          <a:pt x="229" y="122"/>
                        </a:lnTo>
                        <a:lnTo>
                          <a:pt x="229" y="113"/>
                        </a:lnTo>
                        <a:lnTo>
                          <a:pt x="231" y="108"/>
                        </a:lnTo>
                        <a:lnTo>
                          <a:pt x="236" y="105"/>
                        </a:lnTo>
                        <a:lnTo>
                          <a:pt x="243" y="97"/>
                        </a:lnTo>
                        <a:lnTo>
                          <a:pt x="248" y="95"/>
                        </a:lnTo>
                        <a:lnTo>
                          <a:pt x="276" y="95"/>
                        </a:lnTo>
                        <a:lnTo>
                          <a:pt x="279" y="92"/>
                        </a:lnTo>
                        <a:lnTo>
                          <a:pt x="279" y="90"/>
                        </a:lnTo>
                        <a:lnTo>
                          <a:pt x="283" y="83"/>
                        </a:lnTo>
                        <a:lnTo>
                          <a:pt x="279" y="82"/>
                        </a:lnTo>
                        <a:lnTo>
                          <a:pt x="278" y="82"/>
                        </a:lnTo>
                        <a:lnTo>
                          <a:pt x="274" y="80"/>
                        </a:lnTo>
                        <a:lnTo>
                          <a:pt x="271" y="80"/>
                        </a:lnTo>
                        <a:lnTo>
                          <a:pt x="269" y="75"/>
                        </a:lnTo>
                        <a:lnTo>
                          <a:pt x="266" y="68"/>
                        </a:lnTo>
                        <a:lnTo>
                          <a:pt x="264" y="52"/>
                        </a:lnTo>
                        <a:lnTo>
                          <a:pt x="264" y="49"/>
                        </a:lnTo>
                        <a:lnTo>
                          <a:pt x="264" y="40"/>
                        </a:lnTo>
                        <a:lnTo>
                          <a:pt x="263" y="34"/>
                        </a:lnTo>
                        <a:lnTo>
                          <a:pt x="263" y="32"/>
                        </a:lnTo>
                        <a:lnTo>
                          <a:pt x="263" y="29"/>
                        </a:lnTo>
                        <a:lnTo>
                          <a:pt x="259" y="25"/>
                        </a:lnTo>
                        <a:lnTo>
                          <a:pt x="258" y="22"/>
                        </a:lnTo>
                        <a:lnTo>
                          <a:pt x="256" y="20"/>
                        </a:lnTo>
                        <a:lnTo>
                          <a:pt x="253" y="20"/>
                        </a:lnTo>
                        <a:lnTo>
                          <a:pt x="239" y="19"/>
                        </a:lnTo>
                        <a:lnTo>
                          <a:pt x="236" y="15"/>
                        </a:lnTo>
                        <a:lnTo>
                          <a:pt x="234" y="12"/>
                        </a:lnTo>
                        <a:lnTo>
                          <a:pt x="233" y="12"/>
                        </a:lnTo>
                        <a:lnTo>
                          <a:pt x="233" y="12"/>
                        </a:lnTo>
                        <a:lnTo>
                          <a:pt x="228" y="15"/>
                        </a:lnTo>
                        <a:lnTo>
                          <a:pt x="221" y="17"/>
                        </a:lnTo>
                        <a:lnTo>
                          <a:pt x="213" y="15"/>
                        </a:lnTo>
                        <a:lnTo>
                          <a:pt x="209" y="15"/>
                        </a:lnTo>
                        <a:lnTo>
                          <a:pt x="205" y="17"/>
                        </a:lnTo>
                        <a:lnTo>
                          <a:pt x="196" y="19"/>
                        </a:lnTo>
                        <a:lnTo>
                          <a:pt x="191" y="17"/>
                        </a:lnTo>
                        <a:lnTo>
                          <a:pt x="185" y="10"/>
                        </a:lnTo>
                        <a:lnTo>
                          <a:pt x="181" y="9"/>
                        </a:lnTo>
                        <a:lnTo>
                          <a:pt x="181" y="5"/>
                        </a:lnTo>
                        <a:lnTo>
                          <a:pt x="181" y="4"/>
                        </a:lnTo>
                        <a:lnTo>
                          <a:pt x="181" y="2"/>
                        </a:lnTo>
                        <a:lnTo>
                          <a:pt x="180" y="0"/>
                        </a:lnTo>
                        <a:lnTo>
                          <a:pt x="176" y="2"/>
                        </a:lnTo>
                        <a:lnTo>
                          <a:pt x="173" y="4"/>
                        </a:lnTo>
                        <a:lnTo>
                          <a:pt x="170" y="4"/>
                        </a:lnTo>
                        <a:lnTo>
                          <a:pt x="165" y="7"/>
                        </a:lnTo>
                        <a:lnTo>
                          <a:pt x="165" y="20"/>
                        </a:lnTo>
                        <a:lnTo>
                          <a:pt x="160" y="25"/>
                        </a:lnTo>
                        <a:lnTo>
                          <a:pt x="158" y="35"/>
                        </a:lnTo>
                        <a:lnTo>
                          <a:pt x="155" y="40"/>
                        </a:lnTo>
                        <a:lnTo>
                          <a:pt x="143" y="50"/>
                        </a:lnTo>
                        <a:lnTo>
                          <a:pt x="141" y="50"/>
                        </a:lnTo>
                        <a:lnTo>
                          <a:pt x="136" y="53"/>
                        </a:lnTo>
                        <a:lnTo>
                          <a:pt x="126" y="55"/>
                        </a:lnTo>
                        <a:lnTo>
                          <a:pt x="120" y="62"/>
                        </a:lnTo>
                        <a:lnTo>
                          <a:pt x="118" y="62"/>
                        </a:lnTo>
                        <a:lnTo>
                          <a:pt x="108" y="68"/>
                        </a:lnTo>
                        <a:lnTo>
                          <a:pt x="102" y="70"/>
                        </a:lnTo>
                        <a:lnTo>
                          <a:pt x="98" y="75"/>
                        </a:lnTo>
                        <a:lnTo>
                          <a:pt x="88" y="82"/>
                        </a:lnTo>
                        <a:lnTo>
                          <a:pt x="92" y="90"/>
                        </a:lnTo>
                        <a:lnTo>
                          <a:pt x="92" y="95"/>
                        </a:lnTo>
                        <a:lnTo>
                          <a:pt x="82" y="103"/>
                        </a:lnTo>
                        <a:lnTo>
                          <a:pt x="75" y="115"/>
                        </a:lnTo>
                        <a:lnTo>
                          <a:pt x="75" y="118"/>
                        </a:lnTo>
                        <a:lnTo>
                          <a:pt x="78" y="127"/>
                        </a:lnTo>
                        <a:lnTo>
                          <a:pt x="75" y="135"/>
                        </a:lnTo>
                        <a:lnTo>
                          <a:pt x="78" y="137"/>
                        </a:lnTo>
                        <a:lnTo>
                          <a:pt x="80" y="140"/>
                        </a:lnTo>
                        <a:lnTo>
                          <a:pt x="78" y="147"/>
                        </a:lnTo>
                        <a:lnTo>
                          <a:pt x="63" y="161"/>
                        </a:lnTo>
                        <a:lnTo>
                          <a:pt x="62" y="168"/>
                        </a:lnTo>
                        <a:lnTo>
                          <a:pt x="55" y="175"/>
                        </a:lnTo>
                        <a:lnTo>
                          <a:pt x="47" y="175"/>
                        </a:lnTo>
                        <a:lnTo>
                          <a:pt x="30" y="188"/>
                        </a:lnTo>
                        <a:lnTo>
                          <a:pt x="7" y="193"/>
                        </a:lnTo>
                        <a:lnTo>
                          <a:pt x="0" y="200"/>
                        </a:lnTo>
                        <a:lnTo>
                          <a:pt x="98" y="201"/>
                        </a:lnTo>
                        <a:lnTo>
                          <a:pt x="98" y="201"/>
                        </a:lnTo>
                        <a:lnTo>
                          <a:pt x="98" y="201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70" name="Google Shape;3022;p98">
                    <a:extLst>
                      <a:ext uri="{FF2B5EF4-FFF2-40B4-BE49-F238E27FC236}">
                        <a16:creationId xmlns:a16="http://schemas.microsoft.com/office/drawing/2014/main" id="{DAEBD2BC-D27F-E939-7370-036C396805E3}"/>
                      </a:ext>
                    </a:extLst>
                  </p:cNvPr>
                  <p:cNvSpPr/>
                  <p:nvPr/>
                </p:nvSpPr>
                <p:spPr>
                  <a:xfrm>
                    <a:off x="6202035" y="2945987"/>
                    <a:ext cx="105954" cy="7574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97" h="146" extrusionOk="0">
                        <a:moveTo>
                          <a:pt x="197" y="8"/>
                        </a:moveTo>
                        <a:lnTo>
                          <a:pt x="197" y="1"/>
                        </a:lnTo>
                        <a:lnTo>
                          <a:pt x="99" y="0"/>
                        </a:lnTo>
                        <a:lnTo>
                          <a:pt x="91" y="11"/>
                        </a:lnTo>
                        <a:lnTo>
                          <a:pt x="91" y="21"/>
                        </a:lnTo>
                        <a:lnTo>
                          <a:pt x="86" y="21"/>
                        </a:lnTo>
                        <a:lnTo>
                          <a:pt x="69" y="28"/>
                        </a:lnTo>
                        <a:lnTo>
                          <a:pt x="68" y="33"/>
                        </a:lnTo>
                        <a:lnTo>
                          <a:pt x="61" y="36"/>
                        </a:lnTo>
                        <a:lnTo>
                          <a:pt x="63" y="41"/>
                        </a:lnTo>
                        <a:lnTo>
                          <a:pt x="48" y="61"/>
                        </a:lnTo>
                        <a:lnTo>
                          <a:pt x="48" y="68"/>
                        </a:lnTo>
                        <a:lnTo>
                          <a:pt x="36" y="78"/>
                        </a:lnTo>
                        <a:lnTo>
                          <a:pt x="33" y="79"/>
                        </a:lnTo>
                        <a:lnTo>
                          <a:pt x="26" y="91"/>
                        </a:lnTo>
                        <a:lnTo>
                          <a:pt x="26" y="94"/>
                        </a:lnTo>
                        <a:lnTo>
                          <a:pt x="18" y="106"/>
                        </a:lnTo>
                        <a:lnTo>
                          <a:pt x="16" y="108"/>
                        </a:lnTo>
                        <a:lnTo>
                          <a:pt x="19" y="109"/>
                        </a:lnTo>
                        <a:lnTo>
                          <a:pt x="16" y="111"/>
                        </a:lnTo>
                        <a:lnTo>
                          <a:pt x="8" y="124"/>
                        </a:lnTo>
                        <a:lnTo>
                          <a:pt x="5" y="124"/>
                        </a:lnTo>
                        <a:lnTo>
                          <a:pt x="1" y="128"/>
                        </a:lnTo>
                        <a:lnTo>
                          <a:pt x="1" y="134"/>
                        </a:lnTo>
                        <a:lnTo>
                          <a:pt x="0" y="138"/>
                        </a:lnTo>
                        <a:lnTo>
                          <a:pt x="0" y="146"/>
                        </a:lnTo>
                        <a:lnTo>
                          <a:pt x="96" y="144"/>
                        </a:lnTo>
                        <a:lnTo>
                          <a:pt x="96" y="104"/>
                        </a:lnTo>
                        <a:lnTo>
                          <a:pt x="99" y="99"/>
                        </a:lnTo>
                        <a:lnTo>
                          <a:pt x="104" y="96"/>
                        </a:lnTo>
                        <a:lnTo>
                          <a:pt x="109" y="94"/>
                        </a:lnTo>
                        <a:lnTo>
                          <a:pt x="119" y="94"/>
                        </a:lnTo>
                        <a:lnTo>
                          <a:pt x="119" y="36"/>
                        </a:lnTo>
                        <a:lnTo>
                          <a:pt x="196" y="38"/>
                        </a:lnTo>
                        <a:lnTo>
                          <a:pt x="197" y="8"/>
                        </a:lnTo>
                        <a:lnTo>
                          <a:pt x="197" y="8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71" name="Google Shape;3023;p98">
                    <a:extLst>
                      <a:ext uri="{FF2B5EF4-FFF2-40B4-BE49-F238E27FC236}">
                        <a16:creationId xmlns:a16="http://schemas.microsoft.com/office/drawing/2014/main" id="{2DB87CB9-31FD-5DFD-78AF-E05397B82D9A}"/>
                      </a:ext>
                    </a:extLst>
                  </p:cNvPr>
                  <p:cNvSpPr/>
                  <p:nvPr/>
                </p:nvSpPr>
                <p:spPr>
                  <a:xfrm>
                    <a:off x="6200965" y="2950137"/>
                    <a:ext cx="154116" cy="14837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7" h="284" extrusionOk="0">
                        <a:moveTo>
                          <a:pt x="2" y="138"/>
                        </a:moveTo>
                        <a:lnTo>
                          <a:pt x="98" y="136"/>
                        </a:lnTo>
                        <a:lnTo>
                          <a:pt x="98" y="96"/>
                        </a:lnTo>
                        <a:lnTo>
                          <a:pt x="101" y="91"/>
                        </a:lnTo>
                        <a:lnTo>
                          <a:pt x="106" y="88"/>
                        </a:lnTo>
                        <a:lnTo>
                          <a:pt x="111" y="86"/>
                        </a:lnTo>
                        <a:lnTo>
                          <a:pt x="121" y="86"/>
                        </a:lnTo>
                        <a:lnTo>
                          <a:pt x="121" y="28"/>
                        </a:lnTo>
                        <a:lnTo>
                          <a:pt x="198" y="30"/>
                        </a:lnTo>
                        <a:lnTo>
                          <a:pt x="199" y="0"/>
                        </a:lnTo>
                        <a:lnTo>
                          <a:pt x="287" y="53"/>
                        </a:lnTo>
                        <a:lnTo>
                          <a:pt x="287" y="53"/>
                        </a:lnTo>
                        <a:lnTo>
                          <a:pt x="287" y="53"/>
                        </a:lnTo>
                        <a:lnTo>
                          <a:pt x="257" y="53"/>
                        </a:lnTo>
                        <a:lnTo>
                          <a:pt x="276" y="246"/>
                        </a:lnTo>
                        <a:lnTo>
                          <a:pt x="284" y="251"/>
                        </a:lnTo>
                        <a:lnTo>
                          <a:pt x="276" y="271"/>
                        </a:lnTo>
                        <a:lnTo>
                          <a:pt x="189" y="271"/>
                        </a:lnTo>
                        <a:lnTo>
                          <a:pt x="188" y="269"/>
                        </a:lnTo>
                        <a:lnTo>
                          <a:pt x="184" y="266"/>
                        </a:lnTo>
                        <a:lnTo>
                          <a:pt x="181" y="266"/>
                        </a:lnTo>
                        <a:lnTo>
                          <a:pt x="178" y="271"/>
                        </a:lnTo>
                        <a:lnTo>
                          <a:pt x="174" y="267"/>
                        </a:lnTo>
                        <a:lnTo>
                          <a:pt x="174" y="261"/>
                        </a:lnTo>
                        <a:lnTo>
                          <a:pt x="168" y="259"/>
                        </a:lnTo>
                        <a:lnTo>
                          <a:pt x="156" y="264"/>
                        </a:lnTo>
                        <a:lnTo>
                          <a:pt x="149" y="274"/>
                        </a:lnTo>
                        <a:lnTo>
                          <a:pt x="148" y="274"/>
                        </a:lnTo>
                        <a:lnTo>
                          <a:pt x="143" y="266"/>
                        </a:lnTo>
                        <a:lnTo>
                          <a:pt x="143" y="261"/>
                        </a:lnTo>
                        <a:lnTo>
                          <a:pt x="138" y="261"/>
                        </a:lnTo>
                        <a:lnTo>
                          <a:pt x="129" y="262"/>
                        </a:lnTo>
                        <a:lnTo>
                          <a:pt x="129" y="271"/>
                        </a:lnTo>
                        <a:lnTo>
                          <a:pt x="129" y="274"/>
                        </a:lnTo>
                        <a:lnTo>
                          <a:pt x="128" y="281"/>
                        </a:lnTo>
                        <a:lnTo>
                          <a:pt x="119" y="281"/>
                        </a:lnTo>
                        <a:lnTo>
                          <a:pt x="114" y="284"/>
                        </a:lnTo>
                        <a:lnTo>
                          <a:pt x="114" y="284"/>
                        </a:lnTo>
                        <a:lnTo>
                          <a:pt x="113" y="281"/>
                        </a:lnTo>
                        <a:lnTo>
                          <a:pt x="106" y="277"/>
                        </a:lnTo>
                        <a:lnTo>
                          <a:pt x="101" y="276"/>
                        </a:lnTo>
                        <a:lnTo>
                          <a:pt x="101" y="271"/>
                        </a:lnTo>
                        <a:lnTo>
                          <a:pt x="95" y="271"/>
                        </a:lnTo>
                        <a:lnTo>
                          <a:pt x="95" y="266"/>
                        </a:lnTo>
                        <a:lnTo>
                          <a:pt x="90" y="261"/>
                        </a:lnTo>
                        <a:lnTo>
                          <a:pt x="90" y="256"/>
                        </a:lnTo>
                        <a:lnTo>
                          <a:pt x="88" y="254"/>
                        </a:lnTo>
                        <a:lnTo>
                          <a:pt x="83" y="254"/>
                        </a:lnTo>
                        <a:lnTo>
                          <a:pt x="81" y="254"/>
                        </a:lnTo>
                        <a:lnTo>
                          <a:pt x="78" y="256"/>
                        </a:lnTo>
                        <a:lnTo>
                          <a:pt x="75" y="254"/>
                        </a:lnTo>
                        <a:lnTo>
                          <a:pt x="75" y="252"/>
                        </a:lnTo>
                        <a:lnTo>
                          <a:pt x="70" y="246"/>
                        </a:lnTo>
                        <a:lnTo>
                          <a:pt x="63" y="244"/>
                        </a:lnTo>
                        <a:lnTo>
                          <a:pt x="51" y="241"/>
                        </a:lnTo>
                        <a:lnTo>
                          <a:pt x="46" y="241"/>
                        </a:lnTo>
                        <a:lnTo>
                          <a:pt x="35" y="246"/>
                        </a:lnTo>
                        <a:lnTo>
                          <a:pt x="21" y="247"/>
                        </a:lnTo>
                        <a:lnTo>
                          <a:pt x="16" y="252"/>
                        </a:lnTo>
                        <a:lnTo>
                          <a:pt x="13" y="252"/>
                        </a:lnTo>
                        <a:lnTo>
                          <a:pt x="8" y="254"/>
                        </a:lnTo>
                        <a:lnTo>
                          <a:pt x="10" y="246"/>
                        </a:lnTo>
                        <a:lnTo>
                          <a:pt x="15" y="233"/>
                        </a:lnTo>
                        <a:lnTo>
                          <a:pt x="20" y="224"/>
                        </a:lnTo>
                        <a:lnTo>
                          <a:pt x="21" y="209"/>
                        </a:lnTo>
                        <a:lnTo>
                          <a:pt x="16" y="186"/>
                        </a:lnTo>
                        <a:lnTo>
                          <a:pt x="10" y="176"/>
                        </a:lnTo>
                        <a:lnTo>
                          <a:pt x="13" y="174"/>
                        </a:lnTo>
                        <a:lnTo>
                          <a:pt x="16" y="174"/>
                        </a:lnTo>
                        <a:lnTo>
                          <a:pt x="18" y="168"/>
                        </a:lnTo>
                        <a:lnTo>
                          <a:pt x="16" y="163"/>
                        </a:lnTo>
                        <a:lnTo>
                          <a:pt x="18" y="159"/>
                        </a:lnTo>
                        <a:lnTo>
                          <a:pt x="11" y="151"/>
                        </a:lnTo>
                        <a:lnTo>
                          <a:pt x="10" y="153"/>
                        </a:lnTo>
                        <a:lnTo>
                          <a:pt x="7" y="151"/>
                        </a:lnTo>
                        <a:lnTo>
                          <a:pt x="5" y="146"/>
                        </a:lnTo>
                        <a:lnTo>
                          <a:pt x="0" y="151"/>
                        </a:lnTo>
                        <a:lnTo>
                          <a:pt x="0" y="143"/>
                        </a:lnTo>
                        <a:lnTo>
                          <a:pt x="2" y="138"/>
                        </a:lnTo>
                        <a:lnTo>
                          <a:pt x="2" y="138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72" name="Google Shape;3024;p98">
                    <a:extLst>
                      <a:ext uri="{FF2B5EF4-FFF2-40B4-BE49-F238E27FC236}">
                        <a16:creationId xmlns:a16="http://schemas.microsoft.com/office/drawing/2014/main" id="{245FE133-280E-634A-9273-A716A420A9E3}"/>
                      </a:ext>
                    </a:extLst>
                  </p:cNvPr>
                  <p:cNvSpPr/>
                  <p:nvPr/>
                </p:nvSpPr>
                <p:spPr>
                  <a:xfrm>
                    <a:off x="6261968" y="2978152"/>
                    <a:ext cx="211909" cy="17224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96" h="332" extrusionOk="0">
                        <a:moveTo>
                          <a:pt x="0" y="231"/>
                        </a:moveTo>
                        <a:lnTo>
                          <a:pt x="5" y="228"/>
                        </a:lnTo>
                        <a:lnTo>
                          <a:pt x="14" y="228"/>
                        </a:lnTo>
                        <a:lnTo>
                          <a:pt x="15" y="221"/>
                        </a:lnTo>
                        <a:lnTo>
                          <a:pt x="15" y="218"/>
                        </a:lnTo>
                        <a:lnTo>
                          <a:pt x="15" y="209"/>
                        </a:lnTo>
                        <a:lnTo>
                          <a:pt x="24" y="208"/>
                        </a:lnTo>
                        <a:lnTo>
                          <a:pt x="29" y="208"/>
                        </a:lnTo>
                        <a:lnTo>
                          <a:pt x="29" y="213"/>
                        </a:lnTo>
                        <a:lnTo>
                          <a:pt x="34" y="221"/>
                        </a:lnTo>
                        <a:lnTo>
                          <a:pt x="35" y="221"/>
                        </a:lnTo>
                        <a:lnTo>
                          <a:pt x="42" y="211"/>
                        </a:lnTo>
                        <a:lnTo>
                          <a:pt x="54" y="206"/>
                        </a:lnTo>
                        <a:lnTo>
                          <a:pt x="60" y="208"/>
                        </a:lnTo>
                        <a:lnTo>
                          <a:pt x="60" y="214"/>
                        </a:lnTo>
                        <a:lnTo>
                          <a:pt x="64" y="218"/>
                        </a:lnTo>
                        <a:lnTo>
                          <a:pt x="67" y="213"/>
                        </a:lnTo>
                        <a:lnTo>
                          <a:pt x="70" y="213"/>
                        </a:lnTo>
                        <a:lnTo>
                          <a:pt x="74" y="216"/>
                        </a:lnTo>
                        <a:lnTo>
                          <a:pt x="75" y="218"/>
                        </a:lnTo>
                        <a:lnTo>
                          <a:pt x="162" y="218"/>
                        </a:lnTo>
                        <a:lnTo>
                          <a:pt x="170" y="198"/>
                        </a:lnTo>
                        <a:lnTo>
                          <a:pt x="162" y="193"/>
                        </a:lnTo>
                        <a:lnTo>
                          <a:pt x="143" y="0"/>
                        </a:lnTo>
                        <a:lnTo>
                          <a:pt x="173" y="0"/>
                        </a:lnTo>
                        <a:lnTo>
                          <a:pt x="331" y="95"/>
                        </a:lnTo>
                        <a:lnTo>
                          <a:pt x="334" y="105"/>
                        </a:lnTo>
                        <a:lnTo>
                          <a:pt x="339" y="110"/>
                        </a:lnTo>
                        <a:lnTo>
                          <a:pt x="349" y="110"/>
                        </a:lnTo>
                        <a:lnTo>
                          <a:pt x="356" y="111"/>
                        </a:lnTo>
                        <a:lnTo>
                          <a:pt x="359" y="116"/>
                        </a:lnTo>
                        <a:lnTo>
                          <a:pt x="366" y="118"/>
                        </a:lnTo>
                        <a:lnTo>
                          <a:pt x="371" y="121"/>
                        </a:lnTo>
                        <a:lnTo>
                          <a:pt x="371" y="125"/>
                        </a:lnTo>
                        <a:lnTo>
                          <a:pt x="368" y="131"/>
                        </a:lnTo>
                        <a:lnTo>
                          <a:pt x="369" y="135"/>
                        </a:lnTo>
                        <a:lnTo>
                          <a:pt x="376" y="136"/>
                        </a:lnTo>
                        <a:lnTo>
                          <a:pt x="386" y="135"/>
                        </a:lnTo>
                        <a:lnTo>
                          <a:pt x="396" y="133"/>
                        </a:lnTo>
                        <a:lnTo>
                          <a:pt x="396" y="133"/>
                        </a:lnTo>
                        <a:lnTo>
                          <a:pt x="394" y="175"/>
                        </a:lnTo>
                        <a:lnTo>
                          <a:pt x="392" y="194"/>
                        </a:lnTo>
                        <a:lnTo>
                          <a:pt x="389" y="198"/>
                        </a:lnTo>
                        <a:lnTo>
                          <a:pt x="388" y="204"/>
                        </a:lnTo>
                        <a:lnTo>
                          <a:pt x="386" y="209"/>
                        </a:lnTo>
                        <a:lnTo>
                          <a:pt x="374" y="216"/>
                        </a:lnTo>
                        <a:lnTo>
                          <a:pt x="368" y="219"/>
                        </a:lnTo>
                        <a:lnTo>
                          <a:pt x="359" y="219"/>
                        </a:lnTo>
                        <a:lnTo>
                          <a:pt x="353" y="223"/>
                        </a:lnTo>
                        <a:lnTo>
                          <a:pt x="348" y="223"/>
                        </a:lnTo>
                        <a:lnTo>
                          <a:pt x="338" y="223"/>
                        </a:lnTo>
                        <a:lnTo>
                          <a:pt x="331" y="226"/>
                        </a:lnTo>
                        <a:lnTo>
                          <a:pt x="326" y="226"/>
                        </a:lnTo>
                        <a:lnTo>
                          <a:pt x="309" y="228"/>
                        </a:lnTo>
                        <a:lnTo>
                          <a:pt x="303" y="226"/>
                        </a:lnTo>
                        <a:lnTo>
                          <a:pt x="303" y="228"/>
                        </a:lnTo>
                        <a:lnTo>
                          <a:pt x="301" y="226"/>
                        </a:lnTo>
                        <a:lnTo>
                          <a:pt x="296" y="226"/>
                        </a:lnTo>
                        <a:lnTo>
                          <a:pt x="290" y="223"/>
                        </a:lnTo>
                        <a:lnTo>
                          <a:pt x="283" y="224"/>
                        </a:lnTo>
                        <a:lnTo>
                          <a:pt x="271" y="226"/>
                        </a:lnTo>
                        <a:lnTo>
                          <a:pt x="265" y="229"/>
                        </a:lnTo>
                        <a:lnTo>
                          <a:pt x="258" y="234"/>
                        </a:lnTo>
                        <a:lnTo>
                          <a:pt x="240" y="243"/>
                        </a:lnTo>
                        <a:lnTo>
                          <a:pt x="226" y="251"/>
                        </a:lnTo>
                        <a:lnTo>
                          <a:pt x="225" y="256"/>
                        </a:lnTo>
                        <a:lnTo>
                          <a:pt x="211" y="259"/>
                        </a:lnTo>
                        <a:lnTo>
                          <a:pt x="210" y="259"/>
                        </a:lnTo>
                        <a:lnTo>
                          <a:pt x="201" y="259"/>
                        </a:lnTo>
                        <a:lnTo>
                          <a:pt x="201" y="261"/>
                        </a:lnTo>
                        <a:lnTo>
                          <a:pt x="198" y="263"/>
                        </a:lnTo>
                        <a:lnTo>
                          <a:pt x="192" y="271"/>
                        </a:lnTo>
                        <a:lnTo>
                          <a:pt x="192" y="274"/>
                        </a:lnTo>
                        <a:lnTo>
                          <a:pt x="187" y="281"/>
                        </a:lnTo>
                        <a:lnTo>
                          <a:pt x="180" y="292"/>
                        </a:lnTo>
                        <a:lnTo>
                          <a:pt x="173" y="296"/>
                        </a:lnTo>
                        <a:lnTo>
                          <a:pt x="170" y="299"/>
                        </a:lnTo>
                        <a:lnTo>
                          <a:pt x="172" y="304"/>
                        </a:lnTo>
                        <a:lnTo>
                          <a:pt x="172" y="311"/>
                        </a:lnTo>
                        <a:lnTo>
                          <a:pt x="167" y="311"/>
                        </a:lnTo>
                        <a:lnTo>
                          <a:pt x="167" y="316"/>
                        </a:lnTo>
                        <a:lnTo>
                          <a:pt x="168" y="319"/>
                        </a:lnTo>
                        <a:lnTo>
                          <a:pt x="167" y="324"/>
                        </a:lnTo>
                        <a:lnTo>
                          <a:pt x="165" y="326"/>
                        </a:lnTo>
                        <a:lnTo>
                          <a:pt x="160" y="332"/>
                        </a:lnTo>
                        <a:lnTo>
                          <a:pt x="152" y="329"/>
                        </a:lnTo>
                        <a:lnTo>
                          <a:pt x="150" y="327"/>
                        </a:lnTo>
                        <a:lnTo>
                          <a:pt x="152" y="326"/>
                        </a:lnTo>
                        <a:lnTo>
                          <a:pt x="145" y="326"/>
                        </a:lnTo>
                        <a:lnTo>
                          <a:pt x="137" y="326"/>
                        </a:lnTo>
                        <a:lnTo>
                          <a:pt x="137" y="329"/>
                        </a:lnTo>
                        <a:lnTo>
                          <a:pt x="135" y="331"/>
                        </a:lnTo>
                        <a:lnTo>
                          <a:pt x="125" y="329"/>
                        </a:lnTo>
                        <a:lnTo>
                          <a:pt x="120" y="327"/>
                        </a:lnTo>
                        <a:lnTo>
                          <a:pt x="117" y="327"/>
                        </a:lnTo>
                        <a:lnTo>
                          <a:pt x="110" y="331"/>
                        </a:lnTo>
                        <a:lnTo>
                          <a:pt x="108" y="327"/>
                        </a:lnTo>
                        <a:lnTo>
                          <a:pt x="107" y="326"/>
                        </a:lnTo>
                        <a:lnTo>
                          <a:pt x="100" y="326"/>
                        </a:lnTo>
                        <a:lnTo>
                          <a:pt x="100" y="322"/>
                        </a:lnTo>
                        <a:lnTo>
                          <a:pt x="98" y="319"/>
                        </a:lnTo>
                        <a:lnTo>
                          <a:pt x="98" y="316"/>
                        </a:lnTo>
                        <a:lnTo>
                          <a:pt x="95" y="316"/>
                        </a:lnTo>
                        <a:lnTo>
                          <a:pt x="93" y="319"/>
                        </a:lnTo>
                        <a:lnTo>
                          <a:pt x="89" y="319"/>
                        </a:lnTo>
                        <a:lnTo>
                          <a:pt x="92" y="314"/>
                        </a:lnTo>
                        <a:lnTo>
                          <a:pt x="95" y="307"/>
                        </a:lnTo>
                        <a:lnTo>
                          <a:pt x="95" y="306"/>
                        </a:lnTo>
                        <a:lnTo>
                          <a:pt x="90" y="304"/>
                        </a:lnTo>
                        <a:lnTo>
                          <a:pt x="87" y="302"/>
                        </a:lnTo>
                        <a:lnTo>
                          <a:pt x="89" y="296"/>
                        </a:lnTo>
                        <a:lnTo>
                          <a:pt x="87" y="292"/>
                        </a:lnTo>
                        <a:lnTo>
                          <a:pt x="82" y="287"/>
                        </a:lnTo>
                        <a:lnTo>
                          <a:pt x="80" y="286"/>
                        </a:lnTo>
                        <a:lnTo>
                          <a:pt x="77" y="287"/>
                        </a:lnTo>
                        <a:lnTo>
                          <a:pt x="74" y="289"/>
                        </a:lnTo>
                        <a:lnTo>
                          <a:pt x="69" y="286"/>
                        </a:lnTo>
                        <a:lnTo>
                          <a:pt x="64" y="286"/>
                        </a:lnTo>
                        <a:lnTo>
                          <a:pt x="59" y="292"/>
                        </a:lnTo>
                        <a:lnTo>
                          <a:pt x="55" y="292"/>
                        </a:lnTo>
                        <a:lnTo>
                          <a:pt x="50" y="296"/>
                        </a:lnTo>
                        <a:lnTo>
                          <a:pt x="44" y="296"/>
                        </a:lnTo>
                        <a:lnTo>
                          <a:pt x="39" y="292"/>
                        </a:lnTo>
                        <a:lnTo>
                          <a:pt x="35" y="291"/>
                        </a:lnTo>
                        <a:lnTo>
                          <a:pt x="30" y="292"/>
                        </a:lnTo>
                        <a:lnTo>
                          <a:pt x="27" y="292"/>
                        </a:lnTo>
                        <a:lnTo>
                          <a:pt x="27" y="292"/>
                        </a:lnTo>
                        <a:lnTo>
                          <a:pt x="29" y="289"/>
                        </a:lnTo>
                        <a:lnTo>
                          <a:pt x="29" y="286"/>
                        </a:lnTo>
                        <a:lnTo>
                          <a:pt x="22" y="282"/>
                        </a:lnTo>
                        <a:lnTo>
                          <a:pt x="22" y="279"/>
                        </a:lnTo>
                        <a:lnTo>
                          <a:pt x="24" y="276"/>
                        </a:lnTo>
                        <a:lnTo>
                          <a:pt x="24" y="274"/>
                        </a:lnTo>
                        <a:lnTo>
                          <a:pt x="20" y="271"/>
                        </a:lnTo>
                        <a:lnTo>
                          <a:pt x="20" y="268"/>
                        </a:lnTo>
                        <a:lnTo>
                          <a:pt x="17" y="266"/>
                        </a:lnTo>
                        <a:lnTo>
                          <a:pt x="14" y="266"/>
                        </a:lnTo>
                        <a:lnTo>
                          <a:pt x="12" y="263"/>
                        </a:lnTo>
                        <a:lnTo>
                          <a:pt x="9" y="258"/>
                        </a:lnTo>
                        <a:lnTo>
                          <a:pt x="2" y="253"/>
                        </a:lnTo>
                        <a:lnTo>
                          <a:pt x="2" y="249"/>
                        </a:lnTo>
                        <a:lnTo>
                          <a:pt x="5" y="241"/>
                        </a:lnTo>
                        <a:lnTo>
                          <a:pt x="4" y="238"/>
                        </a:lnTo>
                        <a:lnTo>
                          <a:pt x="4" y="234"/>
                        </a:lnTo>
                        <a:lnTo>
                          <a:pt x="0" y="231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73" name="Google Shape;3025;p98">
                    <a:extLst>
                      <a:ext uri="{FF2B5EF4-FFF2-40B4-BE49-F238E27FC236}">
                        <a16:creationId xmlns:a16="http://schemas.microsoft.com/office/drawing/2014/main" id="{7B6CFF3A-7AE6-4A5A-77F7-9CDC2F107D8A}"/>
                      </a:ext>
                    </a:extLst>
                  </p:cNvPr>
                  <p:cNvSpPr/>
                  <p:nvPr/>
                </p:nvSpPr>
                <p:spPr>
                  <a:xfrm>
                    <a:off x="6350799" y="3093325"/>
                    <a:ext cx="98463" cy="6329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2" h="121" extrusionOk="0">
                        <a:moveTo>
                          <a:pt x="0" y="101"/>
                        </a:moveTo>
                        <a:lnTo>
                          <a:pt x="1" y="96"/>
                        </a:lnTo>
                        <a:lnTo>
                          <a:pt x="0" y="93"/>
                        </a:lnTo>
                        <a:lnTo>
                          <a:pt x="0" y="88"/>
                        </a:lnTo>
                        <a:lnTo>
                          <a:pt x="5" y="88"/>
                        </a:lnTo>
                        <a:lnTo>
                          <a:pt x="5" y="81"/>
                        </a:lnTo>
                        <a:lnTo>
                          <a:pt x="3" y="76"/>
                        </a:lnTo>
                        <a:lnTo>
                          <a:pt x="6" y="73"/>
                        </a:lnTo>
                        <a:lnTo>
                          <a:pt x="13" y="69"/>
                        </a:lnTo>
                        <a:lnTo>
                          <a:pt x="20" y="58"/>
                        </a:lnTo>
                        <a:lnTo>
                          <a:pt x="25" y="51"/>
                        </a:lnTo>
                        <a:lnTo>
                          <a:pt x="25" y="48"/>
                        </a:lnTo>
                        <a:lnTo>
                          <a:pt x="31" y="40"/>
                        </a:lnTo>
                        <a:lnTo>
                          <a:pt x="34" y="38"/>
                        </a:lnTo>
                        <a:lnTo>
                          <a:pt x="34" y="36"/>
                        </a:lnTo>
                        <a:lnTo>
                          <a:pt x="43" y="36"/>
                        </a:lnTo>
                        <a:lnTo>
                          <a:pt x="44" y="36"/>
                        </a:lnTo>
                        <a:lnTo>
                          <a:pt x="58" y="33"/>
                        </a:lnTo>
                        <a:lnTo>
                          <a:pt x="59" y="28"/>
                        </a:lnTo>
                        <a:lnTo>
                          <a:pt x="73" y="20"/>
                        </a:lnTo>
                        <a:lnTo>
                          <a:pt x="91" y="11"/>
                        </a:lnTo>
                        <a:lnTo>
                          <a:pt x="98" y="6"/>
                        </a:lnTo>
                        <a:lnTo>
                          <a:pt x="104" y="3"/>
                        </a:lnTo>
                        <a:lnTo>
                          <a:pt x="116" y="1"/>
                        </a:lnTo>
                        <a:lnTo>
                          <a:pt x="123" y="0"/>
                        </a:lnTo>
                        <a:lnTo>
                          <a:pt x="129" y="3"/>
                        </a:lnTo>
                        <a:lnTo>
                          <a:pt x="134" y="3"/>
                        </a:lnTo>
                        <a:lnTo>
                          <a:pt x="136" y="5"/>
                        </a:lnTo>
                        <a:lnTo>
                          <a:pt x="134" y="6"/>
                        </a:lnTo>
                        <a:lnTo>
                          <a:pt x="134" y="11"/>
                        </a:lnTo>
                        <a:lnTo>
                          <a:pt x="131" y="16"/>
                        </a:lnTo>
                        <a:lnTo>
                          <a:pt x="131" y="23"/>
                        </a:lnTo>
                        <a:lnTo>
                          <a:pt x="154" y="36"/>
                        </a:lnTo>
                        <a:lnTo>
                          <a:pt x="154" y="46"/>
                        </a:lnTo>
                        <a:lnTo>
                          <a:pt x="162" y="51"/>
                        </a:lnTo>
                        <a:lnTo>
                          <a:pt x="172" y="46"/>
                        </a:lnTo>
                        <a:lnTo>
                          <a:pt x="176" y="48"/>
                        </a:lnTo>
                        <a:lnTo>
                          <a:pt x="176" y="50"/>
                        </a:lnTo>
                        <a:lnTo>
                          <a:pt x="179" y="53"/>
                        </a:lnTo>
                        <a:lnTo>
                          <a:pt x="179" y="56"/>
                        </a:lnTo>
                        <a:lnTo>
                          <a:pt x="176" y="59"/>
                        </a:lnTo>
                        <a:lnTo>
                          <a:pt x="181" y="66"/>
                        </a:lnTo>
                        <a:lnTo>
                          <a:pt x="182" y="66"/>
                        </a:lnTo>
                        <a:lnTo>
                          <a:pt x="182" y="69"/>
                        </a:lnTo>
                        <a:lnTo>
                          <a:pt x="177" y="74"/>
                        </a:lnTo>
                        <a:lnTo>
                          <a:pt x="174" y="74"/>
                        </a:lnTo>
                        <a:lnTo>
                          <a:pt x="166" y="79"/>
                        </a:lnTo>
                        <a:lnTo>
                          <a:pt x="162" y="78"/>
                        </a:lnTo>
                        <a:lnTo>
                          <a:pt x="157" y="79"/>
                        </a:lnTo>
                        <a:lnTo>
                          <a:pt x="159" y="84"/>
                        </a:lnTo>
                        <a:lnTo>
                          <a:pt x="154" y="86"/>
                        </a:lnTo>
                        <a:lnTo>
                          <a:pt x="156" y="91"/>
                        </a:lnTo>
                        <a:lnTo>
                          <a:pt x="149" y="93"/>
                        </a:lnTo>
                        <a:lnTo>
                          <a:pt x="149" y="94"/>
                        </a:lnTo>
                        <a:lnTo>
                          <a:pt x="123" y="88"/>
                        </a:lnTo>
                        <a:lnTo>
                          <a:pt x="121" y="89"/>
                        </a:lnTo>
                        <a:lnTo>
                          <a:pt x="121" y="89"/>
                        </a:lnTo>
                        <a:lnTo>
                          <a:pt x="119" y="88"/>
                        </a:lnTo>
                        <a:lnTo>
                          <a:pt x="114" y="91"/>
                        </a:lnTo>
                        <a:lnTo>
                          <a:pt x="108" y="91"/>
                        </a:lnTo>
                        <a:lnTo>
                          <a:pt x="99" y="93"/>
                        </a:lnTo>
                        <a:lnTo>
                          <a:pt x="86" y="93"/>
                        </a:lnTo>
                        <a:lnTo>
                          <a:pt x="84" y="93"/>
                        </a:lnTo>
                        <a:lnTo>
                          <a:pt x="66" y="93"/>
                        </a:lnTo>
                        <a:lnTo>
                          <a:pt x="58" y="93"/>
                        </a:lnTo>
                        <a:lnTo>
                          <a:pt x="58" y="98"/>
                        </a:lnTo>
                        <a:lnTo>
                          <a:pt x="59" y="106"/>
                        </a:lnTo>
                        <a:lnTo>
                          <a:pt x="61" y="108"/>
                        </a:lnTo>
                        <a:lnTo>
                          <a:pt x="64" y="113"/>
                        </a:lnTo>
                        <a:lnTo>
                          <a:pt x="64" y="119"/>
                        </a:lnTo>
                        <a:lnTo>
                          <a:pt x="59" y="119"/>
                        </a:lnTo>
                        <a:lnTo>
                          <a:pt x="56" y="118"/>
                        </a:lnTo>
                        <a:lnTo>
                          <a:pt x="53" y="116"/>
                        </a:lnTo>
                        <a:lnTo>
                          <a:pt x="48" y="119"/>
                        </a:lnTo>
                        <a:lnTo>
                          <a:pt x="43" y="121"/>
                        </a:lnTo>
                        <a:lnTo>
                          <a:pt x="34" y="118"/>
                        </a:lnTo>
                        <a:lnTo>
                          <a:pt x="33" y="114"/>
                        </a:lnTo>
                        <a:lnTo>
                          <a:pt x="28" y="111"/>
                        </a:lnTo>
                        <a:lnTo>
                          <a:pt x="23" y="111"/>
                        </a:lnTo>
                        <a:lnTo>
                          <a:pt x="21" y="109"/>
                        </a:lnTo>
                        <a:lnTo>
                          <a:pt x="18" y="109"/>
                        </a:lnTo>
                        <a:lnTo>
                          <a:pt x="8" y="106"/>
                        </a:lnTo>
                        <a:lnTo>
                          <a:pt x="1" y="101"/>
                        </a:lnTo>
                        <a:lnTo>
                          <a:pt x="0" y="101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74" name="Google Shape;3026;p98">
                    <a:extLst>
                      <a:ext uri="{FF2B5EF4-FFF2-40B4-BE49-F238E27FC236}">
                        <a16:creationId xmlns:a16="http://schemas.microsoft.com/office/drawing/2014/main" id="{A358C62D-BD2D-EB13-A3D5-C6C7E0782010}"/>
                      </a:ext>
                    </a:extLst>
                  </p:cNvPr>
                  <p:cNvSpPr/>
                  <p:nvPr/>
                </p:nvSpPr>
                <p:spPr>
                  <a:xfrm>
                    <a:off x="6193473" y="3075685"/>
                    <a:ext cx="83479" cy="5395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6" h="104" extrusionOk="0">
                        <a:moveTo>
                          <a:pt x="21" y="13"/>
                        </a:moveTo>
                        <a:lnTo>
                          <a:pt x="26" y="11"/>
                        </a:lnTo>
                        <a:lnTo>
                          <a:pt x="29" y="11"/>
                        </a:lnTo>
                        <a:lnTo>
                          <a:pt x="34" y="6"/>
                        </a:lnTo>
                        <a:lnTo>
                          <a:pt x="48" y="5"/>
                        </a:lnTo>
                        <a:lnTo>
                          <a:pt x="59" y="0"/>
                        </a:lnTo>
                        <a:lnTo>
                          <a:pt x="64" y="0"/>
                        </a:lnTo>
                        <a:lnTo>
                          <a:pt x="76" y="3"/>
                        </a:lnTo>
                        <a:lnTo>
                          <a:pt x="83" y="5"/>
                        </a:lnTo>
                        <a:lnTo>
                          <a:pt x="88" y="11"/>
                        </a:lnTo>
                        <a:lnTo>
                          <a:pt x="88" y="13"/>
                        </a:lnTo>
                        <a:lnTo>
                          <a:pt x="91" y="15"/>
                        </a:lnTo>
                        <a:lnTo>
                          <a:pt x="94" y="13"/>
                        </a:lnTo>
                        <a:lnTo>
                          <a:pt x="96" y="13"/>
                        </a:lnTo>
                        <a:lnTo>
                          <a:pt x="101" y="13"/>
                        </a:lnTo>
                        <a:lnTo>
                          <a:pt x="103" y="15"/>
                        </a:lnTo>
                        <a:lnTo>
                          <a:pt x="103" y="20"/>
                        </a:lnTo>
                        <a:lnTo>
                          <a:pt x="108" y="25"/>
                        </a:lnTo>
                        <a:lnTo>
                          <a:pt x="108" y="30"/>
                        </a:lnTo>
                        <a:lnTo>
                          <a:pt x="114" y="30"/>
                        </a:lnTo>
                        <a:lnTo>
                          <a:pt x="114" y="35"/>
                        </a:lnTo>
                        <a:lnTo>
                          <a:pt x="119" y="36"/>
                        </a:lnTo>
                        <a:lnTo>
                          <a:pt x="126" y="40"/>
                        </a:lnTo>
                        <a:lnTo>
                          <a:pt x="127" y="43"/>
                        </a:lnTo>
                        <a:lnTo>
                          <a:pt x="131" y="46"/>
                        </a:lnTo>
                        <a:lnTo>
                          <a:pt x="131" y="50"/>
                        </a:lnTo>
                        <a:lnTo>
                          <a:pt x="132" y="53"/>
                        </a:lnTo>
                        <a:lnTo>
                          <a:pt x="129" y="61"/>
                        </a:lnTo>
                        <a:lnTo>
                          <a:pt x="129" y="65"/>
                        </a:lnTo>
                        <a:lnTo>
                          <a:pt x="136" y="70"/>
                        </a:lnTo>
                        <a:lnTo>
                          <a:pt x="139" y="75"/>
                        </a:lnTo>
                        <a:lnTo>
                          <a:pt x="141" y="78"/>
                        </a:lnTo>
                        <a:lnTo>
                          <a:pt x="144" y="78"/>
                        </a:lnTo>
                        <a:lnTo>
                          <a:pt x="147" y="80"/>
                        </a:lnTo>
                        <a:lnTo>
                          <a:pt x="147" y="83"/>
                        </a:lnTo>
                        <a:lnTo>
                          <a:pt x="151" y="86"/>
                        </a:lnTo>
                        <a:lnTo>
                          <a:pt x="151" y="88"/>
                        </a:lnTo>
                        <a:lnTo>
                          <a:pt x="149" y="91"/>
                        </a:lnTo>
                        <a:lnTo>
                          <a:pt x="149" y="94"/>
                        </a:lnTo>
                        <a:lnTo>
                          <a:pt x="156" y="98"/>
                        </a:lnTo>
                        <a:lnTo>
                          <a:pt x="156" y="101"/>
                        </a:lnTo>
                        <a:lnTo>
                          <a:pt x="154" y="104"/>
                        </a:lnTo>
                        <a:lnTo>
                          <a:pt x="154" y="99"/>
                        </a:lnTo>
                        <a:lnTo>
                          <a:pt x="149" y="99"/>
                        </a:lnTo>
                        <a:lnTo>
                          <a:pt x="147" y="98"/>
                        </a:lnTo>
                        <a:lnTo>
                          <a:pt x="142" y="98"/>
                        </a:lnTo>
                        <a:lnTo>
                          <a:pt x="137" y="99"/>
                        </a:lnTo>
                        <a:lnTo>
                          <a:pt x="131" y="96"/>
                        </a:lnTo>
                        <a:lnTo>
                          <a:pt x="122" y="96"/>
                        </a:lnTo>
                        <a:lnTo>
                          <a:pt x="119" y="94"/>
                        </a:lnTo>
                        <a:lnTo>
                          <a:pt x="109" y="90"/>
                        </a:lnTo>
                        <a:lnTo>
                          <a:pt x="94" y="90"/>
                        </a:lnTo>
                        <a:lnTo>
                          <a:pt x="89" y="90"/>
                        </a:lnTo>
                        <a:lnTo>
                          <a:pt x="89" y="91"/>
                        </a:lnTo>
                        <a:lnTo>
                          <a:pt x="83" y="90"/>
                        </a:lnTo>
                        <a:lnTo>
                          <a:pt x="61" y="88"/>
                        </a:lnTo>
                        <a:lnTo>
                          <a:pt x="53" y="91"/>
                        </a:lnTo>
                        <a:lnTo>
                          <a:pt x="48" y="98"/>
                        </a:lnTo>
                        <a:lnTo>
                          <a:pt x="31" y="96"/>
                        </a:lnTo>
                        <a:lnTo>
                          <a:pt x="23" y="99"/>
                        </a:lnTo>
                        <a:lnTo>
                          <a:pt x="18" y="98"/>
                        </a:lnTo>
                        <a:lnTo>
                          <a:pt x="18" y="93"/>
                        </a:lnTo>
                        <a:lnTo>
                          <a:pt x="16" y="93"/>
                        </a:lnTo>
                        <a:lnTo>
                          <a:pt x="20" y="93"/>
                        </a:lnTo>
                        <a:lnTo>
                          <a:pt x="23" y="94"/>
                        </a:lnTo>
                        <a:lnTo>
                          <a:pt x="28" y="91"/>
                        </a:lnTo>
                        <a:lnTo>
                          <a:pt x="20" y="88"/>
                        </a:lnTo>
                        <a:lnTo>
                          <a:pt x="15" y="91"/>
                        </a:lnTo>
                        <a:lnTo>
                          <a:pt x="13" y="90"/>
                        </a:lnTo>
                        <a:lnTo>
                          <a:pt x="15" y="86"/>
                        </a:lnTo>
                        <a:lnTo>
                          <a:pt x="15" y="81"/>
                        </a:lnTo>
                        <a:lnTo>
                          <a:pt x="18" y="80"/>
                        </a:lnTo>
                        <a:lnTo>
                          <a:pt x="33" y="80"/>
                        </a:lnTo>
                        <a:lnTo>
                          <a:pt x="36" y="75"/>
                        </a:lnTo>
                        <a:lnTo>
                          <a:pt x="41" y="75"/>
                        </a:lnTo>
                        <a:lnTo>
                          <a:pt x="46" y="71"/>
                        </a:lnTo>
                        <a:lnTo>
                          <a:pt x="49" y="71"/>
                        </a:lnTo>
                        <a:lnTo>
                          <a:pt x="51" y="73"/>
                        </a:lnTo>
                        <a:lnTo>
                          <a:pt x="54" y="70"/>
                        </a:lnTo>
                        <a:lnTo>
                          <a:pt x="58" y="70"/>
                        </a:lnTo>
                        <a:lnTo>
                          <a:pt x="63" y="73"/>
                        </a:lnTo>
                        <a:lnTo>
                          <a:pt x="68" y="73"/>
                        </a:lnTo>
                        <a:lnTo>
                          <a:pt x="74" y="75"/>
                        </a:lnTo>
                        <a:lnTo>
                          <a:pt x="83" y="78"/>
                        </a:lnTo>
                        <a:lnTo>
                          <a:pt x="88" y="78"/>
                        </a:lnTo>
                        <a:lnTo>
                          <a:pt x="89" y="75"/>
                        </a:lnTo>
                        <a:lnTo>
                          <a:pt x="88" y="73"/>
                        </a:lnTo>
                        <a:lnTo>
                          <a:pt x="86" y="73"/>
                        </a:lnTo>
                        <a:lnTo>
                          <a:pt x="74" y="66"/>
                        </a:lnTo>
                        <a:lnTo>
                          <a:pt x="71" y="66"/>
                        </a:lnTo>
                        <a:lnTo>
                          <a:pt x="63" y="63"/>
                        </a:lnTo>
                        <a:lnTo>
                          <a:pt x="56" y="63"/>
                        </a:lnTo>
                        <a:lnTo>
                          <a:pt x="53" y="61"/>
                        </a:lnTo>
                        <a:lnTo>
                          <a:pt x="46" y="63"/>
                        </a:lnTo>
                        <a:lnTo>
                          <a:pt x="38" y="70"/>
                        </a:lnTo>
                        <a:lnTo>
                          <a:pt x="33" y="70"/>
                        </a:lnTo>
                        <a:lnTo>
                          <a:pt x="29" y="71"/>
                        </a:lnTo>
                        <a:lnTo>
                          <a:pt x="20" y="71"/>
                        </a:lnTo>
                        <a:lnTo>
                          <a:pt x="18" y="70"/>
                        </a:lnTo>
                        <a:lnTo>
                          <a:pt x="21" y="66"/>
                        </a:lnTo>
                        <a:lnTo>
                          <a:pt x="16" y="63"/>
                        </a:lnTo>
                        <a:lnTo>
                          <a:pt x="18" y="63"/>
                        </a:lnTo>
                        <a:lnTo>
                          <a:pt x="18" y="58"/>
                        </a:lnTo>
                        <a:lnTo>
                          <a:pt x="13" y="58"/>
                        </a:lnTo>
                        <a:lnTo>
                          <a:pt x="8" y="50"/>
                        </a:lnTo>
                        <a:lnTo>
                          <a:pt x="0" y="43"/>
                        </a:lnTo>
                        <a:lnTo>
                          <a:pt x="15" y="31"/>
                        </a:lnTo>
                        <a:lnTo>
                          <a:pt x="21" y="21"/>
                        </a:lnTo>
                        <a:lnTo>
                          <a:pt x="21" y="13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75" name="Google Shape;3027;p98">
                    <a:extLst>
                      <a:ext uri="{FF2B5EF4-FFF2-40B4-BE49-F238E27FC236}">
                        <a16:creationId xmlns:a16="http://schemas.microsoft.com/office/drawing/2014/main" id="{21AC64DF-0234-AAAC-641A-0777A63F3F29}"/>
                      </a:ext>
                    </a:extLst>
                  </p:cNvPr>
                  <p:cNvSpPr/>
                  <p:nvPr/>
                </p:nvSpPr>
                <p:spPr>
                  <a:xfrm>
                    <a:off x="6203105" y="3121339"/>
                    <a:ext cx="39599" cy="2179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73" h="41" extrusionOk="0">
                        <a:moveTo>
                          <a:pt x="0" y="10"/>
                        </a:moveTo>
                        <a:lnTo>
                          <a:pt x="5" y="11"/>
                        </a:lnTo>
                        <a:lnTo>
                          <a:pt x="13" y="8"/>
                        </a:lnTo>
                        <a:lnTo>
                          <a:pt x="30" y="10"/>
                        </a:lnTo>
                        <a:lnTo>
                          <a:pt x="35" y="3"/>
                        </a:lnTo>
                        <a:lnTo>
                          <a:pt x="43" y="0"/>
                        </a:lnTo>
                        <a:lnTo>
                          <a:pt x="65" y="2"/>
                        </a:lnTo>
                        <a:lnTo>
                          <a:pt x="71" y="3"/>
                        </a:lnTo>
                        <a:lnTo>
                          <a:pt x="71" y="10"/>
                        </a:lnTo>
                        <a:lnTo>
                          <a:pt x="71" y="13"/>
                        </a:lnTo>
                        <a:lnTo>
                          <a:pt x="71" y="20"/>
                        </a:lnTo>
                        <a:lnTo>
                          <a:pt x="73" y="23"/>
                        </a:lnTo>
                        <a:lnTo>
                          <a:pt x="73" y="26"/>
                        </a:lnTo>
                        <a:lnTo>
                          <a:pt x="70" y="30"/>
                        </a:lnTo>
                        <a:lnTo>
                          <a:pt x="61" y="30"/>
                        </a:lnTo>
                        <a:lnTo>
                          <a:pt x="55" y="35"/>
                        </a:lnTo>
                        <a:lnTo>
                          <a:pt x="50" y="35"/>
                        </a:lnTo>
                        <a:lnTo>
                          <a:pt x="46" y="40"/>
                        </a:lnTo>
                        <a:lnTo>
                          <a:pt x="41" y="41"/>
                        </a:lnTo>
                        <a:lnTo>
                          <a:pt x="40" y="40"/>
                        </a:lnTo>
                        <a:lnTo>
                          <a:pt x="40" y="36"/>
                        </a:lnTo>
                        <a:lnTo>
                          <a:pt x="30" y="38"/>
                        </a:lnTo>
                        <a:lnTo>
                          <a:pt x="35" y="31"/>
                        </a:lnTo>
                        <a:lnTo>
                          <a:pt x="33" y="31"/>
                        </a:lnTo>
                        <a:lnTo>
                          <a:pt x="35" y="30"/>
                        </a:lnTo>
                        <a:lnTo>
                          <a:pt x="31" y="28"/>
                        </a:lnTo>
                        <a:lnTo>
                          <a:pt x="28" y="28"/>
                        </a:lnTo>
                        <a:lnTo>
                          <a:pt x="26" y="25"/>
                        </a:lnTo>
                        <a:lnTo>
                          <a:pt x="38" y="25"/>
                        </a:lnTo>
                        <a:lnTo>
                          <a:pt x="41" y="25"/>
                        </a:lnTo>
                        <a:lnTo>
                          <a:pt x="35" y="21"/>
                        </a:lnTo>
                        <a:lnTo>
                          <a:pt x="28" y="21"/>
                        </a:lnTo>
                        <a:lnTo>
                          <a:pt x="21" y="23"/>
                        </a:lnTo>
                        <a:lnTo>
                          <a:pt x="20" y="23"/>
                        </a:lnTo>
                        <a:lnTo>
                          <a:pt x="18" y="21"/>
                        </a:lnTo>
                        <a:lnTo>
                          <a:pt x="13" y="21"/>
                        </a:lnTo>
                        <a:lnTo>
                          <a:pt x="8" y="16"/>
                        </a:lnTo>
                        <a:lnTo>
                          <a:pt x="13" y="13"/>
                        </a:lnTo>
                        <a:lnTo>
                          <a:pt x="10" y="13"/>
                        </a:lnTo>
                        <a:lnTo>
                          <a:pt x="2" y="13"/>
                        </a:lnTo>
                        <a:lnTo>
                          <a:pt x="0" y="10"/>
                        </a:lnTo>
                        <a:lnTo>
                          <a:pt x="0" y="10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76" name="Google Shape;3028;p98">
                    <a:extLst>
                      <a:ext uri="{FF2B5EF4-FFF2-40B4-BE49-F238E27FC236}">
                        <a16:creationId xmlns:a16="http://schemas.microsoft.com/office/drawing/2014/main" id="{CDFDAD20-E002-0213-F9B2-6182DE66609C}"/>
                      </a:ext>
                    </a:extLst>
                  </p:cNvPr>
                  <p:cNvSpPr/>
                  <p:nvPr/>
                </p:nvSpPr>
                <p:spPr>
                  <a:xfrm>
                    <a:off x="6228791" y="3122377"/>
                    <a:ext cx="92041" cy="7885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73" h="152" extrusionOk="0">
                        <a:moveTo>
                          <a:pt x="0" y="38"/>
                        </a:moveTo>
                        <a:lnTo>
                          <a:pt x="4" y="33"/>
                        </a:lnTo>
                        <a:lnTo>
                          <a:pt x="9" y="33"/>
                        </a:lnTo>
                        <a:lnTo>
                          <a:pt x="15" y="28"/>
                        </a:lnTo>
                        <a:lnTo>
                          <a:pt x="24" y="28"/>
                        </a:lnTo>
                        <a:lnTo>
                          <a:pt x="27" y="24"/>
                        </a:lnTo>
                        <a:lnTo>
                          <a:pt x="27" y="21"/>
                        </a:lnTo>
                        <a:lnTo>
                          <a:pt x="25" y="18"/>
                        </a:lnTo>
                        <a:lnTo>
                          <a:pt x="25" y="11"/>
                        </a:lnTo>
                        <a:lnTo>
                          <a:pt x="25" y="8"/>
                        </a:lnTo>
                        <a:lnTo>
                          <a:pt x="25" y="0"/>
                        </a:lnTo>
                        <a:lnTo>
                          <a:pt x="30" y="0"/>
                        </a:lnTo>
                        <a:lnTo>
                          <a:pt x="45" y="0"/>
                        </a:lnTo>
                        <a:lnTo>
                          <a:pt x="55" y="4"/>
                        </a:lnTo>
                        <a:lnTo>
                          <a:pt x="58" y="6"/>
                        </a:lnTo>
                        <a:lnTo>
                          <a:pt x="67" y="6"/>
                        </a:lnTo>
                        <a:lnTo>
                          <a:pt x="73" y="9"/>
                        </a:lnTo>
                        <a:lnTo>
                          <a:pt x="78" y="8"/>
                        </a:lnTo>
                        <a:lnTo>
                          <a:pt x="83" y="8"/>
                        </a:lnTo>
                        <a:lnTo>
                          <a:pt x="85" y="9"/>
                        </a:lnTo>
                        <a:lnTo>
                          <a:pt x="90" y="9"/>
                        </a:lnTo>
                        <a:lnTo>
                          <a:pt x="90" y="14"/>
                        </a:lnTo>
                        <a:lnTo>
                          <a:pt x="93" y="14"/>
                        </a:lnTo>
                        <a:lnTo>
                          <a:pt x="98" y="13"/>
                        </a:lnTo>
                        <a:lnTo>
                          <a:pt x="102" y="14"/>
                        </a:lnTo>
                        <a:lnTo>
                          <a:pt x="107" y="18"/>
                        </a:lnTo>
                        <a:lnTo>
                          <a:pt x="113" y="18"/>
                        </a:lnTo>
                        <a:lnTo>
                          <a:pt x="118" y="14"/>
                        </a:lnTo>
                        <a:lnTo>
                          <a:pt x="122" y="14"/>
                        </a:lnTo>
                        <a:lnTo>
                          <a:pt x="127" y="8"/>
                        </a:lnTo>
                        <a:lnTo>
                          <a:pt x="132" y="8"/>
                        </a:lnTo>
                        <a:lnTo>
                          <a:pt x="137" y="11"/>
                        </a:lnTo>
                        <a:lnTo>
                          <a:pt x="140" y="9"/>
                        </a:lnTo>
                        <a:lnTo>
                          <a:pt x="143" y="8"/>
                        </a:lnTo>
                        <a:lnTo>
                          <a:pt x="145" y="9"/>
                        </a:lnTo>
                        <a:lnTo>
                          <a:pt x="150" y="14"/>
                        </a:lnTo>
                        <a:lnTo>
                          <a:pt x="152" y="18"/>
                        </a:lnTo>
                        <a:lnTo>
                          <a:pt x="150" y="24"/>
                        </a:lnTo>
                        <a:lnTo>
                          <a:pt x="153" y="26"/>
                        </a:lnTo>
                        <a:lnTo>
                          <a:pt x="158" y="28"/>
                        </a:lnTo>
                        <a:lnTo>
                          <a:pt x="158" y="29"/>
                        </a:lnTo>
                        <a:lnTo>
                          <a:pt x="155" y="36"/>
                        </a:lnTo>
                        <a:lnTo>
                          <a:pt x="152" y="41"/>
                        </a:lnTo>
                        <a:lnTo>
                          <a:pt x="156" y="41"/>
                        </a:lnTo>
                        <a:lnTo>
                          <a:pt x="158" y="38"/>
                        </a:lnTo>
                        <a:lnTo>
                          <a:pt x="161" y="38"/>
                        </a:lnTo>
                        <a:lnTo>
                          <a:pt x="161" y="41"/>
                        </a:lnTo>
                        <a:lnTo>
                          <a:pt x="163" y="44"/>
                        </a:lnTo>
                        <a:lnTo>
                          <a:pt x="163" y="48"/>
                        </a:lnTo>
                        <a:lnTo>
                          <a:pt x="170" y="48"/>
                        </a:lnTo>
                        <a:lnTo>
                          <a:pt x="171" y="49"/>
                        </a:lnTo>
                        <a:lnTo>
                          <a:pt x="173" y="53"/>
                        </a:lnTo>
                        <a:lnTo>
                          <a:pt x="170" y="54"/>
                        </a:lnTo>
                        <a:lnTo>
                          <a:pt x="161" y="56"/>
                        </a:lnTo>
                        <a:lnTo>
                          <a:pt x="161" y="61"/>
                        </a:lnTo>
                        <a:lnTo>
                          <a:pt x="163" y="63"/>
                        </a:lnTo>
                        <a:lnTo>
                          <a:pt x="165" y="73"/>
                        </a:lnTo>
                        <a:lnTo>
                          <a:pt x="163" y="76"/>
                        </a:lnTo>
                        <a:lnTo>
                          <a:pt x="163" y="83"/>
                        </a:lnTo>
                        <a:lnTo>
                          <a:pt x="166" y="84"/>
                        </a:lnTo>
                        <a:lnTo>
                          <a:pt x="170" y="89"/>
                        </a:lnTo>
                        <a:lnTo>
                          <a:pt x="168" y="93"/>
                        </a:lnTo>
                        <a:lnTo>
                          <a:pt x="165" y="91"/>
                        </a:lnTo>
                        <a:lnTo>
                          <a:pt x="161" y="93"/>
                        </a:lnTo>
                        <a:lnTo>
                          <a:pt x="161" y="96"/>
                        </a:lnTo>
                        <a:lnTo>
                          <a:pt x="166" y="101"/>
                        </a:lnTo>
                        <a:lnTo>
                          <a:pt x="168" y="102"/>
                        </a:lnTo>
                        <a:lnTo>
                          <a:pt x="168" y="107"/>
                        </a:lnTo>
                        <a:lnTo>
                          <a:pt x="161" y="121"/>
                        </a:lnTo>
                        <a:lnTo>
                          <a:pt x="156" y="121"/>
                        </a:lnTo>
                        <a:lnTo>
                          <a:pt x="155" y="124"/>
                        </a:lnTo>
                        <a:lnTo>
                          <a:pt x="156" y="127"/>
                        </a:lnTo>
                        <a:lnTo>
                          <a:pt x="153" y="136"/>
                        </a:lnTo>
                        <a:lnTo>
                          <a:pt x="150" y="139"/>
                        </a:lnTo>
                        <a:lnTo>
                          <a:pt x="150" y="142"/>
                        </a:lnTo>
                        <a:lnTo>
                          <a:pt x="113" y="152"/>
                        </a:lnTo>
                        <a:lnTo>
                          <a:pt x="105" y="147"/>
                        </a:lnTo>
                        <a:lnTo>
                          <a:pt x="100" y="147"/>
                        </a:lnTo>
                        <a:lnTo>
                          <a:pt x="95" y="139"/>
                        </a:lnTo>
                        <a:lnTo>
                          <a:pt x="90" y="137"/>
                        </a:lnTo>
                        <a:lnTo>
                          <a:pt x="92" y="134"/>
                        </a:lnTo>
                        <a:lnTo>
                          <a:pt x="92" y="134"/>
                        </a:lnTo>
                        <a:lnTo>
                          <a:pt x="102" y="127"/>
                        </a:lnTo>
                        <a:lnTo>
                          <a:pt x="103" y="99"/>
                        </a:lnTo>
                        <a:lnTo>
                          <a:pt x="105" y="96"/>
                        </a:lnTo>
                        <a:lnTo>
                          <a:pt x="102" y="94"/>
                        </a:lnTo>
                        <a:lnTo>
                          <a:pt x="102" y="91"/>
                        </a:lnTo>
                        <a:lnTo>
                          <a:pt x="105" y="89"/>
                        </a:lnTo>
                        <a:lnTo>
                          <a:pt x="105" y="86"/>
                        </a:lnTo>
                        <a:lnTo>
                          <a:pt x="100" y="81"/>
                        </a:lnTo>
                        <a:lnTo>
                          <a:pt x="102" y="78"/>
                        </a:lnTo>
                        <a:lnTo>
                          <a:pt x="95" y="68"/>
                        </a:lnTo>
                        <a:lnTo>
                          <a:pt x="93" y="64"/>
                        </a:lnTo>
                        <a:lnTo>
                          <a:pt x="90" y="59"/>
                        </a:lnTo>
                        <a:lnTo>
                          <a:pt x="68" y="59"/>
                        </a:lnTo>
                        <a:lnTo>
                          <a:pt x="62" y="61"/>
                        </a:lnTo>
                        <a:lnTo>
                          <a:pt x="58" y="64"/>
                        </a:lnTo>
                        <a:lnTo>
                          <a:pt x="52" y="71"/>
                        </a:lnTo>
                        <a:lnTo>
                          <a:pt x="52" y="73"/>
                        </a:lnTo>
                        <a:lnTo>
                          <a:pt x="45" y="78"/>
                        </a:lnTo>
                        <a:lnTo>
                          <a:pt x="40" y="78"/>
                        </a:lnTo>
                        <a:lnTo>
                          <a:pt x="37" y="74"/>
                        </a:lnTo>
                        <a:lnTo>
                          <a:pt x="30" y="71"/>
                        </a:lnTo>
                        <a:lnTo>
                          <a:pt x="29" y="64"/>
                        </a:lnTo>
                        <a:lnTo>
                          <a:pt x="24" y="64"/>
                        </a:lnTo>
                        <a:lnTo>
                          <a:pt x="22" y="63"/>
                        </a:lnTo>
                        <a:lnTo>
                          <a:pt x="22" y="59"/>
                        </a:lnTo>
                        <a:lnTo>
                          <a:pt x="24" y="58"/>
                        </a:lnTo>
                        <a:lnTo>
                          <a:pt x="20" y="56"/>
                        </a:lnTo>
                        <a:lnTo>
                          <a:pt x="17" y="59"/>
                        </a:lnTo>
                        <a:lnTo>
                          <a:pt x="14" y="58"/>
                        </a:lnTo>
                        <a:lnTo>
                          <a:pt x="9" y="58"/>
                        </a:lnTo>
                        <a:lnTo>
                          <a:pt x="2" y="49"/>
                        </a:lnTo>
                        <a:lnTo>
                          <a:pt x="5" y="43"/>
                        </a:lnTo>
                        <a:lnTo>
                          <a:pt x="0" y="38"/>
                        </a:lnTo>
                        <a:lnTo>
                          <a:pt x="0" y="38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77" name="Google Shape;3029;p98">
                    <a:extLst>
                      <a:ext uri="{FF2B5EF4-FFF2-40B4-BE49-F238E27FC236}">
                        <a16:creationId xmlns:a16="http://schemas.microsoft.com/office/drawing/2014/main" id="{EFD610B1-0283-ECA8-0DD0-EFC1E1CFC3FB}"/>
                      </a:ext>
                    </a:extLst>
                  </p:cNvPr>
                  <p:cNvSpPr/>
                  <p:nvPr/>
                </p:nvSpPr>
                <p:spPr>
                  <a:xfrm>
                    <a:off x="6249125" y="3153505"/>
                    <a:ext cx="35318" cy="3839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6" h="75" extrusionOk="0">
                        <a:moveTo>
                          <a:pt x="18" y="63"/>
                        </a:moveTo>
                        <a:lnTo>
                          <a:pt x="16" y="60"/>
                        </a:lnTo>
                        <a:lnTo>
                          <a:pt x="15" y="58"/>
                        </a:lnTo>
                        <a:lnTo>
                          <a:pt x="13" y="58"/>
                        </a:lnTo>
                        <a:lnTo>
                          <a:pt x="11" y="60"/>
                        </a:lnTo>
                        <a:lnTo>
                          <a:pt x="13" y="62"/>
                        </a:lnTo>
                        <a:lnTo>
                          <a:pt x="15" y="63"/>
                        </a:lnTo>
                        <a:lnTo>
                          <a:pt x="18" y="63"/>
                        </a:lnTo>
                        <a:lnTo>
                          <a:pt x="18" y="63"/>
                        </a:lnTo>
                        <a:close/>
                        <a:moveTo>
                          <a:pt x="1" y="19"/>
                        </a:moveTo>
                        <a:lnTo>
                          <a:pt x="6" y="19"/>
                        </a:lnTo>
                        <a:lnTo>
                          <a:pt x="13" y="14"/>
                        </a:lnTo>
                        <a:lnTo>
                          <a:pt x="13" y="12"/>
                        </a:lnTo>
                        <a:lnTo>
                          <a:pt x="19" y="5"/>
                        </a:lnTo>
                        <a:lnTo>
                          <a:pt x="23" y="2"/>
                        </a:lnTo>
                        <a:lnTo>
                          <a:pt x="29" y="0"/>
                        </a:lnTo>
                        <a:lnTo>
                          <a:pt x="51" y="0"/>
                        </a:lnTo>
                        <a:lnTo>
                          <a:pt x="54" y="5"/>
                        </a:lnTo>
                        <a:lnTo>
                          <a:pt x="56" y="9"/>
                        </a:lnTo>
                        <a:lnTo>
                          <a:pt x="63" y="19"/>
                        </a:lnTo>
                        <a:lnTo>
                          <a:pt x="61" y="22"/>
                        </a:lnTo>
                        <a:lnTo>
                          <a:pt x="66" y="27"/>
                        </a:lnTo>
                        <a:lnTo>
                          <a:pt x="66" y="30"/>
                        </a:lnTo>
                        <a:lnTo>
                          <a:pt x="63" y="32"/>
                        </a:lnTo>
                        <a:lnTo>
                          <a:pt x="63" y="35"/>
                        </a:lnTo>
                        <a:lnTo>
                          <a:pt x="66" y="37"/>
                        </a:lnTo>
                        <a:lnTo>
                          <a:pt x="64" y="40"/>
                        </a:lnTo>
                        <a:lnTo>
                          <a:pt x="63" y="68"/>
                        </a:lnTo>
                        <a:lnTo>
                          <a:pt x="53" y="75"/>
                        </a:lnTo>
                        <a:lnTo>
                          <a:pt x="49" y="73"/>
                        </a:lnTo>
                        <a:lnTo>
                          <a:pt x="41" y="73"/>
                        </a:lnTo>
                        <a:lnTo>
                          <a:pt x="28" y="67"/>
                        </a:lnTo>
                        <a:lnTo>
                          <a:pt x="21" y="67"/>
                        </a:lnTo>
                        <a:lnTo>
                          <a:pt x="23" y="63"/>
                        </a:lnTo>
                        <a:lnTo>
                          <a:pt x="19" y="60"/>
                        </a:lnTo>
                        <a:lnTo>
                          <a:pt x="16" y="57"/>
                        </a:lnTo>
                        <a:lnTo>
                          <a:pt x="19" y="53"/>
                        </a:lnTo>
                        <a:lnTo>
                          <a:pt x="18" y="52"/>
                        </a:lnTo>
                        <a:lnTo>
                          <a:pt x="15" y="53"/>
                        </a:lnTo>
                        <a:lnTo>
                          <a:pt x="8" y="48"/>
                        </a:lnTo>
                        <a:lnTo>
                          <a:pt x="8" y="43"/>
                        </a:lnTo>
                        <a:lnTo>
                          <a:pt x="6" y="37"/>
                        </a:lnTo>
                        <a:lnTo>
                          <a:pt x="1" y="37"/>
                        </a:lnTo>
                        <a:lnTo>
                          <a:pt x="0" y="34"/>
                        </a:lnTo>
                        <a:lnTo>
                          <a:pt x="3" y="27"/>
                        </a:lnTo>
                        <a:lnTo>
                          <a:pt x="0" y="25"/>
                        </a:lnTo>
                        <a:lnTo>
                          <a:pt x="0" y="22"/>
                        </a:lnTo>
                        <a:lnTo>
                          <a:pt x="3" y="19"/>
                        </a:lnTo>
                        <a:lnTo>
                          <a:pt x="1" y="19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78" name="Google Shape;3030;p98">
                    <a:extLst>
                      <a:ext uri="{FF2B5EF4-FFF2-40B4-BE49-F238E27FC236}">
                        <a16:creationId xmlns:a16="http://schemas.microsoft.com/office/drawing/2014/main" id="{660BF94B-9E1C-BC4A-182C-BA88504CB8BB}"/>
                      </a:ext>
                    </a:extLst>
                  </p:cNvPr>
                  <p:cNvSpPr/>
                  <p:nvPr/>
                </p:nvSpPr>
                <p:spPr>
                  <a:xfrm>
                    <a:off x="6271601" y="3170106"/>
                    <a:ext cx="52442" cy="4980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8" h="94" extrusionOk="0">
                        <a:moveTo>
                          <a:pt x="0" y="39"/>
                        </a:moveTo>
                        <a:lnTo>
                          <a:pt x="1" y="36"/>
                        </a:lnTo>
                        <a:lnTo>
                          <a:pt x="3" y="31"/>
                        </a:lnTo>
                        <a:lnTo>
                          <a:pt x="10" y="28"/>
                        </a:lnTo>
                        <a:lnTo>
                          <a:pt x="15" y="23"/>
                        </a:lnTo>
                        <a:lnTo>
                          <a:pt x="15" y="19"/>
                        </a:lnTo>
                        <a:lnTo>
                          <a:pt x="16" y="13"/>
                        </a:lnTo>
                        <a:lnTo>
                          <a:pt x="20" y="11"/>
                        </a:lnTo>
                        <a:lnTo>
                          <a:pt x="20" y="9"/>
                        </a:lnTo>
                        <a:lnTo>
                          <a:pt x="21" y="5"/>
                        </a:lnTo>
                        <a:lnTo>
                          <a:pt x="28" y="1"/>
                        </a:lnTo>
                        <a:lnTo>
                          <a:pt x="30" y="3"/>
                        </a:lnTo>
                        <a:lnTo>
                          <a:pt x="40" y="0"/>
                        </a:lnTo>
                        <a:lnTo>
                          <a:pt x="45" y="1"/>
                        </a:lnTo>
                        <a:lnTo>
                          <a:pt x="48" y="6"/>
                        </a:lnTo>
                        <a:lnTo>
                          <a:pt x="51" y="9"/>
                        </a:lnTo>
                        <a:lnTo>
                          <a:pt x="51" y="18"/>
                        </a:lnTo>
                        <a:lnTo>
                          <a:pt x="51" y="23"/>
                        </a:lnTo>
                        <a:lnTo>
                          <a:pt x="56" y="28"/>
                        </a:lnTo>
                        <a:lnTo>
                          <a:pt x="60" y="28"/>
                        </a:lnTo>
                        <a:lnTo>
                          <a:pt x="66" y="23"/>
                        </a:lnTo>
                        <a:lnTo>
                          <a:pt x="70" y="23"/>
                        </a:lnTo>
                        <a:lnTo>
                          <a:pt x="73" y="26"/>
                        </a:lnTo>
                        <a:lnTo>
                          <a:pt x="74" y="29"/>
                        </a:lnTo>
                        <a:lnTo>
                          <a:pt x="73" y="31"/>
                        </a:lnTo>
                        <a:lnTo>
                          <a:pt x="74" y="34"/>
                        </a:lnTo>
                        <a:lnTo>
                          <a:pt x="71" y="43"/>
                        </a:lnTo>
                        <a:lnTo>
                          <a:pt x="68" y="46"/>
                        </a:lnTo>
                        <a:lnTo>
                          <a:pt x="70" y="51"/>
                        </a:lnTo>
                        <a:lnTo>
                          <a:pt x="73" y="53"/>
                        </a:lnTo>
                        <a:lnTo>
                          <a:pt x="74" y="51"/>
                        </a:lnTo>
                        <a:lnTo>
                          <a:pt x="79" y="51"/>
                        </a:lnTo>
                        <a:lnTo>
                          <a:pt x="81" y="54"/>
                        </a:lnTo>
                        <a:lnTo>
                          <a:pt x="84" y="54"/>
                        </a:lnTo>
                        <a:lnTo>
                          <a:pt x="88" y="54"/>
                        </a:lnTo>
                        <a:lnTo>
                          <a:pt x="89" y="59"/>
                        </a:lnTo>
                        <a:lnTo>
                          <a:pt x="93" y="61"/>
                        </a:lnTo>
                        <a:lnTo>
                          <a:pt x="96" y="61"/>
                        </a:lnTo>
                        <a:lnTo>
                          <a:pt x="98" y="66"/>
                        </a:lnTo>
                        <a:lnTo>
                          <a:pt x="94" y="68"/>
                        </a:lnTo>
                        <a:lnTo>
                          <a:pt x="96" y="71"/>
                        </a:lnTo>
                        <a:lnTo>
                          <a:pt x="94" y="74"/>
                        </a:lnTo>
                        <a:lnTo>
                          <a:pt x="93" y="78"/>
                        </a:lnTo>
                        <a:lnTo>
                          <a:pt x="94" y="81"/>
                        </a:lnTo>
                        <a:lnTo>
                          <a:pt x="93" y="86"/>
                        </a:lnTo>
                        <a:lnTo>
                          <a:pt x="94" y="89"/>
                        </a:lnTo>
                        <a:lnTo>
                          <a:pt x="94" y="94"/>
                        </a:lnTo>
                        <a:lnTo>
                          <a:pt x="71" y="88"/>
                        </a:lnTo>
                        <a:lnTo>
                          <a:pt x="53" y="74"/>
                        </a:lnTo>
                        <a:lnTo>
                          <a:pt x="48" y="74"/>
                        </a:lnTo>
                        <a:lnTo>
                          <a:pt x="33" y="61"/>
                        </a:lnTo>
                        <a:lnTo>
                          <a:pt x="23" y="54"/>
                        </a:lnTo>
                        <a:lnTo>
                          <a:pt x="18" y="54"/>
                        </a:lnTo>
                        <a:lnTo>
                          <a:pt x="13" y="46"/>
                        </a:lnTo>
                        <a:lnTo>
                          <a:pt x="8" y="44"/>
                        </a:lnTo>
                        <a:lnTo>
                          <a:pt x="10" y="41"/>
                        </a:lnTo>
                        <a:lnTo>
                          <a:pt x="6" y="39"/>
                        </a:lnTo>
                        <a:lnTo>
                          <a:pt x="0" y="39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79" name="Google Shape;3031;p98">
                    <a:extLst>
                      <a:ext uri="{FF2B5EF4-FFF2-40B4-BE49-F238E27FC236}">
                        <a16:creationId xmlns:a16="http://schemas.microsoft.com/office/drawing/2014/main" id="{A94D8113-2B4F-9625-9870-AFB6F8857785}"/>
                      </a:ext>
                    </a:extLst>
                  </p:cNvPr>
                  <p:cNvSpPr/>
                  <p:nvPr/>
                </p:nvSpPr>
                <p:spPr>
                  <a:xfrm>
                    <a:off x="6307989" y="3146241"/>
                    <a:ext cx="81339" cy="7366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1" h="143" extrusionOk="0">
                        <a:moveTo>
                          <a:pt x="26" y="141"/>
                        </a:moveTo>
                        <a:lnTo>
                          <a:pt x="26" y="136"/>
                        </a:lnTo>
                        <a:lnTo>
                          <a:pt x="25" y="133"/>
                        </a:lnTo>
                        <a:lnTo>
                          <a:pt x="26" y="128"/>
                        </a:lnTo>
                        <a:lnTo>
                          <a:pt x="25" y="125"/>
                        </a:lnTo>
                        <a:lnTo>
                          <a:pt x="26" y="121"/>
                        </a:lnTo>
                        <a:lnTo>
                          <a:pt x="28" y="118"/>
                        </a:lnTo>
                        <a:lnTo>
                          <a:pt x="26" y="115"/>
                        </a:lnTo>
                        <a:lnTo>
                          <a:pt x="30" y="113"/>
                        </a:lnTo>
                        <a:lnTo>
                          <a:pt x="28" y="108"/>
                        </a:lnTo>
                        <a:lnTo>
                          <a:pt x="25" y="108"/>
                        </a:lnTo>
                        <a:lnTo>
                          <a:pt x="21" y="106"/>
                        </a:lnTo>
                        <a:lnTo>
                          <a:pt x="20" y="101"/>
                        </a:lnTo>
                        <a:lnTo>
                          <a:pt x="16" y="101"/>
                        </a:lnTo>
                        <a:lnTo>
                          <a:pt x="13" y="101"/>
                        </a:lnTo>
                        <a:lnTo>
                          <a:pt x="11" y="98"/>
                        </a:lnTo>
                        <a:lnTo>
                          <a:pt x="6" y="98"/>
                        </a:lnTo>
                        <a:lnTo>
                          <a:pt x="5" y="100"/>
                        </a:lnTo>
                        <a:lnTo>
                          <a:pt x="2" y="98"/>
                        </a:lnTo>
                        <a:lnTo>
                          <a:pt x="0" y="93"/>
                        </a:lnTo>
                        <a:lnTo>
                          <a:pt x="3" y="90"/>
                        </a:lnTo>
                        <a:lnTo>
                          <a:pt x="6" y="81"/>
                        </a:lnTo>
                        <a:lnTo>
                          <a:pt x="5" y="78"/>
                        </a:lnTo>
                        <a:lnTo>
                          <a:pt x="6" y="75"/>
                        </a:lnTo>
                        <a:lnTo>
                          <a:pt x="11" y="75"/>
                        </a:lnTo>
                        <a:lnTo>
                          <a:pt x="18" y="61"/>
                        </a:lnTo>
                        <a:lnTo>
                          <a:pt x="18" y="56"/>
                        </a:lnTo>
                        <a:lnTo>
                          <a:pt x="16" y="55"/>
                        </a:lnTo>
                        <a:lnTo>
                          <a:pt x="11" y="50"/>
                        </a:lnTo>
                        <a:lnTo>
                          <a:pt x="11" y="47"/>
                        </a:lnTo>
                        <a:lnTo>
                          <a:pt x="15" y="45"/>
                        </a:lnTo>
                        <a:lnTo>
                          <a:pt x="18" y="47"/>
                        </a:lnTo>
                        <a:lnTo>
                          <a:pt x="20" y="43"/>
                        </a:lnTo>
                        <a:lnTo>
                          <a:pt x="16" y="38"/>
                        </a:lnTo>
                        <a:lnTo>
                          <a:pt x="13" y="37"/>
                        </a:lnTo>
                        <a:lnTo>
                          <a:pt x="13" y="30"/>
                        </a:lnTo>
                        <a:lnTo>
                          <a:pt x="15" y="27"/>
                        </a:lnTo>
                        <a:lnTo>
                          <a:pt x="13" y="17"/>
                        </a:lnTo>
                        <a:lnTo>
                          <a:pt x="11" y="15"/>
                        </a:lnTo>
                        <a:lnTo>
                          <a:pt x="11" y="10"/>
                        </a:lnTo>
                        <a:lnTo>
                          <a:pt x="20" y="8"/>
                        </a:lnTo>
                        <a:lnTo>
                          <a:pt x="30" y="3"/>
                        </a:lnTo>
                        <a:lnTo>
                          <a:pt x="33" y="3"/>
                        </a:lnTo>
                        <a:lnTo>
                          <a:pt x="38" y="5"/>
                        </a:lnTo>
                        <a:lnTo>
                          <a:pt x="48" y="7"/>
                        </a:lnTo>
                        <a:lnTo>
                          <a:pt x="50" y="5"/>
                        </a:lnTo>
                        <a:lnTo>
                          <a:pt x="50" y="2"/>
                        </a:lnTo>
                        <a:lnTo>
                          <a:pt x="58" y="2"/>
                        </a:lnTo>
                        <a:lnTo>
                          <a:pt x="65" y="2"/>
                        </a:lnTo>
                        <a:lnTo>
                          <a:pt x="63" y="3"/>
                        </a:lnTo>
                        <a:lnTo>
                          <a:pt x="65" y="5"/>
                        </a:lnTo>
                        <a:lnTo>
                          <a:pt x="73" y="8"/>
                        </a:lnTo>
                        <a:lnTo>
                          <a:pt x="78" y="2"/>
                        </a:lnTo>
                        <a:lnTo>
                          <a:pt x="81" y="0"/>
                        </a:lnTo>
                        <a:lnTo>
                          <a:pt x="88" y="5"/>
                        </a:lnTo>
                        <a:lnTo>
                          <a:pt x="98" y="8"/>
                        </a:lnTo>
                        <a:lnTo>
                          <a:pt x="101" y="8"/>
                        </a:lnTo>
                        <a:lnTo>
                          <a:pt x="103" y="10"/>
                        </a:lnTo>
                        <a:lnTo>
                          <a:pt x="108" y="10"/>
                        </a:lnTo>
                        <a:lnTo>
                          <a:pt x="113" y="13"/>
                        </a:lnTo>
                        <a:lnTo>
                          <a:pt x="114" y="17"/>
                        </a:lnTo>
                        <a:lnTo>
                          <a:pt x="123" y="20"/>
                        </a:lnTo>
                        <a:lnTo>
                          <a:pt x="128" y="18"/>
                        </a:lnTo>
                        <a:lnTo>
                          <a:pt x="133" y="15"/>
                        </a:lnTo>
                        <a:lnTo>
                          <a:pt x="136" y="17"/>
                        </a:lnTo>
                        <a:lnTo>
                          <a:pt x="139" y="18"/>
                        </a:lnTo>
                        <a:lnTo>
                          <a:pt x="144" y="18"/>
                        </a:lnTo>
                        <a:lnTo>
                          <a:pt x="144" y="20"/>
                        </a:lnTo>
                        <a:lnTo>
                          <a:pt x="143" y="27"/>
                        </a:lnTo>
                        <a:lnTo>
                          <a:pt x="144" y="32"/>
                        </a:lnTo>
                        <a:lnTo>
                          <a:pt x="144" y="37"/>
                        </a:lnTo>
                        <a:lnTo>
                          <a:pt x="149" y="38"/>
                        </a:lnTo>
                        <a:lnTo>
                          <a:pt x="151" y="45"/>
                        </a:lnTo>
                        <a:lnTo>
                          <a:pt x="149" y="50"/>
                        </a:lnTo>
                        <a:lnTo>
                          <a:pt x="149" y="53"/>
                        </a:lnTo>
                        <a:lnTo>
                          <a:pt x="144" y="56"/>
                        </a:lnTo>
                        <a:lnTo>
                          <a:pt x="136" y="66"/>
                        </a:lnTo>
                        <a:lnTo>
                          <a:pt x="136" y="71"/>
                        </a:lnTo>
                        <a:lnTo>
                          <a:pt x="134" y="75"/>
                        </a:lnTo>
                        <a:lnTo>
                          <a:pt x="134" y="80"/>
                        </a:lnTo>
                        <a:lnTo>
                          <a:pt x="133" y="83"/>
                        </a:lnTo>
                        <a:lnTo>
                          <a:pt x="133" y="91"/>
                        </a:lnTo>
                        <a:lnTo>
                          <a:pt x="129" y="93"/>
                        </a:lnTo>
                        <a:lnTo>
                          <a:pt x="129" y="95"/>
                        </a:lnTo>
                        <a:lnTo>
                          <a:pt x="133" y="98"/>
                        </a:lnTo>
                        <a:lnTo>
                          <a:pt x="136" y="106"/>
                        </a:lnTo>
                        <a:lnTo>
                          <a:pt x="138" y="111"/>
                        </a:lnTo>
                        <a:lnTo>
                          <a:pt x="143" y="113"/>
                        </a:lnTo>
                        <a:lnTo>
                          <a:pt x="144" y="116"/>
                        </a:lnTo>
                        <a:lnTo>
                          <a:pt x="144" y="123"/>
                        </a:lnTo>
                        <a:lnTo>
                          <a:pt x="141" y="123"/>
                        </a:lnTo>
                        <a:lnTo>
                          <a:pt x="136" y="123"/>
                        </a:lnTo>
                        <a:lnTo>
                          <a:pt x="136" y="125"/>
                        </a:lnTo>
                        <a:lnTo>
                          <a:pt x="131" y="120"/>
                        </a:lnTo>
                        <a:lnTo>
                          <a:pt x="128" y="121"/>
                        </a:lnTo>
                        <a:lnTo>
                          <a:pt x="126" y="126"/>
                        </a:lnTo>
                        <a:lnTo>
                          <a:pt x="114" y="121"/>
                        </a:lnTo>
                        <a:lnTo>
                          <a:pt x="103" y="125"/>
                        </a:lnTo>
                        <a:lnTo>
                          <a:pt x="71" y="125"/>
                        </a:lnTo>
                        <a:lnTo>
                          <a:pt x="61" y="126"/>
                        </a:lnTo>
                        <a:lnTo>
                          <a:pt x="61" y="128"/>
                        </a:lnTo>
                        <a:lnTo>
                          <a:pt x="45" y="133"/>
                        </a:lnTo>
                        <a:lnTo>
                          <a:pt x="43" y="136"/>
                        </a:lnTo>
                        <a:lnTo>
                          <a:pt x="38" y="136"/>
                        </a:lnTo>
                        <a:lnTo>
                          <a:pt x="30" y="143"/>
                        </a:lnTo>
                        <a:lnTo>
                          <a:pt x="26" y="141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80" name="Google Shape;3032;p98">
                    <a:extLst>
                      <a:ext uri="{FF2B5EF4-FFF2-40B4-BE49-F238E27FC236}">
                        <a16:creationId xmlns:a16="http://schemas.microsoft.com/office/drawing/2014/main" id="{7DE2DDAF-A776-20D6-231D-0758BBA014D5}"/>
                      </a:ext>
                    </a:extLst>
                  </p:cNvPr>
                  <p:cNvSpPr/>
                  <p:nvPr/>
                </p:nvSpPr>
                <p:spPr>
                  <a:xfrm>
                    <a:off x="6377555" y="3138978"/>
                    <a:ext cx="55653" cy="7574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03" h="146" extrusionOk="0">
                        <a:moveTo>
                          <a:pt x="7" y="138"/>
                        </a:moveTo>
                        <a:lnTo>
                          <a:pt x="7" y="136"/>
                        </a:lnTo>
                        <a:lnTo>
                          <a:pt x="12" y="136"/>
                        </a:lnTo>
                        <a:lnTo>
                          <a:pt x="15" y="136"/>
                        </a:lnTo>
                        <a:lnTo>
                          <a:pt x="15" y="129"/>
                        </a:lnTo>
                        <a:lnTo>
                          <a:pt x="14" y="126"/>
                        </a:lnTo>
                        <a:lnTo>
                          <a:pt x="9" y="124"/>
                        </a:lnTo>
                        <a:lnTo>
                          <a:pt x="7" y="119"/>
                        </a:lnTo>
                        <a:lnTo>
                          <a:pt x="4" y="111"/>
                        </a:lnTo>
                        <a:lnTo>
                          <a:pt x="0" y="108"/>
                        </a:lnTo>
                        <a:lnTo>
                          <a:pt x="0" y="106"/>
                        </a:lnTo>
                        <a:lnTo>
                          <a:pt x="4" y="104"/>
                        </a:lnTo>
                        <a:lnTo>
                          <a:pt x="4" y="96"/>
                        </a:lnTo>
                        <a:lnTo>
                          <a:pt x="5" y="93"/>
                        </a:lnTo>
                        <a:lnTo>
                          <a:pt x="5" y="88"/>
                        </a:lnTo>
                        <a:lnTo>
                          <a:pt x="7" y="84"/>
                        </a:lnTo>
                        <a:lnTo>
                          <a:pt x="7" y="79"/>
                        </a:lnTo>
                        <a:lnTo>
                          <a:pt x="15" y="69"/>
                        </a:lnTo>
                        <a:lnTo>
                          <a:pt x="20" y="66"/>
                        </a:lnTo>
                        <a:lnTo>
                          <a:pt x="20" y="63"/>
                        </a:lnTo>
                        <a:lnTo>
                          <a:pt x="22" y="58"/>
                        </a:lnTo>
                        <a:lnTo>
                          <a:pt x="20" y="51"/>
                        </a:lnTo>
                        <a:lnTo>
                          <a:pt x="15" y="50"/>
                        </a:lnTo>
                        <a:lnTo>
                          <a:pt x="15" y="45"/>
                        </a:lnTo>
                        <a:lnTo>
                          <a:pt x="14" y="40"/>
                        </a:lnTo>
                        <a:lnTo>
                          <a:pt x="15" y="33"/>
                        </a:lnTo>
                        <a:lnTo>
                          <a:pt x="15" y="25"/>
                        </a:lnTo>
                        <a:lnTo>
                          <a:pt x="12" y="20"/>
                        </a:lnTo>
                        <a:lnTo>
                          <a:pt x="10" y="18"/>
                        </a:lnTo>
                        <a:lnTo>
                          <a:pt x="9" y="10"/>
                        </a:lnTo>
                        <a:lnTo>
                          <a:pt x="9" y="5"/>
                        </a:lnTo>
                        <a:lnTo>
                          <a:pt x="17" y="5"/>
                        </a:lnTo>
                        <a:lnTo>
                          <a:pt x="35" y="5"/>
                        </a:lnTo>
                        <a:lnTo>
                          <a:pt x="37" y="5"/>
                        </a:lnTo>
                        <a:lnTo>
                          <a:pt x="50" y="5"/>
                        </a:lnTo>
                        <a:lnTo>
                          <a:pt x="59" y="3"/>
                        </a:lnTo>
                        <a:lnTo>
                          <a:pt x="65" y="3"/>
                        </a:lnTo>
                        <a:lnTo>
                          <a:pt x="70" y="0"/>
                        </a:lnTo>
                        <a:lnTo>
                          <a:pt x="72" y="1"/>
                        </a:lnTo>
                        <a:lnTo>
                          <a:pt x="74" y="6"/>
                        </a:lnTo>
                        <a:lnTo>
                          <a:pt x="77" y="8"/>
                        </a:lnTo>
                        <a:lnTo>
                          <a:pt x="77" y="11"/>
                        </a:lnTo>
                        <a:lnTo>
                          <a:pt x="82" y="16"/>
                        </a:lnTo>
                        <a:lnTo>
                          <a:pt x="85" y="20"/>
                        </a:lnTo>
                        <a:lnTo>
                          <a:pt x="90" y="23"/>
                        </a:lnTo>
                        <a:lnTo>
                          <a:pt x="88" y="28"/>
                        </a:lnTo>
                        <a:lnTo>
                          <a:pt x="88" y="36"/>
                        </a:lnTo>
                        <a:lnTo>
                          <a:pt x="90" y="38"/>
                        </a:lnTo>
                        <a:lnTo>
                          <a:pt x="93" y="38"/>
                        </a:lnTo>
                        <a:lnTo>
                          <a:pt x="93" y="46"/>
                        </a:lnTo>
                        <a:lnTo>
                          <a:pt x="92" y="50"/>
                        </a:lnTo>
                        <a:lnTo>
                          <a:pt x="92" y="53"/>
                        </a:lnTo>
                        <a:lnTo>
                          <a:pt x="93" y="55"/>
                        </a:lnTo>
                        <a:lnTo>
                          <a:pt x="93" y="58"/>
                        </a:lnTo>
                        <a:lnTo>
                          <a:pt x="92" y="61"/>
                        </a:lnTo>
                        <a:lnTo>
                          <a:pt x="93" y="65"/>
                        </a:lnTo>
                        <a:lnTo>
                          <a:pt x="93" y="71"/>
                        </a:lnTo>
                        <a:lnTo>
                          <a:pt x="95" y="74"/>
                        </a:lnTo>
                        <a:lnTo>
                          <a:pt x="95" y="88"/>
                        </a:lnTo>
                        <a:lnTo>
                          <a:pt x="93" y="93"/>
                        </a:lnTo>
                        <a:lnTo>
                          <a:pt x="93" y="96"/>
                        </a:lnTo>
                        <a:lnTo>
                          <a:pt x="92" y="101"/>
                        </a:lnTo>
                        <a:lnTo>
                          <a:pt x="93" y="106"/>
                        </a:lnTo>
                        <a:lnTo>
                          <a:pt x="95" y="113"/>
                        </a:lnTo>
                        <a:lnTo>
                          <a:pt x="98" y="113"/>
                        </a:lnTo>
                        <a:lnTo>
                          <a:pt x="100" y="116"/>
                        </a:lnTo>
                        <a:lnTo>
                          <a:pt x="103" y="119"/>
                        </a:lnTo>
                        <a:lnTo>
                          <a:pt x="90" y="121"/>
                        </a:lnTo>
                        <a:lnTo>
                          <a:pt x="78" y="126"/>
                        </a:lnTo>
                        <a:lnTo>
                          <a:pt x="65" y="136"/>
                        </a:lnTo>
                        <a:lnTo>
                          <a:pt x="50" y="136"/>
                        </a:lnTo>
                        <a:lnTo>
                          <a:pt x="30" y="146"/>
                        </a:lnTo>
                        <a:lnTo>
                          <a:pt x="20" y="143"/>
                        </a:lnTo>
                        <a:lnTo>
                          <a:pt x="7" y="141"/>
                        </a:lnTo>
                        <a:lnTo>
                          <a:pt x="7" y="138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81" name="Google Shape;3033;p98">
                    <a:extLst>
                      <a:ext uri="{FF2B5EF4-FFF2-40B4-BE49-F238E27FC236}">
                        <a16:creationId xmlns:a16="http://schemas.microsoft.com/office/drawing/2014/main" id="{401BBBD1-3A43-DB4D-1627-80E2A6AED401}"/>
                      </a:ext>
                    </a:extLst>
                  </p:cNvPr>
                  <p:cNvSpPr/>
                  <p:nvPr/>
                </p:nvSpPr>
                <p:spPr>
                  <a:xfrm>
                    <a:off x="6416084" y="3138978"/>
                    <a:ext cx="26756" cy="6225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0" h="119" extrusionOk="0">
                        <a:moveTo>
                          <a:pt x="28" y="6"/>
                        </a:moveTo>
                        <a:lnTo>
                          <a:pt x="2" y="0"/>
                        </a:lnTo>
                        <a:lnTo>
                          <a:pt x="0" y="1"/>
                        </a:lnTo>
                        <a:lnTo>
                          <a:pt x="2" y="6"/>
                        </a:lnTo>
                        <a:lnTo>
                          <a:pt x="5" y="8"/>
                        </a:lnTo>
                        <a:lnTo>
                          <a:pt x="5" y="11"/>
                        </a:lnTo>
                        <a:lnTo>
                          <a:pt x="10" y="16"/>
                        </a:lnTo>
                        <a:lnTo>
                          <a:pt x="13" y="20"/>
                        </a:lnTo>
                        <a:lnTo>
                          <a:pt x="18" y="23"/>
                        </a:lnTo>
                        <a:lnTo>
                          <a:pt x="16" y="28"/>
                        </a:lnTo>
                        <a:lnTo>
                          <a:pt x="16" y="36"/>
                        </a:lnTo>
                        <a:lnTo>
                          <a:pt x="18" y="38"/>
                        </a:lnTo>
                        <a:lnTo>
                          <a:pt x="21" y="38"/>
                        </a:lnTo>
                        <a:lnTo>
                          <a:pt x="21" y="46"/>
                        </a:lnTo>
                        <a:lnTo>
                          <a:pt x="20" y="50"/>
                        </a:lnTo>
                        <a:lnTo>
                          <a:pt x="20" y="53"/>
                        </a:lnTo>
                        <a:lnTo>
                          <a:pt x="21" y="55"/>
                        </a:lnTo>
                        <a:lnTo>
                          <a:pt x="21" y="58"/>
                        </a:lnTo>
                        <a:lnTo>
                          <a:pt x="20" y="61"/>
                        </a:lnTo>
                        <a:lnTo>
                          <a:pt x="21" y="65"/>
                        </a:lnTo>
                        <a:lnTo>
                          <a:pt x="21" y="71"/>
                        </a:lnTo>
                        <a:lnTo>
                          <a:pt x="23" y="74"/>
                        </a:lnTo>
                        <a:lnTo>
                          <a:pt x="23" y="88"/>
                        </a:lnTo>
                        <a:lnTo>
                          <a:pt x="21" y="93"/>
                        </a:lnTo>
                        <a:lnTo>
                          <a:pt x="21" y="96"/>
                        </a:lnTo>
                        <a:lnTo>
                          <a:pt x="20" y="101"/>
                        </a:lnTo>
                        <a:lnTo>
                          <a:pt x="21" y="106"/>
                        </a:lnTo>
                        <a:lnTo>
                          <a:pt x="23" y="113"/>
                        </a:lnTo>
                        <a:lnTo>
                          <a:pt x="26" y="113"/>
                        </a:lnTo>
                        <a:lnTo>
                          <a:pt x="28" y="116"/>
                        </a:lnTo>
                        <a:lnTo>
                          <a:pt x="31" y="119"/>
                        </a:lnTo>
                        <a:lnTo>
                          <a:pt x="33" y="119"/>
                        </a:lnTo>
                        <a:lnTo>
                          <a:pt x="46" y="111"/>
                        </a:lnTo>
                        <a:lnTo>
                          <a:pt x="48" y="113"/>
                        </a:lnTo>
                        <a:lnTo>
                          <a:pt x="50" y="108"/>
                        </a:lnTo>
                        <a:lnTo>
                          <a:pt x="46" y="103"/>
                        </a:lnTo>
                        <a:lnTo>
                          <a:pt x="46" y="96"/>
                        </a:lnTo>
                        <a:lnTo>
                          <a:pt x="45" y="91"/>
                        </a:lnTo>
                        <a:lnTo>
                          <a:pt x="45" y="65"/>
                        </a:lnTo>
                        <a:lnTo>
                          <a:pt x="45" y="61"/>
                        </a:lnTo>
                        <a:lnTo>
                          <a:pt x="48" y="58"/>
                        </a:lnTo>
                        <a:lnTo>
                          <a:pt x="48" y="53"/>
                        </a:lnTo>
                        <a:lnTo>
                          <a:pt x="46" y="50"/>
                        </a:lnTo>
                        <a:lnTo>
                          <a:pt x="46" y="43"/>
                        </a:lnTo>
                        <a:lnTo>
                          <a:pt x="45" y="35"/>
                        </a:lnTo>
                        <a:lnTo>
                          <a:pt x="40" y="23"/>
                        </a:lnTo>
                        <a:lnTo>
                          <a:pt x="36" y="21"/>
                        </a:lnTo>
                        <a:lnTo>
                          <a:pt x="33" y="18"/>
                        </a:lnTo>
                        <a:lnTo>
                          <a:pt x="28" y="16"/>
                        </a:lnTo>
                        <a:lnTo>
                          <a:pt x="26" y="10"/>
                        </a:lnTo>
                        <a:lnTo>
                          <a:pt x="28" y="6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82" name="Google Shape;3034;p98">
                    <a:extLst>
                      <a:ext uri="{FF2B5EF4-FFF2-40B4-BE49-F238E27FC236}">
                        <a16:creationId xmlns:a16="http://schemas.microsoft.com/office/drawing/2014/main" id="{3C19C086-B54C-5437-93D7-36452E6202D1}"/>
                      </a:ext>
                    </a:extLst>
                  </p:cNvPr>
                  <p:cNvSpPr/>
                  <p:nvPr/>
                </p:nvSpPr>
                <p:spPr>
                  <a:xfrm>
                    <a:off x="6429998" y="3123414"/>
                    <a:ext cx="40669" cy="747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77" h="143" extrusionOk="0">
                        <a:moveTo>
                          <a:pt x="35" y="8"/>
                        </a:moveTo>
                        <a:lnTo>
                          <a:pt x="35" y="11"/>
                        </a:lnTo>
                        <a:lnTo>
                          <a:pt x="30" y="16"/>
                        </a:lnTo>
                        <a:lnTo>
                          <a:pt x="27" y="16"/>
                        </a:lnTo>
                        <a:lnTo>
                          <a:pt x="19" y="21"/>
                        </a:lnTo>
                        <a:lnTo>
                          <a:pt x="15" y="20"/>
                        </a:lnTo>
                        <a:lnTo>
                          <a:pt x="10" y="21"/>
                        </a:lnTo>
                        <a:lnTo>
                          <a:pt x="12" y="26"/>
                        </a:lnTo>
                        <a:lnTo>
                          <a:pt x="7" y="28"/>
                        </a:lnTo>
                        <a:lnTo>
                          <a:pt x="9" y="33"/>
                        </a:lnTo>
                        <a:lnTo>
                          <a:pt x="2" y="35"/>
                        </a:lnTo>
                        <a:lnTo>
                          <a:pt x="0" y="40"/>
                        </a:lnTo>
                        <a:lnTo>
                          <a:pt x="2" y="46"/>
                        </a:lnTo>
                        <a:lnTo>
                          <a:pt x="7" y="48"/>
                        </a:lnTo>
                        <a:lnTo>
                          <a:pt x="10" y="51"/>
                        </a:lnTo>
                        <a:lnTo>
                          <a:pt x="14" y="53"/>
                        </a:lnTo>
                        <a:lnTo>
                          <a:pt x="19" y="65"/>
                        </a:lnTo>
                        <a:lnTo>
                          <a:pt x="20" y="73"/>
                        </a:lnTo>
                        <a:lnTo>
                          <a:pt x="20" y="80"/>
                        </a:lnTo>
                        <a:lnTo>
                          <a:pt x="22" y="83"/>
                        </a:lnTo>
                        <a:lnTo>
                          <a:pt x="22" y="88"/>
                        </a:lnTo>
                        <a:lnTo>
                          <a:pt x="19" y="91"/>
                        </a:lnTo>
                        <a:lnTo>
                          <a:pt x="19" y="95"/>
                        </a:lnTo>
                        <a:lnTo>
                          <a:pt x="19" y="121"/>
                        </a:lnTo>
                        <a:lnTo>
                          <a:pt x="20" y="126"/>
                        </a:lnTo>
                        <a:lnTo>
                          <a:pt x="20" y="133"/>
                        </a:lnTo>
                        <a:lnTo>
                          <a:pt x="24" y="138"/>
                        </a:lnTo>
                        <a:lnTo>
                          <a:pt x="22" y="143"/>
                        </a:lnTo>
                        <a:lnTo>
                          <a:pt x="30" y="143"/>
                        </a:lnTo>
                        <a:lnTo>
                          <a:pt x="49" y="138"/>
                        </a:lnTo>
                        <a:lnTo>
                          <a:pt x="49" y="138"/>
                        </a:lnTo>
                        <a:lnTo>
                          <a:pt x="49" y="134"/>
                        </a:lnTo>
                        <a:lnTo>
                          <a:pt x="49" y="123"/>
                        </a:lnTo>
                        <a:lnTo>
                          <a:pt x="49" y="119"/>
                        </a:lnTo>
                        <a:lnTo>
                          <a:pt x="49" y="116"/>
                        </a:lnTo>
                        <a:lnTo>
                          <a:pt x="47" y="106"/>
                        </a:lnTo>
                        <a:lnTo>
                          <a:pt x="49" y="103"/>
                        </a:lnTo>
                        <a:lnTo>
                          <a:pt x="49" y="101"/>
                        </a:lnTo>
                        <a:lnTo>
                          <a:pt x="47" y="99"/>
                        </a:lnTo>
                        <a:lnTo>
                          <a:pt x="47" y="98"/>
                        </a:lnTo>
                        <a:lnTo>
                          <a:pt x="47" y="95"/>
                        </a:lnTo>
                        <a:lnTo>
                          <a:pt x="47" y="93"/>
                        </a:lnTo>
                        <a:lnTo>
                          <a:pt x="47" y="88"/>
                        </a:lnTo>
                        <a:lnTo>
                          <a:pt x="47" y="85"/>
                        </a:lnTo>
                        <a:lnTo>
                          <a:pt x="47" y="81"/>
                        </a:lnTo>
                        <a:lnTo>
                          <a:pt x="49" y="78"/>
                        </a:lnTo>
                        <a:lnTo>
                          <a:pt x="54" y="76"/>
                        </a:lnTo>
                        <a:lnTo>
                          <a:pt x="55" y="76"/>
                        </a:lnTo>
                        <a:lnTo>
                          <a:pt x="59" y="75"/>
                        </a:lnTo>
                        <a:lnTo>
                          <a:pt x="60" y="71"/>
                        </a:lnTo>
                        <a:lnTo>
                          <a:pt x="64" y="65"/>
                        </a:lnTo>
                        <a:lnTo>
                          <a:pt x="65" y="61"/>
                        </a:lnTo>
                        <a:lnTo>
                          <a:pt x="69" y="60"/>
                        </a:lnTo>
                        <a:lnTo>
                          <a:pt x="72" y="60"/>
                        </a:lnTo>
                        <a:lnTo>
                          <a:pt x="74" y="58"/>
                        </a:lnTo>
                        <a:lnTo>
                          <a:pt x="67" y="53"/>
                        </a:lnTo>
                        <a:lnTo>
                          <a:pt x="69" y="50"/>
                        </a:lnTo>
                        <a:lnTo>
                          <a:pt x="70" y="48"/>
                        </a:lnTo>
                        <a:lnTo>
                          <a:pt x="75" y="48"/>
                        </a:lnTo>
                        <a:lnTo>
                          <a:pt x="77" y="45"/>
                        </a:lnTo>
                        <a:lnTo>
                          <a:pt x="74" y="36"/>
                        </a:lnTo>
                        <a:lnTo>
                          <a:pt x="74" y="31"/>
                        </a:lnTo>
                        <a:lnTo>
                          <a:pt x="67" y="26"/>
                        </a:lnTo>
                        <a:lnTo>
                          <a:pt x="65" y="23"/>
                        </a:lnTo>
                        <a:lnTo>
                          <a:pt x="67" y="18"/>
                        </a:lnTo>
                        <a:lnTo>
                          <a:pt x="67" y="18"/>
                        </a:lnTo>
                        <a:lnTo>
                          <a:pt x="62" y="11"/>
                        </a:lnTo>
                        <a:lnTo>
                          <a:pt x="57" y="11"/>
                        </a:lnTo>
                        <a:lnTo>
                          <a:pt x="52" y="5"/>
                        </a:lnTo>
                        <a:lnTo>
                          <a:pt x="44" y="0"/>
                        </a:lnTo>
                        <a:lnTo>
                          <a:pt x="42" y="3"/>
                        </a:lnTo>
                        <a:lnTo>
                          <a:pt x="44" y="6"/>
                        </a:lnTo>
                        <a:lnTo>
                          <a:pt x="39" y="8"/>
                        </a:lnTo>
                        <a:lnTo>
                          <a:pt x="35" y="8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83" name="Google Shape;3035;p98">
                    <a:extLst>
                      <a:ext uri="{FF2B5EF4-FFF2-40B4-BE49-F238E27FC236}">
                        <a16:creationId xmlns:a16="http://schemas.microsoft.com/office/drawing/2014/main" id="{6CB1427F-395E-BE36-C58C-D7FEE873F299}"/>
                      </a:ext>
                    </a:extLst>
                  </p:cNvPr>
                  <p:cNvSpPr/>
                  <p:nvPr/>
                </p:nvSpPr>
                <p:spPr>
                  <a:xfrm>
                    <a:off x="6572341" y="2995791"/>
                    <a:ext cx="151975" cy="18884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4" h="366" extrusionOk="0">
                        <a:moveTo>
                          <a:pt x="60" y="12"/>
                        </a:moveTo>
                        <a:lnTo>
                          <a:pt x="87" y="0"/>
                        </a:lnTo>
                        <a:lnTo>
                          <a:pt x="283" y="90"/>
                        </a:lnTo>
                        <a:lnTo>
                          <a:pt x="284" y="178"/>
                        </a:lnTo>
                        <a:lnTo>
                          <a:pt x="279" y="178"/>
                        </a:lnTo>
                        <a:lnTo>
                          <a:pt x="276" y="181"/>
                        </a:lnTo>
                        <a:lnTo>
                          <a:pt x="271" y="180"/>
                        </a:lnTo>
                        <a:lnTo>
                          <a:pt x="266" y="180"/>
                        </a:lnTo>
                        <a:lnTo>
                          <a:pt x="261" y="181"/>
                        </a:lnTo>
                        <a:lnTo>
                          <a:pt x="261" y="188"/>
                        </a:lnTo>
                        <a:lnTo>
                          <a:pt x="263" y="190"/>
                        </a:lnTo>
                        <a:lnTo>
                          <a:pt x="261" y="196"/>
                        </a:lnTo>
                        <a:lnTo>
                          <a:pt x="253" y="205"/>
                        </a:lnTo>
                        <a:lnTo>
                          <a:pt x="249" y="205"/>
                        </a:lnTo>
                        <a:lnTo>
                          <a:pt x="246" y="208"/>
                        </a:lnTo>
                        <a:lnTo>
                          <a:pt x="246" y="211"/>
                        </a:lnTo>
                        <a:lnTo>
                          <a:pt x="249" y="215"/>
                        </a:lnTo>
                        <a:lnTo>
                          <a:pt x="246" y="220"/>
                        </a:lnTo>
                        <a:lnTo>
                          <a:pt x="241" y="221"/>
                        </a:lnTo>
                        <a:lnTo>
                          <a:pt x="241" y="225"/>
                        </a:lnTo>
                        <a:lnTo>
                          <a:pt x="244" y="226"/>
                        </a:lnTo>
                        <a:lnTo>
                          <a:pt x="246" y="231"/>
                        </a:lnTo>
                        <a:lnTo>
                          <a:pt x="243" y="235"/>
                        </a:lnTo>
                        <a:lnTo>
                          <a:pt x="234" y="243"/>
                        </a:lnTo>
                        <a:lnTo>
                          <a:pt x="234" y="248"/>
                        </a:lnTo>
                        <a:lnTo>
                          <a:pt x="238" y="249"/>
                        </a:lnTo>
                        <a:lnTo>
                          <a:pt x="244" y="246"/>
                        </a:lnTo>
                        <a:lnTo>
                          <a:pt x="248" y="246"/>
                        </a:lnTo>
                        <a:lnTo>
                          <a:pt x="248" y="249"/>
                        </a:lnTo>
                        <a:lnTo>
                          <a:pt x="244" y="251"/>
                        </a:lnTo>
                        <a:lnTo>
                          <a:pt x="248" y="254"/>
                        </a:lnTo>
                        <a:lnTo>
                          <a:pt x="246" y="256"/>
                        </a:lnTo>
                        <a:lnTo>
                          <a:pt x="248" y="261"/>
                        </a:lnTo>
                        <a:lnTo>
                          <a:pt x="248" y="266"/>
                        </a:lnTo>
                        <a:lnTo>
                          <a:pt x="249" y="269"/>
                        </a:lnTo>
                        <a:lnTo>
                          <a:pt x="258" y="273"/>
                        </a:lnTo>
                        <a:lnTo>
                          <a:pt x="261" y="276"/>
                        </a:lnTo>
                        <a:lnTo>
                          <a:pt x="258" y="279"/>
                        </a:lnTo>
                        <a:lnTo>
                          <a:pt x="258" y="281"/>
                        </a:lnTo>
                        <a:lnTo>
                          <a:pt x="258" y="284"/>
                        </a:lnTo>
                        <a:lnTo>
                          <a:pt x="251" y="288"/>
                        </a:lnTo>
                        <a:lnTo>
                          <a:pt x="248" y="286"/>
                        </a:lnTo>
                        <a:lnTo>
                          <a:pt x="243" y="286"/>
                        </a:lnTo>
                        <a:lnTo>
                          <a:pt x="238" y="288"/>
                        </a:lnTo>
                        <a:lnTo>
                          <a:pt x="231" y="291"/>
                        </a:lnTo>
                        <a:lnTo>
                          <a:pt x="231" y="294"/>
                        </a:lnTo>
                        <a:lnTo>
                          <a:pt x="231" y="298"/>
                        </a:lnTo>
                        <a:lnTo>
                          <a:pt x="228" y="298"/>
                        </a:lnTo>
                        <a:lnTo>
                          <a:pt x="223" y="304"/>
                        </a:lnTo>
                        <a:lnTo>
                          <a:pt x="221" y="304"/>
                        </a:lnTo>
                        <a:lnTo>
                          <a:pt x="219" y="304"/>
                        </a:lnTo>
                        <a:lnTo>
                          <a:pt x="216" y="308"/>
                        </a:lnTo>
                        <a:lnTo>
                          <a:pt x="216" y="311"/>
                        </a:lnTo>
                        <a:lnTo>
                          <a:pt x="213" y="313"/>
                        </a:lnTo>
                        <a:lnTo>
                          <a:pt x="211" y="316"/>
                        </a:lnTo>
                        <a:lnTo>
                          <a:pt x="213" y="319"/>
                        </a:lnTo>
                        <a:lnTo>
                          <a:pt x="211" y="323"/>
                        </a:lnTo>
                        <a:lnTo>
                          <a:pt x="208" y="324"/>
                        </a:lnTo>
                        <a:lnTo>
                          <a:pt x="203" y="328"/>
                        </a:lnTo>
                        <a:lnTo>
                          <a:pt x="193" y="329"/>
                        </a:lnTo>
                        <a:lnTo>
                          <a:pt x="186" y="329"/>
                        </a:lnTo>
                        <a:lnTo>
                          <a:pt x="180" y="329"/>
                        </a:lnTo>
                        <a:lnTo>
                          <a:pt x="176" y="328"/>
                        </a:lnTo>
                        <a:lnTo>
                          <a:pt x="171" y="328"/>
                        </a:lnTo>
                        <a:lnTo>
                          <a:pt x="166" y="328"/>
                        </a:lnTo>
                        <a:lnTo>
                          <a:pt x="163" y="329"/>
                        </a:lnTo>
                        <a:lnTo>
                          <a:pt x="163" y="333"/>
                        </a:lnTo>
                        <a:lnTo>
                          <a:pt x="168" y="338"/>
                        </a:lnTo>
                        <a:lnTo>
                          <a:pt x="170" y="338"/>
                        </a:lnTo>
                        <a:lnTo>
                          <a:pt x="171" y="341"/>
                        </a:lnTo>
                        <a:lnTo>
                          <a:pt x="165" y="344"/>
                        </a:lnTo>
                        <a:lnTo>
                          <a:pt x="161" y="347"/>
                        </a:lnTo>
                        <a:lnTo>
                          <a:pt x="155" y="347"/>
                        </a:lnTo>
                        <a:lnTo>
                          <a:pt x="140" y="351"/>
                        </a:lnTo>
                        <a:lnTo>
                          <a:pt x="135" y="354"/>
                        </a:lnTo>
                        <a:lnTo>
                          <a:pt x="126" y="357"/>
                        </a:lnTo>
                        <a:lnTo>
                          <a:pt x="121" y="361"/>
                        </a:lnTo>
                        <a:lnTo>
                          <a:pt x="116" y="362"/>
                        </a:lnTo>
                        <a:lnTo>
                          <a:pt x="115" y="361"/>
                        </a:lnTo>
                        <a:lnTo>
                          <a:pt x="113" y="356"/>
                        </a:lnTo>
                        <a:lnTo>
                          <a:pt x="110" y="352"/>
                        </a:lnTo>
                        <a:lnTo>
                          <a:pt x="108" y="356"/>
                        </a:lnTo>
                        <a:lnTo>
                          <a:pt x="108" y="359"/>
                        </a:lnTo>
                        <a:lnTo>
                          <a:pt x="105" y="364"/>
                        </a:lnTo>
                        <a:lnTo>
                          <a:pt x="98" y="366"/>
                        </a:lnTo>
                        <a:lnTo>
                          <a:pt x="93" y="366"/>
                        </a:lnTo>
                        <a:lnTo>
                          <a:pt x="90" y="366"/>
                        </a:lnTo>
                        <a:lnTo>
                          <a:pt x="88" y="361"/>
                        </a:lnTo>
                        <a:lnTo>
                          <a:pt x="87" y="359"/>
                        </a:lnTo>
                        <a:lnTo>
                          <a:pt x="85" y="356"/>
                        </a:lnTo>
                        <a:lnTo>
                          <a:pt x="82" y="349"/>
                        </a:lnTo>
                        <a:lnTo>
                          <a:pt x="78" y="344"/>
                        </a:lnTo>
                        <a:lnTo>
                          <a:pt x="73" y="341"/>
                        </a:lnTo>
                        <a:lnTo>
                          <a:pt x="65" y="333"/>
                        </a:lnTo>
                        <a:lnTo>
                          <a:pt x="57" y="326"/>
                        </a:lnTo>
                        <a:lnTo>
                          <a:pt x="52" y="324"/>
                        </a:lnTo>
                        <a:lnTo>
                          <a:pt x="52" y="321"/>
                        </a:lnTo>
                        <a:lnTo>
                          <a:pt x="50" y="319"/>
                        </a:lnTo>
                        <a:lnTo>
                          <a:pt x="48" y="318"/>
                        </a:lnTo>
                        <a:lnTo>
                          <a:pt x="48" y="314"/>
                        </a:lnTo>
                        <a:lnTo>
                          <a:pt x="50" y="311"/>
                        </a:lnTo>
                        <a:lnTo>
                          <a:pt x="50" y="308"/>
                        </a:lnTo>
                        <a:lnTo>
                          <a:pt x="53" y="308"/>
                        </a:lnTo>
                        <a:lnTo>
                          <a:pt x="58" y="308"/>
                        </a:lnTo>
                        <a:lnTo>
                          <a:pt x="60" y="308"/>
                        </a:lnTo>
                        <a:lnTo>
                          <a:pt x="65" y="308"/>
                        </a:lnTo>
                        <a:lnTo>
                          <a:pt x="68" y="308"/>
                        </a:lnTo>
                        <a:lnTo>
                          <a:pt x="72" y="308"/>
                        </a:lnTo>
                        <a:lnTo>
                          <a:pt x="77" y="308"/>
                        </a:lnTo>
                        <a:lnTo>
                          <a:pt x="80" y="309"/>
                        </a:lnTo>
                        <a:lnTo>
                          <a:pt x="83" y="311"/>
                        </a:lnTo>
                        <a:lnTo>
                          <a:pt x="85" y="309"/>
                        </a:lnTo>
                        <a:lnTo>
                          <a:pt x="83" y="308"/>
                        </a:lnTo>
                        <a:lnTo>
                          <a:pt x="77" y="303"/>
                        </a:lnTo>
                        <a:lnTo>
                          <a:pt x="75" y="298"/>
                        </a:lnTo>
                        <a:lnTo>
                          <a:pt x="72" y="296"/>
                        </a:lnTo>
                        <a:lnTo>
                          <a:pt x="67" y="291"/>
                        </a:lnTo>
                        <a:lnTo>
                          <a:pt x="67" y="286"/>
                        </a:lnTo>
                        <a:lnTo>
                          <a:pt x="70" y="284"/>
                        </a:lnTo>
                        <a:lnTo>
                          <a:pt x="72" y="278"/>
                        </a:lnTo>
                        <a:lnTo>
                          <a:pt x="68" y="276"/>
                        </a:lnTo>
                        <a:lnTo>
                          <a:pt x="70" y="273"/>
                        </a:lnTo>
                        <a:lnTo>
                          <a:pt x="70" y="271"/>
                        </a:lnTo>
                        <a:lnTo>
                          <a:pt x="70" y="268"/>
                        </a:lnTo>
                        <a:lnTo>
                          <a:pt x="68" y="263"/>
                        </a:lnTo>
                        <a:lnTo>
                          <a:pt x="67" y="258"/>
                        </a:lnTo>
                        <a:lnTo>
                          <a:pt x="65" y="256"/>
                        </a:lnTo>
                        <a:lnTo>
                          <a:pt x="63" y="249"/>
                        </a:lnTo>
                        <a:lnTo>
                          <a:pt x="58" y="246"/>
                        </a:lnTo>
                        <a:lnTo>
                          <a:pt x="47" y="240"/>
                        </a:lnTo>
                        <a:lnTo>
                          <a:pt x="45" y="240"/>
                        </a:lnTo>
                        <a:lnTo>
                          <a:pt x="42" y="235"/>
                        </a:lnTo>
                        <a:lnTo>
                          <a:pt x="37" y="228"/>
                        </a:lnTo>
                        <a:lnTo>
                          <a:pt x="33" y="226"/>
                        </a:lnTo>
                        <a:lnTo>
                          <a:pt x="32" y="198"/>
                        </a:lnTo>
                        <a:lnTo>
                          <a:pt x="32" y="196"/>
                        </a:lnTo>
                        <a:lnTo>
                          <a:pt x="35" y="196"/>
                        </a:lnTo>
                        <a:lnTo>
                          <a:pt x="37" y="195"/>
                        </a:lnTo>
                        <a:lnTo>
                          <a:pt x="38" y="193"/>
                        </a:lnTo>
                        <a:lnTo>
                          <a:pt x="78" y="155"/>
                        </a:lnTo>
                        <a:lnTo>
                          <a:pt x="77" y="123"/>
                        </a:lnTo>
                        <a:lnTo>
                          <a:pt x="83" y="82"/>
                        </a:lnTo>
                        <a:lnTo>
                          <a:pt x="88" y="78"/>
                        </a:lnTo>
                        <a:lnTo>
                          <a:pt x="88" y="70"/>
                        </a:lnTo>
                        <a:lnTo>
                          <a:pt x="72" y="53"/>
                        </a:lnTo>
                        <a:lnTo>
                          <a:pt x="73" y="50"/>
                        </a:lnTo>
                        <a:lnTo>
                          <a:pt x="73" y="45"/>
                        </a:lnTo>
                        <a:lnTo>
                          <a:pt x="62" y="14"/>
                        </a:lnTo>
                        <a:lnTo>
                          <a:pt x="60" y="12"/>
                        </a:lnTo>
                        <a:lnTo>
                          <a:pt x="60" y="12"/>
                        </a:lnTo>
                        <a:close/>
                        <a:moveTo>
                          <a:pt x="9" y="236"/>
                        </a:moveTo>
                        <a:lnTo>
                          <a:pt x="7" y="240"/>
                        </a:lnTo>
                        <a:lnTo>
                          <a:pt x="4" y="241"/>
                        </a:lnTo>
                        <a:lnTo>
                          <a:pt x="0" y="240"/>
                        </a:lnTo>
                        <a:lnTo>
                          <a:pt x="9" y="236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84" name="Google Shape;3036;p98">
                    <a:extLst>
                      <a:ext uri="{FF2B5EF4-FFF2-40B4-BE49-F238E27FC236}">
                        <a16:creationId xmlns:a16="http://schemas.microsoft.com/office/drawing/2014/main" id="{E87B89CA-6965-6659-11CB-50626C888635}"/>
                      </a:ext>
                    </a:extLst>
                  </p:cNvPr>
                  <p:cNvSpPr/>
                  <p:nvPr/>
                </p:nvSpPr>
                <p:spPr>
                  <a:xfrm>
                    <a:off x="6421436" y="2997866"/>
                    <a:ext cx="197996" cy="13592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70" h="261" extrusionOk="0">
                        <a:moveTo>
                          <a:pt x="83" y="261"/>
                        </a:moveTo>
                        <a:lnTo>
                          <a:pt x="78" y="254"/>
                        </a:lnTo>
                        <a:lnTo>
                          <a:pt x="73" y="254"/>
                        </a:lnTo>
                        <a:lnTo>
                          <a:pt x="68" y="248"/>
                        </a:lnTo>
                        <a:lnTo>
                          <a:pt x="60" y="243"/>
                        </a:lnTo>
                        <a:lnTo>
                          <a:pt x="58" y="246"/>
                        </a:lnTo>
                        <a:lnTo>
                          <a:pt x="60" y="249"/>
                        </a:lnTo>
                        <a:lnTo>
                          <a:pt x="55" y="251"/>
                        </a:lnTo>
                        <a:lnTo>
                          <a:pt x="50" y="251"/>
                        </a:lnTo>
                        <a:lnTo>
                          <a:pt x="45" y="244"/>
                        </a:lnTo>
                        <a:lnTo>
                          <a:pt x="48" y="241"/>
                        </a:lnTo>
                        <a:lnTo>
                          <a:pt x="48" y="238"/>
                        </a:lnTo>
                        <a:lnTo>
                          <a:pt x="45" y="235"/>
                        </a:lnTo>
                        <a:lnTo>
                          <a:pt x="45" y="233"/>
                        </a:lnTo>
                        <a:lnTo>
                          <a:pt x="41" y="231"/>
                        </a:lnTo>
                        <a:lnTo>
                          <a:pt x="31" y="236"/>
                        </a:lnTo>
                        <a:lnTo>
                          <a:pt x="23" y="231"/>
                        </a:lnTo>
                        <a:lnTo>
                          <a:pt x="23" y="221"/>
                        </a:lnTo>
                        <a:lnTo>
                          <a:pt x="0" y="208"/>
                        </a:lnTo>
                        <a:lnTo>
                          <a:pt x="0" y="201"/>
                        </a:lnTo>
                        <a:lnTo>
                          <a:pt x="3" y="196"/>
                        </a:lnTo>
                        <a:lnTo>
                          <a:pt x="3" y="191"/>
                        </a:lnTo>
                        <a:lnTo>
                          <a:pt x="5" y="188"/>
                        </a:lnTo>
                        <a:lnTo>
                          <a:pt x="11" y="190"/>
                        </a:lnTo>
                        <a:lnTo>
                          <a:pt x="28" y="188"/>
                        </a:lnTo>
                        <a:lnTo>
                          <a:pt x="33" y="188"/>
                        </a:lnTo>
                        <a:lnTo>
                          <a:pt x="40" y="185"/>
                        </a:lnTo>
                        <a:lnTo>
                          <a:pt x="50" y="185"/>
                        </a:lnTo>
                        <a:lnTo>
                          <a:pt x="55" y="185"/>
                        </a:lnTo>
                        <a:lnTo>
                          <a:pt x="61" y="181"/>
                        </a:lnTo>
                        <a:lnTo>
                          <a:pt x="70" y="181"/>
                        </a:lnTo>
                        <a:lnTo>
                          <a:pt x="76" y="178"/>
                        </a:lnTo>
                        <a:lnTo>
                          <a:pt x="88" y="171"/>
                        </a:lnTo>
                        <a:lnTo>
                          <a:pt x="90" y="166"/>
                        </a:lnTo>
                        <a:lnTo>
                          <a:pt x="91" y="160"/>
                        </a:lnTo>
                        <a:lnTo>
                          <a:pt x="94" y="156"/>
                        </a:lnTo>
                        <a:lnTo>
                          <a:pt x="96" y="137"/>
                        </a:lnTo>
                        <a:lnTo>
                          <a:pt x="98" y="95"/>
                        </a:lnTo>
                        <a:lnTo>
                          <a:pt x="134" y="87"/>
                        </a:lnTo>
                        <a:lnTo>
                          <a:pt x="164" y="62"/>
                        </a:lnTo>
                        <a:lnTo>
                          <a:pt x="274" y="0"/>
                        </a:lnTo>
                        <a:lnTo>
                          <a:pt x="315" y="10"/>
                        </a:lnTo>
                        <a:lnTo>
                          <a:pt x="320" y="15"/>
                        </a:lnTo>
                        <a:lnTo>
                          <a:pt x="342" y="7"/>
                        </a:lnTo>
                        <a:lnTo>
                          <a:pt x="344" y="9"/>
                        </a:lnTo>
                        <a:lnTo>
                          <a:pt x="355" y="40"/>
                        </a:lnTo>
                        <a:lnTo>
                          <a:pt x="355" y="45"/>
                        </a:lnTo>
                        <a:lnTo>
                          <a:pt x="354" y="48"/>
                        </a:lnTo>
                        <a:lnTo>
                          <a:pt x="370" y="65"/>
                        </a:lnTo>
                        <a:lnTo>
                          <a:pt x="370" y="73"/>
                        </a:lnTo>
                        <a:lnTo>
                          <a:pt x="365" y="77"/>
                        </a:lnTo>
                        <a:lnTo>
                          <a:pt x="359" y="118"/>
                        </a:lnTo>
                        <a:lnTo>
                          <a:pt x="360" y="150"/>
                        </a:lnTo>
                        <a:lnTo>
                          <a:pt x="320" y="188"/>
                        </a:lnTo>
                        <a:lnTo>
                          <a:pt x="319" y="190"/>
                        </a:lnTo>
                        <a:lnTo>
                          <a:pt x="317" y="191"/>
                        </a:lnTo>
                        <a:lnTo>
                          <a:pt x="314" y="191"/>
                        </a:lnTo>
                        <a:lnTo>
                          <a:pt x="314" y="193"/>
                        </a:lnTo>
                        <a:lnTo>
                          <a:pt x="315" y="221"/>
                        </a:lnTo>
                        <a:lnTo>
                          <a:pt x="310" y="220"/>
                        </a:lnTo>
                        <a:lnTo>
                          <a:pt x="307" y="223"/>
                        </a:lnTo>
                        <a:lnTo>
                          <a:pt x="307" y="226"/>
                        </a:lnTo>
                        <a:lnTo>
                          <a:pt x="304" y="228"/>
                        </a:lnTo>
                        <a:lnTo>
                          <a:pt x="300" y="226"/>
                        </a:lnTo>
                        <a:lnTo>
                          <a:pt x="297" y="226"/>
                        </a:lnTo>
                        <a:lnTo>
                          <a:pt x="295" y="230"/>
                        </a:lnTo>
                        <a:lnTo>
                          <a:pt x="291" y="231"/>
                        </a:lnTo>
                        <a:lnTo>
                          <a:pt x="291" y="231"/>
                        </a:lnTo>
                        <a:lnTo>
                          <a:pt x="282" y="235"/>
                        </a:lnTo>
                        <a:lnTo>
                          <a:pt x="281" y="233"/>
                        </a:lnTo>
                        <a:lnTo>
                          <a:pt x="274" y="233"/>
                        </a:lnTo>
                        <a:lnTo>
                          <a:pt x="266" y="230"/>
                        </a:lnTo>
                        <a:lnTo>
                          <a:pt x="254" y="228"/>
                        </a:lnTo>
                        <a:lnTo>
                          <a:pt x="249" y="230"/>
                        </a:lnTo>
                        <a:lnTo>
                          <a:pt x="237" y="230"/>
                        </a:lnTo>
                        <a:lnTo>
                          <a:pt x="232" y="231"/>
                        </a:lnTo>
                        <a:lnTo>
                          <a:pt x="226" y="238"/>
                        </a:lnTo>
                        <a:lnTo>
                          <a:pt x="219" y="243"/>
                        </a:lnTo>
                        <a:lnTo>
                          <a:pt x="216" y="241"/>
                        </a:lnTo>
                        <a:lnTo>
                          <a:pt x="206" y="238"/>
                        </a:lnTo>
                        <a:lnTo>
                          <a:pt x="201" y="238"/>
                        </a:lnTo>
                        <a:lnTo>
                          <a:pt x="192" y="233"/>
                        </a:lnTo>
                        <a:lnTo>
                          <a:pt x="188" y="231"/>
                        </a:lnTo>
                        <a:lnTo>
                          <a:pt x="188" y="230"/>
                        </a:lnTo>
                        <a:lnTo>
                          <a:pt x="183" y="226"/>
                        </a:lnTo>
                        <a:lnTo>
                          <a:pt x="179" y="226"/>
                        </a:lnTo>
                        <a:lnTo>
                          <a:pt x="179" y="228"/>
                        </a:lnTo>
                        <a:lnTo>
                          <a:pt x="171" y="230"/>
                        </a:lnTo>
                        <a:lnTo>
                          <a:pt x="168" y="231"/>
                        </a:lnTo>
                        <a:lnTo>
                          <a:pt x="164" y="231"/>
                        </a:lnTo>
                        <a:lnTo>
                          <a:pt x="163" y="235"/>
                        </a:lnTo>
                        <a:lnTo>
                          <a:pt x="159" y="235"/>
                        </a:lnTo>
                        <a:lnTo>
                          <a:pt x="154" y="231"/>
                        </a:lnTo>
                        <a:lnTo>
                          <a:pt x="149" y="225"/>
                        </a:lnTo>
                        <a:lnTo>
                          <a:pt x="148" y="223"/>
                        </a:lnTo>
                        <a:lnTo>
                          <a:pt x="139" y="220"/>
                        </a:lnTo>
                        <a:lnTo>
                          <a:pt x="136" y="220"/>
                        </a:lnTo>
                        <a:lnTo>
                          <a:pt x="133" y="218"/>
                        </a:lnTo>
                        <a:lnTo>
                          <a:pt x="126" y="216"/>
                        </a:lnTo>
                        <a:lnTo>
                          <a:pt x="124" y="216"/>
                        </a:lnTo>
                        <a:lnTo>
                          <a:pt x="119" y="216"/>
                        </a:lnTo>
                        <a:lnTo>
                          <a:pt x="118" y="218"/>
                        </a:lnTo>
                        <a:lnTo>
                          <a:pt x="109" y="218"/>
                        </a:lnTo>
                        <a:lnTo>
                          <a:pt x="108" y="218"/>
                        </a:lnTo>
                        <a:lnTo>
                          <a:pt x="104" y="218"/>
                        </a:lnTo>
                        <a:lnTo>
                          <a:pt x="99" y="218"/>
                        </a:lnTo>
                        <a:lnTo>
                          <a:pt x="98" y="220"/>
                        </a:lnTo>
                        <a:lnTo>
                          <a:pt x="94" y="221"/>
                        </a:lnTo>
                        <a:lnTo>
                          <a:pt x="90" y="225"/>
                        </a:lnTo>
                        <a:lnTo>
                          <a:pt x="90" y="226"/>
                        </a:lnTo>
                        <a:lnTo>
                          <a:pt x="90" y="230"/>
                        </a:lnTo>
                        <a:lnTo>
                          <a:pt x="90" y="230"/>
                        </a:lnTo>
                        <a:lnTo>
                          <a:pt x="88" y="231"/>
                        </a:lnTo>
                        <a:lnTo>
                          <a:pt x="90" y="236"/>
                        </a:lnTo>
                        <a:lnTo>
                          <a:pt x="91" y="238"/>
                        </a:lnTo>
                        <a:lnTo>
                          <a:pt x="91" y="241"/>
                        </a:lnTo>
                        <a:lnTo>
                          <a:pt x="86" y="241"/>
                        </a:lnTo>
                        <a:lnTo>
                          <a:pt x="81" y="246"/>
                        </a:lnTo>
                        <a:lnTo>
                          <a:pt x="83" y="248"/>
                        </a:lnTo>
                        <a:lnTo>
                          <a:pt x="81" y="249"/>
                        </a:lnTo>
                        <a:lnTo>
                          <a:pt x="85" y="256"/>
                        </a:lnTo>
                        <a:lnTo>
                          <a:pt x="86" y="256"/>
                        </a:lnTo>
                        <a:lnTo>
                          <a:pt x="88" y="259"/>
                        </a:lnTo>
                        <a:lnTo>
                          <a:pt x="83" y="261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85" name="Google Shape;3037;p98">
                    <a:extLst>
                      <a:ext uri="{FF2B5EF4-FFF2-40B4-BE49-F238E27FC236}">
                        <a16:creationId xmlns:a16="http://schemas.microsoft.com/office/drawing/2014/main" id="{9239C61B-0343-A5B8-2517-FF06BC1DCCB0}"/>
                      </a:ext>
                    </a:extLst>
                  </p:cNvPr>
                  <p:cNvSpPr/>
                  <p:nvPr/>
                </p:nvSpPr>
                <p:spPr>
                  <a:xfrm>
                    <a:off x="6454613" y="3109926"/>
                    <a:ext cx="148764" cy="11102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7" h="215" extrusionOk="0">
                        <a:moveTo>
                          <a:pt x="266" y="19"/>
                        </a:moveTo>
                        <a:lnTo>
                          <a:pt x="264" y="19"/>
                        </a:lnTo>
                        <a:lnTo>
                          <a:pt x="261" y="14"/>
                        </a:lnTo>
                        <a:lnTo>
                          <a:pt x="256" y="7"/>
                        </a:lnTo>
                        <a:lnTo>
                          <a:pt x="247" y="4"/>
                        </a:lnTo>
                        <a:lnTo>
                          <a:pt x="244" y="7"/>
                        </a:lnTo>
                        <a:lnTo>
                          <a:pt x="244" y="10"/>
                        </a:lnTo>
                        <a:lnTo>
                          <a:pt x="241" y="12"/>
                        </a:lnTo>
                        <a:lnTo>
                          <a:pt x="237" y="10"/>
                        </a:lnTo>
                        <a:lnTo>
                          <a:pt x="234" y="10"/>
                        </a:lnTo>
                        <a:lnTo>
                          <a:pt x="232" y="14"/>
                        </a:lnTo>
                        <a:lnTo>
                          <a:pt x="228" y="15"/>
                        </a:lnTo>
                        <a:lnTo>
                          <a:pt x="226" y="19"/>
                        </a:lnTo>
                        <a:lnTo>
                          <a:pt x="223" y="20"/>
                        </a:lnTo>
                        <a:lnTo>
                          <a:pt x="218" y="17"/>
                        </a:lnTo>
                        <a:lnTo>
                          <a:pt x="211" y="17"/>
                        </a:lnTo>
                        <a:lnTo>
                          <a:pt x="203" y="14"/>
                        </a:lnTo>
                        <a:lnTo>
                          <a:pt x="191" y="12"/>
                        </a:lnTo>
                        <a:lnTo>
                          <a:pt x="186" y="14"/>
                        </a:lnTo>
                        <a:lnTo>
                          <a:pt x="174" y="14"/>
                        </a:lnTo>
                        <a:lnTo>
                          <a:pt x="169" y="15"/>
                        </a:lnTo>
                        <a:lnTo>
                          <a:pt x="163" y="22"/>
                        </a:lnTo>
                        <a:lnTo>
                          <a:pt x="156" y="27"/>
                        </a:lnTo>
                        <a:lnTo>
                          <a:pt x="153" y="25"/>
                        </a:lnTo>
                        <a:lnTo>
                          <a:pt x="143" y="22"/>
                        </a:lnTo>
                        <a:lnTo>
                          <a:pt x="138" y="22"/>
                        </a:lnTo>
                        <a:lnTo>
                          <a:pt x="129" y="17"/>
                        </a:lnTo>
                        <a:lnTo>
                          <a:pt x="125" y="15"/>
                        </a:lnTo>
                        <a:lnTo>
                          <a:pt x="125" y="14"/>
                        </a:lnTo>
                        <a:lnTo>
                          <a:pt x="120" y="10"/>
                        </a:lnTo>
                        <a:lnTo>
                          <a:pt x="116" y="10"/>
                        </a:lnTo>
                        <a:lnTo>
                          <a:pt x="116" y="12"/>
                        </a:lnTo>
                        <a:lnTo>
                          <a:pt x="108" y="14"/>
                        </a:lnTo>
                        <a:lnTo>
                          <a:pt x="105" y="15"/>
                        </a:lnTo>
                        <a:lnTo>
                          <a:pt x="101" y="15"/>
                        </a:lnTo>
                        <a:lnTo>
                          <a:pt x="100" y="19"/>
                        </a:lnTo>
                        <a:lnTo>
                          <a:pt x="96" y="19"/>
                        </a:lnTo>
                        <a:lnTo>
                          <a:pt x="91" y="15"/>
                        </a:lnTo>
                        <a:lnTo>
                          <a:pt x="86" y="9"/>
                        </a:lnTo>
                        <a:lnTo>
                          <a:pt x="85" y="7"/>
                        </a:lnTo>
                        <a:lnTo>
                          <a:pt x="76" y="4"/>
                        </a:lnTo>
                        <a:lnTo>
                          <a:pt x="73" y="4"/>
                        </a:lnTo>
                        <a:lnTo>
                          <a:pt x="70" y="2"/>
                        </a:lnTo>
                        <a:lnTo>
                          <a:pt x="63" y="0"/>
                        </a:lnTo>
                        <a:lnTo>
                          <a:pt x="61" y="0"/>
                        </a:lnTo>
                        <a:lnTo>
                          <a:pt x="56" y="0"/>
                        </a:lnTo>
                        <a:lnTo>
                          <a:pt x="55" y="2"/>
                        </a:lnTo>
                        <a:lnTo>
                          <a:pt x="46" y="2"/>
                        </a:lnTo>
                        <a:lnTo>
                          <a:pt x="45" y="2"/>
                        </a:lnTo>
                        <a:lnTo>
                          <a:pt x="41" y="2"/>
                        </a:lnTo>
                        <a:lnTo>
                          <a:pt x="36" y="2"/>
                        </a:lnTo>
                        <a:lnTo>
                          <a:pt x="35" y="4"/>
                        </a:lnTo>
                        <a:lnTo>
                          <a:pt x="31" y="5"/>
                        </a:lnTo>
                        <a:lnTo>
                          <a:pt x="27" y="9"/>
                        </a:lnTo>
                        <a:lnTo>
                          <a:pt x="27" y="10"/>
                        </a:lnTo>
                        <a:lnTo>
                          <a:pt x="27" y="14"/>
                        </a:lnTo>
                        <a:lnTo>
                          <a:pt x="27" y="14"/>
                        </a:lnTo>
                        <a:lnTo>
                          <a:pt x="25" y="15"/>
                        </a:lnTo>
                        <a:lnTo>
                          <a:pt x="27" y="20"/>
                        </a:lnTo>
                        <a:lnTo>
                          <a:pt x="28" y="22"/>
                        </a:lnTo>
                        <a:lnTo>
                          <a:pt x="28" y="25"/>
                        </a:lnTo>
                        <a:lnTo>
                          <a:pt x="23" y="25"/>
                        </a:lnTo>
                        <a:lnTo>
                          <a:pt x="18" y="30"/>
                        </a:lnTo>
                        <a:lnTo>
                          <a:pt x="20" y="32"/>
                        </a:lnTo>
                        <a:lnTo>
                          <a:pt x="18" y="33"/>
                        </a:lnTo>
                        <a:lnTo>
                          <a:pt x="22" y="40"/>
                        </a:lnTo>
                        <a:lnTo>
                          <a:pt x="23" y="40"/>
                        </a:lnTo>
                        <a:lnTo>
                          <a:pt x="25" y="43"/>
                        </a:lnTo>
                        <a:lnTo>
                          <a:pt x="20" y="45"/>
                        </a:lnTo>
                        <a:lnTo>
                          <a:pt x="18" y="50"/>
                        </a:lnTo>
                        <a:lnTo>
                          <a:pt x="20" y="53"/>
                        </a:lnTo>
                        <a:lnTo>
                          <a:pt x="27" y="58"/>
                        </a:lnTo>
                        <a:lnTo>
                          <a:pt x="27" y="63"/>
                        </a:lnTo>
                        <a:lnTo>
                          <a:pt x="30" y="72"/>
                        </a:lnTo>
                        <a:lnTo>
                          <a:pt x="28" y="75"/>
                        </a:lnTo>
                        <a:lnTo>
                          <a:pt x="23" y="75"/>
                        </a:lnTo>
                        <a:lnTo>
                          <a:pt x="22" y="77"/>
                        </a:lnTo>
                        <a:lnTo>
                          <a:pt x="20" y="80"/>
                        </a:lnTo>
                        <a:lnTo>
                          <a:pt x="27" y="85"/>
                        </a:lnTo>
                        <a:lnTo>
                          <a:pt x="25" y="87"/>
                        </a:lnTo>
                        <a:lnTo>
                          <a:pt x="22" y="87"/>
                        </a:lnTo>
                        <a:lnTo>
                          <a:pt x="18" y="88"/>
                        </a:lnTo>
                        <a:lnTo>
                          <a:pt x="17" y="92"/>
                        </a:lnTo>
                        <a:lnTo>
                          <a:pt x="13" y="98"/>
                        </a:lnTo>
                        <a:lnTo>
                          <a:pt x="12" y="102"/>
                        </a:lnTo>
                        <a:lnTo>
                          <a:pt x="8" y="103"/>
                        </a:lnTo>
                        <a:lnTo>
                          <a:pt x="7" y="103"/>
                        </a:lnTo>
                        <a:lnTo>
                          <a:pt x="2" y="105"/>
                        </a:lnTo>
                        <a:lnTo>
                          <a:pt x="0" y="108"/>
                        </a:lnTo>
                        <a:lnTo>
                          <a:pt x="0" y="112"/>
                        </a:lnTo>
                        <a:lnTo>
                          <a:pt x="0" y="115"/>
                        </a:lnTo>
                        <a:lnTo>
                          <a:pt x="0" y="120"/>
                        </a:lnTo>
                        <a:lnTo>
                          <a:pt x="0" y="122"/>
                        </a:lnTo>
                        <a:lnTo>
                          <a:pt x="0" y="125"/>
                        </a:lnTo>
                        <a:lnTo>
                          <a:pt x="0" y="126"/>
                        </a:lnTo>
                        <a:lnTo>
                          <a:pt x="2" y="128"/>
                        </a:lnTo>
                        <a:lnTo>
                          <a:pt x="2" y="130"/>
                        </a:lnTo>
                        <a:lnTo>
                          <a:pt x="0" y="133"/>
                        </a:lnTo>
                        <a:lnTo>
                          <a:pt x="2" y="143"/>
                        </a:lnTo>
                        <a:lnTo>
                          <a:pt x="2" y="146"/>
                        </a:lnTo>
                        <a:lnTo>
                          <a:pt x="2" y="150"/>
                        </a:lnTo>
                        <a:lnTo>
                          <a:pt x="2" y="161"/>
                        </a:lnTo>
                        <a:lnTo>
                          <a:pt x="2" y="165"/>
                        </a:lnTo>
                        <a:lnTo>
                          <a:pt x="12" y="166"/>
                        </a:lnTo>
                        <a:lnTo>
                          <a:pt x="18" y="165"/>
                        </a:lnTo>
                        <a:lnTo>
                          <a:pt x="36" y="173"/>
                        </a:lnTo>
                        <a:lnTo>
                          <a:pt x="46" y="181"/>
                        </a:lnTo>
                        <a:lnTo>
                          <a:pt x="53" y="191"/>
                        </a:lnTo>
                        <a:lnTo>
                          <a:pt x="53" y="200"/>
                        </a:lnTo>
                        <a:lnTo>
                          <a:pt x="56" y="200"/>
                        </a:lnTo>
                        <a:lnTo>
                          <a:pt x="58" y="208"/>
                        </a:lnTo>
                        <a:lnTo>
                          <a:pt x="65" y="213"/>
                        </a:lnTo>
                        <a:lnTo>
                          <a:pt x="73" y="215"/>
                        </a:lnTo>
                        <a:lnTo>
                          <a:pt x="96" y="215"/>
                        </a:lnTo>
                        <a:lnTo>
                          <a:pt x="101" y="211"/>
                        </a:lnTo>
                        <a:lnTo>
                          <a:pt x="105" y="213"/>
                        </a:lnTo>
                        <a:lnTo>
                          <a:pt x="116" y="210"/>
                        </a:lnTo>
                        <a:lnTo>
                          <a:pt x="120" y="211"/>
                        </a:lnTo>
                        <a:lnTo>
                          <a:pt x="126" y="210"/>
                        </a:lnTo>
                        <a:lnTo>
                          <a:pt x="128" y="203"/>
                        </a:lnTo>
                        <a:lnTo>
                          <a:pt x="133" y="208"/>
                        </a:lnTo>
                        <a:lnTo>
                          <a:pt x="134" y="206"/>
                        </a:lnTo>
                        <a:lnTo>
                          <a:pt x="134" y="206"/>
                        </a:lnTo>
                        <a:lnTo>
                          <a:pt x="134" y="205"/>
                        </a:lnTo>
                        <a:lnTo>
                          <a:pt x="141" y="198"/>
                        </a:lnTo>
                        <a:lnTo>
                          <a:pt x="144" y="191"/>
                        </a:lnTo>
                        <a:lnTo>
                          <a:pt x="143" y="186"/>
                        </a:lnTo>
                        <a:lnTo>
                          <a:pt x="143" y="181"/>
                        </a:lnTo>
                        <a:lnTo>
                          <a:pt x="146" y="180"/>
                        </a:lnTo>
                        <a:lnTo>
                          <a:pt x="146" y="176"/>
                        </a:lnTo>
                        <a:lnTo>
                          <a:pt x="149" y="173"/>
                        </a:lnTo>
                        <a:lnTo>
                          <a:pt x="154" y="171"/>
                        </a:lnTo>
                        <a:lnTo>
                          <a:pt x="156" y="170"/>
                        </a:lnTo>
                        <a:lnTo>
                          <a:pt x="163" y="165"/>
                        </a:lnTo>
                        <a:lnTo>
                          <a:pt x="163" y="160"/>
                        </a:lnTo>
                        <a:lnTo>
                          <a:pt x="164" y="158"/>
                        </a:lnTo>
                        <a:lnTo>
                          <a:pt x="169" y="156"/>
                        </a:lnTo>
                        <a:lnTo>
                          <a:pt x="171" y="155"/>
                        </a:lnTo>
                        <a:lnTo>
                          <a:pt x="173" y="155"/>
                        </a:lnTo>
                        <a:lnTo>
                          <a:pt x="179" y="158"/>
                        </a:lnTo>
                        <a:lnTo>
                          <a:pt x="181" y="156"/>
                        </a:lnTo>
                        <a:lnTo>
                          <a:pt x="186" y="160"/>
                        </a:lnTo>
                        <a:lnTo>
                          <a:pt x="189" y="163"/>
                        </a:lnTo>
                        <a:lnTo>
                          <a:pt x="193" y="166"/>
                        </a:lnTo>
                        <a:lnTo>
                          <a:pt x="196" y="168"/>
                        </a:lnTo>
                        <a:lnTo>
                          <a:pt x="201" y="165"/>
                        </a:lnTo>
                        <a:lnTo>
                          <a:pt x="204" y="160"/>
                        </a:lnTo>
                        <a:lnTo>
                          <a:pt x="204" y="158"/>
                        </a:lnTo>
                        <a:lnTo>
                          <a:pt x="206" y="155"/>
                        </a:lnTo>
                        <a:lnTo>
                          <a:pt x="209" y="155"/>
                        </a:lnTo>
                        <a:lnTo>
                          <a:pt x="213" y="150"/>
                        </a:lnTo>
                        <a:lnTo>
                          <a:pt x="213" y="146"/>
                        </a:lnTo>
                        <a:lnTo>
                          <a:pt x="214" y="141"/>
                        </a:lnTo>
                        <a:lnTo>
                          <a:pt x="223" y="135"/>
                        </a:lnTo>
                        <a:lnTo>
                          <a:pt x="223" y="131"/>
                        </a:lnTo>
                        <a:lnTo>
                          <a:pt x="221" y="128"/>
                        </a:lnTo>
                        <a:lnTo>
                          <a:pt x="224" y="125"/>
                        </a:lnTo>
                        <a:lnTo>
                          <a:pt x="231" y="120"/>
                        </a:lnTo>
                        <a:lnTo>
                          <a:pt x="236" y="117"/>
                        </a:lnTo>
                        <a:lnTo>
                          <a:pt x="236" y="112"/>
                        </a:lnTo>
                        <a:lnTo>
                          <a:pt x="237" y="108"/>
                        </a:lnTo>
                        <a:lnTo>
                          <a:pt x="236" y="102"/>
                        </a:lnTo>
                        <a:lnTo>
                          <a:pt x="239" y="98"/>
                        </a:lnTo>
                        <a:lnTo>
                          <a:pt x="246" y="97"/>
                        </a:lnTo>
                        <a:lnTo>
                          <a:pt x="251" y="92"/>
                        </a:lnTo>
                        <a:lnTo>
                          <a:pt x="251" y="87"/>
                        </a:lnTo>
                        <a:lnTo>
                          <a:pt x="251" y="82"/>
                        </a:lnTo>
                        <a:lnTo>
                          <a:pt x="251" y="78"/>
                        </a:lnTo>
                        <a:lnTo>
                          <a:pt x="254" y="73"/>
                        </a:lnTo>
                        <a:lnTo>
                          <a:pt x="257" y="67"/>
                        </a:lnTo>
                        <a:lnTo>
                          <a:pt x="261" y="65"/>
                        </a:lnTo>
                        <a:lnTo>
                          <a:pt x="261" y="63"/>
                        </a:lnTo>
                        <a:lnTo>
                          <a:pt x="266" y="60"/>
                        </a:lnTo>
                        <a:lnTo>
                          <a:pt x="269" y="60"/>
                        </a:lnTo>
                        <a:lnTo>
                          <a:pt x="271" y="57"/>
                        </a:lnTo>
                        <a:lnTo>
                          <a:pt x="277" y="53"/>
                        </a:lnTo>
                        <a:lnTo>
                          <a:pt x="277" y="52"/>
                        </a:lnTo>
                        <a:lnTo>
                          <a:pt x="276" y="45"/>
                        </a:lnTo>
                        <a:lnTo>
                          <a:pt x="276" y="43"/>
                        </a:lnTo>
                        <a:lnTo>
                          <a:pt x="274" y="40"/>
                        </a:lnTo>
                        <a:lnTo>
                          <a:pt x="269" y="38"/>
                        </a:lnTo>
                        <a:lnTo>
                          <a:pt x="267" y="35"/>
                        </a:lnTo>
                        <a:lnTo>
                          <a:pt x="267" y="28"/>
                        </a:lnTo>
                        <a:lnTo>
                          <a:pt x="267" y="25"/>
                        </a:lnTo>
                        <a:lnTo>
                          <a:pt x="266" y="19"/>
                        </a:lnTo>
                        <a:lnTo>
                          <a:pt x="266" y="19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86" name="Google Shape;3038;p98">
                    <a:extLst>
                      <a:ext uri="{FF2B5EF4-FFF2-40B4-BE49-F238E27FC236}">
                        <a16:creationId xmlns:a16="http://schemas.microsoft.com/office/drawing/2014/main" id="{1022D933-40E8-9288-BFE0-4199BB780FA4}"/>
                      </a:ext>
                    </a:extLst>
                  </p:cNvPr>
                  <p:cNvSpPr/>
                  <p:nvPr/>
                </p:nvSpPr>
                <p:spPr>
                  <a:xfrm>
                    <a:off x="6498494" y="3265564"/>
                    <a:ext cx="4281" cy="415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" h="7" extrusionOk="0">
                        <a:moveTo>
                          <a:pt x="2" y="7"/>
                        </a:moveTo>
                        <a:lnTo>
                          <a:pt x="0" y="3"/>
                        </a:lnTo>
                        <a:lnTo>
                          <a:pt x="4" y="0"/>
                        </a:lnTo>
                        <a:lnTo>
                          <a:pt x="9" y="2"/>
                        </a:lnTo>
                        <a:lnTo>
                          <a:pt x="7" y="5"/>
                        </a:lnTo>
                        <a:lnTo>
                          <a:pt x="4" y="7"/>
                        </a:lnTo>
                        <a:lnTo>
                          <a:pt x="2" y="7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87" name="Google Shape;3039;p98">
                    <a:extLst>
                      <a:ext uri="{FF2B5EF4-FFF2-40B4-BE49-F238E27FC236}">
                        <a16:creationId xmlns:a16="http://schemas.microsoft.com/office/drawing/2014/main" id="{B563E551-F98E-DA14-C98C-13508716B440}"/>
                      </a:ext>
                    </a:extLst>
                  </p:cNvPr>
                  <p:cNvSpPr/>
                  <p:nvPr/>
                </p:nvSpPr>
                <p:spPr>
                  <a:xfrm>
                    <a:off x="6523109" y="3225098"/>
                    <a:ext cx="7491" cy="933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" h="16" extrusionOk="0">
                        <a:moveTo>
                          <a:pt x="0" y="13"/>
                        </a:moveTo>
                        <a:lnTo>
                          <a:pt x="0" y="10"/>
                        </a:lnTo>
                        <a:lnTo>
                          <a:pt x="3" y="10"/>
                        </a:lnTo>
                        <a:lnTo>
                          <a:pt x="5" y="5"/>
                        </a:lnTo>
                        <a:lnTo>
                          <a:pt x="10" y="0"/>
                        </a:lnTo>
                        <a:lnTo>
                          <a:pt x="11" y="1"/>
                        </a:lnTo>
                        <a:lnTo>
                          <a:pt x="13" y="8"/>
                        </a:lnTo>
                        <a:lnTo>
                          <a:pt x="10" y="16"/>
                        </a:lnTo>
                        <a:lnTo>
                          <a:pt x="5" y="16"/>
                        </a:lnTo>
                        <a:lnTo>
                          <a:pt x="0" y="13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88" name="Google Shape;3040;p98">
                    <a:extLst>
                      <a:ext uri="{FF2B5EF4-FFF2-40B4-BE49-F238E27FC236}">
                        <a16:creationId xmlns:a16="http://schemas.microsoft.com/office/drawing/2014/main" id="{6A18A6C6-E973-CC88-0E9D-16D6A9917D6A}"/>
                      </a:ext>
                    </a:extLst>
                  </p:cNvPr>
                  <p:cNvSpPr/>
                  <p:nvPr/>
                </p:nvSpPr>
                <p:spPr>
                  <a:xfrm>
                    <a:off x="6527390" y="3119264"/>
                    <a:ext cx="98463" cy="13073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5" h="250" extrusionOk="0">
                        <a:moveTo>
                          <a:pt x="0" y="187"/>
                        </a:moveTo>
                        <a:lnTo>
                          <a:pt x="0" y="186"/>
                        </a:lnTo>
                        <a:lnTo>
                          <a:pt x="7" y="179"/>
                        </a:lnTo>
                        <a:lnTo>
                          <a:pt x="10" y="172"/>
                        </a:lnTo>
                        <a:lnTo>
                          <a:pt x="9" y="167"/>
                        </a:lnTo>
                        <a:lnTo>
                          <a:pt x="9" y="162"/>
                        </a:lnTo>
                        <a:lnTo>
                          <a:pt x="12" y="161"/>
                        </a:lnTo>
                        <a:lnTo>
                          <a:pt x="12" y="157"/>
                        </a:lnTo>
                        <a:lnTo>
                          <a:pt x="15" y="154"/>
                        </a:lnTo>
                        <a:lnTo>
                          <a:pt x="20" y="152"/>
                        </a:lnTo>
                        <a:lnTo>
                          <a:pt x="22" y="151"/>
                        </a:lnTo>
                        <a:lnTo>
                          <a:pt x="29" y="146"/>
                        </a:lnTo>
                        <a:lnTo>
                          <a:pt x="29" y="141"/>
                        </a:lnTo>
                        <a:lnTo>
                          <a:pt x="30" y="139"/>
                        </a:lnTo>
                        <a:lnTo>
                          <a:pt x="35" y="137"/>
                        </a:lnTo>
                        <a:lnTo>
                          <a:pt x="37" y="136"/>
                        </a:lnTo>
                        <a:lnTo>
                          <a:pt x="39" y="136"/>
                        </a:lnTo>
                        <a:lnTo>
                          <a:pt x="45" y="139"/>
                        </a:lnTo>
                        <a:lnTo>
                          <a:pt x="47" y="137"/>
                        </a:lnTo>
                        <a:lnTo>
                          <a:pt x="52" y="141"/>
                        </a:lnTo>
                        <a:lnTo>
                          <a:pt x="55" y="144"/>
                        </a:lnTo>
                        <a:lnTo>
                          <a:pt x="59" y="147"/>
                        </a:lnTo>
                        <a:lnTo>
                          <a:pt x="62" y="149"/>
                        </a:lnTo>
                        <a:lnTo>
                          <a:pt x="67" y="146"/>
                        </a:lnTo>
                        <a:lnTo>
                          <a:pt x="70" y="141"/>
                        </a:lnTo>
                        <a:lnTo>
                          <a:pt x="70" y="139"/>
                        </a:lnTo>
                        <a:lnTo>
                          <a:pt x="72" y="136"/>
                        </a:lnTo>
                        <a:lnTo>
                          <a:pt x="75" y="136"/>
                        </a:lnTo>
                        <a:lnTo>
                          <a:pt x="79" y="131"/>
                        </a:lnTo>
                        <a:lnTo>
                          <a:pt x="79" y="127"/>
                        </a:lnTo>
                        <a:lnTo>
                          <a:pt x="80" y="122"/>
                        </a:lnTo>
                        <a:lnTo>
                          <a:pt x="89" y="116"/>
                        </a:lnTo>
                        <a:lnTo>
                          <a:pt x="89" y="112"/>
                        </a:lnTo>
                        <a:lnTo>
                          <a:pt x="87" y="109"/>
                        </a:lnTo>
                        <a:lnTo>
                          <a:pt x="90" y="106"/>
                        </a:lnTo>
                        <a:lnTo>
                          <a:pt x="97" y="101"/>
                        </a:lnTo>
                        <a:lnTo>
                          <a:pt x="102" y="98"/>
                        </a:lnTo>
                        <a:lnTo>
                          <a:pt x="102" y="93"/>
                        </a:lnTo>
                        <a:lnTo>
                          <a:pt x="103" y="89"/>
                        </a:lnTo>
                        <a:lnTo>
                          <a:pt x="102" y="83"/>
                        </a:lnTo>
                        <a:lnTo>
                          <a:pt x="105" y="79"/>
                        </a:lnTo>
                        <a:lnTo>
                          <a:pt x="112" y="78"/>
                        </a:lnTo>
                        <a:lnTo>
                          <a:pt x="117" y="73"/>
                        </a:lnTo>
                        <a:lnTo>
                          <a:pt x="117" y="68"/>
                        </a:lnTo>
                        <a:lnTo>
                          <a:pt x="117" y="63"/>
                        </a:lnTo>
                        <a:lnTo>
                          <a:pt x="117" y="59"/>
                        </a:lnTo>
                        <a:lnTo>
                          <a:pt x="120" y="54"/>
                        </a:lnTo>
                        <a:lnTo>
                          <a:pt x="123" y="48"/>
                        </a:lnTo>
                        <a:lnTo>
                          <a:pt x="127" y="46"/>
                        </a:lnTo>
                        <a:lnTo>
                          <a:pt x="127" y="44"/>
                        </a:lnTo>
                        <a:lnTo>
                          <a:pt x="132" y="41"/>
                        </a:lnTo>
                        <a:lnTo>
                          <a:pt x="135" y="41"/>
                        </a:lnTo>
                        <a:lnTo>
                          <a:pt x="137" y="38"/>
                        </a:lnTo>
                        <a:lnTo>
                          <a:pt x="143" y="34"/>
                        </a:lnTo>
                        <a:lnTo>
                          <a:pt x="143" y="33"/>
                        </a:lnTo>
                        <a:lnTo>
                          <a:pt x="142" y="26"/>
                        </a:lnTo>
                        <a:lnTo>
                          <a:pt x="142" y="24"/>
                        </a:lnTo>
                        <a:lnTo>
                          <a:pt x="140" y="21"/>
                        </a:lnTo>
                        <a:lnTo>
                          <a:pt x="135" y="19"/>
                        </a:lnTo>
                        <a:lnTo>
                          <a:pt x="133" y="16"/>
                        </a:lnTo>
                        <a:lnTo>
                          <a:pt x="133" y="9"/>
                        </a:lnTo>
                        <a:lnTo>
                          <a:pt x="133" y="6"/>
                        </a:lnTo>
                        <a:lnTo>
                          <a:pt x="132" y="0"/>
                        </a:lnTo>
                        <a:lnTo>
                          <a:pt x="143" y="6"/>
                        </a:lnTo>
                        <a:lnTo>
                          <a:pt x="148" y="9"/>
                        </a:lnTo>
                        <a:lnTo>
                          <a:pt x="150" y="16"/>
                        </a:lnTo>
                        <a:lnTo>
                          <a:pt x="152" y="18"/>
                        </a:lnTo>
                        <a:lnTo>
                          <a:pt x="153" y="23"/>
                        </a:lnTo>
                        <a:lnTo>
                          <a:pt x="155" y="28"/>
                        </a:lnTo>
                        <a:lnTo>
                          <a:pt x="155" y="31"/>
                        </a:lnTo>
                        <a:lnTo>
                          <a:pt x="155" y="33"/>
                        </a:lnTo>
                        <a:lnTo>
                          <a:pt x="153" y="36"/>
                        </a:lnTo>
                        <a:lnTo>
                          <a:pt x="157" y="38"/>
                        </a:lnTo>
                        <a:lnTo>
                          <a:pt x="155" y="44"/>
                        </a:lnTo>
                        <a:lnTo>
                          <a:pt x="152" y="46"/>
                        </a:lnTo>
                        <a:lnTo>
                          <a:pt x="152" y="51"/>
                        </a:lnTo>
                        <a:lnTo>
                          <a:pt x="157" y="56"/>
                        </a:lnTo>
                        <a:lnTo>
                          <a:pt x="160" y="58"/>
                        </a:lnTo>
                        <a:lnTo>
                          <a:pt x="162" y="63"/>
                        </a:lnTo>
                        <a:lnTo>
                          <a:pt x="168" y="68"/>
                        </a:lnTo>
                        <a:lnTo>
                          <a:pt x="170" y="69"/>
                        </a:lnTo>
                        <a:lnTo>
                          <a:pt x="168" y="71"/>
                        </a:lnTo>
                        <a:lnTo>
                          <a:pt x="165" y="69"/>
                        </a:lnTo>
                        <a:lnTo>
                          <a:pt x="162" y="68"/>
                        </a:lnTo>
                        <a:lnTo>
                          <a:pt x="157" y="68"/>
                        </a:lnTo>
                        <a:lnTo>
                          <a:pt x="153" y="68"/>
                        </a:lnTo>
                        <a:lnTo>
                          <a:pt x="150" y="68"/>
                        </a:lnTo>
                        <a:lnTo>
                          <a:pt x="145" y="68"/>
                        </a:lnTo>
                        <a:lnTo>
                          <a:pt x="143" y="68"/>
                        </a:lnTo>
                        <a:lnTo>
                          <a:pt x="138" y="68"/>
                        </a:lnTo>
                        <a:lnTo>
                          <a:pt x="135" y="68"/>
                        </a:lnTo>
                        <a:lnTo>
                          <a:pt x="135" y="71"/>
                        </a:lnTo>
                        <a:lnTo>
                          <a:pt x="133" y="74"/>
                        </a:lnTo>
                        <a:lnTo>
                          <a:pt x="133" y="78"/>
                        </a:lnTo>
                        <a:lnTo>
                          <a:pt x="135" y="79"/>
                        </a:lnTo>
                        <a:lnTo>
                          <a:pt x="137" y="81"/>
                        </a:lnTo>
                        <a:lnTo>
                          <a:pt x="137" y="84"/>
                        </a:lnTo>
                        <a:lnTo>
                          <a:pt x="142" y="86"/>
                        </a:lnTo>
                        <a:lnTo>
                          <a:pt x="150" y="93"/>
                        </a:lnTo>
                        <a:lnTo>
                          <a:pt x="158" y="101"/>
                        </a:lnTo>
                        <a:lnTo>
                          <a:pt x="163" y="104"/>
                        </a:lnTo>
                        <a:lnTo>
                          <a:pt x="167" y="109"/>
                        </a:lnTo>
                        <a:lnTo>
                          <a:pt x="170" y="116"/>
                        </a:lnTo>
                        <a:lnTo>
                          <a:pt x="172" y="121"/>
                        </a:lnTo>
                        <a:lnTo>
                          <a:pt x="167" y="126"/>
                        </a:lnTo>
                        <a:lnTo>
                          <a:pt x="163" y="127"/>
                        </a:lnTo>
                        <a:lnTo>
                          <a:pt x="160" y="132"/>
                        </a:lnTo>
                        <a:lnTo>
                          <a:pt x="157" y="139"/>
                        </a:lnTo>
                        <a:lnTo>
                          <a:pt x="153" y="144"/>
                        </a:lnTo>
                        <a:lnTo>
                          <a:pt x="148" y="151"/>
                        </a:lnTo>
                        <a:lnTo>
                          <a:pt x="147" y="151"/>
                        </a:lnTo>
                        <a:lnTo>
                          <a:pt x="143" y="154"/>
                        </a:lnTo>
                        <a:lnTo>
                          <a:pt x="145" y="159"/>
                        </a:lnTo>
                        <a:lnTo>
                          <a:pt x="147" y="166"/>
                        </a:lnTo>
                        <a:lnTo>
                          <a:pt x="145" y="171"/>
                        </a:lnTo>
                        <a:lnTo>
                          <a:pt x="147" y="176"/>
                        </a:lnTo>
                        <a:lnTo>
                          <a:pt x="148" y="181"/>
                        </a:lnTo>
                        <a:lnTo>
                          <a:pt x="148" y="189"/>
                        </a:lnTo>
                        <a:lnTo>
                          <a:pt x="150" y="191"/>
                        </a:lnTo>
                        <a:lnTo>
                          <a:pt x="157" y="194"/>
                        </a:lnTo>
                        <a:lnTo>
                          <a:pt x="162" y="199"/>
                        </a:lnTo>
                        <a:lnTo>
                          <a:pt x="163" y="204"/>
                        </a:lnTo>
                        <a:lnTo>
                          <a:pt x="168" y="210"/>
                        </a:lnTo>
                        <a:lnTo>
                          <a:pt x="172" y="217"/>
                        </a:lnTo>
                        <a:lnTo>
                          <a:pt x="175" y="220"/>
                        </a:lnTo>
                        <a:lnTo>
                          <a:pt x="183" y="225"/>
                        </a:lnTo>
                        <a:lnTo>
                          <a:pt x="183" y="230"/>
                        </a:lnTo>
                        <a:lnTo>
                          <a:pt x="183" y="234"/>
                        </a:lnTo>
                        <a:lnTo>
                          <a:pt x="185" y="235"/>
                        </a:lnTo>
                        <a:lnTo>
                          <a:pt x="185" y="235"/>
                        </a:lnTo>
                        <a:lnTo>
                          <a:pt x="185" y="237"/>
                        </a:lnTo>
                        <a:lnTo>
                          <a:pt x="183" y="239"/>
                        </a:lnTo>
                        <a:lnTo>
                          <a:pt x="180" y="244"/>
                        </a:lnTo>
                        <a:lnTo>
                          <a:pt x="180" y="245"/>
                        </a:lnTo>
                        <a:lnTo>
                          <a:pt x="182" y="249"/>
                        </a:lnTo>
                        <a:lnTo>
                          <a:pt x="182" y="250"/>
                        </a:lnTo>
                        <a:lnTo>
                          <a:pt x="178" y="250"/>
                        </a:lnTo>
                        <a:lnTo>
                          <a:pt x="178" y="249"/>
                        </a:lnTo>
                        <a:lnTo>
                          <a:pt x="175" y="250"/>
                        </a:lnTo>
                        <a:lnTo>
                          <a:pt x="173" y="249"/>
                        </a:lnTo>
                        <a:lnTo>
                          <a:pt x="172" y="249"/>
                        </a:lnTo>
                        <a:lnTo>
                          <a:pt x="167" y="249"/>
                        </a:lnTo>
                        <a:lnTo>
                          <a:pt x="165" y="249"/>
                        </a:lnTo>
                        <a:lnTo>
                          <a:pt x="162" y="247"/>
                        </a:lnTo>
                        <a:lnTo>
                          <a:pt x="158" y="247"/>
                        </a:lnTo>
                        <a:lnTo>
                          <a:pt x="158" y="247"/>
                        </a:lnTo>
                        <a:lnTo>
                          <a:pt x="157" y="249"/>
                        </a:lnTo>
                        <a:lnTo>
                          <a:pt x="155" y="247"/>
                        </a:lnTo>
                        <a:lnTo>
                          <a:pt x="152" y="245"/>
                        </a:lnTo>
                        <a:lnTo>
                          <a:pt x="148" y="247"/>
                        </a:lnTo>
                        <a:lnTo>
                          <a:pt x="147" y="244"/>
                        </a:lnTo>
                        <a:lnTo>
                          <a:pt x="145" y="244"/>
                        </a:lnTo>
                        <a:lnTo>
                          <a:pt x="143" y="245"/>
                        </a:lnTo>
                        <a:lnTo>
                          <a:pt x="140" y="244"/>
                        </a:lnTo>
                        <a:lnTo>
                          <a:pt x="110" y="244"/>
                        </a:lnTo>
                        <a:lnTo>
                          <a:pt x="108" y="242"/>
                        </a:lnTo>
                        <a:lnTo>
                          <a:pt x="107" y="242"/>
                        </a:lnTo>
                        <a:lnTo>
                          <a:pt x="105" y="242"/>
                        </a:lnTo>
                        <a:lnTo>
                          <a:pt x="98" y="242"/>
                        </a:lnTo>
                        <a:lnTo>
                          <a:pt x="98" y="240"/>
                        </a:lnTo>
                        <a:lnTo>
                          <a:pt x="95" y="240"/>
                        </a:lnTo>
                        <a:lnTo>
                          <a:pt x="90" y="242"/>
                        </a:lnTo>
                        <a:lnTo>
                          <a:pt x="89" y="240"/>
                        </a:lnTo>
                        <a:lnTo>
                          <a:pt x="82" y="240"/>
                        </a:lnTo>
                        <a:lnTo>
                          <a:pt x="79" y="240"/>
                        </a:lnTo>
                        <a:lnTo>
                          <a:pt x="72" y="240"/>
                        </a:lnTo>
                        <a:lnTo>
                          <a:pt x="70" y="242"/>
                        </a:lnTo>
                        <a:lnTo>
                          <a:pt x="67" y="242"/>
                        </a:lnTo>
                        <a:lnTo>
                          <a:pt x="65" y="242"/>
                        </a:lnTo>
                        <a:lnTo>
                          <a:pt x="65" y="244"/>
                        </a:lnTo>
                        <a:lnTo>
                          <a:pt x="65" y="244"/>
                        </a:lnTo>
                        <a:lnTo>
                          <a:pt x="35" y="244"/>
                        </a:lnTo>
                        <a:lnTo>
                          <a:pt x="34" y="242"/>
                        </a:lnTo>
                        <a:lnTo>
                          <a:pt x="32" y="242"/>
                        </a:lnTo>
                        <a:lnTo>
                          <a:pt x="29" y="244"/>
                        </a:lnTo>
                        <a:lnTo>
                          <a:pt x="32" y="240"/>
                        </a:lnTo>
                        <a:lnTo>
                          <a:pt x="29" y="237"/>
                        </a:lnTo>
                        <a:lnTo>
                          <a:pt x="32" y="229"/>
                        </a:lnTo>
                        <a:lnTo>
                          <a:pt x="30" y="220"/>
                        </a:lnTo>
                        <a:lnTo>
                          <a:pt x="27" y="215"/>
                        </a:lnTo>
                        <a:lnTo>
                          <a:pt x="27" y="209"/>
                        </a:lnTo>
                        <a:lnTo>
                          <a:pt x="29" y="205"/>
                        </a:lnTo>
                        <a:lnTo>
                          <a:pt x="25" y="201"/>
                        </a:lnTo>
                        <a:lnTo>
                          <a:pt x="17" y="204"/>
                        </a:lnTo>
                        <a:lnTo>
                          <a:pt x="15" y="201"/>
                        </a:lnTo>
                        <a:lnTo>
                          <a:pt x="10" y="201"/>
                        </a:lnTo>
                        <a:lnTo>
                          <a:pt x="9" y="187"/>
                        </a:lnTo>
                        <a:lnTo>
                          <a:pt x="4" y="189"/>
                        </a:lnTo>
                        <a:lnTo>
                          <a:pt x="0" y="187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89" name="Google Shape;3041;p98">
                    <a:extLst>
                      <a:ext uri="{FF2B5EF4-FFF2-40B4-BE49-F238E27FC236}">
                        <a16:creationId xmlns:a16="http://schemas.microsoft.com/office/drawing/2014/main" id="{FE2823CB-1CA9-811C-CB51-AC854413DE15}"/>
                      </a:ext>
                    </a:extLst>
                  </p:cNvPr>
                  <p:cNvSpPr/>
                  <p:nvPr/>
                </p:nvSpPr>
                <p:spPr>
                  <a:xfrm>
                    <a:off x="6528461" y="3244812"/>
                    <a:ext cx="73847" cy="705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8" h="137" extrusionOk="0">
                        <a:moveTo>
                          <a:pt x="63" y="4"/>
                        </a:moveTo>
                        <a:lnTo>
                          <a:pt x="63" y="2"/>
                        </a:lnTo>
                        <a:lnTo>
                          <a:pt x="65" y="2"/>
                        </a:lnTo>
                        <a:lnTo>
                          <a:pt x="68" y="2"/>
                        </a:lnTo>
                        <a:lnTo>
                          <a:pt x="70" y="0"/>
                        </a:lnTo>
                        <a:lnTo>
                          <a:pt x="77" y="0"/>
                        </a:lnTo>
                        <a:lnTo>
                          <a:pt x="80" y="0"/>
                        </a:lnTo>
                        <a:lnTo>
                          <a:pt x="87" y="0"/>
                        </a:lnTo>
                        <a:lnTo>
                          <a:pt x="88" y="2"/>
                        </a:lnTo>
                        <a:lnTo>
                          <a:pt x="93" y="0"/>
                        </a:lnTo>
                        <a:lnTo>
                          <a:pt x="96" y="0"/>
                        </a:lnTo>
                        <a:lnTo>
                          <a:pt x="96" y="2"/>
                        </a:lnTo>
                        <a:lnTo>
                          <a:pt x="103" y="2"/>
                        </a:lnTo>
                        <a:lnTo>
                          <a:pt x="105" y="2"/>
                        </a:lnTo>
                        <a:lnTo>
                          <a:pt x="106" y="2"/>
                        </a:lnTo>
                        <a:lnTo>
                          <a:pt x="108" y="4"/>
                        </a:lnTo>
                        <a:lnTo>
                          <a:pt x="108" y="4"/>
                        </a:lnTo>
                        <a:lnTo>
                          <a:pt x="106" y="7"/>
                        </a:lnTo>
                        <a:lnTo>
                          <a:pt x="108" y="12"/>
                        </a:lnTo>
                        <a:lnTo>
                          <a:pt x="108" y="17"/>
                        </a:lnTo>
                        <a:lnTo>
                          <a:pt x="108" y="20"/>
                        </a:lnTo>
                        <a:lnTo>
                          <a:pt x="108" y="24"/>
                        </a:lnTo>
                        <a:lnTo>
                          <a:pt x="110" y="25"/>
                        </a:lnTo>
                        <a:lnTo>
                          <a:pt x="115" y="24"/>
                        </a:lnTo>
                        <a:lnTo>
                          <a:pt x="118" y="24"/>
                        </a:lnTo>
                        <a:lnTo>
                          <a:pt x="123" y="22"/>
                        </a:lnTo>
                        <a:lnTo>
                          <a:pt x="128" y="20"/>
                        </a:lnTo>
                        <a:lnTo>
                          <a:pt x="136" y="20"/>
                        </a:lnTo>
                        <a:lnTo>
                          <a:pt x="138" y="22"/>
                        </a:lnTo>
                        <a:lnTo>
                          <a:pt x="138" y="29"/>
                        </a:lnTo>
                        <a:lnTo>
                          <a:pt x="136" y="32"/>
                        </a:lnTo>
                        <a:lnTo>
                          <a:pt x="138" y="34"/>
                        </a:lnTo>
                        <a:lnTo>
                          <a:pt x="138" y="39"/>
                        </a:lnTo>
                        <a:lnTo>
                          <a:pt x="133" y="39"/>
                        </a:lnTo>
                        <a:lnTo>
                          <a:pt x="128" y="42"/>
                        </a:lnTo>
                        <a:lnTo>
                          <a:pt x="128" y="45"/>
                        </a:lnTo>
                        <a:lnTo>
                          <a:pt x="130" y="45"/>
                        </a:lnTo>
                        <a:lnTo>
                          <a:pt x="130" y="49"/>
                        </a:lnTo>
                        <a:lnTo>
                          <a:pt x="130" y="49"/>
                        </a:lnTo>
                        <a:lnTo>
                          <a:pt x="128" y="50"/>
                        </a:lnTo>
                        <a:lnTo>
                          <a:pt x="125" y="52"/>
                        </a:lnTo>
                        <a:lnTo>
                          <a:pt x="125" y="54"/>
                        </a:lnTo>
                        <a:lnTo>
                          <a:pt x="126" y="55"/>
                        </a:lnTo>
                        <a:lnTo>
                          <a:pt x="128" y="57"/>
                        </a:lnTo>
                        <a:lnTo>
                          <a:pt x="130" y="59"/>
                        </a:lnTo>
                        <a:lnTo>
                          <a:pt x="131" y="60"/>
                        </a:lnTo>
                        <a:lnTo>
                          <a:pt x="135" y="63"/>
                        </a:lnTo>
                        <a:lnTo>
                          <a:pt x="136" y="65"/>
                        </a:lnTo>
                        <a:lnTo>
                          <a:pt x="138" y="67"/>
                        </a:lnTo>
                        <a:lnTo>
                          <a:pt x="138" y="72"/>
                        </a:lnTo>
                        <a:lnTo>
                          <a:pt x="136" y="80"/>
                        </a:lnTo>
                        <a:lnTo>
                          <a:pt x="130" y="97"/>
                        </a:lnTo>
                        <a:lnTo>
                          <a:pt x="131" y="100"/>
                        </a:lnTo>
                        <a:lnTo>
                          <a:pt x="131" y="105"/>
                        </a:lnTo>
                        <a:lnTo>
                          <a:pt x="128" y="105"/>
                        </a:lnTo>
                        <a:lnTo>
                          <a:pt x="126" y="102"/>
                        </a:lnTo>
                        <a:lnTo>
                          <a:pt x="123" y="100"/>
                        </a:lnTo>
                        <a:lnTo>
                          <a:pt x="116" y="100"/>
                        </a:lnTo>
                        <a:lnTo>
                          <a:pt x="115" y="102"/>
                        </a:lnTo>
                        <a:lnTo>
                          <a:pt x="111" y="102"/>
                        </a:lnTo>
                        <a:lnTo>
                          <a:pt x="105" y="103"/>
                        </a:lnTo>
                        <a:lnTo>
                          <a:pt x="101" y="98"/>
                        </a:lnTo>
                        <a:lnTo>
                          <a:pt x="98" y="90"/>
                        </a:lnTo>
                        <a:lnTo>
                          <a:pt x="93" y="90"/>
                        </a:lnTo>
                        <a:lnTo>
                          <a:pt x="92" y="92"/>
                        </a:lnTo>
                        <a:lnTo>
                          <a:pt x="92" y="98"/>
                        </a:lnTo>
                        <a:lnTo>
                          <a:pt x="92" y="102"/>
                        </a:lnTo>
                        <a:lnTo>
                          <a:pt x="83" y="102"/>
                        </a:lnTo>
                        <a:lnTo>
                          <a:pt x="78" y="102"/>
                        </a:lnTo>
                        <a:lnTo>
                          <a:pt x="78" y="103"/>
                        </a:lnTo>
                        <a:lnTo>
                          <a:pt x="75" y="105"/>
                        </a:lnTo>
                        <a:lnTo>
                          <a:pt x="70" y="103"/>
                        </a:lnTo>
                        <a:lnTo>
                          <a:pt x="65" y="103"/>
                        </a:lnTo>
                        <a:lnTo>
                          <a:pt x="63" y="107"/>
                        </a:lnTo>
                        <a:lnTo>
                          <a:pt x="65" y="108"/>
                        </a:lnTo>
                        <a:lnTo>
                          <a:pt x="65" y="113"/>
                        </a:lnTo>
                        <a:lnTo>
                          <a:pt x="68" y="112"/>
                        </a:lnTo>
                        <a:lnTo>
                          <a:pt x="72" y="112"/>
                        </a:lnTo>
                        <a:lnTo>
                          <a:pt x="75" y="113"/>
                        </a:lnTo>
                        <a:lnTo>
                          <a:pt x="78" y="117"/>
                        </a:lnTo>
                        <a:lnTo>
                          <a:pt x="78" y="127"/>
                        </a:lnTo>
                        <a:lnTo>
                          <a:pt x="78" y="130"/>
                        </a:lnTo>
                        <a:lnTo>
                          <a:pt x="72" y="125"/>
                        </a:lnTo>
                        <a:lnTo>
                          <a:pt x="70" y="125"/>
                        </a:lnTo>
                        <a:lnTo>
                          <a:pt x="68" y="128"/>
                        </a:lnTo>
                        <a:lnTo>
                          <a:pt x="63" y="128"/>
                        </a:lnTo>
                        <a:lnTo>
                          <a:pt x="62" y="130"/>
                        </a:lnTo>
                        <a:lnTo>
                          <a:pt x="62" y="132"/>
                        </a:lnTo>
                        <a:lnTo>
                          <a:pt x="58" y="137"/>
                        </a:lnTo>
                        <a:lnTo>
                          <a:pt x="57" y="137"/>
                        </a:lnTo>
                        <a:lnTo>
                          <a:pt x="53" y="135"/>
                        </a:lnTo>
                        <a:lnTo>
                          <a:pt x="52" y="130"/>
                        </a:lnTo>
                        <a:lnTo>
                          <a:pt x="43" y="127"/>
                        </a:lnTo>
                        <a:lnTo>
                          <a:pt x="40" y="122"/>
                        </a:lnTo>
                        <a:lnTo>
                          <a:pt x="30" y="113"/>
                        </a:lnTo>
                        <a:lnTo>
                          <a:pt x="23" y="108"/>
                        </a:lnTo>
                        <a:lnTo>
                          <a:pt x="25" y="107"/>
                        </a:lnTo>
                        <a:lnTo>
                          <a:pt x="18" y="102"/>
                        </a:lnTo>
                        <a:lnTo>
                          <a:pt x="17" y="97"/>
                        </a:lnTo>
                        <a:lnTo>
                          <a:pt x="13" y="93"/>
                        </a:lnTo>
                        <a:lnTo>
                          <a:pt x="13" y="87"/>
                        </a:lnTo>
                        <a:lnTo>
                          <a:pt x="8" y="82"/>
                        </a:lnTo>
                        <a:lnTo>
                          <a:pt x="8" y="78"/>
                        </a:lnTo>
                        <a:lnTo>
                          <a:pt x="5" y="77"/>
                        </a:lnTo>
                        <a:lnTo>
                          <a:pt x="0" y="67"/>
                        </a:lnTo>
                        <a:lnTo>
                          <a:pt x="0" y="65"/>
                        </a:lnTo>
                        <a:lnTo>
                          <a:pt x="7" y="67"/>
                        </a:lnTo>
                        <a:lnTo>
                          <a:pt x="12" y="63"/>
                        </a:lnTo>
                        <a:lnTo>
                          <a:pt x="12" y="50"/>
                        </a:lnTo>
                        <a:lnTo>
                          <a:pt x="13" y="45"/>
                        </a:lnTo>
                        <a:lnTo>
                          <a:pt x="15" y="47"/>
                        </a:lnTo>
                        <a:lnTo>
                          <a:pt x="27" y="45"/>
                        </a:lnTo>
                        <a:lnTo>
                          <a:pt x="18" y="44"/>
                        </a:lnTo>
                        <a:lnTo>
                          <a:pt x="13" y="37"/>
                        </a:lnTo>
                        <a:lnTo>
                          <a:pt x="18" y="35"/>
                        </a:lnTo>
                        <a:lnTo>
                          <a:pt x="20" y="30"/>
                        </a:lnTo>
                        <a:lnTo>
                          <a:pt x="22" y="30"/>
                        </a:lnTo>
                        <a:lnTo>
                          <a:pt x="25" y="29"/>
                        </a:lnTo>
                        <a:lnTo>
                          <a:pt x="28" y="29"/>
                        </a:lnTo>
                        <a:lnTo>
                          <a:pt x="30" y="29"/>
                        </a:lnTo>
                        <a:lnTo>
                          <a:pt x="63" y="30"/>
                        </a:lnTo>
                        <a:lnTo>
                          <a:pt x="63" y="4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90" name="Google Shape;3042;p98">
                    <a:extLst>
                      <a:ext uri="{FF2B5EF4-FFF2-40B4-BE49-F238E27FC236}">
                        <a16:creationId xmlns:a16="http://schemas.microsoft.com/office/drawing/2014/main" id="{5CA9CF53-CBF0-89B4-1969-7566D43CCA7E}"/>
                      </a:ext>
                    </a:extLst>
                  </p:cNvPr>
                  <p:cNvSpPr/>
                  <p:nvPr/>
                </p:nvSpPr>
                <p:spPr>
                  <a:xfrm>
                    <a:off x="6534882" y="3245850"/>
                    <a:ext cx="26756" cy="1452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0" h="28" extrusionOk="0">
                        <a:moveTo>
                          <a:pt x="7" y="28"/>
                        </a:moveTo>
                        <a:lnTo>
                          <a:pt x="9" y="28"/>
                        </a:lnTo>
                        <a:lnTo>
                          <a:pt x="12" y="27"/>
                        </a:lnTo>
                        <a:lnTo>
                          <a:pt x="15" y="27"/>
                        </a:lnTo>
                        <a:lnTo>
                          <a:pt x="17" y="27"/>
                        </a:lnTo>
                        <a:lnTo>
                          <a:pt x="50" y="28"/>
                        </a:lnTo>
                        <a:lnTo>
                          <a:pt x="50" y="2"/>
                        </a:lnTo>
                        <a:lnTo>
                          <a:pt x="20" y="2"/>
                        </a:lnTo>
                        <a:lnTo>
                          <a:pt x="19" y="0"/>
                        </a:lnTo>
                        <a:lnTo>
                          <a:pt x="17" y="0"/>
                        </a:lnTo>
                        <a:lnTo>
                          <a:pt x="14" y="2"/>
                        </a:lnTo>
                        <a:lnTo>
                          <a:pt x="12" y="2"/>
                        </a:lnTo>
                        <a:lnTo>
                          <a:pt x="14" y="7"/>
                        </a:lnTo>
                        <a:lnTo>
                          <a:pt x="7" y="13"/>
                        </a:lnTo>
                        <a:lnTo>
                          <a:pt x="0" y="25"/>
                        </a:lnTo>
                        <a:lnTo>
                          <a:pt x="7" y="27"/>
                        </a:lnTo>
                        <a:lnTo>
                          <a:pt x="7" y="28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91" name="Google Shape;3043;p98">
                    <a:extLst>
                      <a:ext uri="{FF2B5EF4-FFF2-40B4-BE49-F238E27FC236}">
                        <a16:creationId xmlns:a16="http://schemas.microsoft.com/office/drawing/2014/main" id="{C42A2CE1-773B-2E93-2182-98976A68B7C1}"/>
                      </a:ext>
                    </a:extLst>
                  </p:cNvPr>
                  <p:cNvSpPr/>
                  <p:nvPr/>
                </p:nvSpPr>
                <p:spPr>
                  <a:xfrm>
                    <a:off x="6559498" y="3226136"/>
                    <a:ext cx="99533" cy="10272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6" h="198" extrusionOk="0">
                        <a:moveTo>
                          <a:pt x="0" y="172"/>
                        </a:moveTo>
                        <a:lnTo>
                          <a:pt x="4" y="167"/>
                        </a:lnTo>
                        <a:lnTo>
                          <a:pt x="4" y="165"/>
                        </a:lnTo>
                        <a:lnTo>
                          <a:pt x="5" y="163"/>
                        </a:lnTo>
                        <a:lnTo>
                          <a:pt x="10" y="163"/>
                        </a:lnTo>
                        <a:lnTo>
                          <a:pt x="12" y="160"/>
                        </a:lnTo>
                        <a:lnTo>
                          <a:pt x="14" y="160"/>
                        </a:lnTo>
                        <a:lnTo>
                          <a:pt x="20" y="165"/>
                        </a:lnTo>
                        <a:lnTo>
                          <a:pt x="20" y="162"/>
                        </a:lnTo>
                        <a:lnTo>
                          <a:pt x="20" y="152"/>
                        </a:lnTo>
                        <a:lnTo>
                          <a:pt x="17" y="148"/>
                        </a:lnTo>
                        <a:lnTo>
                          <a:pt x="14" y="147"/>
                        </a:lnTo>
                        <a:lnTo>
                          <a:pt x="10" y="147"/>
                        </a:lnTo>
                        <a:lnTo>
                          <a:pt x="7" y="148"/>
                        </a:lnTo>
                        <a:lnTo>
                          <a:pt x="7" y="143"/>
                        </a:lnTo>
                        <a:lnTo>
                          <a:pt x="5" y="142"/>
                        </a:lnTo>
                        <a:lnTo>
                          <a:pt x="7" y="138"/>
                        </a:lnTo>
                        <a:lnTo>
                          <a:pt x="12" y="138"/>
                        </a:lnTo>
                        <a:lnTo>
                          <a:pt x="17" y="140"/>
                        </a:lnTo>
                        <a:lnTo>
                          <a:pt x="20" y="138"/>
                        </a:lnTo>
                        <a:lnTo>
                          <a:pt x="20" y="137"/>
                        </a:lnTo>
                        <a:lnTo>
                          <a:pt x="25" y="137"/>
                        </a:lnTo>
                        <a:lnTo>
                          <a:pt x="34" y="137"/>
                        </a:lnTo>
                        <a:lnTo>
                          <a:pt x="34" y="133"/>
                        </a:lnTo>
                        <a:lnTo>
                          <a:pt x="34" y="127"/>
                        </a:lnTo>
                        <a:lnTo>
                          <a:pt x="35" y="125"/>
                        </a:lnTo>
                        <a:lnTo>
                          <a:pt x="40" y="125"/>
                        </a:lnTo>
                        <a:lnTo>
                          <a:pt x="43" y="133"/>
                        </a:lnTo>
                        <a:lnTo>
                          <a:pt x="47" y="138"/>
                        </a:lnTo>
                        <a:lnTo>
                          <a:pt x="53" y="137"/>
                        </a:lnTo>
                        <a:lnTo>
                          <a:pt x="57" y="137"/>
                        </a:lnTo>
                        <a:lnTo>
                          <a:pt x="58" y="135"/>
                        </a:lnTo>
                        <a:lnTo>
                          <a:pt x="65" y="135"/>
                        </a:lnTo>
                        <a:lnTo>
                          <a:pt x="68" y="137"/>
                        </a:lnTo>
                        <a:lnTo>
                          <a:pt x="70" y="140"/>
                        </a:lnTo>
                        <a:lnTo>
                          <a:pt x="73" y="140"/>
                        </a:lnTo>
                        <a:lnTo>
                          <a:pt x="73" y="135"/>
                        </a:lnTo>
                        <a:lnTo>
                          <a:pt x="72" y="132"/>
                        </a:lnTo>
                        <a:lnTo>
                          <a:pt x="78" y="115"/>
                        </a:lnTo>
                        <a:lnTo>
                          <a:pt x="80" y="107"/>
                        </a:lnTo>
                        <a:lnTo>
                          <a:pt x="80" y="102"/>
                        </a:lnTo>
                        <a:lnTo>
                          <a:pt x="78" y="100"/>
                        </a:lnTo>
                        <a:lnTo>
                          <a:pt x="77" y="98"/>
                        </a:lnTo>
                        <a:lnTo>
                          <a:pt x="73" y="95"/>
                        </a:lnTo>
                        <a:lnTo>
                          <a:pt x="72" y="94"/>
                        </a:lnTo>
                        <a:lnTo>
                          <a:pt x="70" y="92"/>
                        </a:lnTo>
                        <a:lnTo>
                          <a:pt x="68" y="90"/>
                        </a:lnTo>
                        <a:lnTo>
                          <a:pt x="67" y="89"/>
                        </a:lnTo>
                        <a:lnTo>
                          <a:pt x="67" y="87"/>
                        </a:lnTo>
                        <a:lnTo>
                          <a:pt x="70" y="85"/>
                        </a:lnTo>
                        <a:lnTo>
                          <a:pt x="72" y="84"/>
                        </a:lnTo>
                        <a:lnTo>
                          <a:pt x="72" y="84"/>
                        </a:lnTo>
                        <a:lnTo>
                          <a:pt x="72" y="80"/>
                        </a:lnTo>
                        <a:lnTo>
                          <a:pt x="70" y="80"/>
                        </a:lnTo>
                        <a:lnTo>
                          <a:pt x="70" y="77"/>
                        </a:lnTo>
                        <a:lnTo>
                          <a:pt x="75" y="74"/>
                        </a:lnTo>
                        <a:lnTo>
                          <a:pt x="80" y="74"/>
                        </a:lnTo>
                        <a:lnTo>
                          <a:pt x="80" y="69"/>
                        </a:lnTo>
                        <a:lnTo>
                          <a:pt x="78" y="67"/>
                        </a:lnTo>
                        <a:lnTo>
                          <a:pt x="80" y="64"/>
                        </a:lnTo>
                        <a:lnTo>
                          <a:pt x="80" y="57"/>
                        </a:lnTo>
                        <a:lnTo>
                          <a:pt x="78" y="55"/>
                        </a:lnTo>
                        <a:lnTo>
                          <a:pt x="70" y="55"/>
                        </a:lnTo>
                        <a:lnTo>
                          <a:pt x="65" y="57"/>
                        </a:lnTo>
                        <a:lnTo>
                          <a:pt x="60" y="59"/>
                        </a:lnTo>
                        <a:lnTo>
                          <a:pt x="57" y="59"/>
                        </a:lnTo>
                        <a:lnTo>
                          <a:pt x="52" y="60"/>
                        </a:lnTo>
                        <a:lnTo>
                          <a:pt x="50" y="59"/>
                        </a:lnTo>
                        <a:lnTo>
                          <a:pt x="50" y="55"/>
                        </a:lnTo>
                        <a:lnTo>
                          <a:pt x="50" y="52"/>
                        </a:lnTo>
                        <a:lnTo>
                          <a:pt x="50" y="47"/>
                        </a:lnTo>
                        <a:lnTo>
                          <a:pt x="48" y="42"/>
                        </a:lnTo>
                        <a:lnTo>
                          <a:pt x="50" y="39"/>
                        </a:lnTo>
                        <a:lnTo>
                          <a:pt x="80" y="39"/>
                        </a:lnTo>
                        <a:lnTo>
                          <a:pt x="83" y="40"/>
                        </a:lnTo>
                        <a:lnTo>
                          <a:pt x="85" y="39"/>
                        </a:lnTo>
                        <a:lnTo>
                          <a:pt x="87" y="39"/>
                        </a:lnTo>
                        <a:lnTo>
                          <a:pt x="88" y="42"/>
                        </a:lnTo>
                        <a:lnTo>
                          <a:pt x="92" y="40"/>
                        </a:lnTo>
                        <a:lnTo>
                          <a:pt x="95" y="42"/>
                        </a:lnTo>
                        <a:lnTo>
                          <a:pt x="97" y="44"/>
                        </a:lnTo>
                        <a:lnTo>
                          <a:pt x="98" y="42"/>
                        </a:lnTo>
                        <a:lnTo>
                          <a:pt x="98" y="42"/>
                        </a:lnTo>
                        <a:lnTo>
                          <a:pt x="102" y="42"/>
                        </a:lnTo>
                        <a:lnTo>
                          <a:pt x="105" y="44"/>
                        </a:lnTo>
                        <a:lnTo>
                          <a:pt x="107" y="44"/>
                        </a:lnTo>
                        <a:lnTo>
                          <a:pt x="112" y="44"/>
                        </a:lnTo>
                        <a:lnTo>
                          <a:pt x="113" y="44"/>
                        </a:lnTo>
                        <a:lnTo>
                          <a:pt x="115" y="45"/>
                        </a:lnTo>
                        <a:lnTo>
                          <a:pt x="118" y="44"/>
                        </a:lnTo>
                        <a:lnTo>
                          <a:pt x="118" y="45"/>
                        </a:lnTo>
                        <a:lnTo>
                          <a:pt x="122" y="45"/>
                        </a:lnTo>
                        <a:lnTo>
                          <a:pt x="122" y="44"/>
                        </a:lnTo>
                        <a:lnTo>
                          <a:pt x="120" y="40"/>
                        </a:lnTo>
                        <a:lnTo>
                          <a:pt x="120" y="39"/>
                        </a:lnTo>
                        <a:lnTo>
                          <a:pt x="123" y="34"/>
                        </a:lnTo>
                        <a:lnTo>
                          <a:pt x="125" y="32"/>
                        </a:lnTo>
                        <a:lnTo>
                          <a:pt x="136" y="14"/>
                        </a:lnTo>
                        <a:lnTo>
                          <a:pt x="141" y="9"/>
                        </a:lnTo>
                        <a:lnTo>
                          <a:pt x="146" y="9"/>
                        </a:lnTo>
                        <a:lnTo>
                          <a:pt x="148" y="5"/>
                        </a:lnTo>
                        <a:lnTo>
                          <a:pt x="158" y="2"/>
                        </a:lnTo>
                        <a:lnTo>
                          <a:pt x="163" y="2"/>
                        </a:lnTo>
                        <a:lnTo>
                          <a:pt x="165" y="0"/>
                        </a:lnTo>
                        <a:lnTo>
                          <a:pt x="170" y="0"/>
                        </a:lnTo>
                        <a:lnTo>
                          <a:pt x="173" y="0"/>
                        </a:lnTo>
                        <a:lnTo>
                          <a:pt x="175" y="2"/>
                        </a:lnTo>
                        <a:lnTo>
                          <a:pt x="178" y="4"/>
                        </a:lnTo>
                        <a:lnTo>
                          <a:pt x="181" y="4"/>
                        </a:lnTo>
                        <a:lnTo>
                          <a:pt x="183" y="4"/>
                        </a:lnTo>
                        <a:lnTo>
                          <a:pt x="183" y="4"/>
                        </a:lnTo>
                        <a:lnTo>
                          <a:pt x="186" y="9"/>
                        </a:lnTo>
                        <a:lnTo>
                          <a:pt x="186" y="17"/>
                        </a:lnTo>
                        <a:lnTo>
                          <a:pt x="181" y="20"/>
                        </a:lnTo>
                        <a:lnTo>
                          <a:pt x="180" y="24"/>
                        </a:lnTo>
                        <a:lnTo>
                          <a:pt x="170" y="35"/>
                        </a:lnTo>
                        <a:lnTo>
                          <a:pt x="171" y="44"/>
                        </a:lnTo>
                        <a:lnTo>
                          <a:pt x="170" y="49"/>
                        </a:lnTo>
                        <a:lnTo>
                          <a:pt x="170" y="54"/>
                        </a:lnTo>
                        <a:lnTo>
                          <a:pt x="166" y="57"/>
                        </a:lnTo>
                        <a:lnTo>
                          <a:pt x="166" y="64"/>
                        </a:lnTo>
                        <a:lnTo>
                          <a:pt x="166" y="67"/>
                        </a:lnTo>
                        <a:lnTo>
                          <a:pt x="165" y="74"/>
                        </a:lnTo>
                        <a:lnTo>
                          <a:pt x="166" y="74"/>
                        </a:lnTo>
                        <a:lnTo>
                          <a:pt x="165" y="80"/>
                        </a:lnTo>
                        <a:lnTo>
                          <a:pt x="161" y="82"/>
                        </a:lnTo>
                        <a:lnTo>
                          <a:pt x="160" y="89"/>
                        </a:lnTo>
                        <a:lnTo>
                          <a:pt x="160" y="97"/>
                        </a:lnTo>
                        <a:lnTo>
                          <a:pt x="151" y="108"/>
                        </a:lnTo>
                        <a:lnTo>
                          <a:pt x="146" y="108"/>
                        </a:lnTo>
                        <a:lnTo>
                          <a:pt x="143" y="112"/>
                        </a:lnTo>
                        <a:lnTo>
                          <a:pt x="140" y="112"/>
                        </a:lnTo>
                        <a:lnTo>
                          <a:pt x="135" y="115"/>
                        </a:lnTo>
                        <a:lnTo>
                          <a:pt x="130" y="120"/>
                        </a:lnTo>
                        <a:lnTo>
                          <a:pt x="130" y="125"/>
                        </a:lnTo>
                        <a:lnTo>
                          <a:pt x="122" y="132"/>
                        </a:lnTo>
                        <a:lnTo>
                          <a:pt x="120" y="137"/>
                        </a:lnTo>
                        <a:lnTo>
                          <a:pt x="120" y="142"/>
                        </a:lnTo>
                        <a:lnTo>
                          <a:pt x="122" y="143"/>
                        </a:lnTo>
                        <a:lnTo>
                          <a:pt x="122" y="157"/>
                        </a:lnTo>
                        <a:lnTo>
                          <a:pt x="120" y="162"/>
                        </a:lnTo>
                        <a:lnTo>
                          <a:pt x="120" y="167"/>
                        </a:lnTo>
                        <a:lnTo>
                          <a:pt x="115" y="172"/>
                        </a:lnTo>
                        <a:lnTo>
                          <a:pt x="112" y="173"/>
                        </a:lnTo>
                        <a:lnTo>
                          <a:pt x="108" y="175"/>
                        </a:lnTo>
                        <a:lnTo>
                          <a:pt x="107" y="178"/>
                        </a:lnTo>
                        <a:lnTo>
                          <a:pt x="97" y="187"/>
                        </a:lnTo>
                        <a:lnTo>
                          <a:pt x="92" y="192"/>
                        </a:lnTo>
                        <a:lnTo>
                          <a:pt x="87" y="195"/>
                        </a:lnTo>
                        <a:lnTo>
                          <a:pt x="82" y="192"/>
                        </a:lnTo>
                        <a:lnTo>
                          <a:pt x="80" y="188"/>
                        </a:lnTo>
                        <a:lnTo>
                          <a:pt x="78" y="187"/>
                        </a:lnTo>
                        <a:lnTo>
                          <a:pt x="82" y="182"/>
                        </a:lnTo>
                        <a:lnTo>
                          <a:pt x="82" y="180"/>
                        </a:lnTo>
                        <a:lnTo>
                          <a:pt x="73" y="182"/>
                        </a:lnTo>
                        <a:lnTo>
                          <a:pt x="68" y="185"/>
                        </a:lnTo>
                        <a:lnTo>
                          <a:pt x="65" y="185"/>
                        </a:lnTo>
                        <a:lnTo>
                          <a:pt x="62" y="185"/>
                        </a:lnTo>
                        <a:lnTo>
                          <a:pt x="62" y="190"/>
                        </a:lnTo>
                        <a:lnTo>
                          <a:pt x="60" y="193"/>
                        </a:lnTo>
                        <a:lnTo>
                          <a:pt x="55" y="193"/>
                        </a:lnTo>
                        <a:lnTo>
                          <a:pt x="55" y="190"/>
                        </a:lnTo>
                        <a:lnTo>
                          <a:pt x="53" y="188"/>
                        </a:lnTo>
                        <a:lnTo>
                          <a:pt x="50" y="190"/>
                        </a:lnTo>
                        <a:lnTo>
                          <a:pt x="47" y="190"/>
                        </a:lnTo>
                        <a:lnTo>
                          <a:pt x="47" y="190"/>
                        </a:lnTo>
                        <a:lnTo>
                          <a:pt x="47" y="187"/>
                        </a:lnTo>
                        <a:lnTo>
                          <a:pt x="43" y="183"/>
                        </a:lnTo>
                        <a:lnTo>
                          <a:pt x="42" y="182"/>
                        </a:lnTo>
                        <a:lnTo>
                          <a:pt x="40" y="182"/>
                        </a:lnTo>
                        <a:lnTo>
                          <a:pt x="35" y="185"/>
                        </a:lnTo>
                        <a:lnTo>
                          <a:pt x="32" y="185"/>
                        </a:lnTo>
                        <a:lnTo>
                          <a:pt x="30" y="190"/>
                        </a:lnTo>
                        <a:lnTo>
                          <a:pt x="27" y="192"/>
                        </a:lnTo>
                        <a:lnTo>
                          <a:pt x="25" y="192"/>
                        </a:lnTo>
                        <a:lnTo>
                          <a:pt x="22" y="196"/>
                        </a:lnTo>
                        <a:lnTo>
                          <a:pt x="20" y="198"/>
                        </a:lnTo>
                        <a:lnTo>
                          <a:pt x="17" y="195"/>
                        </a:lnTo>
                        <a:lnTo>
                          <a:pt x="17" y="192"/>
                        </a:lnTo>
                        <a:lnTo>
                          <a:pt x="14" y="187"/>
                        </a:lnTo>
                        <a:lnTo>
                          <a:pt x="14" y="183"/>
                        </a:lnTo>
                        <a:lnTo>
                          <a:pt x="7" y="178"/>
                        </a:lnTo>
                        <a:lnTo>
                          <a:pt x="5" y="177"/>
                        </a:lnTo>
                        <a:lnTo>
                          <a:pt x="0" y="172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92" name="Google Shape;3044;p98">
                    <a:extLst>
                      <a:ext uri="{FF2B5EF4-FFF2-40B4-BE49-F238E27FC236}">
                        <a16:creationId xmlns:a16="http://schemas.microsoft.com/office/drawing/2014/main" id="{13BB74EF-D67A-37D4-80D0-9374902F33AC}"/>
                      </a:ext>
                    </a:extLst>
                  </p:cNvPr>
                  <p:cNvSpPr/>
                  <p:nvPr/>
                </p:nvSpPr>
                <p:spPr>
                  <a:xfrm>
                    <a:off x="6570200" y="3320556"/>
                    <a:ext cx="13913" cy="1660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" h="33" extrusionOk="0">
                        <a:moveTo>
                          <a:pt x="27" y="8"/>
                        </a:moveTo>
                        <a:lnTo>
                          <a:pt x="27" y="5"/>
                        </a:lnTo>
                        <a:lnTo>
                          <a:pt x="23" y="1"/>
                        </a:lnTo>
                        <a:lnTo>
                          <a:pt x="22" y="0"/>
                        </a:lnTo>
                        <a:lnTo>
                          <a:pt x="20" y="0"/>
                        </a:lnTo>
                        <a:lnTo>
                          <a:pt x="15" y="3"/>
                        </a:lnTo>
                        <a:lnTo>
                          <a:pt x="12" y="3"/>
                        </a:lnTo>
                        <a:lnTo>
                          <a:pt x="10" y="8"/>
                        </a:lnTo>
                        <a:lnTo>
                          <a:pt x="7" y="10"/>
                        </a:lnTo>
                        <a:lnTo>
                          <a:pt x="5" y="10"/>
                        </a:lnTo>
                        <a:lnTo>
                          <a:pt x="2" y="14"/>
                        </a:lnTo>
                        <a:lnTo>
                          <a:pt x="0" y="16"/>
                        </a:lnTo>
                        <a:lnTo>
                          <a:pt x="4" y="19"/>
                        </a:lnTo>
                        <a:lnTo>
                          <a:pt x="5" y="24"/>
                        </a:lnTo>
                        <a:lnTo>
                          <a:pt x="2" y="29"/>
                        </a:lnTo>
                        <a:lnTo>
                          <a:pt x="4" y="33"/>
                        </a:lnTo>
                        <a:lnTo>
                          <a:pt x="9" y="29"/>
                        </a:lnTo>
                        <a:lnTo>
                          <a:pt x="12" y="29"/>
                        </a:lnTo>
                        <a:lnTo>
                          <a:pt x="15" y="26"/>
                        </a:lnTo>
                        <a:lnTo>
                          <a:pt x="15" y="18"/>
                        </a:lnTo>
                        <a:lnTo>
                          <a:pt x="17" y="16"/>
                        </a:lnTo>
                        <a:lnTo>
                          <a:pt x="22" y="13"/>
                        </a:lnTo>
                        <a:lnTo>
                          <a:pt x="27" y="8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93" name="Google Shape;3045;p98">
                    <a:extLst>
                      <a:ext uri="{FF2B5EF4-FFF2-40B4-BE49-F238E27FC236}">
                        <a16:creationId xmlns:a16="http://schemas.microsoft.com/office/drawing/2014/main" id="{5FCA1FD5-79A7-867C-3E01-3FD181D7718E}"/>
                      </a:ext>
                    </a:extLst>
                  </p:cNvPr>
                  <p:cNvSpPr/>
                  <p:nvPr/>
                </p:nvSpPr>
                <p:spPr>
                  <a:xfrm>
                    <a:off x="6796023" y="3281128"/>
                    <a:ext cx="144483" cy="12969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1" h="251" extrusionOk="0">
                        <a:moveTo>
                          <a:pt x="30" y="5"/>
                        </a:moveTo>
                        <a:lnTo>
                          <a:pt x="32" y="3"/>
                        </a:lnTo>
                        <a:lnTo>
                          <a:pt x="33" y="3"/>
                        </a:lnTo>
                        <a:lnTo>
                          <a:pt x="35" y="2"/>
                        </a:lnTo>
                        <a:lnTo>
                          <a:pt x="65" y="2"/>
                        </a:lnTo>
                        <a:lnTo>
                          <a:pt x="115" y="0"/>
                        </a:lnTo>
                        <a:lnTo>
                          <a:pt x="204" y="47"/>
                        </a:lnTo>
                        <a:lnTo>
                          <a:pt x="209" y="53"/>
                        </a:lnTo>
                        <a:lnTo>
                          <a:pt x="208" y="57"/>
                        </a:lnTo>
                        <a:lnTo>
                          <a:pt x="208" y="58"/>
                        </a:lnTo>
                        <a:lnTo>
                          <a:pt x="211" y="62"/>
                        </a:lnTo>
                        <a:lnTo>
                          <a:pt x="241" y="80"/>
                        </a:lnTo>
                        <a:lnTo>
                          <a:pt x="239" y="80"/>
                        </a:lnTo>
                        <a:lnTo>
                          <a:pt x="241" y="82"/>
                        </a:lnTo>
                        <a:lnTo>
                          <a:pt x="241" y="85"/>
                        </a:lnTo>
                        <a:lnTo>
                          <a:pt x="239" y="87"/>
                        </a:lnTo>
                        <a:lnTo>
                          <a:pt x="234" y="101"/>
                        </a:lnTo>
                        <a:lnTo>
                          <a:pt x="231" y="111"/>
                        </a:lnTo>
                        <a:lnTo>
                          <a:pt x="231" y="116"/>
                        </a:lnTo>
                        <a:lnTo>
                          <a:pt x="238" y="121"/>
                        </a:lnTo>
                        <a:lnTo>
                          <a:pt x="243" y="126"/>
                        </a:lnTo>
                        <a:lnTo>
                          <a:pt x="246" y="126"/>
                        </a:lnTo>
                        <a:lnTo>
                          <a:pt x="249" y="135"/>
                        </a:lnTo>
                        <a:lnTo>
                          <a:pt x="248" y="136"/>
                        </a:lnTo>
                        <a:lnTo>
                          <a:pt x="246" y="136"/>
                        </a:lnTo>
                        <a:lnTo>
                          <a:pt x="243" y="138"/>
                        </a:lnTo>
                        <a:lnTo>
                          <a:pt x="241" y="143"/>
                        </a:lnTo>
                        <a:lnTo>
                          <a:pt x="241" y="151"/>
                        </a:lnTo>
                        <a:lnTo>
                          <a:pt x="246" y="155"/>
                        </a:lnTo>
                        <a:lnTo>
                          <a:pt x="244" y="160"/>
                        </a:lnTo>
                        <a:lnTo>
                          <a:pt x="241" y="161"/>
                        </a:lnTo>
                        <a:lnTo>
                          <a:pt x="243" y="166"/>
                        </a:lnTo>
                        <a:lnTo>
                          <a:pt x="244" y="173"/>
                        </a:lnTo>
                        <a:lnTo>
                          <a:pt x="244" y="173"/>
                        </a:lnTo>
                        <a:lnTo>
                          <a:pt x="244" y="176"/>
                        </a:lnTo>
                        <a:lnTo>
                          <a:pt x="246" y="180"/>
                        </a:lnTo>
                        <a:lnTo>
                          <a:pt x="249" y="183"/>
                        </a:lnTo>
                        <a:lnTo>
                          <a:pt x="246" y="186"/>
                        </a:lnTo>
                        <a:lnTo>
                          <a:pt x="249" y="188"/>
                        </a:lnTo>
                        <a:lnTo>
                          <a:pt x="251" y="194"/>
                        </a:lnTo>
                        <a:lnTo>
                          <a:pt x="251" y="198"/>
                        </a:lnTo>
                        <a:lnTo>
                          <a:pt x="259" y="206"/>
                        </a:lnTo>
                        <a:lnTo>
                          <a:pt x="266" y="206"/>
                        </a:lnTo>
                        <a:lnTo>
                          <a:pt x="271" y="211"/>
                        </a:lnTo>
                        <a:lnTo>
                          <a:pt x="271" y="213"/>
                        </a:lnTo>
                        <a:lnTo>
                          <a:pt x="271" y="213"/>
                        </a:lnTo>
                        <a:lnTo>
                          <a:pt x="271" y="213"/>
                        </a:lnTo>
                        <a:lnTo>
                          <a:pt x="268" y="216"/>
                        </a:lnTo>
                        <a:lnTo>
                          <a:pt x="264" y="214"/>
                        </a:lnTo>
                        <a:lnTo>
                          <a:pt x="261" y="218"/>
                        </a:lnTo>
                        <a:lnTo>
                          <a:pt x="258" y="221"/>
                        </a:lnTo>
                        <a:lnTo>
                          <a:pt x="253" y="221"/>
                        </a:lnTo>
                        <a:lnTo>
                          <a:pt x="249" y="224"/>
                        </a:lnTo>
                        <a:lnTo>
                          <a:pt x="243" y="224"/>
                        </a:lnTo>
                        <a:lnTo>
                          <a:pt x="241" y="226"/>
                        </a:lnTo>
                        <a:lnTo>
                          <a:pt x="238" y="228"/>
                        </a:lnTo>
                        <a:lnTo>
                          <a:pt x="234" y="226"/>
                        </a:lnTo>
                        <a:lnTo>
                          <a:pt x="224" y="229"/>
                        </a:lnTo>
                        <a:lnTo>
                          <a:pt x="223" y="231"/>
                        </a:lnTo>
                        <a:lnTo>
                          <a:pt x="218" y="231"/>
                        </a:lnTo>
                        <a:lnTo>
                          <a:pt x="216" y="229"/>
                        </a:lnTo>
                        <a:lnTo>
                          <a:pt x="211" y="229"/>
                        </a:lnTo>
                        <a:lnTo>
                          <a:pt x="208" y="229"/>
                        </a:lnTo>
                        <a:lnTo>
                          <a:pt x="206" y="229"/>
                        </a:lnTo>
                        <a:lnTo>
                          <a:pt x="208" y="233"/>
                        </a:lnTo>
                        <a:lnTo>
                          <a:pt x="204" y="236"/>
                        </a:lnTo>
                        <a:lnTo>
                          <a:pt x="198" y="236"/>
                        </a:lnTo>
                        <a:lnTo>
                          <a:pt x="193" y="238"/>
                        </a:lnTo>
                        <a:lnTo>
                          <a:pt x="191" y="236"/>
                        </a:lnTo>
                        <a:lnTo>
                          <a:pt x="188" y="236"/>
                        </a:lnTo>
                        <a:lnTo>
                          <a:pt x="186" y="234"/>
                        </a:lnTo>
                        <a:lnTo>
                          <a:pt x="185" y="234"/>
                        </a:lnTo>
                        <a:lnTo>
                          <a:pt x="183" y="234"/>
                        </a:lnTo>
                        <a:lnTo>
                          <a:pt x="180" y="236"/>
                        </a:lnTo>
                        <a:lnTo>
                          <a:pt x="175" y="239"/>
                        </a:lnTo>
                        <a:lnTo>
                          <a:pt x="168" y="241"/>
                        </a:lnTo>
                        <a:lnTo>
                          <a:pt x="168" y="239"/>
                        </a:lnTo>
                        <a:lnTo>
                          <a:pt x="166" y="236"/>
                        </a:lnTo>
                        <a:lnTo>
                          <a:pt x="163" y="236"/>
                        </a:lnTo>
                        <a:lnTo>
                          <a:pt x="160" y="234"/>
                        </a:lnTo>
                        <a:lnTo>
                          <a:pt x="156" y="234"/>
                        </a:lnTo>
                        <a:lnTo>
                          <a:pt x="156" y="231"/>
                        </a:lnTo>
                        <a:lnTo>
                          <a:pt x="153" y="233"/>
                        </a:lnTo>
                        <a:lnTo>
                          <a:pt x="151" y="234"/>
                        </a:lnTo>
                        <a:lnTo>
                          <a:pt x="148" y="234"/>
                        </a:lnTo>
                        <a:lnTo>
                          <a:pt x="125" y="234"/>
                        </a:lnTo>
                        <a:lnTo>
                          <a:pt x="120" y="251"/>
                        </a:lnTo>
                        <a:lnTo>
                          <a:pt x="120" y="214"/>
                        </a:lnTo>
                        <a:lnTo>
                          <a:pt x="118" y="206"/>
                        </a:lnTo>
                        <a:lnTo>
                          <a:pt x="111" y="198"/>
                        </a:lnTo>
                        <a:lnTo>
                          <a:pt x="108" y="194"/>
                        </a:lnTo>
                        <a:lnTo>
                          <a:pt x="105" y="193"/>
                        </a:lnTo>
                        <a:lnTo>
                          <a:pt x="105" y="193"/>
                        </a:lnTo>
                        <a:lnTo>
                          <a:pt x="103" y="191"/>
                        </a:lnTo>
                        <a:lnTo>
                          <a:pt x="101" y="191"/>
                        </a:lnTo>
                        <a:lnTo>
                          <a:pt x="98" y="189"/>
                        </a:lnTo>
                        <a:lnTo>
                          <a:pt x="96" y="191"/>
                        </a:lnTo>
                        <a:lnTo>
                          <a:pt x="95" y="189"/>
                        </a:lnTo>
                        <a:lnTo>
                          <a:pt x="93" y="189"/>
                        </a:lnTo>
                        <a:lnTo>
                          <a:pt x="91" y="186"/>
                        </a:lnTo>
                        <a:lnTo>
                          <a:pt x="88" y="186"/>
                        </a:lnTo>
                        <a:lnTo>
                          <a:pt x="88" y="188"/>
                        </a:lnTo>
                        <a:lnTo>
                          <a:pt x="88" y="188"/>
                        </a:lnTo>
                        <a:lnTo>
                          <a:pt x="85" y="188"/>
                        </a:lnTo>
                        <a:lnTo>
                          <a:pt x="82" y="183"/>
                        </a:lnTo>
                        <a:lnTo>
                          <a:pt x="80" y="180"/>
                        </a:lnTo>
                        <a:lnTo>
                          <a:pt x="77" y="180"/>
                        </a:lnTo>
                        <a:lnTo>
                          <a:pt x="75" y="176"/>
                        </a:lnTo>
                        <a:lnTo>
                          <a:pt x="72" y="176"/>
                        </a:lnTo>
                        <a:lnTo>
                          <a:pt x="62" y="173"/>
                        </a:lnTo>
                        <a:lnTo>
                          <a:pt x="57" y="173"/>
                        </a:lnTo>
                        <a:lnTo>
                          <a:pt x="53" y="171"/>
                        </a:lnTo>
                        <a:lnTo>
                          <a:pt x="53" y="170"/>
                        </a:lnTo>
                        <a:lnTo>
                          <a:pt x="50" y="166"/>
                        </a:lnTo>
                        <a:lnTo>
                          <a:pt x="47" y="166"/>
                        </a:lnTo>
                        <a:lnTo>
                          <a:pt x="43" y="166"/>
                        </a:lnTo>
                        <a:lnTo>
                          <a:pt x="40" y="166"/>
                        </a:lnTo>
                        <a:lnTo>
                          <a:pt x="32" y="163"/>
                        </a:lnTo>
                        <a:lnTo>
                          <a:pt x="25" y="145"/>
                        </a:lnTo>
                        <a:lnTo>
                          <a:pt x="8" y="123"/>
                        </a:lnTo>
                        <a:lnTo>
                          <a:pt x="3" y="98"/>
                        </a:lnTo>
                        <a:lnTo>
                          <a:pt x="0" y="80"/>
                        </a:lnTo>
                        <a:lnTo>
                          <a:pt x="12" y="80"/>
                        </a:lnTo>
                        <a:lnTo>
                          <a:pt x="20" y="78"/>
                        </a:lnTo>
                        <a:lnTo>
                          <a:pt x="25" y="72"/>
                        </a:lnTo>
                        <a:lnTo>
                          <a:pt x="30" y="65"/>
                        </a:lnTo>
                        <a:lnTo>
                          <a:pt x="33" y="63"/>
                        </a:lnTo>
                        <a:lnTo>
                          <a:pt x="37" y="60"/>
                        </a:lnTo>
                        <a:lnTo>
                          <a:pt x="40" y="57"/>
                        </a:lnTo>
                        <a:lnTo>
                          <a:pt x="42" y="53"/>
                        </a:lnTo>
                        <a:lnTo>
                          <a:pt x="40" y="47"/>
                        </a:lnTo>
                        <a:lnTo>
                          <a:pt x="37" y="47"/>
                        </a:lnTo>
                        <a:lnTo>
                          <a:pt x="35" y="43"/>
                        </a:lnTo>
                        <a:lnTo>
                          <a:pt x="32" y="42"/>
                        </a:lnTo>
                        <a:lnTo>
                          <a:pt x="32" y="40"/>
                        </a:lnTo>
                        <a:lnTo>
                          <a:pt x="32" y="37"/>
                        </a:lnTo>
                        <a:lnTo>
                          <a:pt x="32" y="35"/>
                        </a:lnTo>
                        <a:lnTo>
                          <a:pt x="32" y="37"/>
                        </a:lnTo>
                        <a:lnTo>
                          <a:pt x="35" y="37"/>
                        </a:lnTo>
                        <a:lnTo>
                          <a:pt x="37" y="35"/>
                        </a:lnTo>
                        <a:lnTo>
                          <a:pt x="38" y="33"/>
                        </a:lnTo>
                        <a:lnTo>
                          <a:pt x="40" y="30"/>
                        </a:lnTo>
                        <a:lnTo>
                          <a:pt x="42" y="28"/>
                        </a:lnTo>
                        <a:lnTo>
                          <a:pt x="40" y="23"/>
                        </a:lnTo>
                        <a:lnTo>
                          <a:pt x="38" y="17"/>
                        </a:lnTo>
                        <a:lnTo>
                          <a:pt x="37" y="13"/>
                        </a:lnTo>
                        <a:lnTo>
                          <a:pt x="37" y="12"/>
                        </a:lnTo>
                        <a:lnTo>
                          <a:pt x="33" y="10"/>
                        </a:lnTo>
                        <a:lnTo>
                          <a:pt x="30" y="5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94" name="Google Shape;3046;p98">
                    <a:extLst>
                      <a:ext uri="{FF2B5EF4-FFF2-40B4-BE49-F238E27FC236}">
                        <a16:creationId xmlns:a16="http://schemas.microsoft.com/office/drawing/2014/main" id="{84D0AC37-E386-6F5D-BD35-F89AFBFF2903}"/>
                      </a:ext>
                    </a:extLst>
                  </p:cNvPr>
                  <p:cNvSpPr/>
                  <p:nvPr/>
                </p:nvSpPr>
                <p:spPr>
                  <a:xfrm>
                    <a:off x="6790671" y="3283203"/>
                    <a:ext cx="26756" cy="1867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0" h="37" extrusionOk="0">
                        <a:moveTo>
                          <a:pt x="15" y="5"/>
                        </a:moveTo>
                        <a:lnTo>
                          <a:pt x="15" y="5"/>
                        </a:lnTo>
                        <a:lnTo>
                          <a:pt x="20" y="5"/>
                        </a:lnTo>
                        <a:lnTo>
                          <a:pt x="23" y="2"/>
                        </a:lnTo>
                        <a:lnTo>
                          <a:pt x="26" y="3"/>
                        </a:lnTo>
                        <a:lnTo>
                          <a:pt x="28" y="5"/>
                        </a:lnTo>
                        <a:lnTo>
                          <a:pt x="31" y="5"/>
                        </a:lnTo>
                        <a:lnTo>
                          <a:pt x="33" y="3"/>
                        </a:lnTo>
                        <a:lnTo>
                          <a:pt x="33" y="0"/>
                        </a:lnTo>
                        <a:lnTo>
                          <a:pt x="38" y="0"/>
                        </a:lnTo>
                        <a:lnTo>
                          <a:pt x="41" y="5"/>
                        </a:lnTo>
                        <a:lnTo>
                          <a:pt x="45" y="7"/>
                        </a:lnTo>
                        <a:lnTo>
                          <a:pt x="45" y="8"/>
                        </a:lnTo>
                        <a:lnTo>
                          <a:pt x="46" y="12"/>
                        </a:lnTo>
                        <a:lnTo>
                          <a:pt x="48" y="18"/>
                        </a:lnTo>
                        <a:lnTo>
                          <a:pt x="50" y="23"/>
                        </a:lnTo>
                        <a:lnTo>
                          <a:pt x="48" y="25"/>
                        </a:lnTo>
                        <a:lnTo>
                          <a:pt x="46" y="28"/>
                        </a:lnTo>
                        <a:lnTo>
                          <a:pt x="45" y="30"/>
                        </a:lnTo>
                        <a:lnTo>
                          <a:pt x="43" y="32"/>
                        </a:lnTo>
                        <a:lnTo>
                          <a:pt x="40" y="32"/>
                        </a:lnTo>
                        <a:lnTo>
                          <a:pt x="40" y="30"/>
                        </a:lnTo>
                        <a:lnTo>
                          <a:pt x="40" y="28"/>
                        </a:lnTo>
                        <a:lnTo>
                          <a:pt x="36" y="28"/>
                        </a:lnTo>
                        <a:lnTo>
                          <a:pt x="35" y="25"/>
                        </a:lnTo>
                        <a:lnTo>
                          <a:pt x="31" y="23"/>
                        </a:lnTo>
                        <a:lnTo>
                          <a:pt x="30" y="22"/>
                        </a:lnTo>
                        <a:lnTo>
                          <a:pt x="28" y="22"/>
                        </a:lnTo>
                        <a:lnTo>
                          <a:pt x="28" y="27"/>
                        </a:lnTo>
                        <a:lnTo>
                          <a:pt x="25" y="33"/>
                        </a:lnTo>
                        <a:lnTo>
                          <a:pt x="25" y="35"/>
                        </a:lnTo>
                        <a:lnTo>
                          <a:pt x="20" y="37"/>
                        </a:lnTo>
                        <a:lnTo>
                          <a:pt x="18" y="35"/>
                        </a:lnTo>
                        <a:lnTo>
                          <a:pt x="16" y="35"/>
                        </a:lnTo>
                        <a:lnTo>
                          <a:pt x="15" y="37"/>
                        </a:lnTo>
                        <a:lnTo>
                          <a:pt x="11" y="35"/>
                        </a:lnTo>
                        <a:lnTo>
                          <a:pt x="10" y="32"/>
                        </a:lnTo>
                        <a:lnTo>
                          <a:pt x="6" y="30"/>
                        </a:lnTo>
                        <a:lnTo>
                          <a:pt x="3" y="30"/>
                        </a:lnTo>
                        <a:lnTo>
                          <a:pt x="0" y="32"/>
                        </a:lnTo>
                        <a:lnTo>
                          <a:pt x="1" y="27"/>
                        </a:lnTo>
                        <a:lnTo>
                          <a:pt x="5" y="13"/>
                        </a:lnTo>
                        <a:lnTo>
                          <a:pt x="8" y="10"/>
                        </a:lnTo>
                        <a:lnTo>
                          <a:pt x="15" y="5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95" name="Google Shape;3047;p98">
                    <a:extLst>
                      <a:ext uri="{FF2B5EF4-FFF2-40B4-BE49-F238E27FC236}">
                        <a16:creationId xmlns:a16="http://schemas.microsoft.com/office/drawing/2014/main" id="{BE2B61AB-448E-2528-9F28-10FF4CAA6579}"/>
                      </a:ext>
                    </a:extLst>
                  </p:cNvPr>
                  <p:cNvSpPr/>
                  <p:nvPr/>
                </p:nvSpPr>
                <p:spPr>
                  <a:xfrm>
                    <a:off x="6790671" y="3294617"/>
                    <a:ext cx="26756" cy="2697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0" h="53" extrusionOk="0">
                        <a:moveTo>
                          <a:pt x="8" y="53"/>
                        </a:moveTo>
                        <a:lnTo>
                          <a:pt x="20" y="53"/>
                        </a:lnTo>
                        <a:lnTo>
                          <a:pt x="28" y="51"/>
                        </a:lnTo>
                        <a:lnTo>
                          <a:pt x="33" y="45"/>
                        </a:lnTo>
                        <a:lnTo>
                          <a:pt x="38" y="38"/>
                        </a:lnTo>
                        <a:lnTo>
                          <a:pt x="41" y="36"/>
                        </a:lnTo>
                        <a:lnTo>
                          <a:pt x="45" y="33"/>
                        </a:lnTo>
                        <a:lnTo>
                          <a:pt x="48" y="30"/>
                        </a:lnTo>
                        <a:lnTo>
                          <a:pt x="50" y="26"/>
                        </a:lnTo>
                        <a:lnTo>
                          <a:pt x="48" y="20"/>
                        </a:lnTo>
                        <a:lnTo>
                          <a:pt x="45" y="20"/>
                        </a:lnTo>
                        <a:lnTo>
                          <a:pt x="43" y="16"/>
                        </a:lnTo>
                        <a:lnTo>
                          <a:pt x="40" y="15"/>
                        </a:lnTo>
                        <a:lnTo>
                          <a:pt x="40" y="13"/>
                        </a:lnTo>
                        <a:lnTo>
                          <a:pt x="40" y="10"/>
                        </a:lnTo>
                        <a:lnTo>
                          <a:pt x="40" y="6"/>
                        </a:lnTo>
                        <a:lnTo>
                          <a:pt x="36" y="6"/>
                        </a:lnTo>
                        <a:lnTo>
                          <a:pt x="35" y="3"/>
                        </a:lnTo>
                        <a:lnTo>
                          <a:pt x="31" y="1"/>
                        </a:lnTo>
                        <a:lnTo>
                          <a:pt x="30" y="0"/>
                        </a:lnTo>
                        <a:lnTo>
                          <a:pt x="28" y="0"/>
                        </a:lnTo>
                        <a:lnTo>
                          <a:pt x="28" y="5"/>
                        </a:lnTo>
                        <a:lnTo>
                          <a:pt x="25" y="11"/>
                        </a:lnTo>
                        <a:lnTo>
                          <a:pt x="25" y="13"/>
                        </a:lnTo>
                        <a:lnTo>
                          <a:pt x="20" y="15"/>
                        </a:lnTo>
                        <a:lnTo>
                          <a:pt x="18" y="13"/>
                        </a:lnTo>
                        <a:lnTo>
                          <a:pt x="16" y="13"/>
                        </a:lnTo>
                        <a:lnTo>
                          <a:pt x="15" y="15"/>
                        </a:lnTo>
                        <a:lnTo>
                          <a:pt x="11" y="13"/>
                        </a:lnTo>
                        <a:lnTo>
                          <a:pt x="10" y="10"/>
                        </a:lnTo>
                        <a:lnTo>
                          <a:pt x="6" y="8"/>
                        </a:lnTo>
                        <a:lnTo>
                          <a:pt x="3" y="8"/>
                        </a:lnTo>
                        <a:lnTo>
                          <a:pt x="0" y="10"/>
                        </a:lnTo>
                        <a:lnTo>
                          <a:pt x="0" y="11"/>
                        </a:lnTo>
                        <a:lnTo>
                          <a:pt x="3" y="16"/>
                        </a:lnTo>
                        <a:lnTo>
                          <a:pt x="3" y="21"/>
                        </a:lnTo>
                        <a:lnTo>
                          <a:pt x="3" y="26"/>
                        </a:lnTo>
                        <a:lnTo>
                          <a:pt x="8" y="53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96" name="Google Shape;3048;p98">
                    <a:extLst>
                      <a:ext uri="{FF2B5EF4-FFF2-40B4-BE49-F238E27FC236}">
                        <a16:creationId xmlns:a16="http://schemas.microsoft.com/office/drawing/2014/main" id="{2D872D69-01D5-D61F-E3AB-A4A2709D9DE6}"/>
                      </a:ext>
                    </a:extLst>
                  </p:cNvPr>
                  <p:cNvSpPr/>
                  <p:nvPr/>
                </p:nvSpPr>
                <p:spPr>
                  <a:xfrm>
                    <a:off x="6571271" y="3208496"/>
                    <a:ext cx="248298" cy="21581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63" h="417" extrusionOk="0">
                        <a:moveTo>
                          <a:pt x="0" y="249"/>
                        </a:moveTo>
                        <a:lnTo>
                          <a:pt x="5" y="245"/>
                        </a:lnTo>
                        <a:lnTo>
                          <a:pt x="8" y="245"/>
                        </a:lnTo>
                        <a:lnTo>
                          <a:pt x="11" y="242"/>
                        </a:lnTo>
                        <a:lnTo>
                          <a:pt x="11" y="234"/>
                        </a:lnTo>
                        <a:lnTo>
                          <a:pt x="13" y="232"/>
                        </a:lnTo>
                        <a:lnTo>
                          <a:pt x="18" y="229"/>
                        </a:lnTo>
                        <a:lnTo>
                          <a:pt x="23" y="224"/>
                        </a:lnTo>
                        <a:lnTo>
                          <a:pt x="26" y="224"/>
                        </a:lnTo>
                        <a:lnTo>
                          <a:pt x="29" y="222"/>
                        </a:lnTo>
                        <a:lnTo>
                          <a:pt x="31" y="224"/>
                        </a:lnTo>
                        <a:lnTo>
                          <a:pt x="31" y="227"/>
                        </a:lnTo>
                        <a:lnTo>
                          <a:pt x="36" y="227"/>
                        </a:lnTo>
                        <a:lnTo>
                          <a:pt x="38" y="224"/>
                        </a:lnTo>
                        <a:lnTo>
                          <a:pt x="38" y="219"/>
                        </a:lnTo>
                        <a:lnTo>
                          <a:pt x="41" y="219"/>
                        </a:lnTo>
                        <a:lnTo>
                          <a:pt x="44" y="219"/>
                        </a:lnTo>
                        <a:lnTo>
                          <a:pt x="49" y="216"/>
                        </a:lnTo>
                        <a:lnTo>
                          <a:pt x="58" y="214"/>
                        </a:lnTo>
                        <a:lnTo>
                          <a:pt x="58" y="216"/>
                        </a:lnTo>
                        <a:lnTo>
                          <a:pt x="54" y="221"/>
                        </a:lnTo>
                        <a:lnTo>
                          <a:pt x="56" y="222"/>
                        </a:lnTo>
                        <a:lnTo>
                          <a:pt x="58" y="226"/>
                        </a:lnTo>
                        <a:lnTo>
                          <a:pt x="63" y="229"/>
                        </a:lnTo>
                        <a:lnTo>
                          <a:pt x="68" y="226"/>
                        </a:lnTo>
                        <a:lnTo>
                          <a:pt x="73" y="221"/>
                        </a:lnTo>
                        <a:lnTo>
                          <a:pt x="83" y="212"/>
                        </a:lnTo>
                        <a:lnTo>
                          <a:pt x="84" y="209"/>
                        </a:lnTo>
                        <a:lnTo>
                          <a:pt x="88" y="207"/>
                        </a:lnTo>
                        <a:lnTo>
                          <a:pt x="91" y="206"/>
                        </a:lnTo>
                        <a:lnTo>
                          <a:pt x="96" y="201"/>
                        </a:lnTo>
                        <a:lnTo>
                          <a:pt x="96" y="196"/>
                        </a:lnTo>
                        <a:lnTo>
                          <a:pt x="98" y="191"/>
                        </a:lnTo>
                        <a:lnTo>
                          <a:pt x="98" y="177"/>
                        </a:lnTo>
                        <a:lnTo>
                          <a:pt x="96" y="176"/>
                        </a:lnTo>
                        <a:lnTo>
                          <a:pt x="96" y="171"/>
                        </a:lnTo>
                        <a:lnTo>
                          <a:pt x="98" y="166"/>
                        </a:lnTo>
                        <a:lnTo>
                          <a:pt x="106" y="159"/>
                        </a:lnTo>
                        <a:lnTo>
                          <a:pt x="106" y="154"/>
                        </a:lnTo>
                        <a:lnTo>
                          <a:pt x="111" y="149"/>
                        </a:lnTo>
                        <a:lnTo>
                          <a:pt x="116" y="146"/>
                        </a:lnTo>
                        <a:lnTo>
                          <a:pt x="119" y="146"/>
                        </a:lnTo>
                        <a:lnTo>
                          <a:pt x="122" y="142"/>
                        </a:lnTo>
                        <a:lnTo>
                          <a:pt x="127" y="142"/>
                        </a:lnTo>
                        <a:lnTo>
                          <a:pt x="136" y="131"/>
                        </a:lnTo>
                        <a:lnTo>
                          <a:pt x="136" y="123"/>
                        </a:lnTo>
                        <a:lnTo>
                          <a:pt x="137" y="116"/>
                        </a:lnTo>
                        <a:lnTo>
                          <a:pt x="141" y="114"/>
                        </a:lnTo>
                        <a:lnTo>
                          <a:pt x="142" y="108"/>
                        </a:lnTo>
                        <a:lnTo>
                          <a:pt x="141" y="108"/>
                        </a:lnTo>
                        <a:lnTo>
                          <a:pt x="142" y="101"/>
                        </a:lnTo>
                        <a:lnTo>
                          <a:pt x="142" y="98"/>
                        </a:lnTo>
                        <a:lnTo>
                          <a:pt x="142" y="91"/>
                        </a:lnTo>
                        <a:lnTo>
                          <a:pt x="146" y="88"/>
                        </a:lnTo>
                        <a:lnTo>
                          <a:pt x="146" y="83"/>
                        </a:lnTo>
                        <a:lnTo>
                          <a:pt x="147" y="78"/>
                        </a:lnTo>
                        <a:lnTo>
                          <a:pt x="146" y="69"/>
                        </a:lnTo>
                        <a:lnTo>
                          <a:pt x="156" y="58"/>
                        </a:lnTo>
                        <a:lnTo>
                          <a:pt x="157" y="54"/>
                        </a:lnTo>
                        <a:lnTo>
                          <a:pt x="162" y="51"/>
                        </a:lnTo>
                        <a:lnTo>
                          <a:pt x="162" y="43"/>
                        </a:lnTo>
                        <a:lnTo>
                          <a:pt x="159" y="38"/>
                        </a:lnTo>
                        <a:lnTo>
                          <a:pt x="159" y="33"/>
                        </a:lnTo>
                        <a:lnTo>
                          <a:pt x="161" y="31"/>
                        </a:lnTo>
                        <a:lnTo>
                          <a:pt x="162" y="28"/>
                        </a:lnTo>
                        <a:lnTo>
                          <a:pt x="159" y="25"/>
                        </a:lnTo>
                        <a:lnTo>
                          <a:pt x="159" y="21"/>
                        </a:lnTo>
                        <a:lnTo>
                          <a:pt x="162" y="21"/>
                        </a:lnTo>
                        <a:lnTo>
                          <a:pt x="164" y="20"/>
                        </a:lnTo>
                        <a:lnTo>
                          <a:pt x="164" y="18"/>
                        </a:lnTo>
                        <a:lnTo>
                          <a:pt x="166" y="15"/>
                        </a:lnTo>
                        <a:lnTo>
                          <a:pt x="167" y="11"/>
                        </a:lnTo>
                        <a:lnTo>
                          <a:pt x="169" y="10"/>
                        </a:lnTo>
                        <a:lnTo>
                          <a:pt x="171" y="10"/>
                        </a:lnTo>
                        <a:lnTo>
                          <a:pt x="176" y="8"/>
                        </a:lnTo>
                        <a:lnTo>
                          <a:pt x="179" y="8"/>
                        </a:lnTo>
                        <a:lnTo>
                          <a:pt x="181" y="6"/>
                        </a:lnTo>
                        <a:lnTo>
                          <a:pt x="182" y="6"/>
                        </a:lnTo>
                        <a:lnTo>
                          <a:pt x="186" y="8"/>
                        </a:lnTo>
                        <a:lnTo>
                          <a:pt x="189" y="8"/>
                        </a:lnTo>
                        <a:lnTo>
                          <a:pt x="196" y="15"/>
                        </a:lnTo>
                        <a:lnTo>
                          <a:pt x="199" y="15"/>
                        </a:lnTo>
                        <a:lnTo>
                          <a:pt x="206" y="20"/>
                        </a:lnTo>
                        <a:lnTo>
                          <a:pt x="207" y="21"/>
                        </a:lnTo>
                        <a:lnTo>
                          <a:pt x="212" y="21"/>
                        </a:lnTo>
                        <a:lnTo>
                          <a:pt x="217" y="23"/>
                        </a:lnTo>
                        <a:lnTo>
                          <a:pt x="224" y="25"/>
                        </a:lnTo>
                        <a:lnTo>
                          <a:pt x="227" y="25"/>
                        </a:lnTo>
                        <a:lnTo>
                          <a:pt x="230" y="23"/>
                        </a:lnTo>
                        <a:lnTo>
                          <a:pt x="234" y="23"/>
                        </a:lnTo>
                        <a:lnTo>
                          <a:pt x="237" y="25"/>
                        </a:lnTo>
                        <a:lnTo>
                          <a:pt x="244" y="26"/>
                        </a:lnTo>
                        <a:lnTo>
                          <a:pt x="245" y="26"/>
                        </a:lnTo>
                        <a:lnTo>
                          <a:pt x="250" y="26"/>
                        </a:lnTo>
                        <a:lnTo>
                          <a:pt x="252" y="25"/>
                        </a:lnTo>
                        <a:lnTo>
                          <a:pt x="249" y="23"/>
                        </a:lnTo>
                        <a:lnTo>
                          <a:pt x="249" y="20"/>
                        </a:lnTo>
                        <a:lnTo>
                          <a:pt x="252" y="16"/>
                        </a:lnTo>
                        <a:lnTo>
                          <a:pt x="257" y="13"/>
                        </a:lnTo>
                        <a:lnTo>
                          <a:pt x="260" y="13"/>
                        </a:lnTo>
                        <a:lnTo>
                          <a:pt x="265" y="13"/>
                        </a:lnTo>
                        <a:lnTo>
                          <a:pt x="269" y="16"/>
                        </a:lnTo>
                        <a:lnTo>
                          <a:pt x="272" y="15"/>
                        </a:lnTo>
                        <a:lnTo>
                          <a:pt x="282" y="13"/>
                        </a:lnTo>
                        <a:lnTo>
                          <a:pt x="284" y="11"/>
                        </a:lnTo>
                        <a:lnTo>
                          <a:pt x="287" y="10"/>
                        </a:lnTo>
                        <a:lnTo>
                          <a:pt x="297" y="6"/>
                        </a:lnTo>
                        <a:lnTo>
                          <a:pt x="300" y="6"/>
                        </a:lnTo>
                        <a:lnTo>
                          <a:pt x="302" y="8"/>
                        </a:lnTo>
                        <a:lnTo>
                          <a:pt x="304" y="8"/>
                        </a:lnTo>
                        <a:lnTo>
                          <a:pt x="304" y="11"/>
                        </a:lnTo>
                        <a:lnTo>
                          <a:pt x="307" y="11"/>
                        </a:lnTo>
                        <a:lnTo>
                          <a:pt x="308" y="10"/>
                        </a:lnTo>
                        <a:lnTo>
                          <a:pt x="315" y="10"/>
                        </a:lnTo>
                        <a:lnTo>
                          <a:pt x="318" y="8"/>
                        </a:lnTo>
                        <a:lnTo>
                          <a:pt x="322" y="8"/>
                        </a:lnTo>
                        <a:lnTo>
                          <a:pt x="325" y="5"/>
                        </a:lnTo>
                        <a:lnTo>
                          <a:pt x="323" y="3"/>
                        </a:lnTo>
                        <a:lnTo>
                          <a:pt x="323" y="1"/>
                        </a:lnTo>
                        <a:lnTo>
                          <a:pt x="327" y="0"/>
                        </a:lnTo>
                        <a:lnTo>
                          <a:pt x="330" y="3"/>
                        </a:lnTo>
                        <a:lnTo>
                          <a:pt x="335" y="3"/>
                        </a:lnTo>
                        <a:lnTo>
                          <a:pt x="337" y="3"/>
                        </a:lnTo>
                        <a:lnTo>
                          <a:pt x="340" y="5"/>
                        </a:lnTo>
                        <a:lnTo>
                          <a:pt x="343" y="5"/>
                        </a:lnTo>
                        <a:lnTo>
                          <a:pt x="347" y="6"/>
                        </a:lnTo>
                        <a:lnTo>
                          <a:pt x="357" y="6"/>
                        </a:lnTo>
                        <a:lnTo>
                          <a:pt x="357" y="8"/>
                        </a:lnTo>
                        <a:lnTo>
                          <a:pt x="365" y="5"/>
                        </a:lnTo>
                        <a:lnTo>
                          <a:pt x="370" y="5"/>
                        </a:lnTo>
                        <a:lnTo>
                          <a:pt x="375" y="8"/>
                        </a:lnTo>
                        <a:lnTo>
                          <a:pt x="377" y="8"/>
                        </a:lnTo>
                        <a:lnTo>
                          <a:pt x="377" y="11"/>
                        </a:lnTo>
                        <a:lnTo>
                          <a:pt x="380" y="15"/>
                        </a:lnTo>
                        <a:lnTo>
                          <a:pt x="383" y="15"/>
                        </a:lnTo>
                        <a:lnTo>
                          <a:pt x="385" y="18"/>
                        </a:lnTo>
                        <a:lnTo>
                          <a:pt x="390" y="21"/>
                        </a:lnTo>
                        <a:lnTo>
                          <a:pt x="395" y="23"/>
                        </a:lnTo>
                        <a:lnTo>
                          <a:pt x="398" y="23"/>
                        </a:lnTo>
                        <a:lnTo>
                          <a:pt x="400" y="20"/>
                        </a:lnTo>
                        <a:lnTo>
                          <a:pt x="403" y="18"/>
                        </a:lnTo>
                        <a:lnTo>
                          <a:pt x="408" y="18"/>
                        </a:lnTo>
                        <a:lnTo>
                          <a:pt x="411" y="18"/>
                        </a:lnTo>
                        <a:lnTo>
                          <a:pt x="411" y="20"/>
                        </a:lnTo>
                        <a:lnTo>
                          <a:pt x="415" y="20"/>
                        </a:lnTo>
                        <a:lnTo>
                          <a:pt x="420" y="18"/>
                        </a:lnTo>
                        <a:lnTo>
                          <a:pt x="421" y="16"/>
                        </a:lnTo>
                        <a:lnTo>
                          <a:pt x="425" y="13"/>
                        </a:lnTo>
                        <a:lnTo>
                          <a:pt x="430" y="13"/>
                        </a:lnTo>
                        <a:lnTo>
                          <a:pt x="431" y="15"/>
                        </a:lnTo>
                        <a:lnTo>
                          <a:pt x="435" y="20"/>
                        </a:lnTo>
                        <a:lnTo>
                          <a:pt x="436" y="23"/>
                        </a:lnTo>
                        <a:lnTo>
                          <a:pt x="438" y="25"/>
                        </a:lnTo>
                        <a:lnTo>
                          <a:pt x="445" y="26"/>
                        </a:lnTo>
                        <a:lnTo>
                          <a:pt x="448" y="28"/>
                        </a:lnTo>
                        <a:lnTo>
                          <a:pt x="450" y="33"/>
                        </a:lnTo>
                        <a:lnTo>
                          <a:pt x="451" y="34"/>
                        </a:lnTo>
                        <a:lnTo>
                          <a:pt x="451" y="38"/>
                        </a:lnTo>
                        <a:lnTo>
                          <a:pt x="453" y="39"/>
                        </a:lnTo>
                        <a:lnTo>
                          <a:pt x="453" y="39"/>
                        </a:lnTo>
                        <a:lnTo>
                          <a:pt x="460" y="39"/>
                        </a:lnTo>
                        <a:lnTo>
                          <a:pt x="461" y="41"/>
                        </a:lnTo>
                        <a:lnTo>
                          <a:pt x="460" y="44"/>
                        </a:lnTo>
                        <a:lnTo>
                          <a:pt x="458" y="48"/>
                        </a:lnTo>
                        <a:lnTo>
                          <a:pt x="458" y="53"/>
                        </a:lnTo>
                        <a:lnTo>
                          <a:pt x="456" y="61"/>
                        </a:lnTo>
                        <a:lnTo>
                          <a:pt x="456" y="66"/>
                        </a:lnTo>
                        <a:lnTo>
                          <a:pt x="458" y="68"/>
                        </a:lnTo>
                        <a:lnTo>
                          <a:pt x="461" y="71"/>
                        </a:lnTo>
                        <a:lnTo>
                          <a:pt x="463" y="74"/>
                        </a:lnTo>
                        <a:lnTo>
                          <a:pt x="461" y="78"/>
                        </a:lnTo>
                        <a:lnTo>
                          <a:pt x="450" y="93"/>
                        </a:lnTo>
                        <a:lnTo>
                          <a:pt x="441" y="99"/>
                        </a:lnTo>
                        <a:lnTo>
                          <a:pt x="440" y="103"/>
                        </a:lnTo>
                        <a:lnTo>
                          <a:pt x="430" y="119"/>
                        </a:lnTo>
                        <a:lnTo>
                          <a:pt x="428" y="121"/>
                        </a:lnTo>
                        <a:lnTo>
                          <a:pt x="428" y="128"/>
                        </a:lnTo>
                        <a:lnTo>
                          <a:pt x="428" y="136"/>
                        </a:lnTo>
                        <a:lnTo>
                          <a:pt x="425" y="142"/>
                        </a:lnTo>
                        <a:lnTo>
                          <a:pt x="425" y="147"/>
                        </a:lnTo>
                        <a:lnTo>
                          <a:pt x="418" y="154"/>
                        </a:lnTo>
                        <a:lnTo>
                          <a:pt x="415" y="157"/>
                        </a:lnTo>
                        <a:lnTo>
                          <a:pt x="411" y="171"/>
                        </a:lnTo>
                        <a:lnTo>
                          <a:pt x="410" y="177"/>
                        </a:lnTo>
                        <a:lnTo>
                          <a:pt x="413" y="182"/>
                        </a:lnTo>
                        <a:lnTo>
                          <a:pt x="413" y="187"/>
                        </a:lnTo>
                        <a:lnTo>
                          <a:pt x="413" y="192"/>
                        </a:lnTo>
                        <a:lnTo>
                          <a:pt x="421" y="237"/>
                        </a:lnTo>
                        <a:lnTo>
                          <a:pt x="426" y="262"/>
                        </a:lnTo>
                        <a:lnTo>
                          <a:pt x="443" y="284"/>
                        </a:lnTo>
                        <a:lnTo>
                          <a:pt x="450" y="302"/>
                        </a:lnTo>
                        <a:lnTo>
                          <a:pt x="446" y="300"/>
                        </a:lnTo>
                        <a:lnTo>
                          <a:pt x="407" y="309"/>
                        </a:lnTo>
                        <a:lnTo>
                          <a:pt x="397" y="325"/>
                        </a:lnTo>
                        <a:lnTo>
                          <a:pt x="398" y="330"/>
                        </a:lnTo>
                        <a:lnTo>
                          <a:pt x="402" y="332"/>
                        </a:lnTo>
                        <a:lnTo>
                          <a:pt x="403" y="333"/>
                        </a:lnTo>
                        <a:lnTo>
                          <a:pt x="403" y="337"/>
                        </a:lnTo>
                        <a:lnTo>
                          <a:pt x="402" y="337"/>
                        </a:lnTo>
                        <a:lnTo>
                          <a:pt x="402" y="340"/>
                        </a:lnTo>
                        <a:lnTo>
                          <a:pt x="402" y="343"/>
                        </a:lnTo>
                        <a:lnTo>
                          <a:pt x="402" y="347"/>
                        </a:lnTo>
                        <a:lnTo>
                          <a:pt x="402" y="352"/>
                        </a:lnTo>
                        <a:lnTo>
                          <a:pt x="400" y="352"/>
                        </a:lnTo>
                        <a:lnTo>
                          <a:pt x="400" y="353"/>
                        </a:lnTo>
                        <a:lnTo>
                          <a:pt x="398" y="357"/>
                        </a:lnTo>
                        <a:lnTo>
                          <a:pt x="393" y="360"/>
                        </a:lnTo>
                        <a:lnTo>
                          <a:pt x="393" y="363"/>
                        </a:lnTo>
                        <a:lnTo>
                          <a:pt x="393" y="375"/>
                        </a:lnTo>
                        <a:lnTo>
                          <a:pt x="395" y="380"/>
                        </a:lnTo>
                        <a:lnTo>
                          <a:pt x="397" y="383"/>
                        </a:lnTo>
                        <a:lnTo>
                          <a:pt x="403" y="390"/>
                        </a:lnTo>
                        <a:lnTo>
                          <a:pt x="405" y="393"/>
                        </a:lnTo>
                        <a:lnTo>
                          <a:pt x="408" y="395"/>
                        </a:lnTo>
                        <a:lnTo>
                          <a:pt x="418" y="395"/>
                        </a:lnTo>
                        <a:lnTo>
                          <a:pt x="418" y="395"/>
                        </a:lnTo>
                        <a:lnTo>
                          <a:pt x="416" y="393"/>
                        </a:lnTo>
                        <a:lnTo>
                          <a:pt x="416" y="390"/>
                        </a:lnTo>
                        <a:lnTo>
                          <a:pt x="421" y="390"/>
                        </a:lnTo>
                        <a:lnTo>
                          <a:pt x="425" y="390"/>
                        </a:lnTo>
                        <a:lnTo>
                          <a:pt x="426" y="413"/>
                        </a:lnTo>
                        <a:lnTo>
                          <a:pt x="425" y="417"/>
                        </a:lnTo>
                        <a:lnTo>
                          <a:pt x="421" y="415"/>
                        </a:lnTo>
                        <a:lnTo>
                          <a:pt x="421" y="413"/>
                        </a:lnTo>
                        <a:lnTo>
                          <a:pt x="418" y="413"/>
                        </a:lnTo>
                        <a:lnTo>
                          <a:pt x="415" y="415"/>
                        </a:lnTo>
                        <a:lnTo>
                          <a:pt x="411" y="417"/>
                        </a:lnTo>
                        <a:lnTo>
                          <a:pt x="408" y="417"/>
                        </a:lnTo>
                        <a:lnTo>
                          <a:pt x="403" y="412"/>
                        </a:lnTo>
                        <a:lnTo>
                          <a:pt x="398" y="407"/>
                        </a:lnTo>
                        <a:lnTo>
                          <a:pt x="393" y="403"/>
                        </a:lnTo>
                        <a:lnTo>
                          <a:pt x="388" y="397"/>
                        </a:lnTo>
                        <a:lnTo>
                          <a:pt x="383" y="393"/>
                        </a:lnTo>
                        <a:lnTo>
                          <a:pt x="375" y="392"/>
                        </a:lnTo>
                        <a:lnTo>
                          <a:pt x="368" y="388"/>
                        </a:lnTo>
                        <a:lnTo>
                          <a:pt x="368" y="385"/>
                        </a:lnTo>
                        <a:lnTo>
                          <a:pt x="365" y="382"/>
                        </a:lnTo>
                        <a:lnTo>
                          <a:pt x="365" y="375"/>
                        </a:lnTo>
                        <a:lnTo>
                          <a:pt x="363" y="375"/>
                        </a:lnTo>
                        <a:lnTo>
                          <a:pt x="360" y="377"/>
                        </a:lnTo>
                        <a:lnTo>
                          <a:pt x="357" y="377"/>
                        </a:lnTo>
                        <a:lnTo>
                          <a:pt x="355" y="382"/>
                        </a:lnTo>
                        <a:lnTo>
                          <a:pt x="355" y="385"/>
                        </a:lnTo>
                        <a:lnTo>
                          <a:pt x="347" y="387"/>
                        </a:lnTo>
                        <a:lnTo>
                          <a:pt x="343" y="387"/>
                        </a:lnTo>
                        <a:lnTo>
                          <a:pt x="343" y="385"/>
                        </a:lnTo>
                        <a:lnTo>
                          <a:pt x="337" y="385"/>
                        </a:lnTo>
                        <a:lnTo>
                          <a:pt x="333" y="383"/>
                        </a:lnTo>
                        <a:lnTo>
                          <a:pt x="327" y="380"/>
                        </a:lnTo>
                        <a:lnTo>
                          <a:pt x="325" y="380"/>
                        </a:lnTo>
                        <a:lnTo>
                          <a:pt x="320" y="378"/>
                        </a:lnTo>
                        <a:lnTo>
                          <a:pt x="318" y="378"/>
                        </a:lnTo>
                        <a:lnTo>
                          <a:pt x="318" y="377"/>
                        </a:lnTo>
                        <a:lnTo>
                          <a:pt x="318" y="373"/>
                        </a:lnTo>
                        <a:lnTo>
                          <a:pt x="317" y="372"/>
                        </a:lnTo>
                        <a:lnTo>
                          <a:pt x="317" y="367"/>
                        </a:lnTo>
                        <a:lnTo>
                          <a:pt x="315" y="367"/>
                        </a:lnTo>
                        <a:lnTo>
                          <a:pt x="308" y="368"/>
                        </a:lnTo>
                        <a:lnTo>
                          <a:pt x="307" y="370"/>
                        </a:lnTo>
                        <a:lnTo>
                          <a:pt x="304" y="370"/>
                        </a:lnTo>
                        <a:lnTo>
                          <a:pt x="300" y="372"/>
                        </a:lnTo>
                        <a:lnTo>
                          <a:pt x="297" y="373"/>
                        </a:lnTo>
                        <a:lnTo>
                          <a:pt x="295" y="373"/>
                        </a:lnTo>
                        <a:lnTo>
                          <a:pt x="295" y="372"/>
                        </a:lnTo>
                        <a:lnTo>
                          <a:pt x="295" y="367"/>
                        </a:lnTo>
                        <a:lnTo>
                          <a:pt x="294" y="367"/>
                        </a:lnTo>
                        <a:lnTo>
                          <a:pt x="290" y="365"/>
                        </a:lnTo>
                        <a:lnTo>
                          <a:pt x="287" y="365"/>
                        </a:lnTo>
                        <a:lnTo>
                          <a:pt x="285" y="363"/>
                        </a:lnTo>
                        <a:lnTo>
                          <a:pt x="285" y="363"/>
                        </a:lnTo>
                        <a:lnTo>
                          <a:pt x="280" y="363"/>
                        </a:lnTo>
                        <a:lnTo>
                          <a:pt x="277" y="365"/>
                        </a:lnTo>
                        <a:lnTo>
                          <a:pt x="272" y="367"/>
                        </a:lnTo>
                        <a:lnTo>
                          <a:pt x="270" y="368"/>
                        </a:lnTo>
                        <a:lnTo>
                          <a:pt x="267" y="368"/>
                        </a:lnTo>
                        <a:lnTo>
                          <a:pt x="265" y="368"/>
                        </a:lnTo>
                        <a:lnTo>
                          <a:pt x="259" y="368"/>
                        </a:lnTo>
                        <a:lnTo>
                          <a:pt x="257" y="367"/>
                        </a:lnTo>
                        <a:lnTo>
                          <a:pt x="254" y="365"/>
                        </a:lnTo>
                        <a:lnTo>
                          <a:pt x="250" y="365"/>
                        </a:lnTo>
                        <a:lnTo>
                          <a:pt x="249" y="365"/>
                        </a:lnTo>
                        <a:lnTo>
                          <a:pt x="247" y="367"/>
                        </a:lnTo>
                        <a:lnTo>
                          <a:pt x="245" y="368"/>
                        </a:lnTo>
                        <a:lnTo>
                          <a:pt x="244" y="368"/>
                        </a:lnTo>
                        <a:lnTo>
                          <a:pt x="242" y="367"/>
                        </a:lnTo>
                        <a:lnTo>
                          <a:pt x="242" y="362"/>
                        </a:lnTo>
                        <a:lnTo>
                          <a:pt x="244" y="360"/>
                        </a:lnTo>
                        <a:lnTo>
                          <a:pt x="244" y="360"/>
                        </a:lnTo>
                        <a:lnTo>
                          <a:pt x="245" y="357"/>
                        </a:lnTo>
                        <a:lnTo>
                          <a:pt x="242" y="353"/>
                        </a:lnTo>
                        <a:lnTo>
                          <a:pt x="242" y="350"/>
                        </a:lnTo>
                        <a:lnTo>
                          <a:pt x="242" y="348"/>
                        </a:lnTo>
                        <a:lnTo>
                          <a:pt x="242" y="347"/>
                        </a:lnTo>
                        <a:lnTo>
                          <a:pt x="240" y="343"/>
                        </a:lnTo>
                        <a:lnTo>
                          <a:pt x="240" y="340"/>
                        </a:lnTo>
                        <a:lnTo>
                          <a:pt x="240" y="338"/>
                        </a:lnTo>
                        <a:lnTo>
                          <a:pt x="240" y="335"/>
                        </a:lnTo>
                        <a:lnTo>
                          <a:pt x="239" y="335"/>
                        </a:lnTo>
                        <a:lnTo>
                          <a:pt x="237" y="332"/>
                        </a:lnTo>
                        <a:lnTo>
                          <a:pt x="235" y="332"/>
                        </a:lnTo>
                        <a:lnTo>
                          <a:pt x="235" y="328"/>
                        </a:lnTo>
                        <a:lnTo>
                          <a:pt x="234" y="327"/>
                        </a:lnTo>
                        <a:lnTo>
                          <a:pt x="234" y="324"/>
                        </a:lnTo>
                        <a:lnTo>
                          <a:pt x="232" y="322"/>
                        </a:lnTo>
                        <a:lnTo>
                          <a:pt x="234" y="319"/>
                        </a:lnTo>
                        <a:lnTo>
                          <a:pt x="234" y="310"/>
                        </a:lnTo>
                        <a:lnTo>
                          <a:pt x="232" y="307"/>
                        </a:lnTo>
                        <a:lnTo>
                          <a:pt x="232" y="305"/>
                        </a:lnTo>
                        <a:lnTo>
                          <a:pt x="234" y="304"/>
                        </a:lnTo>
                        <a:lnTo>
                          <a:pt x="234" y="300"/>
                        </a:lnTo>
                        <a:lnTo>
                          <a:pt x="230" y="297"/>
                        </a:lnTo>
                        <a:lnTo>
                          <a:pt x="232" y="294"/>
                        </a:lnTo>
                        <a:lnTo>
                          <a:pt x="234" y="290"/>
                        </a:lnTo>
                        <a:lnTo>
                          <a:pt x="234" y="287"/>
                        </a:lnTo>
                        <a:lnTo>
                          <a:pt x="234" y="284"/>
                        </a:lnTo>
                        <a:lnTo>
                          <a:pt x="234" y="280"/>
                        </a:lnTo>
                        <a:lnTo>
                          <a:pt x="206" y="279"/>
                        </a:lnTo>
                        <a:lnTo>
                          <a:pt x="206" y="277"/>
                        </a:lnTo>
                        <a:lnTo>
                          <a:pt x="206" y="275"/>
                        </a:lnTo>
                        <a:lnTo>
                          <a:pt x="207" y="272"/>
                        </a:lnTo>
                        <a:lnTo>
                          <a:pt x="199" y="272"/>
                        </a:lnTo>
                        <a:lnTo>
                          <a:pt x="199" y="274"/>
                        </a:lnTo>
                        <a:lnTo>
                          <a:pt x="176" y="274"/>
                        </a:lnTo>
                        <a:lnTo>
                          <a:pt x="174" y="280"/>
                        </a:lnTo>
                        <a:lnTo>
                          <a:pt x="172" y="284"/>
                        </a:lnTo>
                        <a:lnTo>
                          <a:pt x="171" y="285"/>
                        </a:lnTo>
                        <a:lnTo>
                          <a:pt x="172" y="289"/>
                        </a:lnTo>
                        <a:lnTo>
                          <a:pt x="172" y="295"/>
                        </a:lnTo>
                        <a:lnTo>
                          <a:pt x="154" y="295"/>
                        </a:lnTo>
                        <a:lnTo>
                          <a:pt x="151" y="297"/>
                        </a:lnTo>
                        <a:lnTo>
                          <a:pt x="142" y="297"/>
                        </a:lnTo>
                        <a:lnTo>
                          <a:pt x="139" y="297"/>
                        </a:lnTo>
                        <a:lnTo>
                          <a:pt x="134" y="297"/>
                        </a:lnTo>
                        <a:lnTo>
                          <a:pt x="129" y="297"/>
                        </a:lnTo>
                        <a:lnTo>
                          <a:pt x="126" y="295"/>
                        </a:lnTo>
                        <a:lnTo>
                          <a:pt x="124" y="289"/>
                        </a:lnTo>
                        <a:lnTo>
                          <a:pt x="121" y="284"/>
                        </a:lnTo>
                        <a:lnTo>
                          <a:pt x="119" y="282"/>
                        </a:lnTo>
                        <a:lnTo>
                          <a:pt x="117" y="280"/>
                        </a:lnTo>
                        <a:lnTo>
                          <a:pt x="117" y="277"/>
                        </a:lnTo>
                        <a:lnTo>
                          <a:pt x="116" y="275"/>
                        </a:lnTo>
                        <a:lnTo>
                          <a:pt x="114" y="270"/>
                        </a:lnTo>
                        <a:lnTo>
                          <a:pt x="112" y="267"/>
                        </a:lnTo>
                        <a:lnTo>
                          <a:pt x="112" y="264"/>
                        </a:lnTo>
                        <a:lnTo>
                          <a:pt x="112" y="260"/>
                        </a:lnTo>
                        <a:lnTo>
                          <a:pt x="112" y="259"/>
                        </a:lnTo>
                        <a:lnTo>
                          <a:pt x="111" y="255"/>
                        </a:lnTo>
                        <a:lnTo>
                          <a:pt x="109" y="254"/>
                        </a:lnTo>
                        <a:lnTo>
                          <a:pt x="111" y="252"/>
                        </a:lnTo>
                        <a:lnTo>
                          <a:pt x="111" y="249"/>
                        </a:lnTo>
                        <a:lnTo>
                          <a:pt x="86" y="249"/>
                        </a:lnTo>
                        <a:lnTo>
                          <a:pt x="68" y="249"/>
                        </a:lnTo>
                        <a:lnTo>
                          <a:pt x="59" y="250"/>
                        </a:lnTo>
                        <a:lnTo>
                          <a:pt x="53" y="249"/>
                        </a:lnTo>
                        <a:lnTo>
                          <a:pt x="48" y="249"/>
                        </a:lnTo>
                        <a:lnTo>
                          <a:pt x="41" y="249"/>
                        </a:lnTo>
                        <a:lnTo>
                          <a:pt x="36" y="250"/>
                        </a:lnTo>
                        <a:lnTo>
                          <a:pt x="31" y="250"/>
                        </a:lnTo>
                        <a:lnTo>
                          <a:pt x="28" y="249"/>
                        </a:lnTo>
                        <a:lnTo>
                          <a:pt x="24" y="249"/>
                        </a:lnTo>
                        <a:lnTo>
                          <a:pt x="19" y="250"/>
                        </a:lnTo>
                        <a:lnTo>
                          <a:pt x="16" y="250"/>
                        </a:lnTo>
                        <a:lnTo>
                          <a:pt x="14" y="252"/>
                        </a:lnTo>
                        <a:lnTo>
                          <a:pt x="13" y="252"/>
                        </a:lnTo>
                        <a:lnTo>
                          <a:pt x="11" y="252"/>
                        </a:lnTo>
                        <a:lnTo>
                          <a:pt x="11" y="252"/>
                        </a:lnTo>
                        <a:lnTo>
                          <a:pt x="11" y="252"/>
                        </a:lnTo>
                        <a:lnTo>
                          <a:pt x="11" y="252"/>
                        </a:lnTo>
                        <a:lnTo>
                          <a:pt x="8" y="250"/>
                        </a:lnTo>
                        <a:lnTo>
                          <a:pt x="1" y="250"/>
                        </a:lnTo>
                        <a:lnTo>
                          <a:pt x="0" y="249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97" name="Google Shape;3049;p98">
                    <a:extLst>
                      <a:ext uri="{FF2B5EF4-FFF2-40B4-BE49-F238E27FC236}">
                        <a16:creationId xmlns:a16="http://schemas.microsoft.com/office/drawing/2014/main" id="{7FFD3EAC-ECE4-93C0-3400-6866DD17BA0F}"/>
                      </a:ext>
                    </a:extLst>
                  </p:cNvPr>
                  <p:cNvSpPr/>
                  <p:nvPr/>
                </p:nvSpPr>
                <p:spPr>
                  <a:xfrm>
                    <a:off x="6837762" y="3377624"/>
                    <a:ext cx="41739" cy="9130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76" h="178" extrusionOk="0">
                        <a:moveTo>
                          <a:pt x="8" y="2"/>
                        </a:moveTo>
                        <a:lnTo>
                          <a:pt x="8" y="0"/>
                        </a:lnTo>
                        <a:lnTo>
                          <a:pt x="11" y="0"/>
                        </a:lnTo>
                        <a:lnTo>
                          <a:pt x="13" y="3"/>
                        </a:lnTo>
                        <a:lnTo>
                          <a:pt x="15" y="3"/>
                        </a:lnTo>
                        <a:lnTo>
                          <a:pt x="16" y="5"/>
                        </a:lnTo>
                        <a:lnTo>
                          <a:pt x="18" y="3"/>
                        </a:lnTo>
                        <a:lnTo>
                          <a:pt x="21" y="5"/>
                        </a:lnTo>
                        <a:lnTo>
                          <a:pt x="23" y="5"/>
                        </a:lnTo>
                        <a:lnTo>
                          <a:pt x="25" y="7"/>
                        </a:lnTo>
                        <a:lnTo>
                          <a:pt x="25" y="7"/>
                        </a:lnTo>
                        <a:lnTo>
                          <a:pt x="28" y="8"/>
                        </a:lnTo>
                        <a:lnTo>
                          <a:pt x="31" y="12"/>
                        </a:lnTo>
                        <a:lnTo>
                          <a:pt x="38" y="20"/>
                        </a:lnTo>
                        <a:lnTo>
                          <a:pt x="40" y="28"/>
                        </a:lnTo>
                        <a:lnTo>
                          <a:pt x="40" y="65"/>
                        </a:lnTo>
                        <a:lnTo>
                          <a:pt x="38" y="68"/>
                        </a:lnTo>
                        <a:lnTo>
                          <a:pt x="43" y="88"/>
                        </a:lnTo>
                        <a:lnTo>
                          <a:pt x="50" y="93"/>
                        </a:lnTo>
                        <a:lnTo>
                          <a:pt x="53" y="95"/>
                        </a:lnTo>
                        <a:lnTo>
                          <a:pt x="55" y="98"/>
                        </a:lnTo>
                        <a:lnTo>
                          <a:pt x="58" y="98"/>
                        </a:lnTo>
                        <a:lnTo>
                          <a:pt x="66" y="105"/>
                        </a:lnTo>
                        <a:lnTo>
                          <a:pt x="68" y="110"/>
                        </a:lnTo>
                        <a:lnTo>
                          <a:pt x="73" y="116"/>
                        </a:lnTo>
                        <a:lnTo>
                          <a:pt x="75" y="121"/>
                        </a:lnTo>
                        <a:lnTo>
                          <a:pt x="76" y="125"/>
                        </a:lnTo>
                        <a:lnTo>
                          <a:pt x="76" y="126"/>
                        </a:lnTo>
                        <a:lnTo>
                          <a:pt x="75" y="128"/>
                        </a:lnTo>
                        <a:lnTo>
                          <a:pt x="73" y="130"/>
                        </a:lnTo>
                        <a:lnTo>
                          <a:pt x="70" y="130"/>
                        </a:lnTo>
                        <a:lnTo>
                          <a:pt x="70" y="131"/>
                        </a:lnTo>
                        <a:lnTo>
                          <a:pt x="71" y="133"/>
                        </a:lnTo>
                        <a:lnTo>
                          <a:pt x="70" y="135"/>
                        </a:lnTo>
                        <a:lnTo>
                          <a:pt x="73" y="138"/>
                        </a:lnTo>
                        <a:lnTo>
                          <a:pt x="73" y="146"/>
                        </a:lnTo>
                        <a:lnTo>
                          <a:pt x="71" y="150"/>
                        </a:lnTo>
                        <a:lnTo>
                          <a:pt x="68" y="151"/>
                        </a:lnTo>
                        <a:lnTo>
                          <a:pt x="63" y="153"/>
                        </a:lnTo>
                        <a:lnTo>
                          <a:pt x="60" y="160"/>
                        </a:lnTo>
                        <a:lnTo>
                          <a:pt x="60" y="163"/>
                        </a:lnTo>
                        <a:lnTo>
                          <a:pt x="56" y="166"/>
                        </a:lnTo>
                        <a:lnTo>
                          <a:pt x="58" y="173"/>
                        </a:lnTo>
                        <a:lnTo>
                          <a:pt x="58" y="176"/>
                        </a:lnTo>
                        <a:lnTo>
                          <a:pt x="53" y="178"/>
                        </a:lnTo>
                        <a:lnTo>
                          <a:pt x="51" y="175"/>
                        </a:lnTo>
                        <a:lnTo>
                          <a:pt x="53" y="171"/>
                        </a:lnTo>
                        <a:lnTo>
                          <a:pt x="50" y="168"/>
                        </a:lnTo>
                        <a:lnTo>
                          <a:pt x="48" y="166"/>
                        </a:lnTo>
                        <a:lnTo>
                          <a:pt x="45" y="165"/>
                        </a:lnTo>
                        <a:lnTo>
                          <a:pt x="40" y="160"/>
                        </a:lnTo>
                        <a:lnTo>
                          <a:pt x="36" y="156"/>
                        </a:lnTo>
                        <a:lnTo>
                          <a:pt x="35" y="153"/>
                        </a:lnTo>
                        <a:lnTo>
                          <a:pt x="33" y="148"/>
                        </a:lnTo>
                        <a:lnTo>
                          <a:pt x="33" y="145"/>
                        </a:lnTo>
                        <a:lnTo>
                          <a:pt x="36" y="140"/>
                        </a:lnTo>
                        <a:lnTo>
                          <a:pt x="36" y="135"/>
                        </a:lnTo>
                        <a:lnTo>
                          <a:pt x="41" y="130"/>
                        </a:lnTo>
                        <a:lnTo>
                          <a:pt x="43" y="125"/>
                        </a:lnTo>
                        <a:lnTo>
                          <a:pt x="43" y="118"/>
                        </a:lnTo>
                        <a:lnTo>
                          <a:pt x="40" y="115"/>
                        </a:lnTo>
                        <a:lnTo>
                          <a:pt x="35" y="115"/>
                        </a:lnTo>
                        <a:lnTo>
                          <a:pt x="30" y="115"/>
                        </a:lnTo>
                        <a:lnTo>
                          <a:pt x="26" y="116"/>
                        </a:lnTo>
                        <a:lnTo>
                          <a:pt x="23" y="116"/>
                        </a:lnTo>
                        <a:lnTo>
                          <a:pt x="21" y="116"/>
                        </a:lnTo>
                        <a:lnTo>
                          <a:pt x="18" y="115"/>
                        </a:lnTo>
                        <a:lnTo>
                          <a:pt x="18" y="113"/>
                        </a:lnTo>
                        <a:lnTo>
                          <a:pt x="15" y="110"/>
                        </a:lnTo>
                        <a:lnTo>
                          <a:pt x="15" y="108"/>
                        </a:lnTo>
                        <a:lnTo>
                          <a:pt x="13" y="106"/>
                        </a:lnTo>
                        <a:lnTo>
                          <a:pt x="7" y="106"/>
                        </a:lnTo>
                        <a:lnTo>
                          <a:pt x="7" y="105"/>
                        </a:lnTo>
                        <a:lnTo>
                          <a:pt x="5" y="101"/>
                        </a:lnTo>
                        <a:lnTo>
                          <a:pt x="0" y="97"/>
                        </a:lnTo>
                        <a:lnTo>
                          <a:pt x="0" y="95"/>
                        </a:lnTo>
                        <a:lnTo>
                          <a:pt x="3" y="93"/>
                        </a:lnTo>
                        <a:lnTo>
                          <a:pt x="7" y="90"/>
                        </a:lnTo>
                        <a:lnTo>
                          <a:pt x="7" y="87"/>
                        </a:lnTo>
                        <a:lnTo>
                          <a:pt x="7" y="85"/>
                        </a:lnTo>
                        <a:lnTo>
                          <a:pt x="7" y="83"/>
                        </a:lnTo>
                        <a:lnTo>
                          <a:pt x="7" y="80"/>
                        </a:lnTo>
                        <a:lnTo>
                          <a:pt x="7" y="78"/>
                        </a:lnTo>
                        <a:lnTo>
                          <a:pt x="13" y="75"/>
                        </a:lnTo>
                        <a:lnTo>
                          <a:pt x="16" y="73"/>
                        </a:lnTo>
                        <a:lnTo>
                          <a:pt x="16" y="70"/>
                        </a:lnTo>
                        <a:lnTo>
                          <a:pt x="20" y="70"/>
                        </a:lnTo>
                        <a:lnTo>
                          <a:pt x="20" y="68"/>
                        </a:lnTo>
                        <a:lnTo>
                          <a:pt x="16" y="67"/>
                        </a:lnTo>
                        <a:lnTo>
                          <a:pt x="16" y="65"/>
                        </a:lnTo>
                        <a:lnTo>
                          <a:pt x="15" y="62"/>
                        </a:lnTo>
                        <a:lnTo>
                          <a:pt x="16" y="62"/>
                        </a:lnTo>
                        <a:lnTo>
                          <a:pt x="16" y="58"/>
                        </a:lnTo>
                        <a:lnTo>
                          <a:pt x="15" y="55"/>
                        </a:lnTo>
                        <a:lnTo>
                          <a:pt x="16" y="53"/>
                        </a:lnTo>
                        <a:lnTo>
                          <a:pt x="16" y="50"/>
                        </a:lnTo>
                        <a:lnTo>
                          <a:pt x="16" y="47"/>
                        </a:lnTo>
                        <a:lnTo>
                          <a:pt x="15" y="43"/>
                        </a:lnTo>
                        <a:lnTo>
                          <a:pt x="15" y="38"/>
                        </a:lnTo>
                        <a:lnTo>
                          <a:pt x="20" y="33"/>
                        </a:lnTo>
                        <a:lnTo>
                          <a:pt x="20" y="33"/>
                        </a:lnTo>
                        <a:lnTo>
                          <a:pt x="21" y="32"/>
                        </a:lnTo>
                        <a:lnTo>
                          <a:pt x="21" y="27"/>
                        </a:lnTo>
                        <a:lnTo>
                          <a:pt x="20" y="23"/>
                        </a:lnTo>
                        <a:lnTo>
                          <a:pt x="16" y="20"/>
                        </a:lnTo>
                        <a:lnTo>
                          <a:pt x="15" y="18"/>
                        </a:lnTo>
                        <a:lnTo>
                          <a:pt x="18" y="13"/>
                        </a:lnTo>
                        <a:lnTo>
                          <a:pt x="18" y="12"/>
                        </a:lnTo>
                        <a:lnTo>
                          <a:pt x="15" y="10"/>
                        </a:lnTo>
                        <a:lnTo>
                          <a:pt x="11" y="8"/>
                        </a:lnTo>
                        <a:lnTo>
                          <a:pt x="10" y="5"/>
                        </a:lnTo>
                        <a:lnTo>
                          <a:pt x="8" y="5"/>
                        </a:lnTo>
                        <a:lnTo>
                          <a:pt x="8" y="2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98" name="Google Shape;3050;p98">
                    <a:extLst>
                      <a:ext uri="{FF2B5EF4-FFF2-40B4-BE49-F238E27FC236}">
                        <a16:creationId xmlns:a16="http://schemas.microsoft.com/office/drawing/2014/main" id="{E3B5116B-A955-3D8F-F1E3-6BB310AAD557}"/>
                      </a:ext>
                    </a:extLst>
                  </p:cNvPr>
                  <p:cNvSpPr/>
                  <p:nvPr/>
                </p:nvSpPr>
                <p:spPr>
                  <a:xfrm>
                    <a:off x="6696489" y="3364135"/>
                    <a:ext cx="153045" cy="1141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7" h="220" extrusionOk="0">
                        <a:moveTo>
                          <a:pt x="53" y="63"/>
                        </a:moveTo>
                        <a:lnTo>
                          <a:pt x="55" y="65"/>
                        </a:lnTo>
                        <a:lnTo>
                          <a:pt x="58" y="65"/>
                        </a:lnTo>
                        <a:lnTo>
                          <a:pt x="62" y="67"/>
                        </a:lnTo>
                        <a:lnTo>
                          <a:pt x="63" y="67"/>
                        </a:lnTo>
                        <a:lnTo>
                          <a:pt x="63" y="72"/>
                        </a:lnTo>
                        <a:lnTo>
                          <a:pt x="63" y="73"/>
                        </a:lnTo>
                        <a:lnTo>
                          <a:pt x="65" y="73"/>
                        </a:lnTo>
                        <a:lnTo>
                          <a:pt x="68" y="72"/>
                        </a:lnTo>
                        <a:lnTo>
                          <a:pt x="72" y="70"/>
                        </a:lnTo>
                        <a:lnTo>
                          <a:pt x="75" y="70"/>
                        </a:lnTo>
                        <a:lnTo>
                          <a:pt x="76" y="68"/>
                        </a:lnTo>
                        <a:lnTo>
                          <a:pt x="83" y="67"/>
                        </a:lnTo>
                        <a:lnTo>
                          <a:pt x="85" y="67"/>
                        </a:lnTo>
                        <a:lnTo>
                          <a:pt x="85" y="72"/>
                        </a:lnTo>
                        <a:lnTo>
                          <a:pt x="86" y="73"/>
                        </a:lnTo>
                        <a:lnTo>
                          <a:pt x="86" y="77"/>
                        </a:lnTo>
                        <a:lnTo>
                          <a:pt x="86" y="78"/>
                        </a:lnTo>
                        <a:lnTo>
                          <a:pt x="88" y="78"/>
                        </a:lnTo>
                        <a:lnTo>
                          <a:pt x="93" y="80"/>
                        </a:lnTo>
                        <a:lnTo>
                          <a:pt x="95" y="80"/>
                        </a:lnTo>
                        <a:lnTo>
                          <a:pt x="101" y="83"/>
                        </a:lnTo>
                        <a:lnTo>
                          <a:pt x="105" y="85"/>
                        </a:lnTo>
                        <a:lnTo>
                          <a:pt x="111" y="85"/>
                        </a:lnTo>
                        <a:lnTo>
                          <a:pt x="111" y="87"/>
                        </a:lnTo>
                        <a:lnTo>
                          <a:pt x="115" y="87"/>
                        </a:lnTo>
                        <a:lnTo>
                          <a:pt x="123" y="85"/>
                        </a:lnTo>
                        <a:lnTo>
                          <a:pt x="123" y="82"/>
                        </a:lnTo>
                        <a:lnTo>
                          <a:pt x="125" y="77"/>
                        </a:lnTo>
                        <a:lnTo>
                          <a:pt x="128" y="77"/>
                        </a:lnTo>
                        <a:lnTo>
                          <a:pt x="131" y="75"/>
                        </a:lnTo>
                        <a:lnTo>
                          <a:pt x="133" y="75"/>
                        </a:lnTo>
                        <a:lnTo>
                          <a:pt x="133" y="82"/>
                        </a:lnTo>
                        <a:lnTo>
                          <a:pt x="136" y="85"/>
                        </a:lnTo>
                        <a:lnTo>
                          <a:pt x="136" y="88"/>
                        </a:lnTo>
                        <a:lnTo>
                          <a:pt x="143" y="92"/>
                        </a:lnTo>
                        <a:lnTo>
                          <a:pt x="151" y="93"/>
                        </a:lnTo>
                        <a:lnTo>
                          <a:pt x="156" y="97"/>
                        </a:lnTo>
                        <a:lnTo>
                          <a:pt x="161" y="103"/>
                        </a:lnTo>
                        <a:lnTo>
                          <a:pt x="166" y="107"/>
                        </a:lnTo>
                        <a:lnTo>
                          <a:pt x="171" y="112"/>
                        </a:lnTo>
                        <a:lnTo>
                          <a:pt x="176" y="117"/>
                        </a:lnTo>
                        <a:lnTo>
                          <a:pt x="179" y="117"/>
                        </a:lnTo>
                        <a:lnTo>
                          <a:pt x="183" y="115"/>
                        </a:lnTo>
                        <a:lnTo>
                          <a:pt x="186" y="113"/>
                        </a:lnTo>
                        <a:lnTo>
                          <a:pt x="189" y="113"/>
                        </a:lnTo>
                        <a:lnTo>
                          <a:pt x="189" y="115"/>
                        </a:lnTo>
                        <a:lnTo>
                          <a:pt x="193" y="117"/>
                        </a:lnTo>
                        <a:lnTo>
                          <a:pt x="194" y="113"/>
                        </a:lnTo>
                        <a:lnTo>
                          <a:pt x="193" y="90"/>
                        </a:lnTo>
                        <a:lnTo>
                          <a:pt x="189" y="90"/>
                        </a:lnTo>
                        <a:lnTo>
                          <a:pt x="184" y="90"/>
                        </a:lnTo>
                        <a:lnTo>
                          <a:pt x="184" y="93"/>
                        </a:lnTo>
                        <a:lnTo>
                          <a:pt x="186" y="95"/>
                        </a:lnTo>
                        <a:lnTo>
                          <a:pt x="186" y="95"/>
                        </a:lnTo>
                        <a:lnTo>
                          <a:pt x="176" y="95"/>
                        </a:lnTo>
                        <a:lnTo>
                          <a:pt x="173" y="93"/>
                        </a:lnTo>
                        <a:lnTo>
                          <a:pt x="171" y="90"/>
                        </a:lnTo>
                        <a:lnTo>
                          <a:pt x="165" y="83"/>
                        </a:lnTo>
                        <a:lnTo>
                          <a:pt x="163" y="80"/>
                        </a:lnTo>
                        <a:lnTo>
                          <a:pt x="161" y="75"/>
                        </a:lnTo>
                        <a:lnTo>
                          <a:pt x="161" y="63"/>
                        </a:lnTo>
                        <a:lnTo>
                          <a:pt x="161" y="60"/>
                        </a:lnTo>
                        <a:lnTo>
                          <a:pt x="166" y="57"/>
                        </a:lnTo>
                        <a:lnTo>
                          <a:pt x="168" y="53"/>
                        </a:lnTo>
                        <a:lnTo>
                          <a:pt x="168" y="52"/>
                        </a:lnTo>
                        <a:lnTo>
                          <a:pt x="170" y="52"/>
                        </a:lnTo>
                        <a:lnTo>
                          <a:pt x="170" y="47"/>
                        </a:lnTo>
                        <a:lnTo>
                          <a:pt x="170" y="43"/>
                        </a:lnTo>
                        <a:lnTo>
                          <a:pt x="170" y="40"/>
                        </a:lnTo>
                        <a:lnTo>
                          <a:pt x="170" y="37"/>
                        </a:lnTo>
                        <a:lnTo>
                          <a:pt x="171" y="37"/>
                        </a:lnTo>
                        <a:lnTo>
                          <a:pt x="171" y="33"/>
                        </a:lnTo>
                        <a:lnTo>
                          <a:pt x="170" y="32"/>
                        </a:lnTo>
                        <a:lnTo>
                          <a:pt x="166" y="30"/>
                        </a:lnTo>
                        <a:lnTo>
                          <a:pt x="165" y="25"/>
                        </a:lnTo>
                        <a:lnTo>
                          <a:pt x="175" y="9"/>
                        </a:lnTo>
                        <a:lnTo>
                          <a:pt x="214" y="0"/>
                        </a:lnTo>
                        <a:lnTo>
                          <a:pt x="226" y="5"/>
                        </a:lnTo>
                        <a:lnTo>
                          <a:pt x="229" y="5"/>
                        </a:lnTo>
                        <a:lnTo>
                          <a:pt x="233" y="5"/>
                        </a:lnTo>
                        <a:lnTo>
                          <a:pt x="236" y="5"/>
                        </a:lnTo>
                        <a:lnTo>
                          <a:pt x="239" y="9"/>
                        </a:lnTo>
                        <a:lnTo>
                          <a:pt x="239" y="10"/>
                        </a:lnTo>
                        <a:lnTo>
                          <a:pt x="243" y="12"/>
                        </a:lnTo>
                        <a:lnTo>
                          <a:pt x="248" y="12"/>
                        </a:lnTo>
                        <a:lnTo>
                          <a:pt x="258" y="15"/>
                        </a:lnTo>
                        <a:lnTo>
                          <a:pt x="261" y="15"/>
                        </a:lnTo>
                        <a:lnTo>
                          <a:pt x="263" y="19"/>
                        </a:lnTo>
                        <a:lnTo>
                          <a:pt x="266" y="19"/>
                        </a:lnTo>
                        <a:lnTo>
                          <a:pt x="268" y="22"/>
                        </a:lnTo>
                        <a:lnTo>
                          <a:pt x="271" y="27"/>
                        </a:lnTo>
                        <a:lnTo>
                          <a:pt x="274" y="27"/>
                        </a:lnTo>
                        <a:lnTo>
                          <a:pt x="274" y="30"/>
                        </a:lnTo>
                        <a:lnTo>
                          <a:pt x="276" y="30"/>
                        </a:lnTo>
                        <a:lnTo>
                          <a:pt x="277" y="33"/>
                        </a:lnTo>
                        <a:lnTo>
                          <a:pt x="281" y="35"/>
                        </a:lnTo>
                        <a:lnTo>
                          <a:pt x="284" y="37"/>
                        </a:lnTo>
                        <a:lnTo>
                          <a:pt x="284" y="38"/>
                        </a:lnTo>
                        <a:lnTo>
                          <a:pt x="281" y="43"/>
                        </a:lnTo>
                        <a:lnTo>
                          <a:pt x="282" y="45"/>
                        </a:lnTo>
                        <a:lnTo>
                          <a:pt x="286" y="48"/>
                        </a:lnTo>
                        <a:lnTo>
                          <a:pt x="287" y="52"/>
                        </a:lnTo>
                        <a:lnTo>
                          <a:pt x="287" y="57"/>
                        </a:lnTo>
                        <a:lnTo>
                          <a:pt x="286" y="58"/>
                        </a:lnTo>
                        <a:lnTo>
                          <a:pt x="286" y="58"/>
                        </a:lnTo>
                        <a:lnTo>
                          <a:pt x="281" y="63"/>
                        </a:lnTo>
                        <a:lnTo>
                          <a:pt x="281" y="68"/>
                        </a:lnTo>
                        <a:lnTo>
                          <a:pt x="282" y="72"/>
                        </a:lnTo>
                        <a:lnTo>
                          <a:pt x="282" y="75"/>
                        </a:lnTo>
                        <a:lnTo>
                          <a:pt x="282" y="78"/>
                        </a:lnTo>
                        <a:lnTo>
                          <a:pt x="281" y="80"/>
                        </a:lnTo>
                        <a:lnTo>
                          <a:pt x="282" y="83"/>
                        </a:lnTo>
                        <a:lnTo>
                          <a:pt x="282" y="87"/>
                        </a:lnTo>
                        <a:lnTo>
                          <a:pt x="281" y="87"/>
                        </a:lnTo>
                        <a:lnTo>
                          <a:pt x="282" y="90"/>
                        </a:lnTo>
                        <a:lnTo>
                          <a:pt x="282" y="92"/>
                        </a:lnTo>
                        <a:lnTo>
                          <a:pt x="286" y="93"/>
                        </a:lnTo>
                        <a:lnTo>
                          <a:pt x="286" y="95"/>
                        </a:lnTo>
                        <a:lnTo>
                          <a:pt x="282" y="95"/>
                        </a:lnTo>
                        <a:lnTo>
                          <a:pt x="282" y="98"/>
                        </a:lnTo>
                        <a:lnTo>
                          <a:pt x="279" y="100"/>
                        </a:lnTo>
                        <a:lnTo>
                          <a:pt x="273" y="103"/>
                        </a:lnTo>
                        <a:lnTo>
                          <a:pt x="273" y="105"/>
                        </a:lnTo>
                        <a:lnTo>
                          <a:pt x="273" y="108"/>
                        </a:lnTo>
                        <a:lnTo>
                          <a:pt x="273" y="110"/>
                        </a:lnTo>
                        <a:lnTo>
                          <a:pt x="273" y="112"/>
                        </a:lnTo>
                        <a:lnTo>
                          <a:pt x="273" y="115"/>
                        </a:lnTo>
                        <a:lnTo>
                          <a:pt x="269" y="118"/>
                        </a:lnTo>
                        <a:lnTo>
                          <a:pt x="266" y="120"/>
                        </a:lnTo>
                        <a:lnTo>
                          <a:pt x="266" y="122"/>
                        </a:lnTo>
                        <a:lnTo>
                          <a:pt x="271" y="126"/>
                        </a:lnTo>
                        <a:lnTo>
                          <a:pt x="273" y="130"/>
                        </a:lnTo>
                        <a:lnTo>
                          <a:pt x="273" y="131"/>
                        </a:lnTo>
                        <a:lnTo>
                          <a:pt x="273" y="131"/>
                        </a:lnTo>
                        <a:lnTo>
                          <a:pt x="266" y="135"/>
                        </a:lnTo>
                        <a:lnTo>
                          <a:pt x="251" y="140"/>
                        </a:lnTo>
                        <a:lnTo>
                          <a:pt x="246" y="140"/>
                        </a:lnTo>
                        <a:lnTo>
                          <a:pt x="221" y="150"/>
                        </a:lnTo>
                        <a:lnTo>
                          <a:pt x="216" y="150"/>
                        </a:lnTo>
                        <a:lnTo>
                          <a:pt x="208" y="155"/>
                        </a:lnTo>
                        <a:lnTo>
                          <a:pt x="206" y="158"/>
                        </a:lnTo>
                        <a:lnTo>
                          <a:pt x="208" y="165"/>
                        </a:lnTo>
                        <a:lnTo>
                          <a:pt x="208" y="166"/>
                        </a:lnTo>
                        <a:lnTo>
                          <a:pt x="206" y="166"/>
                        </a:lnTo>
                        <a:lnTo>
                          <a:pt x="204" y="166"/>
                        </a:lnTo>
                        <a:lnTo>
                          <a:pt x="199" y="166"/>
                        </a:lnTo>
                        <a:lnTo>
                          <a:pt x="196" y="166"/>
                        </a:lnTo>
                        <a:lnTo>
                          <a:pt x="196" y="165"/>
                        </a:lnTo>
                        <a:lnTo>
                          <a:pt x="189" y="165"/>
                        </a:lnTo>
                        <a:lnTo>
                          <a:pt x="184" y="166"/>
                        </a:lnTo>
                        <a:lnTo>
                          <a:pt x="181" y="168"/>
                        </a:lnTo>
                        <a:lnTo>
                          <a:pt x="178" y="170"/>
                        </a:lnTo>
                        <a:lnTo>
                          <a:pt x="170" y="173"/>
                        </a:lnTo>
                        <a:lnTo>
                          <a:pt x="168" y="176"/>
                        </a:lnTo>
                        <a:lnTo>
                          <a:pt x="170" y="178"/>
                        </a:lnTo>
                        <a:lnTo>
                          <a:pt x="168" y="180"/>
                        </a:lnTo>
                        <a:lnTo>
                          <a:pt x="168" y="181"/>
                        </a:lnTo>
                        <a:lnTo>
                          <a:pt x="168" y="183"/>
                        </a:lnTo>
                        <a:lnTo>
                          <a:pt x="166" y="185"/>
                        </a:lnTo>
                        <a:lnTo>
                          <a:pt x="158" y="188"/>
                        </a:lnTo>
                        <a:lnTo>
                          <a:pt x="143" y="196"/>
                        </a:lnTo>
                        <a:lnTo>
                          <a:pt x="131" y="210"/>
                        </a:lnTo>
                        <a:lnTo>
                          <a:pt x="125" y="218"/>
                        </a:lnTo>
                        <a:lnTo>
                          <a:pt x="118" y="220"/>
                        </a:lnTo>
                        <a:lnTo>
                          <a:pt x="113" y="220"/>
                        </a:lnTo>
                        <a:lnTo>
                          <a:pt x="110" y="216"/>
                        </a:lnTo>
                        <a:lnTo>
                          <a:pt x="110" y="216"/>
                        </a:lnTo>
                        <a:lnTo>
                          <a:pt x="108" y="216"/>
                        </a:lnTo>
                        <a:lnTo>
                          <a:pt x="106" y="216"/>
                        </a:lnTo>
                        <a:lnTo>
                          <a:pt x="105" y="215"/>
                        </a:lnTo>
                        <a:lnTo>
                          <a:pt x="100" y="216"/>
                        </a:lnTo>
                        <a:lnTo>
                          <a:pt x="95" y="218"/>
                        </a:lnTo>
                        <a:lnTo>
                          <a:pt x="93" y="218"/>
                        </a:lnTo>
                        <a:lnTo>
                          <a:pt x="90" y="216"/>
                        </a:lnTo>
                        <a:lnTo>
                          <a:pt x="85" y="215"/>
                        </a:lnTo>
                        <a:lnTo>
                          <a:pt x="80" y="215"/>
                        </a:lnTo>
                        <a:lnTo>
                          <a:pt x="78" y="213"/>
                        </a:lnTo>
                        <a:lnTo>
                          <a:pt x="73" y="210"/>
                        </a:lnTo>
                        <a:lnTo>
                          <a:pt x="73" y="210"/>
                        </a:lnTo>
                        <a:lnTo>
                          <a:pt x="72" y="208"/>
                        </a:lnTo>
                        <a:lnTo>
                          <a:pt x="68" y="210"/>
                        </a:lnTo>
                        <a:lnTo>
                          <a:pt x="67" y="208"/>
                        </a:lnTo>
                        <a:lnTo>
                          <a:pt x="67" y="208"/>
                        </a:lnTo>
                        <a:lnTo>
                          <a:pt x="65" y="206"/>
                        </a:lnTo>
                        <a:lnTo>
                          <a:pt x="60" y="208"/>
                        </a:lnTo>
                        <a:lnTo>
                          <a:pt x="57" y="208"/>
                        </a:lnTo>
                        <a:lnTo>
                          <a:pt x="33" y="213"/>
                        </a:lnTo>
                        <a:lnTo>
                          <a:pt x="32" y="210"/>
                        </a:lnTo>
                        <a:lnTo>
                          <a:pt x="30" y="208"/>
                        </a:lnTo>
                        <a:lnTo>
                          <a:pt x="27" y="205"/>
                        </a:lnTo>
                        <a:lnTo>
                          <a:pt x="25" y="203"/>
                        </a:lnTo>
                        <a:lnTo>
                          <a:pt x="22" y="201"/>
                        </a:lnTo>
                        <a:lnTo>
                          <a:pt x="18" y="198"/>
                        </a:lnTo>
                        <a:lnTo>
                          <a:pt x="13" y="193"/>
                        </a:lnTo>
                        <a:lnTo>
                          <a:pt x="10" y="191"/>
                        </a:lnTo>
                        <a:lnTo>
                          <a:pt x="8" y="190"/>
                        </a:lnTo>
                        <a:lnTo>
                          <a:pt x="5" y="186"/>
                        </a:lnTo>
                        <a:lnTo>
                          <a:pt x="2" y="183"/>
                        </a:lnTo>
                        <a:lnTo>
                          <a:pt x="0" y="180"/>
                        </a:lnTo>
                        <a:lnTo>
                          <a:pt x="2" y="108"/>
                        </a:lnTo>
                        <a:lnTo>
                          <a:pt x="55" y="108"/>
                        </a:lnTo>
                        <a:lnTo>
                          <a:pt x="53" y="105"/>
                        </a:lnTo>
                        <a:lnTo>
                          <a:pt x="53" y="98"/>
                        </a:lnTo>
                        <a:lnTo>
                          <a:pt x="55" y="97"/>
                        </a:lnTo>
                        <a:lnTo>
                          <a:pt x="55" y="93"/>
                        </a:lnTo>
                        <a:lnTo>
                          <a:pt x="53" y="90"/>
                        </a:lnTo>
                        <a:lnTo>
                          <a:pt x="53" y="85"/>
                        </a:lnTo>
                        <a:lnTo>
                          <a:pt x="53" y="77"/>
                        </a:lnTo>
                        <a:lnTo>
                          <a:pt x="52" y="68"/>
                        </a:lnTo>
                        <a:lnTo>
                          <a:pt x="53" y="67"/>
                        </a:lnTo>
                        <a:lnTo>
                          <a:pt x="53" y="65"/>
                        </a:lnTo>
                        <a:lnTo>
                          <a:pt x="53" y="63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99" name="Google Shape;3051;p98">
                    <a:extLst>
                      <a:ext uri="{FF2B5EF4-FFF2-40B4-BE49-F238E27FC236}">
                        <a16:creationId xmlns:a16="http://schemas.microsoft.com/office/drawing/2014/main" id="{7F0903CF-1DDC-3E46-655B-EB51F25B6A63}"/>
                      </a:ext>
                    </a:extLst>
                  </p:cNvPr>
                  <p:cNvSpPr/>
                  <p:nvPr/>
                </p:nvSpPr>
                <p:spPr>
                  <a:xfrm>
                    <a:off x="6562709" y="3337157"/>
                    <a:ext cx="162678" cy="14215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4" h="272" extrusionOk="0">
                        <a:moveTo>
                          <a:pt x="282" y="264"/>
                        </a:moveTo>
                        <a:lnTo>
                          <a:pt x="281" y="261"/>
                        </a:lnTo>
                        <a:lnTo>
                          <a:pt x="279" y="259"/>
                        </a:lnTo>
                        <a:lnTo>
                          <a:pt x="276" y="256"/>
                        </a:lnTo>
                        <a:lnTo>
                          <a:pt x="274" y="254"/>
                        </a:lnTo>
                        <a:lnTo>
                          <a:pt x="271" y="252"/>
                        </a:lnTo>
                        <a:lnTo>
                          <a:pt x="267" y="249"/>
                        </a:lnTo>
                        <a:lnTo>
                          <a:pt x="262" y="244"/>
                        </a:lnTo>
                        <a:lnTo>
                          <a:pt x="259" y="242"/>
                        </a:lnTo>
                        <a:lnTo>
                          <a:pt x="257" y="241"/>
                        </a:lnTo>
                        <a:lnTo>
                          <a:pt x="254" y="237"/>
                        </a:lnTo>
                        <a:lnTo>
                          <a:pt x="251" y="234"/>
                        </a:lnTo>
                        <a:lnTo>
                          <a:pt x="249" y="231"/>
                        </a:lnTo>
                        <a:lnTo>
                          <a:pt x="251" y="159"/>
                        </a:lnTo>
                        <a:lnTo>
                          <a:pt x="304" y="159"/>
                        </a:lnTo>
                        <a:lnTo>
                          <a:pt x="302" y="156"/>
                        </a:lnTo>
                        <a:lnTo>
                          <a:pt x="302" y="149"/>
                        </a:lnTo>
                        <a:lnTo>
                          <a:pt x="304" y="148"/>
                        </a:lnTo>
                        <a:lnTo>
                          <a:pt x="304" y="144"/>
                        </a:lnTo>
                        <a:lnTo>
                          <a:pt x="302" y="141"/>
                        </a:lnTo>
                        <a:lnTo>
                          <a:pt x="302" y="136"/>
                        </a:lnTo>
                        <a:lnTo>
                          <a:pt x="302" y="128"/>
                        </a:lnTo>
                        <a:lnTo>
                          <a:pt x="301" y="119"/>
                        </a:lnTo>
                        <a:lnTo>
                          <a:pt x="302" y="118"/>
                        </a:lnTo>
                        <a:lnTo>
                          <a:pt x="302" y="116"/>
                        </a:lnTo>
                        <a:lnTo>
                          <a:pt x="302" y="114"/>
                        </a:lnTo>
                        <a:lnTo>
                          <a:pt x="297" y="114"/>
                        </a:lnTo>
                        <a:lnTo>
                          <a:pt x="294" y="116"/>
                        </a:lnTo>
                        <a:lnTo>
                          <a:pt x="289" y="118"/>
                        </a:lnTo>
                        <a:lnTo>
                          <a:pt x="287" y="119"/>
                        </a:lnTo>
                        <a:lnTo>
                          <a:pt x="284" y="119"/>
                        </a:lnTo>
                        <a:lnTo>
                          <a:pt x="282" y="119"/>
                        </a:lnTo>
                        <a:lnTo>
                          <a:pt x="276" y="119"/>
                        </a:lnTo>
                        <a:lnTo>
                          <a:pt x="274" y="118"/>
                        </a:lnTo>
                        <a:lnTo>
                          <a:pt x="271" y="116"/>
                        </a:lnTo>
                        <a:lnTo>
                          <a:pt x="267" y="116"/>
                        </a:lnTo>
                        <a:lnTo>
                          <a:pt x="266" y="116"/>
                        </a:lnTo>
                        <a:lnTo>
                          <a:pt x="264" y="118"/>
                        </a:lnTo>
                        <a:lnTo>
                          <a:pt x="262" y="119"/>
                        </a:lnTo>
                        <a:lnTo>
                          <a:pt x="261" y="119"/>
                        </a:lnTo>
                        <a:lnTo>
                          <a:pt x="259" y="118"/>
                        </a:lnTo>
                        <a:lnTo>
                          <a:pt x="259" y="113"/>
                        </a:lnTo>
                        <a:lnTo>
                          <a:pt x="261" y="111"/>
                        </a:lnTo>
                        <a:lnTo>
                          <a:pt x="261" y="111"/>
                        </a:lnTo>
                        <a:lnTo>
                          <a:pt x="262" y="108"/>
                        </a:lnTo>
                        <a:lnTo>
                          <a:pt x="259" y="104"/>
                        </a:lnTo>
                        <a:lnTo>
                          <a:pt x="259" y="101"/>
                        </a:lnTo>
                        <a:lnTo>
                          <a:pt x="259" y="99"/>
                        </a:lnTo>
                        <a:lnTo>
                          <a:pt x="259" y="98"/>
                        </a:lnTo>
                        <a:lnTo>
                          <a:pt x="257" y="94"/>
                        </a:lnTo>
                        <a:lnTo>
                          <a:pt x="257" y="91"/>
                        </a:lnTo>
                        <a:lnTo>
                          <a:pt x="257" y="89"/>
                        </a:lnTo>
                        <a:lnTo>
                          <a:pt x="257" y="86"/>
                        </a:lnTo>
                        <a:lnTo>
                          <a:pt x="256" y="86"/>
                        </a:lnTo>
                        <a:lnTo>
                          <a:pt x="254" y="83"/>
                        </a:lnTo>
                        <a:lnTo>
                          <a:pt x="252" y="83"/>
                        </a:lnTo>
                        <a:lnTo>
                          <a:pt x="252" y="79"/>
                        </a:lnTo>
                        <a:lnTo>
                          <a:pt x="251" y="78"/>
                        </a:lnTo>
                        <a:lnTo>
                          <a:pt x="251" y="75"/>
                        </a:lnTo>
                        <a:lnTo>
                          <a:pt x="249" y="73"/>
                        </a:lnTo>
                        <a:lnTo>
                          <a:pt x="251" y="70"/>
                        </a:lnTo>
                        <a:lnTo>
                          <a:pt x="251" y="61"/>
                        </a:lnTo>
                        <a:lnTo>
                          <a:pt x="249" y="58"/>
                        </a:lnTo>
                        <a:lnTo>
                          <a:pt x="249" y="56"/>
                        </a:lnTo>
                        <a:lnTo>
                          <a:pt x="251" y="55"/>
                        </a:lnTo>
                        <a:lnTo>
                          <a:pt x="251" y="51"/>
                        </a:lnTo>
                        <a:lnTo>
                          <a:pt x="247" y="48"/>
                        </a:lnTo>
                        <a:lnTo>
                          <a:pt x="249" y="45"/>
                        </a:lnTo>
                        <a:lnTo>
                          <a:pt x="251" y="41"/>
                        </a:lnTo>
                        <a:lnTo>
                          <a:pt x="251" y="38"/>
                        </a:lnTo>
                        <a:lnTo>
                          <a:pt x="251" y="35"/>
                        </a:lnTo>
                        <a:lnTo>
                          <a:pt x="251" y="31"/>
                        </a:lnTo>
                        <a:lnTo>
                          <a:pt x="223" y="30"/>
                        </a:lnTo>
                        <a:lnTo>
                          <a:pt x="223" y="28"/>
                        </a:lnTo>
                        <a:lnTo>
                          <a:pt x="223" y="26"/>
                        </a:lnTo>
                        <a:lnTo>
                          <a:pt x="224" y="23"/>
                        </a:lnTo>
                        <a:lnTo>
                          <a:pt x="216" y="23"/>
                        </a:lnTo>
                        <a:lnTo>
                          <a:pt x="216" y="25"/>
                        </a:lnTo>
                        <a:lnTo>
                          <a:pt x="193" y="25"/>
                        </a:lnTo>
                        <a:lnTo>
                          <a:pt x="191" y="31"/>
                        </a:lnTo>
                        <a:lnTo>
                          <a:pt x="189" y="35"/>
                        </a:lnTo>
                        <a:lnTo>
                          <a:pt x="188" y="36"/>
                        </a:lnTo>
                        <a:lnTo>
                          <a:pt x="189" y="40"/>
                        </a:lnTo>
                        <a:lnTo>
                          <a:pt x="189" y="46"/>
                        </a:lnTo>
                        <a:lnTo>
                          <a:pt x="171" y="46"/>
                        </a:lnTo>
                        <a:lnTo>
                          <a:pt x="168" y="48"/>
                        </a:lnTo>
                        <a:lnTo>
                          <a:pt x="159" y="48"/>
                        </a:lnTo>
                        <a:lnTo>
                          <a:pt x="156" y="48"/>
                        </a:lnTo>
                        <a:lnTo>
                          <a:pt x="151" y="48"/>
                        </a:lnTo>
                        <a:lnTo>
                          <a:pt x="146" y="48"/>
                        </a:lnTo>
                        <a:lnTo>
                          <a:pt x="143" y="46"/>
                        </a:lnTo>
                        <a:lnTo>
                          <a:pt x="141" y="40"/>
                        </a:lnTo>
                        <a:lnTo>
                          <a:pt x="138" y="35"/>
                        </a:lnTo>
                        <a:lnTo>
                          <a:pt x="136" y="33"/>
                        </a:lnTo>
                        <a:lnTo>
                          <a:pt x="134" y="31"/>
                        </a:lnTo>
                        <a:lnTo>
                          <a:pt x="134" y="28"/>
                        </a:lnTo>
                        <a:lnTo>
                          <a:pt x="133" y="26"/>
                        </a:lnTo>
                        <a:lnTo>
                          <a:pt x="131" y="21"/>
                        </a:lnTo>
                        <a:lnTo>
                          <a:pt x="129" y="18"/>
                        </a:lnTo>
                        <a:lnTo>
                          <a:pt x="129" y="15"/>
                        </a:lnTo>
                        <a:lnTo>
                          <a:pt x="129" y="11"/>
                        </a:lnTo>
                        <a:lnTo>
                          <a:pt x="129" y="10"/>
                        </a:lnTo>
                        <a:lnTo>
                          <a:pt x="128" y="6"/>
                        </a:lnTo>
                        <a:lnTo>
                          <a:pt x="126" y="5"/>
                        </a:lnTo>
                        <a:lnTo>
                          <a:pt x="128" y="3"/>
                        </a:lnTo>
                        <a:lnTo>
                          <a:pt x="128" y="0"/>
                        </a:lnTo>
                        <a:lnTo>
                          <a:pt x="103" y="0"/>
                        </a:lnTo>
                        <a:lnTo>
                          <a:pt x="85" y="0"/>
                        </a:lnTo>
                        <a:lnTo>
                          <a:pt x="76" y="1"/>
                        </a:lnTo>
                        <a:lnTo>
                          <a:pt x="70" y="0"/>
                        </a:lnTo>
                        <a:lnTo>
                          <a:pt x="65" y="0"/>
                        </a:lnTo>
                        <a:lnTo>
                          <a:pt x="58" y="0"/>
                        </a:lnTo>
                        <a:lnTo>
                          <a:pt x="53" y="1"/>
                        </a:lnTo>
                        <a:lnTo>
                          <a:pt x="48" y="1"/>
                        </a:lnTo>
                        <a:lnTo>
                          <a:pt x="45" y="0"/>
                        </a:lnTo>
                        <a:lnTo>
                          <a:pt x="41" y="0"/>
                        </a:lnTo>
                        <a:lnTo>
                          <a:pt x="36" y="1"/>
                        </a:lnTo>
                        <a:lnTo>
                          <a:pt x="33" y="1"/>
                        </a:lnTo>
                        <a:lnTo>
                          <a:pt x="31" y="3"/>
                        </a:lnTo>
                        <a:lnTo>
                          <a:pt x="30" y="3"/>
                        </a:lnTo>
                        <a:lnTo>
                          <a:pt x="28" y="3"/>
                        </a:lnTo>
                        <a:lnTo>
                          <a:pt x="28" y="3"/>
                        </a:lnTo>
                        <a:lnTo>
                          <a:pt x="28" y="3"/>
                        </a:lnTo>
                        <a:lnTo>
                          <a:pt x="20" y="8"/>
                        </a:lnTo>
                        <a:lnTo>
                          <a:pt x="23" y="10"/>
                        </a:lnTo>
                        <a:lnTo>
                          <a:pt x="23" y="13"/>
                        </a:lnTo>
                        <a:lnTo>
                          <a:pt x="36" y="26"/>
                        </a:lnTo>
                        <a:lnTo>
                          <a:pt x="36" y="45"/>
                        </a:lnTo>
                        <a:lnTo>
                          <a:pt x="45" y="53"/>
                        </a:lnTo>
                        <a:lnTo>
                          <a:pt x="43" y="61"/>
                        </a:lnTo>
                        <a:lnTo>
                          <a:pt x="35" y="71"/>
                        </a:lnTo>
                        <a:lnTo>
                          <a:pt x="40" y="73"/>
                        </a:lnTo>
                        <a:lnTo>
                          <a:pt x="40" y="81"/>
                        </a:lnTo>
                        <a:lnTo>
                          <a:pt x="43" y="86"/>
                        </a:lnTo>
                        <a:lnTo>
                          <a:pt x="43" y="91"/>
                        </a:lnTo>
                        <a:lnTo>
                          <a:pt x="53" y="106"/>
                        </a:lnTo>
                        <a:lnTo>
                          <a:pt x="53" y="109"/>
                        </a:lnTo>
                        <a:lnTo>
                          <a:pt x="55" y="113"/>
                        </a:lnTo>
                        <a:lnTo>
                          <a:pt x="55" y="131"/>
                        </a:lnTo>
                        <a:lnTo>
                          <a:pt x="46" y="148"/>
                        </a:lnTo>
                        <a:lnTo>
                          <a:pt x="43" y="148"/>
                        </a:lnTo>
                        <a:lnTo>
                          <a:pt x="31" y="154"/>
                        </a:lnTo>
                        <a:lnTo>
                          <a:pt x="31" y="161"/>
                        </a:lnTo>
                        <a:lnTo>
                          <a:pt x="18" y="171"/>
                        </a:lnTo>
                        <a:lnTo>
                          <a:pt x="18" y="177"/>
                        </a:lnTo>
                        <a:lnTo>
                          <a:pt x="17" y="179"/>
                        </a:lnTo>
                        <a:lnTo>
                          <a:pt x="17" y="197"/>
                        </a:lnTo>
                        <a:lnTo>
                          <a:pt x="10" y="204"/>
                        </a:lnTo>
                        <a:lnTo>
                          <a:pt x="8" y="212"/>
                        </a:lnTo>
                        <a:lnTo>
                          <a:pt x="2" y="221"/>
                        </a:lnTo>
                        <a:lnTo>
                          <a:pt x="2" y="227"/>
                        </a:lnTo>
                        <a:lnTo>
                          <a:pt x="2" y="236"/>
                        </a:lnTo>
                        <a:lnTo>
                          <a:pt x="2" y="246"/>
                        </a:lnTo>
                        <a:lnTo>
                          <a:pt x="0" y="252"/>
                        </a:lnTo>
                        <a:lnTo>
                          <a:pt x="0" y="256"/>
                        </a:lnTo>
                        <a:lnTo>
                          <a:pt x="0" y="256"/>
                        </a:lnTo>
                        <a:lnTo>
                          <a:pt x="5" y="256"/>
                        </a:lnTo>
                        <a:lnTo>
                          <a:pt x="5" y="257"/>
                        </a:lnTo>
                        <a:lnTo>
                          <a:pt x="8" y="256"/>
                        </a:lnTo>
                        <a:lnTo>
                          <a:pt x="8" y="252"/>
                        </a:lnTo>
                        <a:lnTo>
                          <a:pt x="10" y="252"/>
                        </a:lnTo>
                        <a:lnTo>
                          <a:pt x="17" y="254"/>
                        </a:lnTo>
                        <a:lnTo>
                          <a:pt x="20" y="256"/>
                        </a:lnTo>
                        <a:lnTo>
                          <a:pt x="22" y="254"/>
                        </a:lnTo>
                        <a:lnTo>
                          <a:pt x="22" y="251"/>
                        </a:lnTo>
                        <a:lnTo>
                          <a:pt x="28" y="246"/>
                        </a:lnTo>
                        <a:lnTo>
                          <a:pt x="31" y="246"/>
                        </a:lnTo>
                        <a:lnTo>
                          <a:pt x="36" y="247"/>
                        </a:lnTo>
                        <a:lnTo>
                          <a:pt x="36" y="247"/>
                        </a:lnTo>
                        <a:lnTo>
                          <a:pt x="38" y="247"/>
                        </a:lnTo>
                        <a:lnTo>
                          <a:pt x="40" y="246"/>
                        </a:lnTo>
                        <a:lnTo>
                          <a:pt x="43" y="247"/>
                        </a:lnTo>
                        <a:lnTo>
                          <a:pt x="43" y="249"/>
                        </a:lnTo>
                        <a:lnTo>
                          <a:pt x="46" y="251"/>
                        </a:lnTo>
                        <a:lnTo>
                          <a:pt x="46" y="252"/>
                        </a:lnTo>
                        <a:lnTo>
                          <a:pt x="48" y="252"/>
                        </a:lnTo>
                        <a:lnTo>
                          <a:pt x="53" y="257"/>
                        </a:lnTo>
                        <a:lnTo>
                          <a:pt x="58" y="259"/>
                        </a:lnTo>
                        <a:lnTo>
                          <a:pt x="61" y="257"/>
                        </a:lnTo>
                        <a:lnTo>
                          <a:pt x="63" y="257"/>
                        </a:lnTo>
                        <a:lnTo>
                          <a:pt x="66" y="256"/>
                        </a:lnTo>
                        <a:lnTo>
                          <a:pt x="70" y="256"/>
                        </a:lnTo>
                        <a:lnTo>
                          <a:pt x="70" y="256"/>
                        </a:lnTo>
                        <a:lnTo>
                          <a:pt x="161" y="256"/>
                        </a:lnTo>
                        <a:lnTo>
                          <a:pt x="163" y="257"/>
                        </a:lnTo>
                        <a:lnTo>
                          <a:pt x="164" y="261"/>
                        </a:lnTo>
                        <a:lnTo>
                          <a:pt x="168" y="262"/>
                        </a:lnTo>
                        <a:lnTo>
                          <a:pt x="171" y="264"/>
                        </a:lnTo>
                        <a:lnTo>
                          <a:pt x="178" y="266"/>
                        </a:lnTo>
                        <a:lnTo>
                          <a:pt x="181" y="266"/>
                        </a:lnTo>
                        <a:lnTo>
                          <a:pt x="183" y="266"/>
                        </a:lnTo>
                        <a:lnTo>
                          <a:pt x="184" y="267"/>
                        </a:lnTo>
                        <a:lnTo>
                          <a:pt x="188" y="269"/>
                        </a:lnTo>
                        <a:lnTo>
                          <a:pt x="191" y="267"/>
                        </a:lnTo>
                        <a:lnTo>
                          <a:pt x="194" y="266"/>
                        </a:lnTo>
                        <a:lnTo>
                          <a:pt x="201" y="267"/>
                        </a:lnTo>
                        <a:lnTo>
                          <a:pt x="204" y="267"/>
                        </a:lnTo>
                        <a:lnTo>
                          <a:pt x="204" y="264"/>
                        </a:lnTo>
                        <a:lnTo>
                          <a:pt x="206" y="264"/>
                        </a:lnTo>
                        <a:lnTo>
                          <a:pt x="209" y="264"/>
                        </a:lnTo>
                        <a:lnTo>
                          <a:pt x="214" y="269"/>
                        </a:lnTo>
                        <a:lnTo>
                          <a:pt x="219" y="271"/>
                        </a:lnTo>
                        <a:lnTo>
                          <a:pt x="224" y="271"/>
                        </a:lnTo>
                        <a:lnTo>
                          <a:pt x="226" y="271"/>
                        </a:lnTo>
                        <a:lnTo>
                          <a:pt x="226" y="269"/>
                        </a:lnTo>
                        <a:lnTo>
                          <a:pt x="227" y="267"/>
                        </a:lnTo>
                        <a:lnTo>
                          <a:pt x="231" y="269"/>
                        </a:lnTo>
                        <a:lnTo>
                          <a:pt x="232" y="269"/>
                        </a:lnTo>
                        <a:lnTo>
                          <a:pt x="234" y="269"/>
                        </a:lnTo>
                        <a:lnTo>
                          <a:pt x="236" y="271"/>
                        </a:lnTo>
                        <a:lnTo>
                          <a:pt x="237" y="271"/>
                        </a:lnTo>
                        <a:lnTo>
                          <a:pt x="239" y="271"/>
                        </a:lnTo>
                        <a:lnTo>
                          <a:pt x="241" y="272"/>
                        </a:lnTo>
                        <a:lnTo>
                          <a:pt x="242" y="271"/>
                        </a:lnTo>
                        <a:lnTo>
                          <a:pt x="244" y="271"/>
                        </a:lnTo>
                        <a:lnTo>
                          <a:pt x="282" y="264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00" name="Google Shape;3052;p98">
                    <a:extLst>
                      <a:ext uri="{FF2B5EF4-FFF2-40B4-BE49-F238E27FC236}">
                        <a16:creationId xmlns:a16="http://schemas.microsoft.com/office/drawing/2014/main" id="{852B05DA-6090-C97F-33E9-30F2C6C3299E}"/>
                      </a:ext>
                    </a:extLst>
                  </p:cNvPr>
                  <p:cNvSpPr/>
                  <p:nvPr/>
                </p:nvSpPr>
                <p:spPr>
                  <a:xfrm>
                    <a:off x="6738229" y="3449217"/>
                    <a:ext cx="100603" cy="8093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90" h="156" extrusionOk="0">
                        <a:moveTo>
                          <a:pt x="0" y="48"/>
                        </a:moveTo>
                        <a:lnTo>
                          <a:pt x="2" y="50"/>
                        </a:lnTo>
                        <a:lnTo>
                          <a:pt x="7" y="50"/>
                        </a:lnTo>
                        <a:lnTo>
                          <a:pt x="12" y="51"/>
                        </a:lnTo>
                        <a:lnTo>
                          <a:pt x="15" y="53"/>
                        </a:lnTo>
                        <a:lnTo>
                          <a:pt x="17" y="53"/>
                        </a:lnTo>
                        <a:lnTo>
                          <a:pt x="22" y="51"/>
                        </a:lnTo>
                        <a:lnTo>
                          <a:pt x="27" y="50"/>
                        </a:lnTo>
                        <a:lnTo>
                          <a:pt x="28" y="51"/>
                        </a:lnTo>
                        <a:lnTo>
                          <a:pt x="30" y="51"/>
                        </a:lnTo>
                        <a:lnTo>
                          <a:pt x="32" y="51"/>
                        </a:lnTo>
                        <a:lnTo>
                          <a:pt x="32" y="51"/>
                        </a:lnTo>
                        <a:lnTo>
                          <a:pt x="35" y="55"/>
                        </a:lnTo>
                        <a:lnTo>
                          <a:pt x="40" y="55"/>
                        </a:lnTo>
                        <a:lnTo>
                          <a:pt x="47" y="53"/>
                        </a:lnTo>
                        <a:lnTo>
                          <a:pt x="53" y="45"/>
                        </a:lnTo>
                        <a:lnTo>
                          <a:pt x="65" y="31"/>
                        </a:lnTo>
                        <a:lnTo>
                          <a:pt x="80" y="23"/>
                        </a:lnTo>
                        <a:lnTo>
                          <a:pt x="88" y="20"/>
                        </a:lnTo>
                        <a:lnTo>
                          <a:pt x="90" y="18"/>
                        </a:lnTo>
                        <a:lnTo>
                          <a:pt x="90" y="16"/>
                        </a:lnTo>
                        <a:lnTo>
                          <a:pt x="90" y="15"/>
                        </a:lnTo>
                        <a:lnTo>
                          <a:pt x="92" y="13"/>
                        </a:lnTo>
                        <a:lnTo>
                          <a:pt x="90" y="11"/>
                        </a:lnTo>
                        <a:lnTo>
                          <a:pt x="92" y="8"/>
                        </a:lnTo>
                        <a:lnTo>
                          <a:pt x="100" y="5"/>
                        </a:lnTo>
                        <a:lnTo>
                          <a:pt x="103" y="3"/>
                        </a:lnTo>
                        <a:lnTo>
                          <a:pt x="106" y="1"/>
                        </a:lnTo>
                        <a:lnTo>
                          <a:pt x="111" y="0"/>
                        </a:lnTo>
                        <a:lnTo>
                          <a:pt x="118" y="0"/>
                        </a:lnTo>
                        <a:lnTo>
                          <a:pt x="118" y="1"/>
                        </a:lnTo>
                        <a:lnTo>
                          <a:pt x="121" y="1"/>
                        </a:lnTo>
                        <a:lnTo>
                          <a:pt x="126" y="1"/>
                        </a:lnTo>
                        <a:lnTo>
                          <a:pt x="128" y="1"/>
                        </a:lnTo>
                        <a:lnTo>
                          <a:pt x="130" y="1"/>
                        </a:lnTo>
                        <a:lnTo>
                          <a:pt x="130" y="10"/>
                        </a:lnTo>
                        <a:lnTo>
                          <a:pt x="138" y="10"/>
                        </a:lnTo>
                        <a:lnTo>
                          <a:pt x="141" y="10"/>
                        </a:lnTo>
                        <a:lnTo>
                          <a:pt x="143" y="13"/>
                        </a:lnTo>
                        <a:lnTo>
                          <a:pt x="146" y="11"/>
                        </a:lnTo>
                        <a:lnTo>
                          <a:pt x="148" y="10"/>
                        </a:lnTo>
                        <a:lnTo>
                          <a:pt x="155" y="11"/>
                        </a:lnTo>
                        <a:lnTo>
                          <a:pt x="161" y="15"/>
                        </a:lnTo>
                        <a:lnTo>
                          <a:pt x="165" y="20"/>
                        </a:lnTo>
                        <a:lnTo>
                          <a:pt x="170" y="20"/>
                        </a:lnTo>
                        <a:lnTo>
                          <a:pt x="176" y="21"/>
                        </a:lnTo>
                        <a:lnTo>
                          <a:pt x="181" y="25"/>
                        </a:lnTo>
                        <a:lnTo>
                          <a:pt x="185" y="26"/>
                        </a:lnTo>
                        <a:lnTo>
                          <a:pt x="190" y="28"/>
                        </a:lnTo>
                        <a:lnTo>
                          <a:pt x="190" y="31"/>
                        </a:lnTo>
                        <a:lnTo>
                          <a:pt x="188" y="35"/>
                        </a:lnTo>
                        <a:lnTo>
                          <a:pt x="188" y="38"/>
                        </a:lnTo>
                        <a:lnTo>
                          <a:pt x="188" y="41"/>
                        </a:lnTo>
                        <a:lnTo>
                          <a:pt x="188" y="43"/>
                        </a:lnTo>
                        <a:lnTo>
                          <a:pt x="188" y="46"/>
                        </a:lnTo>
                        <a:lnTo>
                          <a:pt x="186" y="50"/>
                        </a:lnTo>
                        <a:lnTo>
                          <a:pt x="185" y="56"/>
                        </a:lnTo>
                        <a:lnTo>
                          <a:pt x="183" y="60"/>
                        </a:lnTo>
                        <a:lnTo>
                          <a:pt x="185" y="61"/>
                        </a:lnTo>
                        <a:lnTo>
                          <a:pt x="188" y="61"/>
                        </a:lnTo>
                        <a:lnTo>
                          <a:pt x="186" y="64"/>
                        </a:lnTo>
                        <a:lnTo>
                          <a:pt x="183" y="66"/>
                        </a:lnTo>
                        <a:lnTo>
                          <a:pt x="183" y="71"/>
                        </a:lnTo>
                        <a:lnTo>
                          <a:pt x="183" y="74"/>
                        </a:lnTo>
                        <a:lnTo>
                          <a:pt x="180" y="76"/>
                        </a:lnTo>
                        <a:lnTo>
                          <a:pt x="180" y="79"/>
                        </a:lnTo>
                        <a:lnTo>
                          <a:pt x="185" y="81"/>
                        </a:lnTo>
                        <a:lnTo>
                          <a:pt x="185" y="86"/>
                        </a:lnTo>
                        <a:lnTo>
                          <a:pt x="183" y="88"/>
                        </a:lnTo>
                        <a:lnTo>
                          <a:pt x="183" y="91"/>
                        </a:lnTo>
                        <a:lnTo>
                          <a:pt x="185" y="93"/>
                        </a:lnTo>
                        <a:lnTo>
                          <a:pt x="186" y="96"/>
                        </a:lnTo>
                        <a:lnTo>
                          <a:pt x="183" y="101"/>
                        </a:lnTo>
                        <a:lnTo>
                          <a:pt x="178" y="104"/>
                        </a:lnTo>
                        <a:lnTo>
                          <a:pt x="176" y="106"/>
                        </a:lnTo>
                        <a:lnTo>
                          <a:pt x="173" y="106"/>
                        </a:lnTo>
                        <a:lnTo>
                          <a:pt x="173" y="109"/>
                        </a:lnTo>
                        <a:lnTo>
                          <a:pt x="175" y="113"/>
                        </a:lnTo>
                        <a:lnTo>
                          <a:pt x="173" y="116"/>
                        </a:lnTo>
                        <a:lnTo>
                          <a:pt x="173" y="123"/>
                        </a:lnTo>
                        <a:lnTo>
                          <a:pt x="171" y="124"/>
                        </a:lnTo>
                        <a:lnTo>
                          <a:pt x="171" y="133"/>
                        </a:lnTo>
                        <a:lnTo>
                          <a:pt x="145" y="156"/>
                        </a:lnTo>
                        <a:lnTo>
                          <a:pt x="140" y="154"/>
                        </a:lnTo>
                        <a:lnTo>
                          <a:pt x="131" y="153"/>
                        </a:lnTo>
                        <a:lnTo>
                          <a:pt x="125" y="153"/>
                        </a:lnTo>
                        <a:lnTo>
                          <a:pt x="121" y="154"/>
                        </a:lnTo>
                        <a:lnTo>
                          <a:pt x="120" y="153"/>
                        </a:lnTo>
                        <a:lnTo>
                          <a:pt x="115" y="151"/>
                        </a:lnTo>
                        <a:lnTo>
                          <a:pt x="111" y="151"/>
                        </a:lnTo>
                        <a:lnTo>
                          <a:pt x="110" y="148"/>
                        </a:lnTo>
                        <a:lnTo>
                          <a:pt x="103" y="148"/>
                        </a:lnTo>
                        <a:lnTo>
                          <a:pt x="97" y="148"/>
                        </a:lnTo>
                        <a:lnTo>
                          <a:pt x="93" y="146"/>
                        </a:lnTo>
                        <a:lnTo>
                          <a:pt x="92" y="144"/>
                        </a:lnTo>
                        <a:lnTo>
                          <a:pt x="92" y="141"/>
                        </a:lnTo>
                        <a:lnTo>
                          <a:pt x="90" y="139"/>
                        </a:lnTo>
                        <a:lnTo>
                          <a:pt x="87" y="139"/>
                        </a:lnTo>
                        <a:lnTo>
                          <a:pt x="82" y="138"/>
                        </a:lnTo>
                        <a:lnTo>
                          <a:pt x="78" y="138"/>
                        </a:lnTo>
                        <a:lnTo>
                          <a:pt x="73" y="134"/>
                        </a:lnTo>
                        <a:lnTo>
                          <a:pt x="70" y="136"/>
                        </a:lnTo>
                        <a:lnTo>
                          <a:pt x="65" y="134"/>
                        </a:lnTo>
                        <a:lnTo>
                          <a:pt x="62" y="131"/>
                        </a:lnTo>
                        <a:lnTo>
                          <a:pt x="57" y="128"/>
                        </a:lnTo>
                        <a:lnTo>
                          <a:pt x="55" y="124"/>
                        </a:lnTo>
                        <a:lnTo>
                          <a:pt x="55" y="121"/>
                        </a:lnTo>
                        <a:lnTo>
                          <a:pt x="55" y="116"/>
                        </a:lnTo>
                        <a:lnTo>
                          <a:pt x="55" y="113"/>
                        </a:lnTo>
                        <a:lnTo>
                          <a:pt x="52" y="111"/>
                        </a:lnTo>
                        <a:lnTo>
                          <a:pt x="47" y="109"/>
                        </a:lnTo>
                        <a:lnTo>
                          <a:pt x="47" y="108"/>
                        </a:lnTo>
                        <a:lnTo>
                          <a:pt x="47" y="106"/>
                        </a:lnTo>
                        <a:lnTo>
                          <a:pt x="47" y="104"/>
                        </a:lnTo>
                        <a:lnTo>
                          <a:pt x="43" y="103"/>
                        </a:lnTo>
                        <a:lnTo>
                          <a:pt x="42" y="101"/>
                        </a:lnTo>
                        <a:lnTo>
                          <a:pt x="37" y="98"/>
                        </a:lnTo>
                        <a:lnTo>
                          <a:pt x="32" y="94"/>
                        </a:lnTo>
                        <a:lnTo>
                          <a:pt x="25" y="86"/>
                        </a:lnTo>
                        <a:lnTo>
                          <a:pt x="23" y="83"/>
                        </a:lnTo>
                        <a:lnTo>
                          <a:pt x="22" y="83"/>
                        </a:lnTo>
                        <a:lnTo>
                          <a:pt x="20" y="81"/>
                        </a:lnTo>
                        <a:lnTo>
                          <a:pt x="18" y="78"/>
                        </a:lnTo>
                        <a:lnTo>
                          <a:pt x="17" y="76"/>
                        </a:lnTo>
                        <a:lnTo>
                          <a:pt x="15" y="71"/>
                        </a:lnTo>
                        <a:lnTo>
                          <a:pt x="13" y="68"/>
                        </a:lnTo>
                        <a:lnTo>
                          <a:pt x="12" y="68"/>
                        </a:lnTo>
                        <a:lnTo>
                          <a:pt x="10" y="64"/>
                        </a:lnTo>
                        <a:lnTo>
                          <a:pt x="8" y="63"/>
                        </a:lnTo>
                        <a:lnTo>
                          <a:pt x="5" y="61"/>
                        </a:lnTo>
                        <a:lnTo>
                          <a:pt x="3" y="60"/>
                        </a:lnTo>
                        <a:lnTo>
                          <a:pt x="0" y="56"/>
                        </a:lnTo>
                        <a:lnTo>
                          <a:pt x="0" y="55"/>
                        </a:lnTo>
                        <a:lnTo>
                          <a:pt x="0" y="53"/>
                        </a:lnTo>
                        <a:lnTo>
                          <a:pt x="0" y="51"/>
                        </a:lnTo>
                        <a:lnTo>
                          <a:pt x="0" y="48"/>
                        </a:lnTo>
                        <a:lnTo>
                          <a:pt x="0" y="48"/>
                        </a:lnTo>
                        <a:lnTo>
                          <a:pt x="0" y="48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01" name="Google Shape;3053;p98">
                    <a:extLst>
                      <a:ext uri="{FF2B5EF4-FFF2-40B4-BE49-F238E27FC236}">
                        <a16:creationId xmlns:a16="http://schemas.microsoft.com/office/drawing/2014/main" id="{BA2CA4DE-7B15-E19C-E095-A86412F75950}"/>
                      </a:ext>
                    </a:extLst>
                  </p:cNvPr>
                  <p:cNvSpPr/>
                  <p:nvPr/>
                </p:nvSpPr>
                <p:spPr>
                  <a:xfrm>
                    <a:off x="6667593" y="3474119"/>
                    <a:ext cx="122008" cy="10687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28" h="206" extrusionOk="0">
                        <a:moveTo>
                          <a:pt x="131" y="0"/>
                        </a:moveTo>
                        <a:lnTo>
                          <a:pt x="131" y="3"/>
                        </a:lnTo>
                        <a:lnTo>
                          <a:pt x="131" y="5"/>
                        </a:lnTo>
                        <a:lnTo>
                          <a:pt x="131" y="7"/>
                        </a:lnTo>
                        <a:lnTo>
                          <a:pt x="131" y="8"/>
                        </a:lnTo>
                        <a:lnTo>
                          <a:pt x="134" y="12"/>
                        </a:lnTo>
                        <a:lnTo>
                          <a:pt x="136" y="13"/>
                        </a:lnTo>
                        <a:lnTo>
                          <a:pt x="139" y="15"/>
                        </a:lnTo>
                        <a:lnTo>
                          <a:pt x="141" y="16"/>
                        </a:lnTo>
                        <a:lnTo>
                          <a:pt x="143" y="20"/>
                        </a:lnTo>
                        <a:lnTo>
                          <a:pt x="144" y="20"/>
                        </a:lnTo>
                        <a:lnTo>
                          <a:pt x="146" y="23"/>
                        </a:lnTo>
                        <a:lnTo>
                          <a:pt x="148" y="28"/>
                        </a:lnTo>
                        <a:lnTo>
                          <a:pt x="149" y="30"/>
                        </a:lnTo>
                        <a:lnTo>
                          <a:pt x="151" y="33"/>
                        </a:lnTo>
                        <a:lnTo>
                          <a:pt x="153" y="35"/>
                        </a:lnTo>
                        <a:lnTo>
                          <a:pt x="154" y="35"/>
                        </a:lnTo>
                        <a:lnTo>
                          <a:pt x="156" y="38"/>
                        </a:lnTo>
                        <a:lnTo>
                          <a:pt x="163" y="46"/>
                        </a:lnTo>
                        <a:lnTo>
                          <a:pt x="168" y="50"/>
                        </a:lnTo>
                        <a:lnTo>
                          <a:pt x="173" y="53"/>
                        </a:lnTo>
                        <a:lnTo>
                          <a:pt x="174" y="55"/>
                        </a:lnTo>
                        <a:lnTo>
                          <a:pt x="178" y="56"/>
                        </a:lnTo>
                        <a:lnTo>
                          <a:pt x="178" y="58"/>
                        </a:lnTo>
                        <a:lnTo>
                          <a:pt x="178" y="60"/>
                        </a:lnTo>
                        <a:lnTo>
                          <a:pt x="178" y="61"/>
                        </a:lnTo>
                        <a:lnTo>
                          <a:pt x="183" y="63"/>
                        </a:lnTo>
                        <a:lnTo>
                          <a:pt x="186" y="65"/>
                        </a:lnTo>
                        <a:lnTo>
                          <a:pt x="186" y="68"/>
                        </a:lnTo>
                        <a:lnTo>
                          <a:pt x="186" y="73"/>
                        </a:lnTo>
                        <a:lnTo>
                          <a:pt x="186" y="76"/>
                        </a:lnTo>
                        <a:lnTo>
                          <a:pt x="188" y="80"/>
                        </a:lnTo>
                        <a:lnTo>
                          <a:pt x="193" y="83"/>
                        </a:lnTo>
                        <a:lnTo>
                          <a:pt x="196" y="86"/>
                        </a:lnTo>
                        <a:lnTo>
                          <a:pt x="201" y="88"/>
                        </a:lnTo>
                        <a:lnTo>
                          <a:pt x="204" y="86"/>
                        </a:lnTo>
                        <a:lnTo>
                          <a:pt x="209" y="90"/>
                        </a:lnTo>
                        <a:lnTo>
                          <a:pt x="213" y="90"/>
                        </a:lnTo>
                        <a:lnTo>
                          <a:pt x="218" y="91"/>
                        </a:lnTo>
                        <a:lnTo>
                          <a:pt x="221" y="91"/>
                        </a:lnTo>
                        <a:lnTo>
                          <a:pt x="223" y="93"/>
                        </a:lnTo>
                        <a:lnTo>
                          <a:pt x="223" y="96"/>
                        </a:lnTo>
                        <a:lnTo>
                          <a:pt x="224" y="98"/>
                        </a:lnTo>
                        <a:lnTo>
                          <a:pt x="228" y="100"/>
                        </a:lnTo>
                        <a:lnTo>
                          <a:pt x="224" y="101"/>
                        </a:lnTo>
                        <a:lnTo>
                          <a:pt x="221" y="101"/>
                        </a:lnTo>
                        <a:lnTo>
                          <a:pt x="218" y="103"/>
                        </a:lnTo>
                        <a:lnTo>
                          <a:pt x="214" y="105"/>
                        </a:lnTo>
                        <a:lnTo>
                          <a:pt x="216" y="106"/>
                        </a:lnTo>
                        <a:lnTo>
                          <a:pt x="214" y="110"/>
                        </a:lnTo>
                        <a:lnTo>
                          <a:pt x="211" y="111"/>
                        </a:lnTo>
                        <a:lnTo>
                          <a:pt x="208" y="113"/>
                        </a:lnTo>
                        <a:lnTo>
                          <a:pt x="203" y="113"/>
                        </a:lnTo>
                        <a:lnTo>
                          <a:pt x="201" y="114"/>
                        </a:lnTo>
                        <a:lnTo>
                          <a:pt x="199" y="113"/>
                        </a:lnTo>
                        <a:lnTo>
                          <a:pt x="194" y="113"/>
                        </a:lnTo>
                        <a:lnTo>
                          <a:pt x="189" y="118"/>
                        </a:lnTo>
                        <a:lnTo>
                          <a:pt x="186" y="119"/>
                        </a:lnTo>
                        <a:lnTo>
                          <a:pt x="184" y="121"/>
                        </a:lnTo>
                        <a:lnTo>
                          <a:pt x="183" y="123"/>
                        </a:lnTo>
                        <a:lnTo>
                          <a:pt x="179" y="124"/>
                        </a:lnTo>
                        <a:lnTo>
                          <a:pt x="178" y="126"/>
                        </a:lnTo>
                        <a:lnTo>
                          <a:pt x="174" y="128"/>
                        </a:lnTo>
                        <a:lnTo>
                          <a:pt x="171" y="129"/>
                        </a:lnTo>
                        <a:lnTo>
                          <a:pt x="164" y="136"/>
                        </a:lnTo>
                        <a:lnTo>
                          <a:pt x="164" y="141"/>
                        </a:lnTo>
                        <a:lnTo>
                          <a:pt x="166" y="144"/>
                        </a:lnTo>
                        <a:lnTo>
                          <a:pt x="166" y="148"/>
                        </a:lnTo>
                        <a:lnTo>
                          <a:pt x="163" y="148"/>
                        </a:lnTo>
                        <a:lnTo>
                          <a:pt x="161" y="149"/>
                        </a:lnTo>
                        <a:lnTo>
                          <a:pt x="158" y="149"/>
                        </a:lnTo>
                        <a:lnTo>
                          <a:pt x="154" y="153"/>
                        </a:lnTo>
                        <a:lnTo>
                          <a:pt x="153" y="156"/>
                        </a:lnTo>
                        <a:lnTo>
                          <a:pt x="151" y="156"/>
                        </a:lnTo>
                        <a:lnTo>
                          <a:pt x="149" y="159"/>
                        </a:lnTo>
                        <a:lnTo>
                          <a:pt x="146" y="159"/>
                        </a:lnTo>
                        <a:lnTo>
                          <a:pt x="143" y="161"/>
                        </a:lnTo>
                        <a:lnTo>
                          <a:pt x="138" y="161"/>
                        </a:lnTo>
                        <a:lnTo>
                          <a:pt x="136" y="166"/>
                        </a:lnTo>
                        <a:lnTo>
                          <a:pt x="136" y="171"/>
                        </a:lnTo>
                        <a:lnTo>
                          <a:pt x="134" y="173"/>
                        </a:lnTo>
                        <a:lnTo>
                          <a:pt x="134" y="176"/>
                        </a:lnTo>
                        <a:lnTo>
                          <a:pt x="133" y="179"/>
                        </a:lnTo>
                        <a:lnTo>
                          <a:pt x="134" y="183"/>
                        </a:lnTo>
                        <a:lnTo>
                          <a:pt x="129" y="184"/>
                        </a:lnTo>
                        <a:lnTo>
                          <a:pt x="126" y="184"/>
                        </a:lnTo>
                        <a:lnTo>
                          <a:pt x="125" y="181"/>
                        </a:lnTo>
                        <a:lnTo>
                          <a:pt x="121" y="183"/>
                        </a:lnTo>
                        <a:lnTo>
                          <a:pt x="115" y="183"/>
                        </a:lnTo>
                        <a:lnTo>
                          <a:pt x="110" y="183"/>
                        </a:lnTo>
                        <a:lnTo>
                          <a:pt x="105" y="183"/>
                        </a:lnTo>
                        <a:lnTo>
                          <a:pt x="101" y="183"/>
                        </a:lnTo>
                        <a:lnTo>
                          <a:pt x="93" y="178"/>
                        </a:lnTo>
                        <a:lnTo>
                          <a:pt x="90" y="178"/>
                        </a:lnTo>
                        <a:lnTo>
                          <a:pt x="88" y="174"/>
                        </a:lnTo>
                        <a:lnTo>
                          <a:pt x="80" y="174"/>
                        </a:lnTo>
                        <a:lnTo>
                          <a:pt x="73" y="174"/>
                        </a:lnTo>
                        <a:lnTo>
                          <a:pt x="66" y="179"/>
                        </a:lnTo>
                        <a:lnTo>
                          <a:pt x="63" y="189"/>
                        </a:lnTo>
                        <a:lnTo>
                          <a:pt x="58" y="193"/>
                        </a:lnTo>
                        <a:lnTo>
                          <a:pt x="50" y="196"/>
                        </a:lnTo>
                        <a:lnTo>
                          <a:pt x="48" y="198"/>
                        </a:lnTo>
                        <a:lnTo>
                          <a:pt x="45" y="201"/>
                        </a:lnTo>
                        <a:lnTo>
                          <a:pt x="40" y="203"/>
                        </a:lnTo>
                        <a:lnTo>
                          <a:pt x="35" y="204"/>
                        </a:lnTo>
                        <a:lnTo>
                          <a:pt x="30" y="204"/>
                        </a:lnTo>
                        <a:lnTo>
                          <a:pt x="25" y="206"/>
                        </a:lnTo>
                        <a:lnTo>
                          <a:pt x="20" y="204"/>
                        </a:lnTo>
                        <a:lnTo>
                          <a:pt x="13" y="206"/>
                        </a:lnTo>
                        <a:lnTo>
                          <a:pt x="13" y="201"/>
                        </a:lnTo>
                        <a:lnTo>
                          <a:pt x="17" y="194"/>
                        </a:lnTo>
                        <a:lnTo>
                          <a:pt x="17" y="188"/>
                        </a:lnTo>
                        <a:lnTo>
                          <a:pt x="10" y="176"/>
                        </a:lnTo>
                        <a:lnTo>
                          <a:pt x="8" y="169"/>
                        </a:lnTo>
                        <a:lnTo>
                          <a:pt x="0" y="164"/>
                        </a:lnTo>
                        <a:lnTo>
                          <a:pt x="0" y="164"/>
                        </a:lnTo>
                        <a:lnTo>
                          <a:pt x="0" y="164"/>
                        </a:lnTo>
                        <a:lnTo>
                          <a:pt x="0" y="164"/>
                        </a:lnTo>
                        <a:lnTo>
                          <a:pt x="3" y="95"/>
                        </a:lnTo>
                        <a:lnTo>
                          <a:pt x="25" y="95"/>
                        </a:lnTo>
                        <a:lnTo>
                          <a:pt x="30" y="16"/>
                        </a:lnTo>
                        <a:lnTo>
                          <a:pt x="48" y="16"/>
                        </a:lnTo>
                        <a:lnTo>
                          <a:pt x="71" y="12"/>
                        </a:lnTo>
                        <a:lnTo>
                          <a:pt x="78" y="10"/>
                        </a:lnTo>
                        <a:lnTo>
                          <a:pt x="81" y="10"/>
                        </a:lnTo>
                        <a:lnTo>
                          <a:pt x="83" y="10"/>
                        </a:lnTo>
                        <a:lnTo>
                          <a:pt x="85" y="10"/>
                        </a:lnTo>
                        <a:lnTo>
                          <a:pt x="86" y="13"/>
                        </a:lnTo>
                        <a:lnTo>
                          <a:pt x="88" y="15"/>
                        </a:lnTo>
                        <a:lnTo>
                          <a:pt x="86" y="16"/>
                        </a:lnTo>
                        <a:lnTo>
                          <a:pt x="86" y="20"/>
                        </a:lnTo>
                        <a:lnTo>
                          <a:pt x="88" y="20"/>
                        </a:lnTo>
                        <a:lnTo>
                          <a:pt x="96" y="15"/>
                        </a:lnTo>
                        <a:lnTo>
                          <a:pt x="100" y="10"/>
                        </a:lnTo>
                        <a:lnTo>
                          <a:pt x="105" y="5"/>
                        </a:lnTo>
                        <a:lnTo>
                          <a:pt x="110" y="5"/>
                        </a:lnTo>
                        <a:lnTo>
                          <a:pt x="111" y="7"/>
                        </a:lnTo>
                        <a:lnTo>
                          <a:pt x="115" y="7"/>
                        </a:lnTo>
                        <a:lnTo>
                          <a:pt x="118" y="5"/>
                        </a:lnTo>
                        <a:lnTo>
                          <a:pt x="126" y="2"/>
                        </a:lnTo>
                        <a:lnTo>
                          <a:pt x="131" y="0"/>
                        </a:lnTo>
                        <a:lnTo>
                          <a:pt x="131" y="0"/>
                        </a:lnTo>
                        <a:lnTo>
                          <a:pt x="131" y="0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02" name="Google Shape;3054;p98">
                    <a:extLst>
                      <a:ext uri="{FF2B5EF4-FFF2-40B4-BE49-F238E27FC236}">
                        <a16:creationId xmlns:a16="http://schemas.microsoft.com/office/drawing/2014/main" id="{8AE5D42F-6554-5EF3-CD4F-7D12A8B46E7F}"/>
                      </a:ext>
                    </a:extLst>
                  </p:cNvPr>
                  <p:cNvSpPr/>
                  <p:nvPr/>
                </p:nvSpPr>
                <p:spPr>
                  <a:xfrm>
                    <a:off x="6562709" y="3464781"/>
                    <a:ext cx="175521" cy="14422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27" h="277" extrusionOk="0">
                        <a:moveTo>
                          <a:pt x="196" y="182"/>
                        </a:moveTo>
                        <a:lnTo>
                          <a:pt x="196" y="182"/>
                        </a:lnTo>
                        <a:lnTo>
                          <a:pt x="199" y="113"/>
                        </a:lnTo>
                        <a:lnTo>
                          <a:pt x="221" y="113"/>
                        </a:lnTo>
                        <a:lnTo>
                          <a:pt x="226" y="34"/>
                        </a:lnTo>
                        <a:lnTo>
                          <a:pt x="244" y="34"/>
                        </a:lnTo>
                        <a:lnTo>
                          <a:pt x="267" y="30"/>
                        </a:lnTo>
                        <a:lnTo>
                          <a:pt x="274" y="28"/>
                        </a:lnTo>
                        <a:lnTo>
                          <a:pt x="277" y="28"/>
                        </a:lnTo>
                        <a:lnTo>
                          <a:pt x="279" y="28"/>
                        </a:lnTo>
                        <a:lnTo>
                          <a:pt x="281" y="28"/>
                        </a:lnTo>
                        <a:lnTo>
                          <a:pt x="282" y="31"/>
                        </a:lnTo>
                        <a:lnTo>
                          <a:pt x="284" y="33"/>
                        </a:lnTo>
                        <a:lnTo>
                          <a:pt x="282" y="34"/>
                        </a:lnTo>
                        <a:lnTo>
                          <a:pt x="282" y="38"/>
                        </a:lnTo>
                        <a:lnTo>
                          <a:pt x="284" y="38"/>
                        </a:lnTo>
                        <a:lnTo>
                          <a:pt x="292" y="33"/>
                        </a:lnTo>
                        <a:lnTo>
                          <a:pt x="296" y="28"/>
                        </a:lnTo>
                        <a:lnTo>
                          <a:pt x="301" y="23"/>
                        </a:lnTo>
                        <a:lnTo>
                          <a:pt x="306" y="23"/>
                        </a:lnTo>
                        <a:lnTo>
                          <a:pt x="307" y="25"/>
                        </a:lnTo>
                        <a:lnTo>
                          <a:pt x="311" y="25"/>
                        </a:lnTo>
                        <a:lnTo>
                          <a:pt x="314" y="23"/>
                        </a:lnTo>
                        <a:lnTo>
                          <a:pt x="322" y="20"/>
                        </a:lnTo>
                        <a:lnTo>
                          <a:pt x="327" y="18"/>
                        </a:lnTo>
                        <a:lnTo>
                          <a:pt x="322" y="15"/>
                        </a:lnTo>
                        <a:lnTo>
                          <a:pt x="322" y="15"/>
                        </a:lnTo>
                        <a:lnTo>
                          <a:pt x="321" y="13"/>
                        </a:lnTo>
                        <a:lnTo>
                          <a:pt x="317" y="15"/>
                        </a:lnTo>
                        <a:lnTo>
                          <a:pt x="316" y="13"/>
                        </a:lnTo>
                        <a:lnTo>
                          <a:pt x="316" y="13"/>
                        </a:lnTo>
                        <a:lnTo>
                          <a:pt x="314" y="11"/>
                        </a:lnTo>
                        <a:lnTo>
                          <a:pt x="309" y="13"/>
                        </a:lnTo>
                        <a:lnTo>
                          <a:pt x="306" y="13"/>
                        </a:lnTo>
                        <a:lnTo>
                          <a:pt x="244" y="25"/>
                        </a:lnTo>
                        <a:lnTo>
                          <a:pt x="242" y="25"/>
                        </a:lnTo>
                        <a:lnTo>
                          <a:pt x="241" y="26"/>
                        </a:lnTo>
                        <a:lnTo>
                          <a:pt x="239" y="25"/>
                        </a:lnTo>
                        <a:lnTo>
                          <a:pt x="237" y="25"/>
                        </a:lnTo>
                        <a:lnTo>
                          <a:pt x="236" y="25"/>
                        </a:lnTo>
                        <a:lnTo>
                          <a:pt x="234" y="23"/>
                        </a:lnTo>
                        <a:lnTo>
                          <a:pt x="232" y="23"/>
                        </a:lnTo>
                        <a:lnTo>
                          <a:pt x="231" y="23"/>
                        </a:lnTo>
                        <a:lnTo>
                          <a:pt x="227" y="21"/>
                        </a:lnTo>
                        <a:lnTo>
                          <a:pt x="226" y="23"/>
                        </a:lnTo>
                        <a:lnTo>
                          <a:pt x="226" y="25"/>
                        </a:lnTo>
                        <a:lnTo>
                          <a:pt x="224" y="25"/>
                        </a:lnTo>
                        <a:lnTo>
                          <a:pt x="219" y="25"/>
                        </a:lnTo>
                        <a:lnTo>
                          <a:pt x="214" y="23"/>
                        </a:lnTo>
                        <a:lnTo>
                          <a:pt x="209" y="18"/>
                        </a:lnTo>
                        <a:lnTo>
                          <a:pt x="206" y="18"/>
                        </a:lnTo>
                        <a:lnTo>
                          <a:pt x="204" y="18"/>
                        </a:lnTo>
                        <a:lnTo>
                          <a:pt x="204" y="21"/>
                        </a:lnTo>
                        <a:lnTo>
                          <a:pt x="201" y="21"/>
                        </a:lnTo>
                        <a:lnTo>
                          <a:pt x="194" y="20"/>
                        </a:lnTo>
                        <a:lnTo>
                          <a:pt x="191" y="21"/>
                        </a:lnTo>
                        <a:lnTo>
                          <a:pt x="188" y="23"/>
                        </a:lnTo>
                        <a:lnTo>
                          <a:pt x="184" y="21"/>
                        </a:lnTo>
                        <a:lnTo>
                          <a:pt x="183" y="20"/>
                        </a:lnTo>
                        <a:lnTo>
                          <a:pt x="181" y="20"/>
                        </a:lnTo>
                        <a:lnTo>
                          <a:pt x="178" y="20"/>
                        </a:lnTo>
                        <a:lnTo>
                          <a:pt x="171" y="18"/>
                        </a:lnTo>
                        <a:lnTo>
                          <a:pt x="168" y="16"/>
                        </a:lnTo>
                        <a:lnTo>
                          <a:pt x="164" y="15"/>
                        </a:lnTo>
                        <a:lnTo>
                          <a:pt x="163" y="11"/>
                        </a:lnTo>
                        <a:lnTo>
                          <a:pt x="161" y="10"/>
                        </a:lnTo>
                        <a:lnTo>
                          <a:pt x="70" y="10"/>
                        </a:lnTo>
                        <a:lnTo>
                          <a:pt x="70" y="10"/>
                        </a:lnTo>
                        <a:lnTo>
                          <a:pt x="66" y="10"/>
                        </a:lnTo>
                        <a:lnTo>
                          <a:pt x="63" y="11"/>
                        </a:lnTo>
                        <a:lnTo>
                          <a:pt x="61" y="11"/>
                        </a:lnTo>
                        <a:lnTo>
                          <a:pt x="58" y="13"/>
                        </a:lnTo>
                        <a:lnTo>
                          <a:pt x="53" y="11"/>
                        </a:lnTo>
                        <a:lnTo>
                          <a:pt x="48" y="6"/>
                        </a:lnTo>
                        <a:lnTo>
                          <a:pt x="46" y="6"/>
                        </a:lnTo>
                        <a:lnTo>
                          <a:pt x="46" y="5"/>
                        </a:lnTo>
                        <a:lnTo>
                          <a:pt x="43" y="3"/>
                        </a:lnTo>
                        <a:lnTo>
                          <a:pt x="43" y="1"/>
                        </a:lnTo>
                        <a:lnTo>
                          <a:pt x="40" y="0"/>
                        </a:lnTo>
                        <a:lnTo>
                          <a:pt x="38" y="1"/>
                        </a:lnTo>
                        <a:lnTo>
                          <a:pt x="36" y="1"/>
                        </a:lnTo>
                        <a:lnTo>
                          <a:pt x="36" y="1"/>
                        </a:lnTo>
                        <a:lnTo>
                          <a:pt x="31" y="0"/>
                        </a:lnTo>
                        <a:lnTo>
                          <a:pt x="28" y="0"/>
                        </a:lnTo>
                        <a:lnTo>
                          <a:pt x="22" y="5"/>
                        </a:lnTo>
                        <a:lnTo>
                          <a:pt x="22" y="8"/>
                        </a:lnTo>
                        <a:lnTo>
                          <a:pt x="20" y="10"/>
                        </a:lnTo>
                        <a:lnTo>
                          <a:pt x="17" y="8"/>
                        </a:lnTo>
                        <a:lnTo>
                          <a:pt x="10" y="6"/>
                        </a:lnTo>
                        <a:lnTo>
                          <a:pt x="8" y="6"/>
                        </a:lnTo>
                        <a:lnTo>
                          <a:pt x="8" y="10"/>
                        </a:lnTo>
                        <a:lnTo>
                          <a:pt x="5" y="11"/>
                        </a:lnTo>
                        <a:lnTo>
                          <a:pt x="5" y="10"/>
                        </a:lnTo>
                        <a:lnTo>
                          <a:pt x="0" y="10"/>
                        </a:lnTo>
                        <a:lnTo>
                          <a:pt x="0" y="10"/>
                        </a:lnTo>
                        <a:lnTo>
                          <a:pt x="2" y="28"/>
                        </a:lnTo>
                        <a:lnTo>
                          <a:pt x="17" y="41"/>
                        </a:lnTo>
                        <a:lnTo>
                          <a:pt x="23" y="53"/>
                        </a:lnTo>
                        <a:lnTo>
                          <a:pt x="36" y="78"/>
                        </a:lnTo>
                        <a:lnTo>
                          <a:pt x="38" y="86"/>
                        </a:lnTo>
                        <a:lnTo>
                          <a:pt x="50" y="103"/>
                        </a:lnTo>
                        <a:lnTo>
                          <a:pt x="50" y="109"/>
                        </a:lnTo>
                        <a:lnTo>
                          <a:pt x="63" y="126"/>
                        </a:lnTo>
                        <a:lnTo>
                          <a:pt x="63" y="134"/>
                        </a:lnTo>
                        <a:lnTo>
                          <a:pt x="60" y="136"/>
                        </a:lnTo>
                        <a:lnTo>
                          <a:pt x="63" y="147"/>
                        </a:lnTo>
                        <a:lnTo>
                          <a:pt x="63" y="164"/>
                        </a:lnTo>
                        <a:lnTo>
                          <a:pt x="71" y="181"/>
                        </a:lnTo>
                        <a:lnTo>
                          <a:pt x="70" y="191"/>
                        </a:lnTo>
                        <a:lnTo>
                          <a:pt x="71" y="196"/>
                        </a:lnTo>
                        <a:lnTo>
                          <a:pt x="68" y="199"/>
                        </a:lnTo>
                        <a:lnTo>
                          <a:pt x="71" y="202"/>
                        </a:lnTo>
                        <a:lnTo>
                          <a:pt x="73" y="214"/>
                        </a:lnTo>
                        <a:lnTo>
                          <a:pt x="76" y="216"/>
                        </a:lnTo>
                        <a:lnTo>
                          <a:pt x="80" y="219"/>
                        </a:lnTo>
                        <a:lnTo>
                          <a:pt x="76" y="221"/>
                        </a:lnTo>
                        <a:lnTo>
                          <a:pt x="76" y="226"/>
                        </a:lnTo>
                        <a:lnTo>
                          <a:pt x="80" y="229"/>
                        </a:lnTo>
                        <a:lnTo>
                          <a:pt x="81" y="237"/>
                        </a:lnTo>
                        <a:lnTo>
                          <a:pt x="85" y="242"/>
                        </a:lnTo>
                        <a:lnTo>
                          <a:pt x="91" y="254"/>
                        </a:lnTo>
                        <a:lnTo>
                          <a:pt x="96" y="259"/>
                        </a:lnTo>
                        <a:lnTo>
                          <a:pt x="98" y="262"/>
                        </a:lnTo>
                        <a:lnTo>
                          <a:pt x="106" y="267"/>
                        </a:lnTo>
                        <a:lnTo>
                          <a:pt x="110" y="265"/>
                        </a:lnTo>
                        <a:lnTo>
                          <a:pt x="115" y="264"/>
                        </a:lnTo>
                        <a:lnTo>
                          <a:pt x="115" y="260"/>
                        </a:lnTo>
                        <a:lnTo>
                          <a:pt x="113" y="260"/>
                        </a:lnTo>
                        <a:lnTo>
                          <a:pt x="116" y="255"/>
                        </a:lnTo>
                        <a:lnTo>
                          <a:pt x="121" y="254"/>
                        </a:lnTo>
                        <a:lnTo>
                          <a:pt x="125" y="259"/>
                        </a:lnTo>
                        <a:lnTo>
                          <a:pt x="129" y="259"/>
                        </a:lnTo>
                        <a:lnTo>
                          <a:pt x="128" y="264"/>
                        </a:lnTo>
                        <a:lnTo>
                          <a:pt x="131" y="270"/>
                        </a:lnTo>
                        <a:lnTo>
                          <a:pt x="139" y="272"/>
                        </a:lnTo>
                        <a:lnTo>
                          <a:pt x="144" y="274"/>
                        </a:lnTo>
                        <a:lnTo>
                          <a:pt x="148" y="274"/>
                        </a:lnTo>
                        <a:lnTo>
                          <a:pt x="151" y="274"/>
                        </a:lnTo>
                        <a:lnTo>
                          <a:pt x="154" y="275"/>
                        </a:lnTo>
                        <a:lnTo>
                          <a:pt x="156" y="274"/>
                        </a:lnTo>
                        <a:lnTo>
                          <a:pt x="159" y="274"/>
                        </a:lnTo>
                        <a:lnTo>
                          <a:pt x="163" y="275"/>
                        </a:lnTo>
                        <a:lnTo>
                          <a:pt x="166" y="275"/>
                        </a:lnTo>
                        <a:lnTo>
                          <a:pt x="168" y="277"/>
                        </a:lnTo>
                        <a:lnTo>
                          <a:pt x="169" y="272"/>
                        </a:lnTo>
                        <a:lnTo>
                          <a:pt x="171" y="270"/>
                        </a:lnTo>
                        <a:lnTo>
                          <a:pt x="174" y="269"/>
                        </a:lnTo>
                        <a:lnTo>
                          <a:pt x="176" y="264"/>
                        </a:lnTo>
                        <a:lnTo>
                          <a:pt x="183" y="262"/>
                        </a:lnTo>
                        <a:lnTo>
                          <a:pt x="189" y="262"/>
                        </a:lnTo>
                        <a:lnTo>
                          <a:pt x="193" y="262"/>
                        </a:lnTo>
                        <a:lnTo>
                          <a:pt x="196" y="182"/>
                        </a:lnTo>
                        <a:lnTo>
                          <a:pt x="196" y="182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03" name="Google Shape;3055;p98">
                    <a:extLst>
                      <a:ext uri="{FF2B5EF4-FFF2-40B4-BE49-F238E27FC236}">
                        <a16:creationId xmlns:a16="http://schemas.microsoft.com/office/drawing/2014/main" id="{E4D245A4-8DEC-4FCB-2FF5-710D2BDBC545}"/>
                      </a:ext>
                    </a:extLst>
                  </p:cNvPr>
                  <p:cNvSpPr/>
                  <p:nvPr/>
                </p:nvSpPr>
                <p:spPr>
                  <a:xfrm>
                    <a:off x="6966192" y="3407713"/>
                    <a:ext cx="98463" cy="16186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4" h="311" extrusionOk="0">
                        <a:moveTo>
                          <a:pt x="38" y="311"/>
                        </a:moveTo>
                        <a:lnTo>
                          <a:pt x="42" y="309"/>
                        </a:lnTo>
                        <a:lnTo>
                          <a:pt x="47" y="309"/>
                        </a:lnTo>
                        <a:lnTo>
                          <a:pt x="53" y="306"/>
                        </a:lnTo>
                        <a:lnTo>
                          <a:pt x="57" y="302"/>
                        </a:lnTo>
                        <a:lnTo>
                          <a:pt x="71" y="301"/>
                        </a:lnTo>
                        <a:lnTo>
                          <a:pt x="76" y="301"/>
                        </a:lnTo>
                        <a:lnTo>
                          <a:pt x="85" y="299"/>
                        </a:lnTo>
                        <a:lnTo>
                          <a:pt x="86" y="294"/>
                        </a:lnTo>
                        <a:lnTo>
                          <a:pt x="91" y="294"/>
                        </a:lnTo>
                        <a:lnTo>
                          <a:pt x="93" y="287"/>
                        </a:lnTo>
                        <a:lnTo>
                          <a:pt x="98" y="282"/>
                        </a:lnTo>
                        <a:lnTo>
                          <a:pt x="98" y="277"/>
                        </a:lnTo>
                        <a:lnTo>
                          <a:pt x="103" y="276"/>
                        </a:lnTo>
                        <a:lnTo>
                          <a:pt x="101" y="269"/>
                        </a:lnTo>
                        <a:lnTo>
                          <a:pt x="101" y="267"/>
                        </a:lnTo>
                        <a:lnTo>
                          <a:pt x="105" y="266"/>
                        </a:lnTo>
                        <a:lnTo>
                          <a:pt x="106" y="257"/>
                        </a:lnTo>
                        <a:lnTo>
                          <a:pt x="106" y="257"/>
                        </a:lnTo>
                        <a:lnTo>
                          <a:pt x="108" y="257"/>
                        </a:lnTo>
                        <a:lnTo>
                          <a:pt x="111" y="251"/>
                        </a:lnTo>
                        <a:lnTo>
                          <a:pt x="115" y="236"/>
                        </a:lnTo>
                        <a:lnTo>
                          <a:pt x="118" y="228"/>
                        </a:lnTo>
                        <a:lnTo>
                          <a:pt x="121" y="224"/>
                        </a:lnTo>
                        <a:lnTo>
                          <a:pt x="123" y="216"/>
                        </a:lnTo>
                        <a:lnTo>
                          <a:pt x="130" y="204"/>
                        </a:lnTo>
                        <a:lnTo>
                          <a:pt x="136" y="188"/>
                        </a:lnTo>
                        <a:lnTo>
                          <a:pt x="141" y="181"/>
                        </a:lnTo>
                        <a:lnTo>
                          <a:pt x="141" y="173"/>
                        </a:lnTo>
                        <a:lnTo>
                          <a:pt x="146" y="164"/>
                        </a:lnTo>
                        <a:lnTo>
                          <a:pt x="146" y="161"/>
                        </a:lnTo>
                        <a:lnTo>
                          <a:pt x="153" y="154"/>
                        </a:lnTo>
                        <a:lnTo>
                          <a:pt x="155" y="141"/>
                        </a:lnTo>
                        <a:lnTo>
                          <a:pt x="158" y="133"/>
                        </a:lnTo>
                        <a:lnTo>
                          <a:pt x="160" y="131"/>
                        </a:lnTo>
                        <a:lnTo>
                          <a:pt x="161" y="125"/>
                        </a:lnTo>
                        <a:lnTo>
                          <a:pt x="158" y="121"/>
                        </a:lnTo>
                        <a:lnTo>
                          <a:pt x="160" y="115"/>
                        </a:lnTo>
                        <a:lnTo>
                          <a:pt x="165" y="110"/>
                        </a:lnTo>
                        <a:lnTo>
                          <a:pt x="165" y="106"/>
                        </a:lnTo>
                        <a:lnTo>
                          <a:pt x="168" y="103"/>
                        </a:lnTo>
                        <a:lnTo>
                          <a:pt x="166" y="96"/>
                        </a:lnTo>
                        <a:lnTo>
                          <a:pt x="165" y="95"/>
                        </a:lnTo>
                        <a:lnTo>
                          <a:pt x="168" y="91"/>
                        </a:lnTo>
                        <a:lnTo>
                          <a:pt x="166" y="86"/>
                        </a:lnTo>
                        <a:lnTo>
                          <a:pt x="165" y="85"/>
                        </a:lnTo>
                        <a:lnTo>
                          <a:pt x="165" y="80"/>
                        </a:lnTo>
                        <a:lnTo>
                          <a:pt x="168" y="78"/>
                        </a:lnTo>
                        <a:lnTo>
                          <a:pt x="171" y="80"/>
                        </a:lnTo>
                        <a:lnTo>
                          <a:pt x="171" y="85"/>
                        </a:lnTo>
                        <a:lnTo>
                          <a:pt x="176" y="90"/>
                        </a:lnTo>
                        <a:lnTo>
                          <a:pt x="178" y="90"/>
                        </a:lnTo>
                        <a:lnTo>
                          <a:pt x="179" y="88"/>
                        </a:lnTo>
                        <a:lnTo>
                          <a:pt x="181" y="83"/>
                        </a:lnTo>
                        <a:lnTo>
                          <a:pt x="181" y="81"/>
                        </a:lnTo>
                        <a:lnTo>
                          <a:pt x="183" y="78"/>
                        </a:lnTo>
                        <a:lnTo>
                          <a:pt x="184" y="76"/>
                        </a:lnTo>
                        <a:lnTo>
                          <a:pt x="184" y="73"/>
                        </a:lnTo>
                        <a:lnTo>
                          <a:pt x="179" y="66"/>
                        </a:lnTo>
                        <a:lnTo>
                          <a:pt x="178" y="63"/>
                        </a:lnTo>
                        <a:lnTo>
                          <a:pt x="179" y="60"/>
                        </a:lnTo>
                        <a:lnTo>
                          <a:pt x="179" y="56"/>
                        </a:lnTo>
                        <a:lnTo>
                          <a:pt x="178" y="50"/>
                        </a:lnTo>
                        <a:lnTo>
                          <a:pt x="179" y="48"/>
                        </a:lnTo>
                        <a:lnTo>
                          <a:pt x="179" y="37"/>
                        </a:lnTo>
                        <a:lnTo>
                          <a:pt x="176" y="32"/>
                        </a:lnTo>
                        <a:lnTo>
                          <a:pt x="174" y="22"/>
                        </a:lnTo>
                        <a:lnTo>
                          <a:pt x="173" y="18"/>
                        </a:lnTo>
                        <a:lnTo>
                          <a:pt x="171" y="20"/>
                        </a:lnTo>
                        <a:lnTo>
                          <a:pt x="168" y="15"/>
                        </a:lnTo>
                        <a:lnTo>
                          <a:pt x="166" y="10"/>
                        </a:lnTo>
                        <a:lnTo>
                          <a:pt x="163" y="8"/>
                        </a:lnTo>
                        <a:lnTo>
                          <a:pt x="165" y="5"/>
                        </a:lnTo>
                        <a:lnTo>
                          <a:pt x="163" y="0"/>
                        </a:lnTo>
                        <a:lnTo>
                          <a:pt x="158" y="5"/>
                        </a:lnTo>
                        <a:lnTo>
                          <a:pt x="158" y="8"/>
                        </a:lnTo>
                        <a:lnTo>
                          <a:pt x="155" y="10"/>
                        </a:lnTo>
                        <a:lnTo>
                          <a:pt x="150" y="8"/>
                        </a:lnTo>
                        <a:lnTo>
                          <a:pt x="148" y="8"/>
                        </a:lnTo>
                        <a:lnTo>
                          <a:pt x="151" y="13"/>
                        </a:lnTo>
                        <a:lnTo>
                          <a:pt x="151" y="15"/>
                        </a:lnTo>
                        <a:lnTo>
                          <a:pt x="155" y="18"/>
                        </a:lnTo>
                        <a:lnTo>
                          <a:pt x="155" y="20"/>
                        </a:lnTo>
                        <a:lnTo>
                          <a:pt x="150" y="23"/>
                        </a:lnTo>
                        <a:lnTo>
                          <a:pt x="150" y="30"/>
                        </a:lnTo>
                        <a:lnTo>
                          <a:pt x="146" y="35"/>
                        </a:lnTo>
                        <a:lnTo>
                          <a:pt x="143" y="33"/>
                        </a:lnTo>
                        <a:lnTo>
                          <a:pt x="140" y="38"/>
                        </a:lnTo>
                        <a:lnTo>
                          <a:pt x="140" y="41"/>
                        </a:lnTo>
                        <a:lnTo>
                          <a:pt x="136" y="43"/>
                        </a:lnTo>
                        <a:lnTo>
                          <a:pt x="133" y="41"/>
                        </a:lnTo>
                        <a:lnTo>
                          <a:pt x="133" y="37"/>
                        </a:lnTo>
                        <a:lnTo>
                          <a:pt x="131" y="37"/>
                        </a:lnTo>
                        <a:lnTo>
                          <a:pt x="128" y="38"/>
                        </a:lnTo>
                        <a:lnTo>
                          <a:pt x="126" y="45"/>
                        </a:lnTo>
                        <a:lnTo>
                          <a:pt x="131" y="48"/>
                        </a:lnTo>
                        <a:lnTo>
                          <a:pt x="133" y="50"/>
                        </a:lnTo>
                        <a:lnTo>
                          <a:pt x="131" y="51"/>
                        </a:lnTo>
                        <a:lnTo>
                          <a:pt x="128" y="51"/>
                        </a:lnTo>
                        <a:lnTo>
                          <a:pt x="123" y="51"/>
                        </a:lnTo>
                        <a:lnTo>
                          <a:pt x="125" y="56"/>
                        </a:lnTo>
                        <a:lnTo>
                          <a:pt x="130" y="58"/>
                        </a:lnTo>
                        <a:lnTo>
                          <a:pt x="130" y="60"/>
                        </a:lnTo>
                        <a:lnTo>
                          <a:pt x="128" y="63"/>
                        </a:lnTo>
                        <a:lnTo>
                          <a:pt x="126" y="60"/>
                        </a:lnTo>
                        <a:lnTo>
                          <a:pt x="121" y="61"/>
                        </a:lnTo>
                        <a:lnTo>
                          <a:pt x="121" y="65"/>
                        </a:lnTo>
                        <a:lnTo>
                          <a:pt x="115" y="70"/>
                        </a:lnTo>
                        <a:lnTo>
                          <a:pt x="115" y="65"/>
                        </a:lnTo>
                        <a:lnTo>
                          <a:pt x="115" y="63"/>
                        </a:lnTo>
                        <a:lnTo>
                          <a:pt x="113" y="60"/>
                        </a:lnTo>
                        <a:lnTo>
                          <a:pt x="110" y="65"/>
                        </a:lnTo>
                        <a:lnTo>
                          <a:pt x="111" y="66"/>
                        </a:lnTo>
                        <a:lnTo>
                          <a:pt x="111" y="68"/>
                        </a:lnTo>
                        <a:lnTo>
                          <a:pt x="105" y="70"/>
                        </a:lnTo>
                        <a:lnTo>
                          <a:pt x="108" y="75"/>
                        </a:lnTo>
                        <a:lnTo>
                          <a:pt x="111" y="76"/>
                        </a:lnTo>
                        <a:lnTo>
                          <a:pt x="110" y="78"/>
                        </a:lnTo>
                        <a:lnTo>
                          <a:pt x="108" y="78"/>
                        </a:lnTo>
                        <a:lnTo>
                          <a:pt x="103" y="81"/>
                        </a:lnTo>
                        <a:lnTo>
                          <a:pt x="103" y="78"/>
                        </a:lnTo>
                        <a:lnTo>
                          <a:pt x="101" y="78"/>
                        </a:lnTo>
                        <a:lnTo>
                          <a:pt x="103" y="75"/>
                        </a:lnTo>
                        <a:lnTo>
                          <a:pt x="101" y="73"/>
                        </a:lnTo>
                        <a:lnTo>
                          <a:pt x="91" y="80"/>
                        </a:lnTo>
                        <a:lnTo>
                          <a:pt x="91" y="86"/>
                        </a:lnTo>
                        <a:lnTo>
                          <a:pt x="91" y="88"/>
                        </a:lnTo>
                        <a:lnTo>
                          <a:pt x="90" y="91"/>
                        </a:lnTo>
                        <a:lnTo>
                          <a:pt x="88" y="90"/>
                        </a:lnTo>
                        <a:lnTo>
                          <a:pt x="85" y="88"/>
                        </a:lnTo>
                        <a:lnTo>
                          <a:pt x="85" y="83"/>
                        </a:lnTo>
                        <a:lnTo>
                          <a:pt x="83" y="83"/>
                        </a:lnTo>
                        <a:lnTo>
                          <a:pt x="78" y="88"/>
                        </a:lnTo>
                        <a:lnTo>
                          <a:pt x="71" y="85"/>
                        </a:lnTo>
                        <a:lnTo>
                          <a:pt x="70" y="86"/>
                        </a:lnTo>
                        <a:lnTo>
                          <a:pt x="68" y="86"/>
                        </a:lnTo>
                        <a:lnTo>
                          <a:pt x="68" y="93"/>
                        </a:lnTo>
                        <a:lnTo>
                          <a:pt x="67" y="91"/>
                        </a:lnTo>
                        <a:lnTo>
                          <a:pt x="65" y="93"/>
                        </a:lnTo>
                        <a:lnTo>
                          <a:pt x="65" y="90"/>
                        </a:lnTo>
                        <a:lnTo>
                          <a:pt x="63" y="88"/>
                        </a:lnTo>
                        <a:lnTo>
                          <a:pt x="60" y="91"/>
                        </a:lnTo>
                        <a:lnTo>
                          <a:pt x="58" y="88"/>
                        </a:lnTo>
                        <a:lnTo>
                          <a:pt x="48" y="96"/>
                        </a:lnTo>
                        <a:lnTo>
                          <a:pt x="45" y="96"/>
                        </a:lnTo>
                        <a:lnTo>
                          <a:pt x="43" y="95"/>
                        </a:lnTo>
                        <a:lnTo>
                          <a:pt x="38" y="95"/>
                        </a:lnTo>
                        <a:lnTo>
                          <a:pt x="37" y="98"/>
                        </a:lnTo>
                        <a:lnTo>
                          <a:pt x="37" y="105"/>
                        </a:lnTo>
                        <a:lnTo>
                          <a:pt x="30" y="115"/>
                        </a:lnTo>
                        <a:lnTo>
                          <a:pt x="30" y="116"/>
                        </a:lnTo>
                        <a:lnTo>
                          <a:pt x="23" y="123"/>
                        </a:lnTo>
                        <a:lnTo>
                          <a:pt x="23" y="126"/>
                        </a:lnTo>
                        <a:lnTo>
                          <a:pt x="27" y="130"/>
                        </a:lnTo>
                        <a:lnTo>
                          <a:pt x="23" y="133"/>
                        </a:lnTo>
                        <a:lnTo>
                          <a:pt x="27" y="140"/>
                        </a:lnTo>
                        <a:lnTo>
                          <a:pt x="27" y="144"/>
                        </a:lnTo>
                        <a:lnTo>
                          <a:pt x="33" y="156"/>
                        </a:lnTo>
                        <a:lnTo>
                          <a:pt x="32" y="159"/>
                        </a:lnTo>
                        <a:lnTo>
                          <a:pt x="37" y="164"/>
                        </a:lnTo>
                        <a:lnTo>
                          <a:pt x="37" y="166"/>
                        </a:lnTo>
                        <a:lnTo>
                          <a:pt x="33" y="169"/>
                        </a:lnTo>
                        <a:lnTo>
                          <a:pt x="35" y="171"/>
                        </a:lnTo>
                        <a:lnTo>
                          <a:pt x="32" y="181"/>
                        </a:lnTo>
                        <a:lnTo>
                          <a:pt x="27" y="184"/>
                        </a:lnTo>
                        <a:lnTo>
                          <a:pt x="27" y="191"/>
                        </a:lnTo>
                        <a:lnTo>
                          <a:pt x="23" y="191"/>
                        </a:lnTo>
                        <a:lnTo>
                          <a:pt x="22" y="194"/>
                        </a:lnTo>
                        <a:lnTo>
                          <a:pt x="17" y="198"/>
                        </a:lnTo>
                        <a:lnTo>
                          <a:pt x="17" y="206"/>
                        </a:lnTo>
                        <a:lnTo>
                          <a:pt x="13" y="209"/>
                        </a:lnTo>
                        <a:lnTo>
                          <a:pt x="7" y="211"/>
                        </a:lnTo>
                        <a:lnTo>
                          <a:pt x="5" y="213"/>
                        </a:lnTo>
                        <a:lnTo>
                          <a:pt x="5" y="219"/>
                        </a:lnTo>
                        <a:lnTo>
                          <a:pt x="0" y="224"/>
                        </a:lnTo>
                        <a:lnTo>
                          <a:pt x="2" y="231"/>
                        </a:lnTo>
                        <a:lnTo>
                          <a:pt x="0" y="234"/>
                        </a:lnTo>
                        <a:lnTo>
                          <a:pt x="0" y="236"/>
                        </a:lnTo>
                        <a:lnTo>
                          <a:pt x="0" y="242"/>
                        </a:lnTo>
                        <a:lnTo>
                          <a:pt x="7" y="251"/>
                        </a:lnTo>
                        <a:lnTo>
                          <a:pt x="7" y="256"/>
                        </a:lnTo>
                        <a:lnTo>
                          <a:pt x="7" y="257"/>
                        </a:lnTo>
                        <a:lnTo>
                          <a:pt x="10" y="259"/>
                        </a:lnTo>
                        <a:lnTo>
                          <a:pt x="12" y="259"/>
                        </a:lnTo>
                        <a:lnTo>
                          <a:pt x="10" y="261"/>
                        </a:lnTo>
                        <a:lnTo>
                          <a:pt x="5" y="262"/>
                        </a:lnTo>
                        <a:lnTo>
                          <a:pt x="5" y="266"/>
                        </a:lnTo>
                        <a:lnTo>
                          <a:pt x="7" y="274"/>
                        </a:lnTo>
                        <a:lnTo>
                          <a:pt x="5" y="282"/>
                        </a:lnTo>
                        <a:lnTo>
                          <a:pt x="7" y="284"/>
                        </a:lnTo>
                        <a:lnTo>
                          <a:pt x="8" y="287"/>
                        </a:lnTo>
                        <a:lnTo>
                          <a:pt x="10" y="289"/>
                        </a:lnTo>
                        <a:lnTo>
                          <a:pt x="13" y="294"/>
                        </a:lnTo>
                        <a:lnTo>
                          <a:pt x="17" y="296"/>
                        </a:lnTo>
                        <a:lnTo>
                          <a:pt x="18" y="297"/>
                        </a:lnTo>
                        <a:lnTo>
                          <a:pt x="22" y="301"/>
                        </a:lnTo>
                        <a:lnTo>
                          <a:pt x="25" y="301"/>
                        </a:lnTo>
                        <a:lnTo>
                          <a:pt x="27" y="302"/>
                        </a:lnTo>
                        <a:lnTo>
                          <a:pt x="30" y="302"/>
                        </a:lnTo>
                        <a:lnTo>
                          <a:pt x="35" y="307"/>
                        </a:lnTo>
                        <a:lnTo>
                          <a:pt x="37" y="307"/>
                        </a:lnTo>
                        <a:lnTo>
                          <a:pt x="37" y="311"/>
                        </a:lnTo>
                        <a:lnTo>
                          <a:pt x="38" y="311"/>
                        </a:lnTo>
                        <a:lnTo>
                          <a:pt x="38" y="311"/>
                        </a:lnTo>
                        <a:close/>
                        <a:moveTo>
                          <a:pt x="145" y="22"/>
                        </a:moveTo>
                        <a:lnTo>
                          <a:pt x="143" y="20"/>
                        </a:lnTo>
                        <a:lnTo>
                          <a:pt x="146" y="17"/>
                        </a:lnTo>
                        <a:lnTo>
                          <a:pt x="146" y="18"/>
                        </a:lnTo>
                        <a:lnTo>
                          <a:pt x="145" y="22"/>
                        </a:lnTo>
                        <a:lnTo>
                          <a:pt x="145" y="22"/>
                        </a:lnTo>
                        <a:close/>
                        <a:moveTo>
                          <a:pt x="143" y="30"/>
                        </a:moveTo>
                        <a:lnTo>
                          <a:pt x="143" y="28"/>
                        </a:lnTo>
                        <a:lnTo>
                          <a:pt x="145" y="30"/>
                        </a:lnTo>
                        <a:lnTo>
                          <a:pt x="143" y="32"/>
                        </a:lnTo>
                        <a:lnTo>
                          <a:pt x="143" y="30"/>
                        </a:lnTo>
                        <a:lnTo>
                          <a:pt x="143" y="30"/>
                        </a:lnTo>
                        <a:close/>
                        <a:moveTo>
                          <a:pt x="135" y="28"/>
                        </a:moveTo>
                        <a:lnTo>
                          <a:pt x="136" y="27"/>
                        </a:lnTo>
                        <a:lnTo>
                          <a:pt x="136" y="28"/>
                        </a:lnTo>
                        <a:lnTo>
                          <a:pt x="140" y="30"/>
                        </a:lnTo>
                        <a:lnTo>
                          <a:pt x="138" y="33"/>
                        </a:lnTo>
                        <a:lnTo>
                          <a:pt x="136" y="32"/>
                        </a:lnTo>
                        <a:lnTo>
                          <a:pt x="133" y="32"/>
                        </a:lnTo>
                        <a:lnTo>
                          <a:pt x="135" y="28"/>
                        </a:lnTo>
                        <a:lnTo>
                          <a:pt x="135" y="28"/>
                        </a:lnTo>
                        <a:close/>
                        <a:moveTo>
                          <a:pt x="168" y="116"/>
                        </a:moveTo>
                        <a:lnTo>
                          <a:pt x="168" y="113"/>
                        </a:lnTo>
                        <a:lnTo>
                          <a:pt x="168" y="110"/>
                        </a:lnTo>
                        <a:lnTo>
                          <a:pt x="169" y="108"/>
                        </a:lnTo>
                        <a:lnTo>
                          <a:pt x="171" y="108"/>
                        </a:lnTo>
                        <a:lnTo>
                          <a:pt x="173" y="105"/>
                        </a:lnTo>
                        <a:lnTo>
                          <a:pt x="171" y="110"/>
                        </a:lnTo>
                        <a:lnTo>
                          <a:pt x="169" y="111"/>
                        </a:lnTo>
                        <a:lnTo>
                          <a:pt x="168" y="116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04" name="Google Shape;3056;p98">
                    <a:extLst>
                      <a:ext uri="{FF2B5EF4-FFF2-40B4-BE49-F238E27FC236}">
                        <a16:creationId xmlns:a16="http://schemas.microsoft.com/office/drawing/2014/main" id="{EB2C09CE-6161-D513-39EF-4BC0B3F9A689}"/>
                      </a:ext>
                    </a:extLst>
                  </p:cNvPr>
                  <p:cNvSpPr/>
                  <p:nvPr/>
                </p:nvSpPr>
                <p:spPr>
                  <a:xfrm>
                    <a:off x="6806725" y="3391112"/>
                    <a:ext cx="134851" cy="19091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53" h="369" extrusionOk="0">
                        <a:moveTo>
                          <a:pt x="17" y="269"/>
                        </a:moveTo>
                        <a:lnTo>
                          <a:pt x="43" y="246"/>
                        </a:lnTo>
                        <a:lnTo>
                          <a:pt x="43" y="237"/>
                        </a:lnTo>
                        <a:lnTo>
                          <a:pt x="45" y="236"/>
                        </a:lnTo>
                        <a:lnTo>
                          <a:pt x="45" y="229"/>
                        </a:lnTo>
                        <a:lnTo>
                          <a:pt x="47" y="226"/>
                        </a:lnTo>
                        <a:lnTo>
                          <a:pt x="45" y="222"/>
                        </a:lnTo>
                        <a:lnTo>
                          <a:pt x="45" y="219"/>
                        </a:lnTo>
                        <a:lnTo>
                          <a:pt x="48" y="219"/>
                        </a:lnTo>
                        <a:lnTo>
                          <a:pt x="50" y="217"/>
                        </a:lnTo>
                        <a:lnTo>
                          <a:pt x="55" y="214"/>
                        </a:lnTo>
                        <a:lnTo>
                          <a:pt x="58" y="209"/>
                        </a:lnTo>
                        <a:lnTo>
                          <a:pt x="57" y="206"/>
                        </a:lnTo>
                        <a:lnTo>
                          <a:pt x="55" y="204"/>
                        </a:lnTo>
                        <a:lnTo>
                          <a:pt x="55" y="201"/>
                        </a:lnTo>
                        <a:lnTo>
                          <a:pt x="57" y="199"/>
                        </a:lnTo>
                        <a:lnTo>
                          <a:pt x="57" y="194"/>
                        </a:lnTo>
                        <a:lnTo>
                          <a:pt x="52" y="192"/>
                        </a:lnTo>
                        <a:lnTo>
                          <a:pt x="52" y="189"/>
                        </a:lnTo>
                        <a:lnTo>
                          <a:pt x="55" y="187"/>
                        </a:lnTo>
                        <a:lnTo>
                          <a:pt x="55" y="184"/>
                        </a:lnTo>
                        <a:lnTo>
                          <a:pt x="55" y="179"/>
                        </a:lnTo>
                        <a:lnTo>
                          <a:pt x="58" y="177"/>
                        </a:lnTo>
                        <a:lnTo>
                          <a:pt x="60" y="174"/>
                        </a:lnTo>
                        <a:lnTo>
                          <a:pt x="57" y="174"/>
                        </a:lnTo>
                        <a:lnTo>
                          <a:pt x="55" y="173"/>
                        </a:lnTo>
                        <a:lnTo>
                          <a:pt x="57" y="169"/>
                        </a:lnTo>
                        <a:lnTo>
                          <a:pt x="58" y="163"/>
                        </a:lnTo>
                        <a:lnTo>
                          <a:pt x="60" y="159"/>
                        </a:lnTo>
                        <a:lnTo>
                          <a:pt x="60" y="156"/>
                        </a:lnTo>
                        <a:lnTo>
                          <a:pt x="60" y="154"/>
                        </a:lnTo>
                        <a:lnTo>
                          <a:pt x="60" y="151"/>
                        </a:lnTo>
                        <a:lnTo>
                          <a:pt x="60" y="148"/>
                        </a:lnTo>
                        <a:lnTo>
                          <a:pt x="62" y="144"/>
                        </a:lnTo>
                        <a:lnTo>
                          <a:pt x="62" y="141"/>
                        </a:lnTo>
                        <a:lnTo>
                          <a:pt x="57" y="139"/>
                        </a:lnTo>
                        <a:lnTo>
                          <a:pt x="53" y="138"/>
                        </a:lnTo>
                        <a:lnTo>
                          <a:pt x="48" y="134"/>
                        </a:lnTo>
                        <a:lnTo>
                          <a:pt x="42" y="133"/>
                        </a:lnTo>
                        <a:lnTo>
                          <a:pt x="37" y="133"/>
                        </a:lnTo>
                        <a:lnTo>
                          <a:pt x="33" y="128"/>
                        </a:lnTo>
                        <a:lnTo>
                          <a:pt x="27" y="124"/>
                        </a:lnTo>
                        <a:lnTo>
                          <a:pt x="20" y="123"/>
                        </a:lnTo>
                        <a:lnTo>
                          <a:pt x="18" y="124"/>
                        </a:lnTo>
                        <a:lnTo>
                          <a:pt x="15" y="126"/>
                        </a:lnTo>
                        <a:lnTo>
                          <a:pt x="13" y="123"/>
                        </a:lnTo>
                        <a:lnTo>
                          <a:pt x="10" y="123"/>
                        </a:lnTo>
                        <a:lnTo>
                          <a:pt x="2" y="123"/>
                        </a:lnTo>
                        <a:lnTo>
                          <a:pt x="2" y="113"/>
                        </a:lnTo>
                        <a:lnTo>
                          <a:pt x="0" y="106"/>
                        </a:lnTo>
                        <a:lnTo>
                          <a:pt x="2" y="103"/>
                        </a:lnTo>
                        <a:lnTo>
                          <a:pt x="10" y="98"/>
                        </a:lnTo>
                        <a:lnTo>
                          <a:pt x="15" y="98"/>
                        </a:lnTo>
                        <a:lnTo>
                          <a:pt x="40" y="88"/>
                        </a:lnTo>
                        <a:lnTo>
                          <a:pt x="45" y="88"/>
                        </a:lnTo>
                        <a:lnTo>
                          <a:pt x="60" y="83"/>
                        </a:lnTo>
                        <a:lnTo>
                          <a:pt x="67" y="79"/>
                        </a:lnTo>
                        <a:lnTo>
                          <a:pt x="73" y="79"/>
                        </a:lnTo>
                        <a:lnTo>
                          <a:pt x="75" y="81"/>
                        </a:lnTo>
                        <a:lnTo>
                          <a:pt x="75" y="83"/>
                        </a:lnTo>
                        <a:lnTo>
                          <a:pt x="78" y="86"/>
                        </a:lnTo>
                        <a:lnTo>
                          <a:pt x="78" y="88"/>
                        </a:lnTo>
                        <a:lnTo>
                          <a:pt x="81" y="89"/>
                        </a:lnTo>
                        <a:lnTo>
                          <a:pt x="83" y="89"/>
                        </a:lnTo>
                        <a:lnTo>
                          <a:pt x="86" y="89"/>
                        </a:lnTo>
                        <a:lnTo>
                          <a:pt x="90" y="88"/>
                        </a:lnTo>
                        <a:lnTo>
                          <a:pt x="95" y="88"/>
                        </a:lnTo>
                        <a:lnTo>
                          <a:pt x="100" y="88"/>
                        </a:lnTo>
                        <a:lnTo>
                          <a:pt x="103" y="91"/>
                        </a:lnTo>
                        <a:lnTo>
                          <a:pt x="103" y="98"/>
                        </a:lnTo>
                        <a:lnTo>
                          <a:pt x="101" y="103"/>
                        </a:lnTo>
                        <a:lnTo>
                          <a:pt x="96" y="108"/>
                        </a:lnTo>
                        <a:lnTo>
                          <a:pt x="96" y="113"/>
                        </a:lnTo>
                        <a:lnTo>
                          <a:pt x="93" y="118"/>
                        </a:lnTo>
                        <a:lnTo>
                          <a:pt x="93" y="121"/>
                        </a:lnTo>
                        <a:lnTo>
                          <a:pt x="95" y="126"/>
                        </a:lnTo>
                        <a:lnTo>
                          <a:pt x="96" y="129"/>
                        </a:lnTo>
                        <a:lnTo>
                          <a:pt x="100" y="133"/>
                        </a:lnTo>
                        <a:lnTo>
                          <a:pt x="105" y="138"/>
                        </a:lnTo>
                        <a:lnTo>
                          <a:pt x="108" y="139"/>
                        </a:lnTo>
                        <a:lnTo>
                          <a:pt x="110" y="141"/>
                        </a:lnTo>
                        <a:lnTo>
                          <a:pt x="113" y="144"/>
                        </a:lnTo>
                        <a:lnTo>
                          <a:pt x="111" y="148"/>
                        </a:lnTo>
                        <a:lnTo>
                          <a:pt x="113" y="151"/>
                        </a:lnTo>
                        <a:lnTo>
                          <a:pt x="118" y="149"/>
                        </a:lnTo>
                        <a:lnTo>
                          <a:pt x="118" y="146"/>
                        </a:lnTo>
                        <a:lnTo>
                          <a:pt x="116" y="139"/>
                        </a:lnTo>
                        <a:lnTo>
                          <a:pt x="120" y="136"/>
                        </a:lnTo>
                        <a:lnTo>
                          <a:pt x="120" y="133"/>
                        </a:lnTo>
                        <a:lnTo>
                          <a:pt x="123" y="126"/>
                        </a:lnTo>
                        <a:lnTo>
                          <a:pt x="128" y="124"/>
                        </a:lnTo>
                        <a:lnTo>
                          <a:pt x="131" y="123"/>
                        </a:lnTo>
                        <a:lnTo>
                          <a:pt x="133" y="119"/>
                        </a:lnTo>
                        <a:lnTo>
                          <a:pt x="133" y="111"/>
                        </a:lnTo>
                        <a:lnTo>
                          <a:pt x="130" y="108"/>
                        </a:lnTo>
                        <a:lnTo>
                          <a:pt x="131" y="106"/>
                        </a:lnTo>
                        <a:lnTo>
                          <a:pt x="130" y="104"/>
                        </a:lnTo>
                        <a:lnTo>
                          <a:pt x="130" y="103"/>
                        </a:lnTo>
                        <a:lnTo>
                          <a:pt x="133" y="103"/>
                        </a:lnTo>
                        <a:lnTo>
                          <a:pt x="135" y="101"/>
                        </a:lnTo>
                        <a:lnTo>
                          <a:pt x="136" y="99"/>
                        </a:lnTo>
                        <a:lnTo>
                          <a:pt x="136" y="98"/>
                        </a:lnTo>
                        <a:lnTo>
                          <a:pt x="135" y="94"/>
                        </a:lnTo>
                        <a:lnTo>
                          <a:pt x="133" y="89"/>
                        </a:lnTo>
                        <a:lnTo>
                          <a:pt x="128" y="83"/>
                        </a:lnTo>
                        <a:lnTo>
                          <a:pt x="126" y="78"/>
                        </a:lnTo>
                        <a:lnTo>
                          <a:pt x="118" y="71"/>
                        </a:lnTo>
                        <a:lnTo>
                          <a:pt x="115" y="71"/>
                        </a:lnTo>
                        <a:lnTo>
                          <a:pt x="113" y="68"/>
                        </a:lnTo>
                        <a:lnTo>
                          <a:pt x="110" y="66"/>
                        </a:lnTo>
                        <a:lnTo>
                          <a:pt x="103" y="61"/>
                        </a:lnTo>
                        <a:lnTo>
                          <a:pt x="98" y="41"/>
                        </a:lnTo>
                        <a:lnTo>
                          <a:pt x="105" y="21"/>
                        </a:lnTo>
                        <a:lnTo>
                          <a:pt x="128" y="21"/>
                        </a:lnTo>
                        <a:lnTo>
                          <a:pt x="131" y="21"/>
                        </a:lnTo>
                        <a:lnTo>
                          <a:pt x="133" y="20"/>
                        </a:lnTo>
                        <a:lnTo>
                          <a:pt x="136" y="18"/>
                        </a:lnTo>
                        <a:lnTo>
                          <a:pt x="136" y="21"/>
                        </a:lnTo>
                        <a:lnTo>
                          <a:pt x="140" y="21"/>
                        </a:lnTo>
                        <a:lnTo>
                          <a:pt x="143" y="23"/>
                        </a:lnTo>
                        <a:lnTo>
                          <a:pt x="146" y="23"/>
                        </a:lnTo>
                        <a:lnTo>
                          <a:pt x="148" y="26"/>
                        </a:lnTo>
                        <a:lnTo>
                          <a:pt x="148" y="28"/>
                        </a:lnTo>
                        <a:lnTo>
                          <a:pt x="155" y="26"/>
                        </a:lnTo>
                        <a:lnTo>
                          <a:pt x="160" y="23"/>
                        </a:lnTo>
                        <a:lnTo>
                          <a:pt x="163" y="21"/>
                        </a:lnTo>
                        <a:lnTo>
                          <a:pt x="165" y="21"/>
                        </a:lnTo>
                        <a:lnTo>
                          <a:pt x="166" y="21"/>
                        </a:lnTo>
                        <a:lnTo>
                          <a:pt x="168" y="23"/>
                        </a:lnTo>
                        <a:lnTo>
                          <a:pt x="171" y="23"/>
                        </a:lnTo>
                        <a:lnTo>
                          <a:pt x="173" y="25"/>
                        </a:lnTo>
                        <a:lnTo>
                          <a:pt x="178" y="23"/>
                        </a:lnTo>
                        <a:lnTo>
                          <a:pt x="184" y="23"/>
                        </a:lnTo>
                        <a:lnTo>
                          <a:pt x="188" y="20"/>
                        </a:lnTo>
                        <a:lnTo>
                          <a:pt x="186" y="16"/>
                        </a:lnTo>
                        <a:lnTo>
                          <a:pt x="188" y="16"/>
                        </a:lnTo>
                        <a:lnTo>
                          <a:pt x="191" y="16"/>
                        </a:lnTo>
                        <a:lnTo>
                          <a:pt x="196" y="16"/>
                        </a:lnTo>
                        <a:lnTo>
                          <a:pt x="198" y="18"/>
                        </a:lnTo>
                        <a:lnTo>
                          <a:pt x="203" y="18"/>
                        </a:lnTo>
                        <a:lnTo>
                          <a:pt x="204" y="16"/>
                        </a:lnTo>
                        <a:lnTo>
                          <a:pt x="214" y="13"/>
                        </a:lnTo>
                        <a:lnTo>
                          <a:pt x="218" y="15"/>
                        </a:lnTo>
                        <a:lnTo>
                          <a:pt x="221" y="13"/>
                        </a:lnTo>
                        <a:lnTo>
                          <a:pt x="223" y="11"/>
                        </a:lnTo>
                        <a:lnTo>
                          <a:pt x="229" y="11"/>
                        </a:lnTo>
                        <a:lnTo>
                          <a:pt x="233" y="8"/>
                        </a:lnTo>
                        <a:lnTo>
                          <a:pt x="238" y="8"/>
                        </a:lnTo>
                        <a:lnTo>
                          <a:pt x="241" y="5"/>
                        </a:lnTo>
                        <a:lnTo>
                          <a:pt x="244" y="1"/>
                        </a:lnTo>
                        <a:lnTo>
                          <a:pt x="248" y="3"/>
                        </a:lnTo>
                        <a:lnTo>
                          <a:pt x="251" y="0"/>
                        </a:lnTo>
                        <a:lnTo>
                          <a:pt x="251" y="0"/>
                        </a:lnTo>
                        <a:lnTo>
                          <a:pt x="253" y="1"/>
                        </a:lnTo>
                        <a:lnTo>
                          <a:pt x="253" y="6"/>
                        </a:lnTo>
                        <a:lnTo>
                          <a:pt x="251" y="8"/>
                        </a:lnTo>
                        <a:lnTo>
                          <a:pt x="253" y="10"/>
                        </a:lnTo>
                        <a:lnTo>
                          <a:pt x="248" y="16"/>
                        </a:lnTo>
                        <a:lnTo>
                          <a:pt x="246" y="18"/>
                        </a:lnTo>
                        <a:lnTo>
                          <a:pt x="248" y="20"/>
                        </a:lnTo>
                        <a:lnTo>
                          <a:pt x="248" y="21"/>
                        </a:lnTo>
                        <a:lnTo>
                          <a:pt x="246" y="23"/>
                        </a:lnTo>
                        <a:lnTo>
                          <a:pt x="248" y="31"/>
                        </a:lnTo>
                        <a:lnTo>
                          <a:pt x="249" y="36"/>
                        </a:lnTo>
                        <a:lnTo>
                          <a:pt x="248" y="36"/>
                        </a:lnTo>
                        <a:lnTo>
                          <a:pt x="248" y="43"/>
                        </a:lnTo>
                        <a:lnTo>
                          <a:pt x="249" y="45"/>
                        </a:lnTo>
                        <a:lnTo>
                          <a:pt x="249" y="50"/>
                        </a:lnTo>
                        <a:lnTo>
                          <a:pt x="248" y="51"/>
                        </a:lnTo>
                        <a:lnTo>
                          <a:pt x="248" y="58"/>
                        </a:lnTo>
                        <a:lnTo>
                          <a:pt x="246" y="68"/>
                        </a:lnTo>
                        <a:lnTo>
                          <a:pt x="246" y="68"/>
                        </a:lnTo>
                        <a:lnTo>
                          <a:pt x="248" y="70"/>
                        </a:lnTo>
                        <a:lnTo>
                          <a:pt x="248" y="79"/>
                        </a:lnTo>
                        <a:lnTo>
                          <a:pt x="243" y="81"/>
                        </a:lnTo>
                        <a:lnTo>
                          <a:pt x="243" y="81"/>
                        </a:lnTo>
                        <a:lnTo>
                          <a:pt x="244" y="83"/>
                        </a:lnTo>
                        <a:lnTo>
                          <a:pt x="249" y="83"/>
                        </a:lnTo>
                        <a:lnTo>
                          <a:pt x="251" y="84"/>
                        </a:lnTo>
                        <a:lnTo>
                          <a:pt x="251" y="93"/>
                        </a:lnTo>
                        <a:lnTo>
                          <a:pt x="249" y="96"/>
                        </a:lnTo>
                        <a:lnTo>
                          <a:pt x="246" y="98"/>
                        </a:lnTo>
                        <a:lnTo>
                          <a:pt x="248" y="99"/>
                        </a:lnTo>
                        <a:lnTo>
                          <a:pt x="248" y="101"/>
                        </a:lnTo>
                        <a:lnTo>
                          <a:pt x="244" y="101"/>
                        </a:lnTo>
                        <a:lnTo>
                          <a:pt x="241" y="104"/>
                        </a:lnTo>
                        <a:lnTo>
                          <a:pt x="243" y="106"/>
                        </a:lnTo>
                        <a:lnTo>
                          <a:pt x="243" y="104"/>
                        </a:lnTo>
                        <a:lnTo>
                          <a:pt x="246" y="104"/>
                        </a:lnTo>
                        <a:lnTo>
                          <a:pt x="244" y="108"/>
                        </a:lnTo>
                        <a:lnTo>
                          <a:pt x="243" y="113"/>
                        </a:lnTo>
                        <a:lnTo>
                          <a:pt x="241" y="113"/>
                        </a:lnTo>
                        <a:lnTo>
                          <a:pt x="234" y="119"/>
                        </a:lnTo>
                        <a:lnTo>
                          <a:pt x="234" y="121"/>
                        </a:lnTo>
                        <a:lnTo>
                          <a:pt x="229" y="128"/>
                        </a:lnTo>
                        <a:lnTo>
                          <a:pt x="226" y="128"/>
                        </a:lnTo>
                        <a:lnTo>
                          <a:pt x="226" y="133"/>
                        </a:lnTo>
                        <a:lnTo>
                          <a:pt x="211" y="141"/>
                        </a:lnTo>
                        <a:lnTo>
                          <a:pt x="208" y="141"/>
                        </a:lnTo>
                        <a:lnTo>
                          <a:pt x="206" y="144"/>
                        </a:lnTo>
                        <a:lnTo>
                          <a:pt x="191" y="151"/>
                        </a:lnTo>
                        <a:lnTo>
                          <a:pt x="184" y="151"/>
                        </a:lnTo>
                        <a:lnTo>
                          <a:pt x="184" y="151"/>
                        </a:lnTo>
                        <a:lnTo>
                          <a:pt x="178" y="154"/>
                        </a:lnTo>
                        <a:lnTo>
                          <a:pt x="168" y="161"/>
                        </a:lnTo>
                        <a:lnTo>
                          <a:pt x="166" y="159"/>
                        </a:lnTo>
                        <a:lnTo>
                          <a:pt x="166" y="161"/>
                        </a:lnTo>
                        <a:lnTo>
                          <a:pt x="160" y="168"/>
                        </a:lnTo>
                        <a:lnTo>
                          <a:pt x="156" y="169"/>
                        </a:lnTo>
                        <a:lnTo>
                          <a:pt x="155" y="166"/>
                        </a:lnTo>
                        <a:lnTo>
                          <a:pt x="155" y="171"/>
                        </a:lnTo>
                        <a:lnTo>
                          <a:pt x="151" y="173"/>
                        </a:lnTo>
                        <a:lnTo>
                          <a:pt x="151" y="176"/>
                        </a:lnTo>
                        <a:lnTo>
                          <a:pt x="141" y="181"/>
                        </a:lnTo>
                        <a:lnTo>
                          <a:pt x="141" y="182"/>
                        </a:lnTo>
                        <a:lnTo>
                          <a:pt x="138" y="184"/>
                        </a:lnTo>
                        <a:lnTo>
                          <a:pt x="136" y="186"/>
                        </a:lnTo>
                        <a:lnTo>
                          <a:pt x="136" y="189"/>
                        </a:lnTo>
                        <a:lnTo>
                          <a:pt x="130" y="189"/>
                        </a:lnTo>
                        <a:lnTo>
                          <a:pt x="118" y="196"/>
                        </a:lnTo>
                        <a:lnTo>
                          <a:pt x="118" y="201"/>
                        </a:lnTo>
                        <a:lnTo>
                          <a:pt x="113" y="204"/>
                        </a:lnTo>
                        <a:lnTo>
                          <a:pt x="108" y="204"/>
                        </a:lnTo>
                        <a:lnTo>
                          <a:pt x="105" y="207"/>
                        </a:lnTo>
                        <a:lnTo>
                          <a:pt x="101" y="204"/>
                        </a:lnTo>
                        <a:lnTo>
                          <a:pt x="98" y="204"/>
                        </a:lnTo>
                        <a:lnTo>
                          <a:pt x="98" y="207"/>
                        </a:lnTo>
                        <a:lnTo>
                          <a:pt x="101" y="209"/>
                        </a:lnTo>
                        <a:lnTo>
                          <a:pt x="101" y="212"/>
                        </a:lnTo>
                        <a:lnTo>
                          <a:pt x="98" y="214"/>
                        </a:lnTo>
                        <a:lnTo>
                          <a:pt x="100" y="217"/>
                        </a:lnTo>
                        <a:lnTo>
                          <a:pt x="96" y="221"/>
                        </a:lnTo>
                        <a:lnTo>
                          <a:pt x="103" y="231"/>
                        </a:lnTo>
                        <a:lnTo>
                          <a:pt x="105" y="232"/>
                        </a:lnTo>
                        <a:lnTo>
                          <a:pt x="101" y="236"/>
                        </a:lnTo>
                        <a:lnTo>
                          <a:pt x="103" y="236"/>
                        </a:lnTo>
                        <a:lnTo>
                          <a:pt x="106" y="241"/>
                        </a:lnTo>
                        <a:lnTo>
                          <a:pt x="106" y="246"/>
                        </a:lnTo>
                        <a:lnTo>
                          <a:pt x="110" y="251"/>
                        </a:lnTo>
                        <a:lnTo>
                          <a:pt x="108" y="264"/>
                        </a:lnTo>
                        <a:lnTo>
                          <a:pt x="110" y="269"/>
                        </a:lnTo>
                        <a:lnTo>
                          <a:pt x="111" y="269"/>
                        </a:lnTo>
                        <a:lnTo>
                          <a:pt x="111" y="264"/>
                        </a:lnTo>
                        <a:lnTo>
                          <a:pt x="113" y="259"/>
                        </a:lnTo>
                        <a:lnTo>
                          <a:pt x="115" y="264"/>
                        </a:lnTo>
                        <a:lnTo>
                          <a:pt x="115" y="264"/>
                        </a:lnTo>
                        <a:lnTo>
                          <a:pt x="115" y="269"/>
                        </a:lnTo>
                        <a:lnTo>
                          <a:pt x="113" y="272"/>
                        </a:lnTo>
                        <a:lnTo>
                          <a:pt x="113" y="277"/>
                        </a:lnTo>
                        <a:lnTo>
                          <a:pt x="113" y="279"/>
                        </a:lnTo>
                        <a:lnTo>
                          <a:pt x="111" y="285"/>
                        </a:lnTo>
                        <a:lnTo>
                          <a:pt x="111" y="289"/>
                        </a:lnTo>
                        <a:lnTo>
                          <a:pt x="108" y="292"/>
                        </a:lnTo>
                        <a:lnTo>
                          <a:pt x="108" y="295"/>
                        </a:lnTo>
                        <a:lnTo>
                          <a:pt x="106" y="295"/>
                        </a:lnTo>
                        <a:lnTo>
                          <a:pt x="108" y="300"/>
                        </a:lnTo>
                        <a:lnTo>
                          <a:pt x="111" y="299"/>
                        </a:lnTo>
                        <a:lnTo>
                          <a:pt x="113" y="300"/>
                        </a:lnTo>
                        <a:lnTo>
                          <a:pt x="110" y="305"/>
                        </a:lnTo>
                        <a:lnTo>
                          <a:pt x="108" y="310"/>
                        </a:lnTo>
                        <a:lnTo>
                          <a:pt x="98" y="319"/>
                        </a:lnTo>
                        <a:lnTo>
                          <a:pt x="83" y="325"/>
                        </a:lnTo>
                        <a:lnTo>
                          <a:pt x="62" y="329"/>
                        </a:lnTo>
                        <a:lnTo>
                          <a:pt x="53" y="335"/>
                        </a:lnTo>
                        <a:lnTo>
                          <a:pt x="48" y="337"/>
                        </a:lnTo>
                        <a:lnTo>
                          <a:pt x="45" y="340"/>
                        </a:lnTo>
                        <a:lnTo>
                          <a:pt x="43" y="342"/>
                        </a:lnTo>
                        <a:lnTo>
                          <a:pt x="42" y="347"/>
                        </a:lnTo>
                        <a:lnTo>
                          <a:pt x="38" y="347"/>
                        </a:lnTo>
                        <a:lnTo>
                          <a:pt x="37" y="349"/>
                        </a:lnTo>
                        <a:lnTo>
                          <a:pt x="37" y="350"/>
                        </a:lnTo>
                        <a:lnTo>
                          <a:pt x="40" y="354"/>
                        </a:lnTo>
                        <a:lnTo>
                          <a:pt x="40" y="359"/>
                        </a:lnTo>
                        <a:lnTo>
                          <a:pt x="42" y="355"/>
                        </a:lnTo>
                        <a:lnTo>
                          <a:pt x="45" y="357"/>
                        </a:lnTo>
                        <a:lnTo>
                          <a:pt x="47" y="354"/>
                        </a:lnTo>
                        <a:lnTo>
                          <a:pt x="48" y="352"/>
                        </a:lnTo>
                        <a:lnTo>
                          <a:pt x="48" y="355"/>
                        </a:lnTo>
                        <a:lnTo>
                          <a:pt x="47" y="360"/>
                        </a:lnTo>
                        <a:lnTo>
                          <a:pt x="45" y="365"/>
                        </a:lnTo>
                        <a:lnTo>
                          <a:pt x="45" y="369"/>
                        </a:lnTo>
                        <a:lnTo>
                          <a:pt x="40" y="369"/>
                        </a:lnTo>
                        <a:lnTo>
                          <a:pt x="32" y="367"/>
                        </a:lnTo>
                        <a:lnTo>
                          <a:pt x="28" y="367"/>
                        </a:lnTo>
                        <a:lnTo>
                          <a:pt x="28" y="365"/>
                        </a:lnTo>
                        <a:lnTo>
                          <a:pt x="30" y="362"/>
                        </a:lnTo>
                        <a:lnTo>
                          <a:pt x="30" y="359"/>
                        </a:lnTo>
                        <a:lnTo>
                          <a:pt x="30" y="357"/>
                        </a:lnTo>
                        <a:lnTo>
                          <a:pt x="28" y="354"/>
                        </a:lnTo>
                        <a:lnTo>
                          <a:pt x="25" y="352"/>
                        </a:lnTo>
                        <a:lnTo>
                          <a:pt x="23" y="350"/>
                        </a:lnTo>
                        <a:lnTo>
                          <a:pt x="23" y="350"/>
                        </a:lnTo>
                        <a:lnTo>
                          <a:pt x="23" y="342"/>
                        </a:lnTo>
                        <a:lnTo>
                          <a:pt x="23" y="335"/>
                        </a:lnTo>
                        <a:lnTo>
                          <a:pt x="25" y="329"/>
                        </a:lnTo>
                        <a:lnTo>
                          <a:pt x="25" y="312"/>
                        </a:lnTo>
                        <a:lnTo>
                          <a:pt x="23" y="307"/>
                        </a:lnTo>
                        <a:lnTo>
                          <a:pt x="22" y="302"/>
                        </a:lnTo>
                        <a:lnTo>
                          <a:pt x="22" y="299"/>
                        </a:lnTo>
                        <a:lnTo>
                          <a:pt x="22" y="297"/>
                        </a:lnTo>
                        <a:lnTo>
                          <a:pt x="22" y="287"/>
                        </a:lnTo>
                        <a:lnTo>
                          <a:pt x="20" y="282"/>
                        </a:lnTo>
                        <a:lnTo>
                          <a:pt x="18" y="275"/>
                        </a:lnTo>
                        <a:lnTo>
                          <a:pt x="17" y="271"/>
                        </a:lnTo>
                        <a:lnTo>
                          <a:pt x="17" y="269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05" name="Google Shape;3057;p98">
                    <a:extLst>
                      <a:ext uri="{FF2B5EF4-FFF2-40B4-BE49-F238E27FC236}">
                        <a16:creationId xmlns:a16="http://schemas.microsoft.com/office/drawing/2014/main" id="{2F933110-1ADE-5D43-B07F-F7495044440A}"/>
                      </a:ext>
                    </a:extLst>
                  </p:cNvPr>
                  <p:cNvSpPr/>
                  <p:nvPr/>
                </p:nvSpPr>
                <p:spPr>
                  <a:xfrm>
                    <a:off x="6803514" y="3568540"/>
                    <a:ext cx="18194" cy="1763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5" h="35" extrusionOk="0">
                        <a:moveTo>
                          <a:pt x="28" y="8"/>
                        </a:moveTo>
                        <a:lnTo>
                          <a:pt x="28" y="8"/>
                        </a:lnTo>
                        <a:lnTo>
                          <a:pt x="30" y="10"/>
                        </a:lnTo>
                        <a:lnTo>
                          <a:pt x="33" y="12"/>
                        </a:lnTo>
                        <a:lnTo>
                          <a:pt x="35" y="15"/>
                        </a:lnTo>
                        <a:lnTo>
                          <a:pt x="35" y="17"/>
                        </a:lnTo>
                        <a:lnTo>
                          <a:pt x="35" y="20"/>
                        </a:lnTo>
                        <a:lnTo>
                          <a:pt x="33" y="23"/>
                        </a:lnTo>
                        <a:lnTo>
                          <a:pt x="33" y="25"/>
                        </a:lnTo>
                        <a:lnTo>
                          <a:pt x="32" y="25"/>
                        </a:lnTo>
                        <a:lnTo>
                          <a:pt x="30" y="27"/>
                        </a:lnTo>
                        <a:lnTo>
                          <a:pt x="30" y="30"/>
                        </a:lnTo>
                        <a:lnTo>
                          <a:pt x="28" y="33"/>
                        </a:lnTo>
                        <a:lnTo>
                          <a:pt x="25" y="35"/>
                        </a:lnTo>
                        <a:lnTo>
                          <a:pt x="15" y="35"/>
                        </a:lnTo>
                        <a:lnTo>
                          <a:pt x="7" y="30"/>
                        </a:lnTo>
                        <a:lnTo>
                          <a:pt x="5" y="27"/>
                        </a:lnTo>
                        <a:lnTo>
                          <a:pt x="2" y="23"/>
                        </a:lnTo>
                        <a:lnTo>
                          <a:pt x="0" y="22"/>
                        </a:lnTo>
                        <a:lnTo>
                          <a:pt x="3" y="17"/>
                        </a:lnTo>
                        <a:lnTo>
                          <a:pt x="8" y="7"/>
                        </a:lnTo>
                        <a:lnTo>
                          <a:pt x="10" y="2"/>
                        </a:lnTo>
                        <a:lnTo>
                          <a:pt x="13" y="0"/>
                        </a:lnTo>
                        <a:lnTo>
                          <a:pt x="20" y="3"/>
                        </a:lnTo>
                        <a:lnTo>
                          <a:pt x="23" y="7"/>
                        </a:lnTo>
                        <a:lnTo>
                          <a:pt x="28" y="8"/>
                        </a:lnTo>
                        <a:lnTo>
                          <a:pt x="28" y="8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06" name="Google Shape;3058;p98">
                    <a:extLst>
                      <a:ext uri="{FF2B5EF4-FFF2-40B4-BE49-F238E27FC236}">
                        <a16:creationId xmlns:a16="http://schemas.microsoft.com/office/drawing/2014/main" id="{1FB3A6FC-24FB-A24D-A048-1A99B6C3198C}"/>
                      </a:ext>
                    </a:extLst>
                  </p:cNvPr>
                  <p:cNvSpPr/>
                  <p:nvPr/>
                </p:nvSpPr>
                <p:spPr>
                  <a:xfrm>
                    <a:off x="6619431" y="3525998"/>
                    <a:ext cx="210839" cy="15667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94" h="302" extrusionOk="0">
                        <a:moveTo>
                          <a:pt x="0" y="149"/>
                        </a:moveTo>
                        <a:lnTo>
                          <a:pt x="4" y="147"/>
                        </a:lnTo>
                        <a:lnTo>
                          <a:pt x="9" y="146"/>
                        </a:lnTo>
                        <a:lnTo>
                          <a:pt x="9" y="142"/>
                        </a:lnTo>
                        <a:lnTo>
                          <a:pt x="7" y="142"/>
                        </a:lnTo>
                        <a:lnTo>
                          <a:pt x="10" y="137"/>
                        </a:lnTo>
                        <a:lnTo>
                          <a:pt x="15" y="136"/>
                        </a:lnTo>
                        <a:lnTo>
                          <a:pt x="19" y="141"/>
                        </a:lnTo>
                        <a:lnTo>
                          <a:pt x="23" y="141"/>
                        </a:lnTo>
                        <a:lnTo>
                          <a:pt x="22" y="146"/>
                        </a:lnTo>
                        <a:lnTo>
                          <a:pt x="25" y="152"/>
                        </a:lnTo>
                        <a:lnTo>
                          <a:pt x="33" y="154"/>
                        </a:lnTo>
                        <a:lnTo>
                          <a:pt x="38" y="156"/>
                        </a:lnTo>
                        <a:lnTo>
                          <a:pt x="42" y="156"/>
                        </a:lnTo>
                        <a:lnTo>
                          <a:pt x="45" y="156"/>
                        </a:lnTo>
                        <a:lnTo>
                          <a:pt x="48" y="157"/>
                        </a:lnTo>
                        <a:lnTo>
                          <a:pt x="50" y="156"/>
                        </a:lnTo>
                        <a:lnTo>
                          <a:pt x="53" y="156"/>
                        </a:lnTo>
                        <a:lnTo>
                          <a:pt x="57" y="157"/>
                        </a:lnTo>
                        <a:lnTo>
                          <a:pt x="60" y="157"/>
                        </a:lnTo>
                        <a:lnTo>
                          <a:pt x="62" y="159"/>
                        </a:lnTo>
                        <a:lnTo>
                          <a:pt x="63" y="154"/>
                        </a:lnTo>
                        <a:lnTo>
                          <a:pt x="65" y="152"/>
                        </a:lnTo>
                        <a:lnTo>
                          <a:pt x="68" y="151"/>
                        </a:lnTo>
                        <a:lnTo>
                          <a:pt x="70" y="146"/>
                        </a:lnTo>
                        <a:lnTo>
                          <a:pt x="77" y="144"/>
                        </a:lnTo>
                        <a:lnTo>
                          <a:pt x="83" y="144"/>
                        </a:lnTo>
                        <a:lnTo>
                          <a:pt x="87" y="144"/>
                        </a:lnTo>
                        <a:lnTo>
                          <a:pt x="90" y="64"/>
                        </a:lnTo>
                        <a:lnTo>
                          <a:pt x="98" y="69"/>
                        </a:lnTo>
                        <a:lnTo>
                          <a:pt x="100" y="76"/>
                        </a:lnTo>
                        <a:lnTo>
                          <a:pt x="107" y="88"/>
                        </a:lnTo>
                        <a:lnTo>
                          <a:pt x="107" y="94"/>
                        </a:lnTo>
                        <a:lnTo>
                          <a:pt x="103" y="101"/>
                        </a:lnTo>
                        <a:lnTo>
                          <a:pt x="103" y="106"/>
                        </a:lnTo>
                        <a:lnTo>
                          <a:pt x="110" y="104"/>
                        </a:lnTo>
                        <a:lnTo>
                          <a:pt x="115" y="106"/>
                        </a:lnTo>
                        <a:lnTo>
                          <a:pt x="120" y="104"/>
                        </a:lnTo>
                        <a:lnTo>
                          <a:pt x="125" y="104"/>
                        </a:lnTo>
                        <a:lnTo>
                          <a:pt x="130" y="103"/>
                        </a:lnTo>
                        <a:lnTo>
                          <a:pt x="135" y="101"/>
                        </a:lnTo>
                        <a:lnTo>
                          <a:pt x="138" y="98"/>
                        </a:lnTo>
                        <a:lnTo>
                          <a:pt x="140" y="96"/>
                        </a:lnTo>
                        <a:lnTo>
                          <a:pt x="148" y="93"/>
                        </a:lnTo>
                        <a:lnTo>
                          <a:pt x="153" y="89"/>
                        </a:lnTo>
                        <a:lnTo>
                          <a:pt x="156" y="79"/>
                        </a:lnTo>
                        <a:lnTo>
                          <a:pt x="163" y="74"/>
                        </a:lnTo>
                        <a:lnTo>
                          <a:pt x="170" y="74"/>
                        </a:lnTo>
                        <a:lnTo>
                          <a:pt x="178" y="74"/>
                        </a:lnTo>
                        <a:lnTo>
                          <a:pt x="180" y="78"/>
                        </a:lnTo>
                        <a:lnTo>
                          <a:pt x="183" y="78"/>
                        </a:lnTo>
                        <a:lnTo>
                          <a:pt x="191" y="83"/>
                        </a:lnTo>
                        <a:lnTo>
                          <a:pt x="195" y="83"/>
                        </a:lnTo>
                        <a:lnTo>
                          <a:pt x="200" y="83"/>
                        </a:lnTo>
                        <a:lnTo>
                          <a:pt x="205" y="83"/>
                        </a:lnTo>
                        <a:lnTo>
                          <a:pt x="211" y="83"/>
                        </a:lnTo>
                        <a:lnTo>
                          <a:pt x="215" y="81"/>
                        </a:lnTo>
                        <a:lnTo>
                          <a:pt x="216" y="84"/>
                        </a:lnTo>
                        <a:lnTo>
                          <a:pt x="219" y="84"/>
                        </a:lnTo>
                        <a:lnTo>
                          <a:pt x="224" y="83"/>
                        </a:lnTo>
                        <a:lnTo>
                          <a:pt x="223" y="79"/>
                        </a:lnTo>
                        <a:lnTo>
                          <a:pt x="224" y="76"/>
                        </a:lnTo>
                        <a:lnTo>
                          <a:pt x="224" y="73"/>
                        </a:lnTo>
                        <a:lnTo>
                          <a:pt x="226" y="71"/>
                        </a:lnTo>
                        <a:lnTo>
                          <a:pt x="226" y="66"/>
                        </a:lnTo>
                        <a:lnTo>
                          <a:pt x="228" y="61"/>
                        </a:lnTo>
                        <a:lnTo>
                          <a:pt x="233" y="61"/>
                        </a:lnTo>
                        <a:lnTo>
                          <a:pt x="236" y="59"/>
                        </a:lnTo>
                        <a:lnTo>
                          <a:pt x="239" y="59"/>
                        </a:lnTo>
                        <a:lnTo>
                          <a:pt x="241" y="56"/>
                        </a:lnTo>
                        <a:lnTo>
                          <a:pt x="243" y="56"/>
                        </a:lnTo>
                        <a:lnTo>
                          <a:pt x="244" y="53"/>
                        </a:lnTo>
                        <a:lnTo>
                          <a:pt x="248" y="49"/>
                        </a:lnTo>
                        <a:lnTo>
                          <a:pt x="251" y="49"/>
                        </a:lnTo>
                        <a:lnTo>
                          <a:pt x="253" y="48"/>
                        </a:lnTo>
                        <a:lnTo>
                          <a:pt x="256" y="48"/>
                        </a:lnTo>
                        <a:lnTo>
                          <a:pt x="256" y="44"/>
                        </a:lnTo>
                        <a:lnTo>
                          <a:pt x="254" y="41"/>
                        </a:lnTo>
                        <a:lnTo>
                          <a:pt x="254" y="36"/>
                        </a:lnTo>
                        <a:lnTo>
                          <a:pt x="261" y="29"/>
                        </a:lnTo>
                        <a:lnTo>
                          <a:pt x="264" y="28"/>
                        </a:lnTo>
                        <a:lnTo>
                          <a:pt x="268" y="26"/>
                        </a:lnTo>
                        <a:lnTo>
                          <a:pt x="269" y="24"/>
                        </a:lnTo>
                        <a:lnTo>
                          <a:pt x="273" y="23"/>
                        </a:lnTo>
                        <a:lnTo>
                          <a:pt x="274" y="21"/>
                        </a:lnTo>
                        <a:lnTo>
                          <a:pt x="276" y="19"/>
                        </a:lnTo>
                        <a:lnTo>
                          <a:pt x="279" y="18"/>
                        </a:lnTo>
                        <a:lnTo>
                          <a:pt x="284" y="13"/>
                        </a:lnTo>
                        <a:lnTo>
                          <a:pt x="289" y="13"/>
                        </a:lnTo>
                        <a:lnTo>
                          <a:pt x="291" y="14"/>
                        </a:lnTo>
                        <a:lnTo>
                          <a:pt x="293" y="13"/>
                        </a:lnTo>
                        <a:lnTo>
                          <a:pt x="298" y="13"/>
                        </a:lnTo>
                        <a:lnTo>
                          <a:pt x="301" y="11"/>
                        </a:lnTo>
                        <a:lnTo>
                          <a:pt x="304" y="10"/>
                        </a:lnTo>
                        <a:lnTo>
                          <a:pt x="306" y="6"/>
                        </a:lnTo>
                        <a:lnTo>
                          <a:pt x="304" y="5"/>
                        </a:lnTo>
                        <a:lnTo>
                          <a:pt x="308" y="3"/>
                        </a:lnTo>
                        <a:lnTo>
                          <a:pt x="311" y="1"/>
                        </a:lnTo>
                        <a:lnTo>
                          <a:pt x="314" y="1"/>
                        </a:lnTo>
                        <a:lnTo>
                          <a:pt x="324" y="0"/>
                        </a:lnTo>
                        <a:lnTo>
                          <a:pt x="331" y="0"/>
                        </a:lnTo>
                        <a:lnTo>
                          <a:pt x="332" y="3"/>
                        </a:lnTo>
                        <a:lnTo>
                          <a:pt x="336" y="3"/>
                        </a:lnTo>
                        <a:lnTo>
                          <a:pt x="341" y="5"/>
                        </a:lnTo>
                        <a:lnTo>
                          <a:pt x="342" y="6"/>
                        </a:lnTo>
                        <a:lnTo>
                          <a:pt x="346" y="5"/>
                        </a:lnTo>
                        <a:lnTo>
                          <a:pt x="352" y="5"/>
                        </a:lnTo>
                        <a:lnTo>
                          <a:pt x="361" y="6"/>
                        </a:lnTo>
                        <a:lnTo>
                          <a:pt x="366" y="10"/>
                        </a:lnTo>
                        <a:lnTo>
                          <a:pt x="367" y="14"/>
                        </a:lnTo>
                        <a:lnTo>
                          <a:pt x="369" y="21"/>
                        </a:lnTo>
                        <a:lnTo>
                          <a:pt x="371" y="26"/>
                        </a:lnTo>
                        <a:lnTo>
                          <a:pt x="371" y="36"/>
                        </a:lnTo>
                        <a:lnTo>
                          <a:pt x="371" y="38"/>
                        </a:lnTo>
                        <a:lnTo>
                          <a:pt x="371" y="41"/>
                        </a:lnTo>
                        <a:lnTo>
                          <a:pt x="372" y="46"/>
                        </a:lnTo>
                        <a:lnTo>
                          <a:pt x="374" y="51"/>
                        </a:lnTo>
                        <a:lnTo>
                          <a:pt x="374" y="68"/>
                        </a:lnTo>
                        <a:lnTo>
                          <a:pt x="372" y="74"/>
                        </a:lnTo>
                        <a:lnTo>
                          <a:pt x="372" y="81"/>
                        </a:lnTo>
                        <a:lnTo>
                          <a:pt x="372" y="89"/>
                        </a:lnTo>
                        <a:lnTo>
                          <a:pt x="367" y="88"/>
                        </a:lnTo>
                        <a:lnTo>
                          <a:pt x="364" y="84"/>
                        </a:lnTo>
                        <a:lnTo>
                          <a:pt x="357" y="81"/>
                        </a:lnTo>
                        <a:lnTo>
                          <a:pt x="354" y="83"/>
                        </a:lnTo>
                        <a:lnTo>
                          <a:pt x="352" y="88"/>
                        </a:lnTo>
                        <a:lnTo>
                          <a:pt x="347" y="98"/>
                        </a:lnTo>
                        <a:lnTo>
                          <a:pt x="344" y="103"/>
                        </a:lnTo>
                        <a:lnTo>
                          <a:pt x="346" y="104"/>
                        </a:lnTo>
                        <a:lnTo>
                          <a:pt x="349" y="108"/>
                        </a:lnTo>
                        <a:lnTo>
                          <a:pt x="351" y="111"/>
                        </a:lnTo>
                        <a:lnTo>
                          <a:pt x="359" y="116"/>
                        </a:lnTo>
                        <a:lnTo>
                          <a:pt x="369" y="116"/>
                        </a:lnTo>
                        <a:lnTo>
                          <a:pt x="372" y="114"/>
                        </a:lnTo>
                        <a:lnTo>
                          <a:pt x="374" y="111"/>
                        </a:lnTo>
                        <a:lnTo>
                          <a:pt x="374" y="108"/>
                        </a:lnTo>
                        <a:lnTo>
                          <a:pt x="376" y="106"/>
                        </a:lnTo>
                        <a:lnTo>
                          <a:pt x="381" y="106"/>
                        </a:lnTo>
                        <a:lnTo>
                          <a:pt x="389" y="108"/>
                        </a:lnTo>
                        <a:lnTo>
                          <a:pt x="394" y="108"/>
                        </a:lnTo>
                        <a:lnTo>
                          <a:pt x="394" y="108"/>
                        </a:lnTo>
                        <a:lnTo>
                          <a:pt x="391" y="111"/>
                        </a:lnTo>
                        <a:lnTo>
                          <a:pt x="392" y="112"/>
                        </a:lnTo>
                        <a:lnTo>
                          <a:pt x="389" y="119"/>
                        </a:lnTo>
                        <a:lnTo>
                          <a:pt x="387" y="126"/>
                        </a:lnTo>
                        <a:lnTo>
                          <a:pt x="384" y="132"/>
                        </a:lnTo>
                        <a:lnTo>
                          <a:pt x="382" y="141"/>
                        </a:lnTo>
                        <a:lnTo>
                          <a:pt x="379" y="146"/>
                        </a:lnTo>
                        <a:lnTo>
                          <a:pt x="377" y="149"/>
                        </a:lnTo>
                        <a:lnTo>
                          <a:pt x="371" y="156"/>
                        </a:lnTo>
                        <a:lnTo>
                          <a:pt x="369" y="156"/>
                        </a:lnTo>
                        <a:lnTo>
                          <a:pt x="367" y="159"/>
                        </a:lnTo>
                        <a:lnTo>
                          <a:pt x="362" y="161"/>
                        </a:lnTo>
                        <a:lnTo>
                          <a:pt x="361" y="162"/>
                        </a:lnTo>
                        <a:lnTo>
                          <a:pt x="354" y="166"/>
                        </a:lnTo>
                        <a:lnTo>
                          <a:pt x="351" y="171"/>
                        </a:lnTo>
                        <a:lnTo>
                          <a:pt x="346" y="176"/>
                        </a:lnTo>
                        <a:lnTo>
                          <a:pt x="346" y="179"/>
                        </a:lnTo>
                        <a:lnTo>
                          <a:pt x="344" y="184"/>
                        </a:lnTo>
                        <a:lnTo>
                          <a:pt x="339" y="184"/>
                        </a:lnTo>
                        <a:lnTo>
                          <a:pt x="336" y="191"/>
                        </a:lnTo>
                        <a:lnTo>
                          <a:pt x="326" y="206"/>
                        </a:lnTo>
                        <a:lnTo>
                          <a:pt x="318" y="212"/>
                        </a:lnTo>
                        <a:lnTo>
                          <a:pt x="316" y="217"/>
                        </a:lnTo>
                        <a:lnTo>
                          <a:pt x="313" y="219"/>
                        </a:lnTo>
                        <a:lnTo>
                          <a:pt x="308" y="224"/>
                        </a:lnTo>
                        <a:lnTo>
                          <a:pt x="306" y="224"/>
                        </a:lnTo>
                        <a:lnTo>
                          <a:pt x="304" y="225"/>
                        </a:lnTo>
                        <a:lnTo>
                          <a:pt x="279" y="249"/>
                        </a:lnTo>
                        <a:lnTo>
                          <a:pt x="276" y="249"/>
                        </a:lnTo>
                        <a:lnTo>
                          <a:pt x="276" y="250"/>
                        </a:lnTo>
                        <a:lnTo>
                          <a:pt x="271" y="254"/>
                        </a:lnTo>
                        <a:lnTo>
                          <a:pt x="254" y="264"/>
                        </a:lnTo>
                        <a:lnTo>
                          <a:pt x="251" y="267"/>
                        </a:lnTo>
                        <a:lnTo>
                          <a:pt x="246" y="269"/>
                        </a:lnTo>
                        <a:lnTo>
                          <a:pt x="246" y="270"/>
                        </a:lnTo>
                        <a:lnTo>
                          <a:pt x="236" y="272"/>
                        </a:lnTo>
                        <a:lnTo>
                          <a:pt x="231" y="275"/>
                        </a:lnTo>
                        <a:lnTo>
                          <a:pt x="226" y="277"/>
                        </a:lnTo>
                        <a:lnTo>
                          <a:pt x="223" y="274"/>
                        </a:lnTo>
                        <a:lnTo>
                          <a:pt x="216" y="275"/>
                        </a:lnTo>
                        <a:lnTo>
                          <a:pt x="210" y="277"/>
                        </a:lnTo>
                        <a:lnTo>
                          <a:pt x="206" y="280"/>
                        </a:lnTo>
                        <a:lnTo>
                          <a:pt x="211" y="284"/>
                        </a:lnTo>
                        <a:lnTo>
                          <a:pt x="210" y="284"/>
                        </a:lnTo>
                        <a:lnTo>
                          <a:pt x="201" y="284"/>
                        </a:lnTo>
                        <a:lnTo>
                          <a:pt x="196" y="282"/>
                        </a:lnTo>
                        <a:lnTo>
                          <a:pt x="193" y="282"/>
                        </a:lnTo>
                        <a:lnTo>
                          <a:pt x="190" y="285"/>
                        </a:lnTo>
                        <a:lnTo>
                          <a:pt x="191" y="287"/>
                        </a:lnTo>
                        <a:lnTo>
                          <a:pt x="190" y="289"/>
                        </a:lnTo>
                        <a:lnTo>
                          <a:pt x="178" y="287"/>
                        </a:lnTo>
                        <a:lnTo>
                          <a:pt x="175" y="285"/>
                        </a:lnTo>
                        <a:lnTo>
                          <a:pt x="163" y="282"/>
                        </a:lnTo>
                        <a:lnTo>
                          <a:pt x="156" y="284"/>
                        </a:lnTo>
                        <a:lnTo>
                          <a:pt x="156" y="285"/>
                        </a:lnTo>
                        <a:lnTo>
                          <a:pt x="151" y="285"/>
                        </a:lnTo>
                        <a:lnTo>
                          <a:pt x="146" y="284"/>
                        </a:lnTo>
                        <a:lnTo>
                          <a:pt x="133" y="284"/>
                        </a:lnTo>
                        <a:lnTo>
                          <a:pt x="130" y="285"/>
                        </a:lnTo>
                        <a:lnTo>
                          <a:pt x="128" y="289"/>
                        </a:lnTo>
                        <a:lnTo>
                          <a:pt x="126" y="287"/>
                        </a:lnTo>
                        <a:lnTo>
                          <a:pt x="123" y="289"/>
                        </a:lnTo>
                        <a:lnTo>
                          <a:pt x="120" y="290"/>
                        </a:lnTo>
                        <a:lnTo>
                          <a:pt x="118" y="292"/>
                        </a:lnTo>
                        <a:lnTo>
                          <a:pt x="113" y="292"/>
                        </a:lnTo>
                        <a:lnTo>
                          <a:pt x="110" y="294"/>
                        </a:lnTo>
                        <a:lnTo>
                          <a:pt x="102" y="292"/>
                        </a:lnTo>
                        <a:lnTo>
                          <a:pt x="97" y="292"/>
                        </a:lnTo>
                        <a:lnTo>
                          <a:pt x="95" y="294"/>
                        </a:lnTo>
                        <a:lnTo>
                          <a:pt x="88" y="292"/>
                        </a:lnTo>
                        <a:lnTo>
                          <a:pt x="83" y="297"/>
                        </a:lnTo>
                        <a:lnTo>
                          <a:pt x="80" y="299"/>
                        </a:lnTo>
                        <a:lnTo>
                          <a:pt x="78" y="302"/>
                        </a:lnTo>
                        <a:lnTo>
                          <a:pt x="75" y="300"/>
                        </a:lnTo>
                        <a:lnTo>
                          <a:pt x="73" y="302"/>
                        </a:lnTo>
                        <a:lnTo>
                          <a:pt x="62" y="297"/>
                        </a:lnTo>
                        <a:lnTo>
                          <a:pt x="58" y="297"/>
                        </a:lnTo>
                        <a:lnTo>
                          <a:pt x="58" y="292"/>
                        </a:lnTo>
                        <a:lnTo>
                          <a:pt x="53" y="290"/>
                        </a:lnTo>
                        <a:lnTo>
                          <a:pt x="50" y="292"/>
                        </a:lnTo>
                        <a:lnTo>
                          <a:pt x="48" y="290"/>
                        </a:lnTo>
                        <a:lnTo>
                          <a:pt x="50" y="289"/>
                        </a:lnTo>
                        <a:lnTo>
                          <a:pt x="48" y="285"/>
                        </a:lnTo>
                        <a:lnTo>
                          <a:pt x="43" y="284"/>
                        </a:lnTo>
                        <a:lnTo>
                          <a:pt x="38" y="287"/>
                        </a:lnTo>
                        <a:lnTo>
                          <a:pt x="38" y="292"/>
                        </a:lnTo>
                        <a:lnTo>
                          <a:pt x="37" y="289"/>
                        </a:lnTo>
                        <a:lnTo>
                          <a:pt x="35" y="285"/>
                        </a:lnTo>
                        <a:lnTo>
                          <a:pt x="37" y="280"/>
                        </a:lnTo>
                        <a:lnTo>
                          <a:pt x="37" y="275"/>
                        </a:lnTo>
                        <a:lnTo>
                          <a:pt x="40" y="270"/>
                        </a:lnTo>
                        <a:lnTo>
                          <a:pt x="35" y="264"/>
                        </a:lnTo>
                        <a:lnTo>
                          <a:pt x="32" y="260"/>
                        </a:lnTo>
                        <a:lnTo>
                          <a:pt x="27" y="254"/>
                        </a:lnTo>
                        <a:lnTo>
                          <a:pt x="27" y="249"/>
                        </a:lnTo>
                        <a:lnTo>
                          <a:pt x="30" y="247"/>
                        </a:lnTo>
                        <a:lnTo>
                          <a:pt x="32" y="249"/>
                        </a:lnTo>
                        <a:lnTo>
                          <a:pt x="35" y="249"/>
                        </a:lnTo>
                        <a:lnTo>
                          <a:pt x="37" y="245"/>
                        </a:lnTo>
                        <a:lnTo>
                          <a:pt x="38" y="239"/>
                        </a:lnTo>
                        <a:lnTo>
                          <a:pt x="37" y="232"/>
                        </a:lnTo>
                        <a:lnTo>
                          <a:pt x="37" y="229"/>
                        </a:lnTo>
                        <a:lnTo>
                          <a:pt x="30" y="219"/>
                        </a:lnTo>
                        <a:lnTo>
                          <a:pt x="30" y="214"/>
                        </a:lnTo>
                        <a:lnTo>
                          <a:pt x="23" y="206"/>
                        </a:lnTo>
                        <a:lnTo>
                          <a:pt x="20" y="192"/>
                        </a:lnTo>
                        <a:lnTo>
                          <a:pt x="15" y="181"/>
                        </a:lnTo>
                        <a:lnTo>
                          <a:pt x="15" y="174"/>
                        </a:lnTo>
                        <a:lnTo>
                          <a:pt x="10" y="161"/>
                        </a:lnTo>
                        <a:lnTo>
                          <a:pt x="2" y="156"/>
                        </a:lnTo>
                        <a:lnTo>
                          <a:pt x="0" y="149"/>
                        </a:lnTo>
                        <a:lnTo>
                          <a:pt x="0" y="149"/>
                        </a:lnTo>
                        <a:lnTo>
                          <a:pt x="0" y="149"/>
                        </a:lnTo>
                        <a:close/>
                        <a:moveTo>
                          <a:pt x="259" y="191"/>
                        </a:moveTo>
                        <a:lnTo>
                          <a:pt x="263" y="194"/>
                        </a:lnTo>
                        <a:lnTo>
                          <a:pt x="264" y="197"/>
                        </a:lnTo>
                        <a:lnTo>
                          <a:pt x="271" y="199"/>
                        </a:lnTo>
                        <a:lnTo>
                          <a:pt x="274" y="199"/>
                        </a:lnTo>
                        <a:lnTo>
                          <a:pt x="276" y="197"/>
                        </a:lnTo>
                        <a:lnTo>
                          <a:pt x="278" y="196"/>
                        </a:lnTo>
                        <a:lnTo>
                          <a:pt x="279" y="189"/>
                        </a:lnTo>
                        <a:lnTo>
                          <a:pt x="284" y="189"/>
                        </a:lnTo>
                        <a:lnTo>
                          <a:pt x="288" y="187"/>
                        </a:lnTo>
                        <a:lnTo>
                          <a:pt x="291" y="186"/>
                        </a:lnTo>
                        <a:lnTo>
                          <a:pt x="294" y="187"/>
                        </a:lnTo>
                        <a:lnTo>
                          <a:pt x="299" y="184"/>
                        </a:lnTo>
                        <a:lnTo>
                          <a:pt x="299" y="181"/>
                        </a:lnTo>
                        <a:lnTo>
                          <a:pt x="298" y="179"/>
                        </a:lnTo>
                        <a:lnTo>
                          <a:pt x="298" y="176"/>
                        </a:lnTo>
                        <a:lnTo>
                          <a:pt x="303" y="174"/>
                        </a:lnTo>
                        <a:lnTo>
                          <a:pt x="306" y="171"/>
                        </a:lnTo>
                        <a:lnTo>
                          <a:pt x="306" y="166"/>
                        </a:lnTo>
                        <a:lnTo>
                          <a:pt x="303" y="157"/>
                        </a:lnTo>
                        <a:lnTo>
                          <a:pt x="298" y="154"/>
                        </a:lnTo>
                        <a:lnTo>
                          <a:pt x="293" y="154"/>
                        </a:lnTo>
                        <a:lnTo>
                          <a:pt x="289" y="152"/>
                        </a:lnTo>
                        <a:lnTo>
                          <a:pt x="288" y="152"/>
                        </a:lnTo>
                        <a:lnTo>
                          <a:pt x="286" y="152"/>
                        </a:lnTo>
                        <a:lnTo>
                          <a:pt x="283" y="151"/>
                        </a:lnTo>
                        <a:lnTo>
                          <a:pt x="281" y="152"/>
                        </a:lnTo>
                        <a:lnTo>
                          <a:pt x="279" y="154"/>
                        </a:lnTo>
                        <a:lnTo>
                          <a:pt x="276" y="157"/>
                        </a:lnTo>
                        <a:lnTo>
                          <a:pt x="268" y="159"/>
                        </a:lnTo>
                        <a:lnTo>
                          <a:pt x="263" y="162"/>
                        </a:lnTo>
                        <a:lnTo>
                          <a:pt x="259" y="169"/>
                        </a:lnTo>
                        <a:lnTo>
                          <a:pt x="253" y="172"/>
                        </a:lnTo>
                        <a:lnTo>
                          <a:pt x="251" y="176"/>
                        </a:lnTo>
                        <a:lnTo>
                          <a:pt x="253" y="179"/>
                        </a:lnTo>
                        <a:lnTo>
                          <a:pt x="254" y="182"/>
                        </a:lnTo>
                        <a:lnTo>
                          <a:pt x="256" y="184"/>
                        </a:lnTo>
                        <a:lnTo>
                          <a:pt x="259" y="187"/>
                        </a:lnTo>
                        <a:lnTo>
                          <a:pt x="259" y="191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707" name="Google Shape;3059;p98">
                    <a:extLst>
                      <a:ext uri="{FF2B5EF4-FFF2-40B4-BE49-F238E27FC236}">
                        <a16:creationId xmlns:a16="http://schemas.microsoft.com/office/drawing/2014/main" id="{EADB0B68-6B9D-D4BE-28A0-D0D9C340EBBE}"/>
                      </a:ext>
                    </a:extLst>
                  </p:cNvPr>
                  <p:cNvSpPr/>
                  <p:nvPr/>
                </p:nvSpPr>
                <p:spPr>
                  <a:xfrm>
                    <a:off x="6754283" y="3604855"/>
                    <a:ext cx="28896" cy="2490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5" h="48" extrusionOk="0">
                        <a:moveTo>
                          <a:pt x="8" y="40"/>
                        </a:moveTo>
                        <a:lnTo>
                          <a:pt x="8" y="36"/>
                        </a:lnTo>
                        <a:lnTo>
                          <a:pt x="5" y="33"/>
                        </a:lnTo>
                        <a:lnTo>
                          <a:pt x="3" y="31"/>
                        </a:lnTo>
                        <a:lnTo>
                          <a:pt x="2" y="28"/>
                        </a:lnTo>
                        <a:lnTo>
                          <a:pt x="0" y="25"/>
                        </a:lnTo>
                        <a:lnTo>
                          <a:pt x="2" y="21"/>
                        </a:lnTo>
                        <a:lnTo>
                          <a:pt x="8" y="18"/>
                        </a:lnTo>
                        <a:lnTo>
                          <a:pt x="12" y="11"/>
                        </a:lnTo>
                        <a:lnTo>
                          <a:pt x="17" y="8"/>
                        </a:lnTo>
                        <a:lnTo>
                          <a:pt x="25" y="6"/>
                        </a:lnTo>
                        <a:lnTo>
                          <a:pt x="28" y="3"/>
                        </a:lnTo>
                        <a:lnTo>
                          <a:pt x="30" y="1"/>
                        </a:lnTo>
                        <a:lnTo>
                          <a:pt x="32" y="0"/>
                        </a:lnTo>
                        <a:lnTo>
                          <a:pt x="35" y="1"/>
                        </a:lnTo>
                        <a:lnTo>
                          <a:pt x="37" y="1"/>
                        </a:lnTo>
                        <a:lnTo>
                          <a:pt x="38" y="1"/>
                        </a:lnTo>
                        <a:lnTo>
                          <a:pt x="42" y="3"/>
                        </a:lnTo>
                        <a:lnTo>
                          <a:pt x="47" y="3"/>
                        </a:lnTo>
                        <a:lnTo>
                          <a:pt x="52" y="6"/>
                        </a:lnTo>
                        <a:lnTo>
                          <a:pt x="55" y="15"/>
                        </a:lnTo>
                        <a:lnTo>
                          <a:pt x="55" y="20"/>
                        </a:lnTo>
                        <a:lnTo>
                          <a:pt x="52" y="23"/>
                        </a:lnTo>
                        <a:lnTo>
                          <a:pt x="47" y="25"/>
                        </a:lnTo>
                        <a:lnTo>
                          <a:pt x="47" y="28"/>
                        </a:lnTo>
                        <a:lnTo>
                          <a:pt x="48" y="30"/>
                        </a:lnTo>
                        <a:lnTo>
                          <a:pt x="48" y="33"/>
                        </a:lnTo>
                        <a:lnTo>
                          <a:pt x="43" y="36"/>
                        </a:lnTo>
                        <a:lnTo>
                          <a:pt x="40" y="35"/>
                        </a:lnTo>
                        <a:lnTo>
                          <a:pt x="37" y="36"/>
                        </a:lnTo>
                        <a:lnTo>
                          <a:pt x="33" y="38"/>
                        </a:lnTo>
                        <a:lnTo>
                          <a:pt x="28" y="38"/>
                        </a:lnTo>
                        <a:lnTo>
                          <a:pt x="27" y="45"/>
                        </a:lnTo>
                        <a:lnTo>
                          <a:pt x="25" y="46"/>
                        </a:lnTo>
                        <a:lnTo>
                          <a:pt x="23" y="48"/>
                        </a:lnTo>
                        <a:lnTo>
                          <a:pt x="20" y="48"/>
                        </a:lnTo>
                        <a:lnTo>
                          <a:pt x="13" y="46"/>
                        </a:lnTo>
                        <a:lnTo>
                          <a:pt x="12" y="43"/>
                        </a:lnTo>
                        <a:lnTo>
                          <a:pt x="8" y="40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</p:grpSp>
            <p:sp>
              <p:nvSpPr>
                <p:cNvPr id="515" name="Google Shape;3060;p98">
                  <a:extLst>
                    <a:ext uri="{FF2B5EF4-FFF2-40B4-BE49-F238E27FC236}">
                      <a16:creationId xmlns:a16="http://schemas.microsoft.com/office/drawing/2014/main" id="{E0EA4331-37E3-CEDC-6BE7-E43447C1D455}"/>
                    </a:ext>
                  </a:extLst>
                </p:cNvPr>
                <p:cNvSpPr/>
                <p:nvPr/>
              </p:nvSpPr>
              <p:spPr>
                <a:xfrm>
                  <a:off x="7861981" y="3392206"/>
                  <a:ext cx="526633" cy="49478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5" h="955" extrusionOk="0">
                      <a:moveTo>
                        <a:pt x="974" y="455"/>
                      </a:moveTo>
                      <a:lnTo>
                        <a:pt x="975" y="449"/>
                      </a:lnTo>
                      <a:lnTo>
                        <a:pt x="977" y="452"/>
                      </a:lnTo>
                      <a:lnTo>
                        <a:pt x="974" y="455"/>
                      </a:lnTo>
                      <a:lnTo>
                        <a:pt x="974" y="455"/>
                      </a:lnTo>
                      <a:close/>
                      <a:moveTo>
                        <a:pt x="975" y="400"/>
                      </a:moveTo>
                      <a:lnTo>
                        <a:pt x="974" y="394"/>
                      </a:lnTo>
                      <a:lnTo>
                        <a:pt x="974" y="390"/>
                      </a:lnTo>
                      <a:lnTo>
                        <a:pt x="975" y="385"/>
                      </a:lnTo>
                      <a:lnTo>
                        <a:pt x="978" y="382"/>
                      </a:lnTo>
                      <a:lnTo>
                        <a:pt x="982" y="377"/>
                      </a:lnTo>
                      <a:lnTo>
                        <a:pt x="980" y="374"/>
                      </a:lnTo>
                      <a:lnTo>
                        <a:pt x="982" y="370"/>
                      </a:lnTo>
                      <a:lnTo>
                        <a:pt x="983" y="370"/>
                      </a:lnTo>
                      <a:lnTo>
                        <a:pt x="985" y="375"/>
                      </a:lnTo>
                      <a:lnTo>
                        <a:pt x="983" y="382"/>
                      </a:lnTo>
                      <a:lnTo>
                        <a:pt x="978" y="389"/>
                      </a:lnTo>
                      <a:lnTo>
                        <a:pt x="977" y="397"/>
                      </a:lnTo>
                      <a:lnTo>
                        <a:pt x="978" y="402"/>
                      </a:lnTo>
                      <a:lnTo>
                        <a:pt x="975" y="400"/>
                      </a:lnTo>
                      <a:lnTo>
                        <a:pt x="975" y="400"/>
                      </a:lnTo>
                      <a:close/>
                      <a:moveTo>
                        <a:pt x="935" y="336"/>
                      </a:moveTo>
                      <a:lnTo>
                        <a:pt x="939" y="342"/>
                      </a:lnTo>
                      <a:lnTo>
                        <a:pt x="942" y="346"/>
                      </a:lnTo>
                      <a:lnTo>
                        <a:pt x="944" y="342"/>
                      </a:lnTo>
                      <a:lnTo>
                        <a:pt x="940" y="339"/>
                      </a:lnTo>
                      <a:lnTo>
                        <a:pt x="942" y="337"/>
                      </a:lnTo>
                      <a:lnTo>
                        <a:pt x="939" y="336"/>
                      </a:lnTo>
                      <a:lnTo>
                        <a:pt x="935" y="336"/>
                      </a:lnTo>
                      <a:lnTo>
                        <a:pt x="935" y="336"/>
                      </a:lnTo>
                      <a:lnTo>
                        <a:pt x="935" y="336"/>
                      </a:lnTo>
                      <a:close/>
                      <a:moveTo>
                        <a:pt x="929" y="306"/>
                      </a:moveTo>
                      <a:lnTo>
                        <a:pt x="929" y="302"/>
                      </a:lnTo>
                      <a:lnTo>
                        <a:pt x="927" y="304"/>
                      </a:lnTo>
                      <a:lnTo>
                        <a:pt x="929" y="306"/>
                      </a:lnTo>
                      <a:lnTo>
                        <a:pt x="929" y="306"/>
                      </a:lnTo>
                      <a:close/>
                      <a:moveTo>
                        <a:pt x="837" y="208"/>
                      </a:moveTo>
                      <a:lnTo>
                        <a:pt x="839" y="204"/>
                      </a:lnTo>
                      <a:lnTo>
                        <a:pt x="834" y="201"/>
                      </a:lnTo>
                      <a:lnTo>
                        <a:pt x="839" y="199"/>
                      </a:lnTo>
                      <a:lnTo>
                        <a:pt x="841" y="199"/>
                      </a:lnTo>
                      <a:lnTo>
                        <a:pt x="841" y="206"/>
                      </a:lnTo>
                      <a:lnTo>
                        <a:pt x="839" y="211"/>
                      </a:lnTo>
                      <a:lnTo>
                        <a:pt x="837" y="208"/>
                      </a:lnTo>
                      <a:lnTo>
                        <a:pt x="837" y="208"/>
                      </a:lnTo>
                      <a:close/>
                      <a:moveTo>
                        <a:pt x="758" y="0"/>
                      </a:moveTo>
                      <a:lnTo>
                        <a:pt x="759" y="3"/>
                      </a:lnTo>
                      <a:lnTo>
                        <a:pt x="761" y="0"/>
                      </a:lnTo>
                      <a:lnTo>
                        <a:pt x="758" y="0"/>
                      </a:lnTo>
                      <a:lnTo>
                        <a:pt x="758" y="0"/>
                      </a:lnTo>
                      <a:close/>
                      <a:moveTo>
                        <a:pt x="754" y="12"/>
                      </a:moveTo>
                      <a:lnTo>
                        <a:pt x="754" y="17"/>
                      </a:lnTo>
                      <a:lnTo>
                        <a:pt x="756" y="15"/>
                      </a:lnTo>
                      <a:lnTo>
                        <a:pt x="759" y="15"/>
                      </a:lnTo>
                      <a:lnTo>
                        <a:pt x="758" y="12"/>
                      </a:lnTo>
                      <a:lnTo>
                        <a:pt x="754" y="12"/>
                      </a:lnTo>
                      <a:lnTo>
                        <a:pt x="754" y="12"/>
                      </a:lnTo>
                      <a:close/>
                      <a:moveTo>
                        <a:pt x="676" y="170"/>
                      </a:moveTo>
                      <a:lnTo>
                        <a:pt x="678" y="171"/>
                      </a:lnTo>
                      <a:lnTo>
                        <a:pt x="679" y="170"/>
                      </a:lnTo>
                      <a:lnTo>
                        <a:pt x="679" y="168"/>
                      </a:lnTo>
                      <a:lnTo>
                        <a:pt x="676" y="170"/>
                      </a:lnTo>
                      <a:lnTo>
                        <a:pt x="676" y="170"/>
                      </a:lnTo>
                      <a:close/>
                      <a:moveTo>
                        <a:pt x="670" y="160"/>
                      </a:moveTo>
                      <a:lnTo>
                        <a:pt x="673" y="161"/>
                      </a:lnTo>
                      <a:lnTo>
                        <a:pt x="675" y="161"/>
                      </a:lnTo>
                      <a:lnTo>
                        <a:pt x="678" y="158"/>
                      </a:lnTo>
                      <a:lnTo>
                        <a:pt x="683" y="156"/>
                      </a:lnTo>
                      <a:lnTo>
                        <a:pt x="683" y="155"/>
                      </a:lnTo>
                      <a:lnTo>
                        <a:pt x="678" y="155"/>
                      </a:lnTo>
                      <a:lnTo>
                        <a:pt x="671" y="156"/>
                      </a:lnTo>
                      <a:lnTo>
                        <a:pt x="671" y="156"/>
                      </a:lnTo>
                      <a:lnTo>
                        <a:pt x="670" y="160"/>
                      </a:lnTo>
                      <a:lnTo>
                        <a:pt x="670" y="160"/>
                      </a:lnTo>
                      <a:close/>
                      <a:moveTo>
                        <a:pt x="621" y="138"/>
                      </a:moveTo>
                      <a:lnTo>
                        <a:pt x="620" y="136"/>
                      </a:lnTo>
                      <a:lnTo>
                        <a:pt x="620" y="133"/>
                      </a:lnTo>
                      <a:lnTo>
                        <a:pt x="623" y="136"/>
                      </a:lnTo>
                      <a:lnTo>
                        <a:pt x="621" y="138"/>
                      </a:lnTo>
                      <a:lnTo>
                        <a:pt x="621" y="138"/>
                      </a:lnTo>
                      <a:close/>
                      <a:moveTo>
                        <a:pt x="605" y="91"/>
                      </a:moveTo>
                      <a:lnTo>
                        <a:pt x="605" y="90"/>
                      </a:lnTo>
                      <a:lnTo>
                        <a:pt x="603" y="90"/>
                      </a:lnTo>
                      <a:lnTo>
                        <a:pt x="603" y="88"/>
                      </a:lnTo>
                      <a:lnTo>
                        <a:pt x="605" y="86"/>
                      </a:lnTo>
                      <a:lnTo>
                        <a:pt x="608" y="88"/>
                      </a:lnTo>
                      <a:lnTo>
                        <a:pt x="605" y="91"/>
                      </a:lnTo>
                      <a:lnTo>
                        <a:pt x="605" y="91"/>
                      </a:lnTo>
                      <a:close/>
                      <a:moveTo>
                        <a:pt x="611" y="96"/>
                      </a:moveTo>
                      <a:lnTo>
                        <a:pt x="608" y="98"/>
                      </a:lnTo>
                      <a:lnTo>
                        <a:pt x="610" y="100"/>
                      </a:lnTo>
                      <a:lnTo>
                        <a:pt x="615" y="98"/>
                      </a:lnTo>
                      <a:lnTo>
                        <a:pt x="621" y="98"/>
                      </a:lnTo>
                      <a:lnTo>
                        <a:pt x="621" y="95"/>
                      </a:lnTo>
                      <a:lnTo>
                        <a:pt x="620" y="95"/>
                      </a:lnTo>
                      <a:lnTo>
                        <a:pt x="618" y="95"/>
                      </a:lnTo>
                      <a:lnTo>
                        <a:pt x="618" y="93"/>
                      </a:lnTo>
                      <a:lnTo>
                        <a:pt x="621" y="90"/>
                      </a:lnTo>
                      <a:lnTo>
                        <a:pt x="621" y="90"/>
                      </a:lnTo>
                      <a:lnTo>
                        <a:pt x="616" y="90"/>
                      </a:lnTo>
                      <a:lnTo>
                        <a:pt x="616" y="86"/>
                      </a:lnTo>
                      <a:lnTo>
                        <a:pt x="613" y="88"/>
                      </a:lnTo>
                      <a:lnTo>
                        <a:pt x="613" y="90"/>
                      </a:lnTo>
                      <a:lnTo>
                        <a:pt x="610" y="90"/>
                      </a:lnTo>
                      <a:lnTo>
                        <a:pt x="610" y="91"/>
                      </a:lnTo>
                      <a:lnTo>
                        <a:pt x="610" y="91"/>
                      </a:lnTo>
                      <a:lnTo>
                        <a:pt x="611" y="96"/>
                      </a:lnTo>
                      <a:lnTo>
                        <a:pt x="611" y="96"/>
                      </a:lnTo>
                      <a:close/>
                      <a:moveTo>
                        <a:pt x="615" y="30"/>
                      </a:moveTo>
                      <a:lnTo>
                        <a:pt x="618" y="32"/>
                      </a:lnTo>
                      <a:lnTo>
                        <a:pt x="618" y="28"/>
                      </a:lnTo>
                      <a:lnTo>
                        <a:pt x="623" y="25"/>
                      </a:lnTo>
                      <a:lnTo>
                        <a:pt x="621" y="22"/>
                      </a:lnTo>
                      <a:lnTo>
                        <a:pt x="616" y="27"/>
                      </a:lnTo>
                      <a:lnTo>
                        <a:pt x="615" y="30"/>
                      </a:lnTo>
                      <a:lnTo>
                        <a:pt x="615" y="30"/>
                      </a:lnTo>
                      <a:close/>
                      <a:moveTo>
                        <a:pt x="610" y="33"/>
                      </a:moveTo>
                      <a:lnTo>
                        <a:pt x="611" y="35"/>
                      </a:lnTo>
                      <a:lnTo>
                        <a:pt x="611" y="32"/>
                      </a:lnTo>
                      <a:lnTo>
                        <a:pt x="610" y="33"/>
                      </a:lnTo>
                      <a:lnTo>
                        <a:pt x="610" y="33"/>
                      </a:lnTo>
                      <a:close/>
                      <a:moveTo>
                        <a:pt x="605" y="35"/>
                      </a:moveTo>
                      <a:lnTo>
                        <a:pt x="606" y="37"/>
                      </a:lnTo>
                      <a:lnTo>
                        <a:pt x="608" y="35"/>
                      </a:lnTo>
                      <a:lnTo>
                        <a:pt x="605" y="35"/>
                      </a:lnTo>
                      <a:lnTo>
                        <a:pt x="605" y="35"/>
                      </a:lnTo>
                      <a:close/>
                      <a:moveTo>
                        <a:pt x="596" y="38"/>
                      </a:moveTo>
                      <a:lnTo>
                        <a:pt x="600" y="40"/>
                      </a:lnTo>
                      <a:lnTo>
                        <a:pt x="600" y="37"/>
                      </a:lnTo>
                      <a:lnTo>
                        <a:pt x="596" y="38"/>
                      </a:lnTo>
                      <a:lnTo>
                        <a:pt x="596" y="38"/>
                      </a:lnTo>
                      <a:close/>
                      <a:moveTo>
                        <a:pt x="591" y="45"/>
                      </a:moveTo>
                      <a:lnTo>
                        <a:pt x="590" y="43"/>
                      </a:lnTo>
                      <a:lnTo>
                        <a:pt x="595" y="40"/>
                      </a:lnTo>
                      <a:lnTo>
                        <a:pt x="598" y="40"/>
                      </a:lnTo>
                      <a:lnTo>
                        <a:pt x="598" y="43"/>
                      </a:lnTo>
                      <a:lnTo>
                        <a:pt x="593" y="43"/>
                      </a:lnTo>
                      <a:lnTo>
                        <a:pt x="591" y="45"/>
                      </a:lnTo>
                      <a:lnTo>
                        <a:pt x="591" y="45"/>
                      </a:lnTo>
                      <a:close/>
                      <a:moveTo>
                        <a:pt x="583" y="47"/>
                      </a:moveTo>
                      <a:lnTo>
                        <a:pt x="585" y="48"/>
                      </a:lnTo>
                      <a:lnTo>
                        <a:pt x="590" y="47"/>
                      </a:lnTo>
                      <a:lnTo>
                        <a:pt x="588" y="45"/>
                      </a:lnTo>
                      <a:lnTo>
                        <a:pt x="583" y="47"/>
                      </a:lnTo>
                      <a:lnTo>
                        <a:pt x="583" y="47"/>
                      </a:lnTo>
                      <a:close/>
                      <a:moveTo>
                        <a:pt x="522" y="30"/>
                      </a:moveTo>
                      <a:lnTo>
                        <a:pt x="518" y="25"/>
                      </a:lnTo>
                      <a:lnTo>
                        <a:pt x="520" y="22"/>
                      </a:lnTo>
                      <a:lnTo>
                        <a:pt x="523" y="22"/>
                      </a:lnTo>
                      <a:lnTo>
                        <a:pt x="522" y="25"/>
                      </a:lnTo>
                      <a:lnTo>
                        <a:pt x="522" y="30"/>
                      </a:lnTo>
                      <a:lnTo>
                        <a:pt x="522" y="30"/>
                      </a:lnTo>
                      <a:close/>
                      <a:moveTo>
                        <a:pt x="469" y="27"/>
                      </a:moveTo>
                      <a:lnTo>
                        <a:pt x="469" y="32"/>
                      </a:lnTo>
                      <a:lnTo>
                        <a:pt x="472" y="37"/>
                      </a:lnTo>
                      <a:lnTo>
                        <a:pt x="475" y="40"/>
                      </a:lnTo>
                      <a:lnTo>
                        <a:pt x="482" y="43"/>
                      </a:lnTo>
                      <a:lnTo>
                        <a:pt x="490" y="35"/>
                      </a:lnTo>
                      <a:lnTo>
                        <a:pt x="493" y="35"/>
                      </a:lnTo>
                      <a:lnTo>
                        <a:pt x="493" y="33"/>
                      </a:lnTo>
                      <a:lnTo>
                        <a:pt x="495" y="32"/>
                      </a:lnTo>
                      <a:lnTo>
                        <a:pt x="493" y="30"/>
                      </a:lnTo>
                      <a:lnTo>
                        <a:pt x="492" y="27"/>
                      </a:lnTo>
                      <a:lnTo>
                        <a:pt x="490" y="27"/>
                      </a:lnTo>
                      <a:lnTo>
                        <a:pt x="487" y="28"/>
                      </a:lnTo>
                      <a:lnTo>
                        <a:pt x="480" y="28"/>
                      </a:lnTo>
                      <a:lnTo>
                        <a:pt x="479" y="32"/>
                      </a:lnTo>
                      <a:lnTo>
                        <a:pt x="475" y="30"/>
                      </a:lnTo>
                      <a:lnTo>
                        <a:pt x="474" y="28"/>
                      </a:lnTo>
                      <a:lnTo>
                        <a:pt x="472" y="28"/>
                      </a:lnTo>
                      <a:lnTo>
                        <a:pt x="469" y="25"/>
                      </a:lnTo>
                      <a:lnTo>
                        <a:pt x="467" y="25"/>
                      </a:lnTo>
                      <a:lnTo>
                        <a:pt x="469" y="27"/>
                      </a:lnTo>
                      <a:lnTo>
                        <a:pt x="469" y="27"/>
                      </a:lnTo>
                      <a:close/>
                      <a:moveTo>
                        <a:pt x="465" y="28"/>
                      </a:moveTo>
                      <a:lnTo>
                        <a:pt x="469" y="37"/>
                      </a:lnTo>
                      <a:lnTo>
                        <a:pt x="472" y="37"/>
                      </a:lnTo>
                      <a:lnTo>
                        <a:pt x="474" y="38"/>
                      </a:lnTo>
                      <a:lnTo>
                        <a:pt x="467" y="38"/>
                      </a:lnTo>
                      <a:lnTo>
                        <a:pt x="465" y="38"/>
                      </a:lnTo>
                      <a:lnTo>
                        <a:pt x="460" y="37"/>
                      </a:lnTo>
                      <a:lnTo>
                        <a:pt x="460" y="33"/>
                      </a:lnTo>
                      <a:lnTo>
                        <a:pt x="462" y="33"/>
                      </a:lnTo>
                      <a:lnTo>
                        <a:pt x="464" y="35"/>
                      </a:lnTo>
                      <a:lnTo>
                        <a:pt x="464" y="33"/>
                      </a:lnTo>
                      <a:lnTo>
                        <a:pt x="464" y="33"/>
                      </a:lnTo>
                      <a:lnTo>
                        <a:pt x="464" y="30"/>
                      </a:lnTo>
                      <a:lnTo>
                        <a:pt x="462" y="30"/>
                      </a:lnTo>
                      <a:lnTo>
                        <a:pt x="465" y="28"/>
                      </a:lnTo>
                      <a:lnTo>
                        <a:pt x="465" y="28"/>
                      </a:lnTo>
                      <a:close/>
                      <a:moveTo>
                        <a:pt x="311" y="123"/>
                      </a:moveTo>
                      <a:lnTo>
                        <a:pt x="312" y="125"/>
                      </a:lnTo>
                      <a:lnTo>
                        <a:pt x="317" y="125"/>
                      </a:lnTo>
                      <a:lnTo>
                        <a:pt x="314" y="120"/>
                      </a:lnTo>
                      <a:lnTo>
                        <a:pt x="314" y="120"/>
                      </a:lnTo>
                      <a:lnTo>
                        <a:pt x="311" y="123"/>
                      </a:lnTo>
                      <a:lnTo>
                        <a:pt x="311" y="123"/>
                      </a:lnTo>
                      <a:close/>
                      <a:moveTo>
                        <a:pt x="312" y="138"/>
                      </a:moveTo>
                      <a:lnTo>
                        <a:pt x="312" y="133"/>
                      </a:lnTo>
                      <a:lnTo>
                        <a:pt x="309" y="130"/>
                      </a:lnTo>
                      <a:lnTo>
                        <a:pt x="311" y="136"/>
                      </a:lnTo>
                      <a:lnTo>
                        <a:pt x="312" y="138"/>
                      </a:lnTo>
                      <a:lnTo>
                        <a:pt x="312" y="138"/>
                      </a:lnTo>
                      <a:close/>
                      <a:moveTo>
                        <a:pt x="332" y="105"/>
                      </a:moveTo>
                      <a:lnTo>
                        <a:pt x="331" y="105"/>
                      </a:lnTo>
                      <a:lnTo>
                        <a:pt x="331" y="103"/>
                      </a:lnTo>
                      <a:lnTo>
                        <a:pt x="334" y="103"/>
                      </a:lnTo>
                      <a:lnTo>
                        <a:pt x="332" y="105"/>
                      </a:lnTo>
                      <a:lnTo>
                        <a:pt x="332" y="105"/>
                      </a:lnTo>
                      <a:close/>
                      <a:moveTo>
                        <a:pt x="77" y="256"/>
                      </a:moveTo>
                      <a:lnTo>
                        <a:pt x="75" y="254"/>
                      </a:lnTo>
                      <a:lnTo>
                        <a:pt x="80" y="248"/>
                      </a:lnTo>
                      <a:lnTo>
                        <a:pt x="78" y="253"/>
                      </a:lnTo>
                      <a:lnTo>
                        <a:pt x="77" y="256"/>
                      </a:lnTo>
                      <a:lnTo>
                        <a:pt x="77" y="256"/>
                      </a:lnTo>
                      <a:close/>
                      <a:moveTo>
                        <a:pt x="3" y="369"/>
                      </a:moveTo>
                      <a:lnTo>
                        <a:pt x="5" y="361"/>
                      </a:lnTo>
                      <a:lnTo>
                        <a:pt x="7" y="366"/>
                      </a:lnTo>
                      <a:lnTo>
                        <a:pt x="7" y="366"/>
                      </a:lnTo>
                      <a:lnTo>
                        <a:pt x="3" y="369"/>
                      </a:lnTo>
                      <a:lnTo>
                        <a:pt x="3" y="369"/>
                      </a:lnTo>
                      <a:close/>
                      <a:moveTo>
                        <a:pt x="3" y="387"/>
                      </a:moveTo>
                      <a:lnTo>
                        <a:pt x="0" y="377"/>
                      </a:lnTo>
                      <a:lnTo>
                        <a:pt x="3" y="372"/>
                      </a:lnTo>
                      <a:lnTo>
                        <a:pt x="5" y="380"/>
                      </a:lnTo>
                      <a:lnTo>
                        <a:pt x="3" y="387"/>
                      </a:lnTo>
                      <a:lnTo>
                        <a:pt x="3" y="387"/>
                      </a:lnTo>
                      <a:close/>
                      <a:moveTo>
                        <a:pt x="540" y="671"/>
                      </a:moveTo>
                      <a:lnTo>
                        <a:pt x="540" y="674"/>
                      </a:lnTo>
                      <a:lnTo>
                        <a:pt x="540" y="676"/>
                      </a:lnTo>
                      <a:lnTo>
                        <a:pt x="543" y="676"/>
                      </a:lnTo>
                      <a:lnTo>
                        <a:pt x="542" y="678"/>
                      </a:lnTo>
                      <a:lnTo>
                        <a:pt x="547" y="678"/>
                      </a:lnTo>
                      <a:lnTo>
                        <a:pt x="548" y="676"/>
                      </a:lnTo>
                      <a:lnTo>
                        <a:pt x="552" y="678"/>
                      </a:lnTo>
                      <a:lnTo>
                        <a:pt x="548" y="681"/>
                      </a:lnTo>
                      <a:lnTo>
                        <a:pt x="540" y="679"/>
                      </a:lnTo>
                      <a:lnTo>
                        <a:pt x="538" y="681"/>
                      </a:lnTo>
                      <a:lnTo>
                        <a:pt x="537" y="683"/>
                      </a:lnTo>
                      <a:lnTo>
                        <a:pt x="535" y="683"/>
                      </a:lnTo>
                      <a:lnTo>
                        <a:pt x="533" y="683"/>
                      </a:lnTo>
                      <a:lnTo>
                        <a:pt x="532" y="681"/>
                      </a:lnTo>
                      <a:lnTo>
                        <a:pt x="528" y="683"/>
                      </a:lnTo>
                      <a:lnTo>
                        <a:pt x="523" y="681"/>
                      </a:lnTo>
                      <a:lnTo>
                        <a:pt x="522" y="681"/>
                      </a:lnTo>
                      <a:lnTo>
                        <a:pt x="517" y="681"/>
                      </a:lnTo>
                      <a:lnTo>
                        <a:pt x="513" y="679"/>
                      </a:lnTo>
                      <a:lnTo>
                        <a:pt x="513" y="678"/>
                      </a:lnTo>
                      <a:lnTo>
                        <a:pt x="520" y="674"/>
                      </a:lnTo>
                      <a:lnTo>
                        <a:pt x="532" y="671"/>
                      </a:lnTo>
                      <a:lnTo>
                        <a:pt x="537" y="671"/>
                      </a:lnTo>
                      <a:lnTo>
                        <a:pt x="540" y="671"/>
                      </a:lnTo>
                      <a:lnTo>
                        <a:pt x="540" y="671"/>
                      </a:lnTo>
                      <a:close/>
                      <a:moveTo>
                        <a:pt x="698" y="774"/>
                      </a:moveTo>
                      <a:lnTo>
                        <a:pt x="701" y="774"/>
                      </a:lnTo>
                      <a:lnTo>
                        <a:pt x="703" y="776"/>
                      </a:lnTo>
                      <a:lnTo>
                        <a:pt x="701" y="777"/>
                      </a:lnTo>
                      <a:lnTo>
                        <a:pt x="698" y="774"/>
                      </a:lnTo>
                      <a:lnTo>
                        <a:pt x="698" y="774"/>
                      </a:lnTo>
                      <a:close/>
                      <a:moveTo>
                        <a:pt x="723" y="789"/>
                      </a:moveTo>
                      <a:lnTo>
                        <a:pt x="726" y="791"/>
                      </a:lnTo>
                      <a:lnTo>
                        <a:pt x="728" y="789"/>
                      </a:lnTo>
                      <a:lnTo>
                        <a:pt x="723" y="789"/>
                      </a:lnTo>
                      <a:lnTo>
                        <a:pt x="723" y="789"/>
                      </a:lnTo>
                      <a:close/>
                      <a:moveTo>
                        <a:pt x="665" y="847"/>
                      </a:moveTo>
                      <a:lnTo>
                        <a:pt x="666" y="851"/>
                      </a:lnTo>
                      <a:lnTo>
                        <a:pt x="670" y="852"/>
                      </a:lnTo>
                      <a:lnTo>
                        <a:pt x="671" y="849"/>
                      </a:lnTo>
                      <a:lnTo>
                        <a:pt x="668" y="847"/>
                      </a:lnTo>
                      <a:lnTo>
                        <a:pt x="665" y="847"/>
                      </a:lnTo>
                      <a:lnTo>
                        <a:pt x="665" y="847"/>
                      </a:lnTo>
                      <a:close/>
                      <a:moveTo>
                        <a:pt x="666" y="839"/>
                      </a:moveTo>
                      <a:lnTo>
                        <a:pt x="668" y="842"/>
                      </a:lnTo>
                      <a:lnTo>
                        <a:pt x="670" y="842"/>
                      </a:lnTo>
                      <a:lnTo>
                        <a:pt x="670" y="839"/>
                      </a:lnTo>
                      <a:lnTo>
                        <a:pt x="666" y="839"/>
                      </a:lnTo>
                      <a:lnTo>
                        <a:pt x="666" y="839"/>
                      </a:lnTo>
                      <a:close/>
                      <a:moveTo>
                        <a:pt x="663" y="844"/>
                      </a:moveTo>
                      <a:lnTo>
                        <a:pt x="660" y="842"/>
                      </a:lnTo>
                      <a:lnTo>
                        <a:pt x="661" y="839"/>
                      </a:lnTo>
                      <a:lnTo>
                        <a:pt x="665" y="837"/>
                      </a:lnTo>
                      <a:lnTo>
                        <a:pt x="665" y="842"/>
                      </a:lnTo>
                      <a:lnTo>
                        <a:pt x="663" y="844"/>
                      </a:lnTo>
                      <a:lnTo>
                        <a:pt x="663" y="844"/>
                      </a:lnTo>
                      <a:close/>
                      <a:moveTo>
                        <a:pt x="648" y="829"/>
                      </a:moveTo>
                      <a:lnTo>
                        <a:pt x="648" y="826"/>
                      </a:lnTo>
                      <a:lnTo>
                        <a:pt x="646" y="822"/>
                      </a:lnTo>
                      <a:lnTo>
                        <a:pt x="650" y="817"/>
                      </a:lnTo>
                      <a:lnTo>
                        <a:pt x="650" y="814"/>
                      </a:lnTo>
                      <a:lnTo>
                        <a:pt x="653" y="811"/>
                      </a:lnTo>
                      <a:lnTo>
                        <a:pt x="656" y="809"/>
                      </a:lnTo>
                      <a:lnTo>
                        <a:pt x="658" y="811"/>
                      </a:lnTo>
                      <a:lnTo>
                        <a:pt x="658" y="817"/>
                      </a:lnTo>
                      <a:lnTo>
                        <a:pt x="660" y="821"/>
                      </a:lnTo>
                      <a:lnTo>
                        <a:pt x="656" y="826"/>
                      </a:lnTo>
                      <a:lnTo>
                        <a:pt x="655" y="827"/>
                      </a:lnTo>
                      <a:lnTo>
                        <a:pt x="651" y="831"/>
                      </a:lnTo>
                      <a:lnTo>
                        <a:pt x="648" y="829"/>
                      </a:lnTo>
                      <a:lnTo>
                        <a:pt x="648" y="829"/>
                      </a:lnTo>
                      <a:close/>
                      <a:moveTo>
                        <a:pt x="744" y="839"/>
                      </a:moveTo>
                      <a:lnTo>
                        <a:pt x="753" y="836"/>
                      </a:lnTo>
                      <a:lnTo>
                        <a:pt x="753" y="832"/>
                      </a:lnTo>
                      <a:lnTo>
                        <a:pt x="744" y="826"/>
                      </a:lnTo>
                      <a:lnTo>
                        <a:pt x="741" y="826"/>
                      </a:lnTo>
                      <a:lnTo>
                        <a:pt x="743" y="831"/>
                      </a:lnTo>
                      <a:lnTo>
                        <a:pt x="741" y="834"/>
                      </a:lnTo>
                      <a:lnTo>
                        <a:pt x="743" y="836"/>
                      </a:lnTo>
                      <a:lnTo>
                        <a:pt x="744" y="839"/>
                      </a:lnTo>
                      <a:lnTo>
                        <a:pt x="744" y="839"/>
                      </a:lnTo>
                      <a:close/>
                      <a:moveTo>
                        <a:pt x="739" y="844"/>
                      </a:moveTo>
                      <a:lnTo>
                        <a:pt x="741" y="847"/>
                      </a:lnTo>
                      <a:lnTo>
                        <a:pt x="748" y="847"/>
                      </a:lnTo>
                      <a:lnTo>
                        <a:pt x="753" y="849"/>
                      </a:lnTo>
                      <a:lnTo>
                        <a:pt x="753" y="846"/>
                      </a:lnTo>
                      <a:lnTo>
                        <a:pt x="748" y="842"/>
                      </a:lnTo>
                      <a:lnTo>
                        <a:pt x="743" y="842"/>
                      </a:lnTo>
                      <a:lnTo>
                        <a:pt x="739" y="844"/>
                      </a:lnTo>
                      <a:lnTo>
                        <a:pt x="739" y="844"/>
                      </a:lnTo>
                      <a:close/>
                      <a:moveTo>
                        <a:pt x="744" y="856"/>
                      </a:moveTo>
                      <a:lnTo>
                        <a:pt x="741" y="852"/>
                      </a:lnTo>
                      <a:lnTo>
                        <a:pt x="744" y="851"/>
                      </a:lnTo>
                      <a:lnTo>
                        <a:pt x="744" y="856"/>
                      </a:lnTo>
                      <a:lnTo>
                        <a:pt x="744" y="856"/>
                      </a:lnTo>
                      <a:close/>
                      <a:moveTo>
                        <a:pt x="718" y="925"/>
                      </a:moveTo>
                      <a:lnTo>
                        <a:pt x="718" y="922"/>
                      </a:lnTo>
                      <a:lnTo>
                        <a:pt x="721" y="924"/>
                      </a:lnTo>
                      <a:lnTo>
                        <a:pt x="718" y="925"/>
                      </a:lnTo>
                      <a:lnTo>
                        <a:pt x="718" y="925"/>
                      </a:lnTo>
                      <a:close/>
                      <a:moveTo>
                        <a:pt x="689" y="952"/>
                      </a:moveTo>
                      <a:lnTo>
                        <a:pt x="686" y="950"/>
                      </a:lnTo>
                      <a:lnTo>
                        <a:pt x="691" y="945"/>
                      </a:lnTo>
                      <a:lnTo>
                        <a:pt x="691" y="940"/>
                      </a:lnTo>
                      <a:lnTo>
                        <a:pt x="693" y="940"/>
                      </a:lnTo>
                      <a:lnTo>
                        <a:pt x="694" y="942"/>
                      </a:lnTo>
                      <a:lnTo>
                        <a:pt x="691" y="945"/>
                      </a:lnTo>
                      <a:lnTo>
                        <a:pt x="689" y="952"/>
                      </a:lnTo>
                      <a:lnTo>
                        <a:pt x="689" y="952"/>
                      </a:lnTo>
                      <a:close/>
                      <a:moveTo>
                        <a:pt x="658" y="949"/>
                      </a:moveTo>
                      <a:lnTo>
                        <a:pt x="658" y="944"/>
                      </a:lnTo>
                      <a:lnTo>
                        <a:pt x="661" y="942"/>
                      </a:lnTo>
                      <a:lnTo>
                        <a:pt x="656" y="940"/>
                      </a:lnTo>
                      <a:lnTo>
                        <a:pt x="655" y="935"/>
                      </a:lnTo>
                      <a:lnTo>
                        <a:pt x="656" y="932"/>
                      </a:lnTo>
                      <a:lnTo>
                        <a:pt x="655" y="930"/>
                      </a:lnTo>
                      <a:lnTo>
                        <a:pt x="653" y="919"/>
                      </a:lnTo>
                      <a:lnTo>
                        <a:pt x="655" y="917"/>
                      </a:lnTo>
                      <a:lnTo>
                        <a:pt x="651" y="914"/>
                      </a:lnTo>
                      <a:lnTo>
                        <a:pt x="651" y="905"/>
                      </a:lnTo>
                      <a:lnTo>
                        <a:pt x="653" y="902"/>
                      </a:lnTo>
                      <a:lnTo>
                        <a:pt x="658" y="905"/>
                      </a:lnTo>
                      <a:lnTo>
                        <a:pt x="663" y="907"/>
                      </a:lnTo>
                      <a:lnTo>
                        <a:pt x="658" y="902"/>
                      </a:lnTo>
                      <a:lnTo>
                        <a:pt x="658" y="899"/>
                      </a:lnTo>
                      <a:lnTo>
                        <a:pt x="656" y="899"/>
                      </a:lnTo>
                      <a:lnTo>
                        <a:pt x="656" y="892"/>
                      </a:lnTo>
                      <a:lnTo>
                        <a:pt x="656" y="884"/>
                      </a:lnTo>
                      <a:lnTo>
                        <a:pt x="655" y="875"/>
                      </a:lnTo>
                      <a:lnTo>
                        <a:pt x="656" y="869"/>
                      </a:lnTo>
                      <a:lnTo>
                        <a:pt x="655" y="860"/>
                      </a:lnTo>
                      <a:lnTo>
                        <a:pt x="655" y="856"/>
                      </a:lnTo>
                      <a:lnTo>
                        <a:pt x="656" y="856"/>
                      </a:lnTo>
                      <a:lnTo>
                        <a:pt x="656" y="851"/>
                      </a:lnTo>
                      <a:lnTo>
                        <a:pt x="658" y="847"/>
                      </a:lnTo>
                      <a:lnTo>
                        <a:pt x="663" y="851"/>
                      </a:lnTo>
                      <a:lnTo>
                        <a:pt x="668" y="852"/>
                      </a:lnTo>
                      <a:lnTo>
                        <a:pt x="671" y="856"/>
                      </a:lnTo>
                      <a:lnTo>
                        <a:pt x="673" y="854"/>
                      </a:lnTo>
                      <a:lnTo>
                        <a:pt x="675" y="851"/>
                      </a:lnTo>
                      <a:lnTo>
                        <a:pt x="675" y="857"/>
                      </a:lnTo>
                      <a:lnTo>
                        <a:pt x="683" y="862"/>
                      </a:lnTo>
                      <a:lnTo>
                        <a:pt x="689" y="867"/>
                      </a:lnTo>
                      <a:lnTo>
                        <a:pt x="693" y="870"/>
                      </a:lnTo>
                      <a:lnTo>
                        <a:pt x="696" y="869"/>
                      </a:lnTo>
                      <a:lnTo>
                        <a:pt x="701" y="867"/>
                      </a:lnTo>
                      <a:lnTo>
                        <a:pt x="704" y="870"/>
                      </a:lnTo>
                      <a:lnTo>
                        <a:pt x="704" y="867"/>
                      </a:lnTo>
                      <a:lnTo>
                        <a:pt x="708" y="865"/>
                      </a:lnTo>
                      <a:lnTo>
                        <a:pt x="723" y="865"/>
                      </a:lnTo>
                      <a:lnTo>
                        <a:pt x="724" y="864"/>
                      </a:lnTo>
                      <a:lnTo>
                        <a:pt x="728" y="862"/>
                      </a:lnTo>
                      <a:lnTo>
                        <a:pt x="731" y="862"/>
                      </a:lnTo>
                      <a:lnTo>
                        <a:pt x="733" y="864"/>
                      </a:lnTo>
                      <a:lnTo>
                        <a:pt x="736" y="859"/>
                      </a:lnTo>
                      <a:lnTo>
                        <a:pt x="738" y="859"/>
                      </a:lnTo>
                      <a:lnTo>
                        <a:pt x="743" y="862"/>
                      </a:lnTo>
                      <a:lnTo>
                        <a:pt x="741" y="867"/>
                      </a:lnTo>
                      <a:lnTo>
                        <a:pt x="739" y="879"/>
                      </a:lnTo>
                      <a:lnTo>
                        <a:pt x="734" y="882"/>
                      </a:lnTo>
                      <a:lnTo>
                        <a:pt x="734" y="890"/>
                      </a:lnTo>
                      <a:lnTo>
                        <a:pt x="731" y="895"/>
                      </a:lnTo>
                      <a:lnTo>
                        <a:pt x="733" y="900"/>
                      </a:lnTo>
                      <a:lnTo>
                        <a:pt x="731" y="902"/>
                      </a:lnTo>
                      <a:lnTo>
                        <a:pt x="731" y="907"/>
                      </a:lnTo>
                      <a:lnTo>
                        <a:pt x="729" y="912"/>
                      </a:lnTo>
                      <a:lnTo>
                        <a:pt x="728" y="909"/>
                      </a:lnTo>
                      <a:lnTo>
                        <a:pt x="726" y="902"/>
                      </a:lnTo>
                      <a:lnTo>
                        <a:pt x="724" y="907"/>
                      </a:lnTo>
                      <a:lnTo>
                        <a:pt x="721" y="909"/>
                      </a:lnTo>
                      <a:lnTo>
                        <a:pt x="721" y="917"/>
                      </a:lnTo>
                      <a:lnTo>
                        <a:pt x="718" y="920"/>
                      </a:lnTo>
                      <a:lnTo>
                        <a:pt x="714" y="920"/>
                      </a:lnTo>
                      <a:lnTo>
                        <a:pt x="714" y="925"/>
                      </a:lnTo>
                      <a:lnTo>
                        <a:pt x="711" y="929"/>
                      </a:lnTo>
                      <a:lnTo>
                        <a:pt x="714" y="930"/>
                      </a:lnTo>
                      <a:lnTo>
                        <a:pt x="714" y="934"/>
                      </a:lnTo>
                      <a:lnTo>
                        <a:pt x="709" y="940"/>
                      </a:lnTo>
                      <a:lnTo>
                        <a:pt x="708" y="940"/>
                      </a:lnTo>
                      <a:lnTo>
                        <a:pt x="703" y="942"/>
                      </a:lnTo>
                      <a:lnTo>
                        <a:pt x="703" y="935"/>
                      </a:lnTo>
                      <a:lnTo>
                        <a:pt x="708" y="937"/>
                      </a:lnTo>
                      <a:lnTo>
                        <a:pt x="709" y="934"/>
                      </a:lnTo>
                      <a:lnTo>
                        <a:pt x="706" y="932"/>
                      </a:lnTo>
                      <a:lnTo>
                        <a:pt x="701" y="932"/>
                      </a:lnTo>
                      <a:lnTo>
                        <a:pt x="699" y="935"/>
                      </a:lnTo>
                      <a:lnTo>
                        <a:pt x="696" y="935"/>
                      </a:lnTo>
                      <a:lnTo>
                        <a:pt x="696" y="930"/>
                      </a:lnTo>
                      <a:lnTo>
                        <a:pt x="694" y="935"/>
                      </a:lnTo>
                      <a:lnTo>
                        <a:pt x="689" y="939"/>
                      </a:lnTo>
                      <a:lnTo>
                        <a:pt x="689" y="940"/>
                      </a:lnTo>
                      <a:lnTo>
                        <a:pt x="686" y="937"/>
                      </a:lnTo>
                      <a:lnTo>
                        <a:pt x="683" y="945"/>
                      </a:lnTo>
                      <a:lnTo>
                        <a:pt x="683" y="949"/>
                      </a:lnTo>
                      <a:lnTo>
                        <a:pt x="678" y="955"/>
                      </a:lnTo>
                      <a:lnTo>
                        <a:pt x="675" y="955"/>
                      </a:lnTo>
                      <a:lnTo>
                        <a:pt x="671" y="950"/>
                      </a:lnTo>
                      <a:lnTo>
                        <a:pt x="671" y="947"/>
                      </a:lnTo>
                      <a:lnTo>
                        <a:pt x="668" y="952"/>
                      </a:lnTo>
                      <a:lnTo>
                        <a:pt x="665" y="949"/>
                      </a:lnTo>
                      <a:lnTo>
                        <a:pt x="660" y="950"/>
                      </a:lnTo>
                      <a:lnTo>
                        <a:pt x="660" y="950"/>
                      </a:lnTo>
                      <a:lnTo>
                        <a:pt x="658" y="949"/>
                      </a:lnTo>
                      <a:lnTo>
                        <a:pt x="658" y="949"/>
                      </a:lnTo>
                      <a:close/>
                      <a:moveTo>
                        <a:pt x="12" y="606"/>
                      </a:moveTo>
                      <a:lnTo>
                        <a:pt x="15" y="608"/>
                      </a:lnTo>
                      <a:lnTo>
                        <a:pt x="18" y="608"/>
                      </a:lnTo>
                      <a:lnTo>
                        <a:pt x="28" y="618"/>
                      </a:lnTo>
                      <a:lnTo>
                        <a:pt x="28" y="621"/>
                      </a:lnTo>
                      <a:lnTo>
                        <a:pt x="30" y="623"/>
                      </a:lnTo>
                      <a:lnTo>
                        <a:pt x="35" y="625"/>
                      </a:lnTo>
                      <a:lnTo>
                        <a:pt x="38" y="626"/>
                      </a:lnTo>
                      <a:lnTo>
                        <a:pt x="45" y="628"/>
                      </a:lnTo>
                      <a:lnTo>
                        <a:pt x="48" y="628"/>
                      </a:lnTo>
                      <a:lnTo>
                        <a:pt x="50" y="630"/>
                      </a:lnTo>
                      <a:lnTo>
                        <a:pt x="55" y="630"/>
                      </a:lnTo>
                      <a:lnTo>
                        <a:pt x="62" y="628"/>
                      </a:lnTo>
                      <a:lnTo>
                        <a:pt x="63" y="631"/>
                      </a:lnTo>
                      <a:lnTo>
                        <a:pt x="65" y="630"/>
                      </a:lnTo>
                      <a:lnTo>
                        <a:pt x="67" y="631"/>
                      </a:lnTo>
                      <a:lnTo>
                        <a:pt x="73" y="630"/>
                      </a:lnTo>
                      <a:lnTo>
                        <a:pt x="80" y="630"/>
                      </a:lnTo>
                      <a:lnTo>
                        <a:pt x="80" y="626"/>
                      </a:lnTo>
                      <a:lnTo>
                        <a:pt x="85" y="626"/>
                      </a:lnTo>
                      <a:lnTo>
                        <a:pt x="88" y="620"/>
                      </a:lnTo>
                      <a:lnTo>
                        <a:pt x="95" y="621"/>
                      </a:lnTo>
                      <a:lnTo>
                        <a:pt x="95" y="618"/>
                      </a:lnTo>
                      <a:lnTo>
                        <a:pt x="100" y="615"/>
                      </a:lnTo>
                      <a:lnTo>
                        <a:pt x="103" y="615"/>
                      </a:lnTo>
                      <a:lnTo>
                        <a:pt x="108" y="618"/>
                      </a:lnTo>
                      <a:lnTo>
                        <a:pt x="111" y="613"/>
                      </a:lnTo>
                      <a:lnTo>
                        <a:pt x="113" y="615"/>
                      </a:lnTo>
                      <a:lnTo>
                        <a:pt x="115" y="613"/>
                      </a:lnTo>
                      <a:lnTo>
                        <a:pt x="116" y="608"/>
                      </a:lnTo>
                      <a:lnTo>
                        <a:pt x="130" y="601"/>
                      </a:lnTo>
                      <a:lnTo>
                        <a:pt x="135" y="601"/>
                      </a:lnTo>
                      <a:lnTo>
                        <a:pt x="138" y="603"/>
                      </a:lnTo>
                      <a:lnTo>
                        <a:pt x="143" y="601"/>
                      </a:lnTo>
                      <a:lnTo>
                        <a:pt x="156" y="598"/>
                      </a:lnTo>
                      <a:lnTo>
                        <a:pt x="158" y="600"/>
                      </a:lnTo>
                      <a:lnTo>
                        <a:pt x="166" y="598"/>
                      </a:lnTo>
                      <a:lnTo>
                        <a:pt x="168" y="600"/>
                      </a:lnTo>
                      <a:lnTo>
                        <a:pt x="171" y="601"/>
                      </a:lnTo>
                      <a:lnTo>
                        <a:pt x="176" y="600"/>
                      </a:lnTo>
                      <a:lnTo>
                        <a:pt x="178" y="603"/>
                      </a:lnTo>
                      <a:lnTo>
                        <a:pt x="181" y="603"/>
                      </a:lnTo>
                      <a:lnTo>
                        <a:pt x="186" y="601"/>
                      </a:lnTo>
                      <a:lnTo>
                        <a:pt x="188" y="605"/>
                      </a:lnTo>
                      <a:lnTo>
                        <a:pt x="191" y="601"/>
                      </a:lnTo>
                      <a:lnTo>
                        <a:pt x="201" y="601"/>
                      </a:lnTo>
                      <a:lnTo>
                        <a:pt x="201" y="605"/>
                      </a:lnTo>
                      <a:lnTo>
                        <a:pt x="203" y="606"/>
                      </a:lnTo>
                      <a:lnTo>
                        <a:pt x="208" y="601"/>
                      </a:lnTo>
                      <a:lnTo>
                        <a:pt x="213" y="603"/>
                      </a:lnTo>
                      <a:lnTo>
                        <a:pt x="219" y="598"/>
                      </a:lnTo>
                      <a:lnTo>
                        <a:pt x="221" y="593"/>
                      </a:lnTo>
                      <a:lnTo>
                        <a:pt x="224" y="593"/>
                      </a:lnTo>
                      <a:lnTo>
                        <a:pt x="229" y="588"/>
                      </a:lnTo>
                      <a:lnTo>
                        <a:pt x="233" y="580"/>
                      </a:lnTo>
                      <a:lnTo>
                        <a:pt x="238" y="576"/>
                      </a:lnTo>
                      <a:lnTo>
                        <a:pt x="244" y="575"/>
                      </a:lnTo>
                      <a:lnTo>
                        <a:pt x="248" y="576"/>
                      </a:lnTo>
                      <a:lnTo>
                        <a:pt x="258" y="573"/>
                      </a:lnTo>
                      <a:lnTo>
                        <a:pt x="271" y="565"/>
                      </a:lnTo>
                      <a:lnTo>
                        <a:pt x="278" y="560"/>
                      </a:lnTo>
                      <a:lnTo>
                        <a:pt x="282" y="558"/>
                      </a:lnTo>
                      <a:lnTo>
                        <a:pt x="286" y="558"/>
                      </a:lnTo>
                      <a:lnTo>
                        <a:pt x="289" y="558"/>
                      </a:lnTo>
                      <a:lnTo>
                        <a:pt x="297" y="560"/>
                      </a:lnTo>
                      <a:lnTo>
                        <a:pt x="304" y="562"/>
                      </a:lnTo>
                      <a:lnTo>
                        <a:pt x="307" y="560"/>
                      </a:lnTo>
                      <a:lnTo>
                        <a:pt x="317" y="560"/>
                      </a:lnTo>
                      <a:lnTo>
                        <a:pt x="331" y="555"/>
                      </a:lnTo>
                      <a:lnTo>
                        <a:pt x="339" y="553"/>
                      </a:lnTo>
                      <a:lnTo>
                        <a:pt x="344" y="550"/>
                      </a:lnTo>
                      <a:lnTo>
                        <a:pt x="349" y="550"/>
                      </a:lnTo>
                      <a:lnTo>
                        <a:pt x="356" y="545"/>
                      </a:lnTo>
                      <a:lnTo>
                        <a:pt x="366" y="545"/>
                      </a:lnTo>
                      <a:lnTo>
                        <a:pt x="392" y="543"/>
                      </a:lnTo>
                      <a:lnTo>
                        <a:pt x="400" y="545"/>
                      </a:lnTo>
                      <a:lnTo>
                        <a:pt x="405" y="545"/>
                      </a:lnTo>
                      <a:lnTo>
                        <a:pt x="414" y="543"/>
                      </a:lnTo>
                      <a:lnTo>
                        <a:pt x="419" y="543"/>
                      </a:lnTo>
                      <a:lnTo>
                        <a:pt x="427" y="550"/>
                      </a:lnTo>
                      <a:lnTo>
                        <a:pt x="432" y="558"/>
                      </a:lnTo>
                      <a:lnTo>
                        <a:pt x="437" y="560"/>
                      </a:lnTo>
                      <a:lnTo>
                        <a:pt x="440" y="558"/>
                      </a:lnTo>
                      <a:lnTo>
                        <a:pt x="444" y="557"/>
                      </a:lnTo>
                      <a:lnTo>
                        <a:pt x="445" y="560"/>
                      </a:lnTo>
                      <a:lnTo>
                        <a:pt x="449" y="558"/>
                      </a:lnTo>
                      <a:lnTo>
                        <a:pt x="454" y="560"/>
                      </a:lnTo>
                      <a:lnTo>
                        <a:pt x="457" y="565"/>
                      </a:lnTo>
                      <a:lnTo>
                        <a:pt x="464" y="565"/>
                      </a:lnTo>
                      <a:lnTo>
                        <a:pt x="467" y="565"/>
                      </a:lnTo>
                      <a:lnTo>
                        <a:pt x="477" y="571"/>
                      </a:lnTo>
                      <a:lnTo>
                        <a:pt x="475" y="575"/>
                      </a:lnTo>
                      <a:lnTo>
                        <a:pt x="479" y="575"/>
                      </a:lnTo>
                      <a:lnTo>
                        <a:pt x="483" y="578"/>
                      </a:lnTo>
                      <a:lnTo>
                        <a:pt x="482" y="581"/>
                      </a:lnTo>
                      <a:lnTo>
                        <a:pt x="477" y="581"/>
                      </a:lnTo>
                      <a:lnTo>
                        <a:pt x="477" y="585"/>
                      </a:lnTo>
                      <a:lnTo>
                        <a:pt x="480" y="593"/>
                      </a:lnTo>
                      <a:lnTo>
                        <a:pt x="485" y="593"/>
                      </a:lnTo>
                      <a:lnTo>
                        <a:pt x="490" y="598"/>
                      </a:lnTo>
                      <a:lnTo>
                        <a:pt x="492" y="605"/>
                      </a:lnTo>
                      <a:lnTo>
                        <a:pt x="490" y="610"/>
                      </a:lnTo>
                      <a:lnTo>
                        <a:pt x="497" y="620"/>
                      </a:lnTo>
                      <a:lnTo>
                        <a:pt x="495" y="625"/>
                      </a:lnTo>
                      <a:lnTo>
                        <a:pt x="497" y="626"/>
                      </a:lnTo>
                      <a:lnTo>
                        <a:pt x="495" y="633"/>
                      </a:lnTo>
                      <a:lnTo>
                        <a:pt x="493" y="636"/>
                      </a:lnTo>
                      <a:lnTo>
                        <a:pt x="490" y="635"/>
                      </a:lnTo>
                      <a:lnTo>
                        <a:pt x="488" y="636"/>
                      </a:lnTo>
                      <a:lnTo>
                        <a:pt x="493" y="640"/>
                      </a:lnTo>
                      <a:lnTo>
                        <a:pt x="497" y="641"/>
                      </a:lnTo>
                      <a:lnTo>
                        <a:pt x="498" y="646"/>
                      </a:lnTo>
                      <a:lnTo>
                        <a:pt x="502" y="645"/>
                      </a:lnTo>
                      <a:lnTo>
                        <a:pt x="507" y="648"/>
                      </a:lnTo>
                      <a:lnTo>
                        <a:pt x="507" y="645"/>
                      </a:lnTo>
                      <a:lnTo>
                        <a:pt x="505" y="641"/>
                      </a:lnTo>
                      <a:lnTo>
                        <a:pt x="507" y="638"/>
                      </a:lnTo>
                      <a:lnTo>
                        <a:pt x="510" y="635"/>
                      </a:lnTo>
                      <a:lnTo>
                        <a:pt x="513" y="633"/>
                      </a:lnTo>
                      <a:lnTo>
                        <a:pt x="515" y="630"/>
                      </a:lnTo>
                      <a:lnTo>
                        <a:pt x="520" y="628"/>
                      </a:lnTo>
                      <a:lnTo>
                        <a:pt x="522" y="625"/>
                      </a:lnTo>
                      <a:lnTo>
                        <a:pt x="525" y="620"/>
                      </a:lnTo>
                      <a:lnTo>
                        <a:pt x="537" y="615"/>
                      </a:lnTo>
                      <a:lnTo>
                        <a:pt x="537" y="611"/>
                      </a:lnTo>
                      <a:lnTo>
                        <a:pt x="538" y="611"/>
                      </a:lnTo>
                      <a:lnTo>
                        <a:pt x="547" y="608"/>
                      </a:lnTo>
                      <a:lnTo>
                        <a:pt x="548" y="601"/>
                      </a:lnTo>
                      <a:lnTo>
                        <a:pt x="555" y="593"/>
                      </a:lnTo>
                      <a:lnTo>
                        <a:pt x="563" y="591"/>
                      </a:lnTo>
                      <a:lnTo>
                        <a:pt x="565" y="588"/>
                      </a:lnTo>
                      <a:lnTo>
                        <a:pt x="563" y="583"/>
                      </a:lnTo>
                      <a:lnTo>
                        <a:pt x="565" y="578"/>
                      </a:lnTo>
                      <a:lnTo>
                        <a:pt x="568" y="585"/>
                      </a:lnTo>
                      <a:lnTo>
                        <a:pt x="568" y="590"/>
                      </a:lnTo>
                      <a:lnTo>
                        <a:pt x="568" y="595"/>
                      </a:lnTo>
                      <a:lnTo>
                        <a:pt x="565" y="598"/>
                      </a:lnTo>
                      <a:lnTo>
                        <a:pt x="563" y="610"/>
                      </a:lnTo>
                      <a:lnTo>
                        <a:pt x="553" y="616"/>
                      </a:lnTo>
                      <a:lnTo>
                        <a:pt x="552" y="621"/>
                      </a:lnTo>
                      <a:lnTo>
                        <a:pt x="548" y="625"/>
                      </a:lnTo>
                      <a:lnTo>
                        <a:pt x="548" y="630"/>
                      </a:lnTo>
                      <a:lnTo>
                        <a:pt x="543" y="636"/>
                      </a:lnTo>
                      <a:lnTo>
                        <a:pt x="545" y="638"/>
                      </a:lnTo>
                      <a:lnTo>
                        <a:pt x="542" y="650"/>
                      </a:lnTo>
                      <a:lnTo>
                        <a:pt x="530" y="648"/>
                      </a:lnTo>
                      <a:lnTo>
                        <a:pt x="527" y="655"/>
                      </a:lnTo>
                      <a:lnTo>
                        <a:pt x="523" y="658"/>
                      </a:lnTo>
                      <a:lnTo>
                        <a:pt x="523" y="660"/>
                      </a:lnTo>
                      <a:lnTo>
                        <a:pt x="532" y="658"/>
                      </a:lnTo>
                      <a:lnTo>
                        <a:pt x="538" y="656"/>
                      </a:lnTo>
                      <a:lnTo>
                        <a:pt x="547" y="658"/>
                      </a:lnTo>
                      <a:lnTo>
                        <a:pt x="555" y="646"/>
                      </a:lnTo>
                      <a:lnTo>
                        <a:pt x="557" y="635"/>
                      </a:lnTo>
                      <a:lnTo>
                        <a:pt x="563" y="628"/>
                      </a:lnTo>
                      <a:lnTo>
                        <a:pt x="565" y="631"/>
                      </a:lnTo>
                      <a:lnTo>
                        <a:pt x="565" y="641"/>
                      </a:lnTo>
                      <a:lnTo>
                        <a:pt x="568" y="648"/>
                      </a:lnTo>
                      <a:lnTo>
                        <a:pt x="567" y="648"/>
                      </a:lnTo>
                      <a:lnTo>
                        <a:pt x="567" y="658"/>
                      </a:lnTo>
                      <a:lnTo>
                        <a:pt x="562" y="668"/>
                      </a:lnTo>
                      <a:lnTo>
                        <a:pt x="552" y="671"/>
                      </a:lnTo>
                      <a:lnTo>
                        <a:pt x="553" y="673"/>
                      </a:lnTo>
                      <a:lnTo>
                        <a:pt x="560" y="673"/>
                      </a:lnTo>
                      <a:lnTo>
                        <a:pt x="565" y="673"/>
                      </a:lnTo>
                      <a:lnTo>
                        <a:pt x="568" y="671"/>
                      </a:lnTo>
                      <a:lnTo>
                        <a:pt x="573" y="669"/>
                      </a:lnTo>
                      <a:lnTo>
                        <a:pt x="578" y="666"/>
                      </a:lnTo>
                      <a:lnTo>
                        <a:pt x="581" y="666"/>
                      </a:lnTo>
                      <a:lnTo>
                        <a:pt x="585" y="666"/>
                      </a:lnTo>
                      <a:lnTo>
                        <a:pt x="583" y="669"/>
                      </a:lnTo>
                      <a:lnTo>
                        <a:pt x="580" y="674"/>
                      </a:lnTo>
                      <a:lnTo>
                        <a:pt x="575" y="673"/>
                      </a:lnTo>
                      <a:lnTo>
                        <a:pt x="575" y="676"/>
                      </a:lnTo>
                      <a:lnTo>
                        <a:pt x="578" y="681"/>
                      </a:lnTo>
                      <a:lnTo>
                        <a:pt x="580" y="686"/>
                      </a:lnTo>
                      <a:lnTo>
                        <a:pt x="583" y="693"/>
                      </a:lnTo>
                      <a:lnTo>
                        <a:pt x="585" y="701"/>
                      </a:lnTo>
                      <a:lnTo>
                        <a:pt x="583" y="711"/>
                      </a:lnTo>
                      <a:lnTo>
                        <a:pt x="577" y="718"/>
                      </a:lnTo>
                      <a:lnTo>
                        <a:pt x="578" y="719"/>
                      </a:lnTo>
                      <a:lnTo>
                        <a:pt x="577" y="728"/>
                      </a:lnTo>
                      <a:lnTo>
                        <a:pt x="581" y="731"/>
                      </a:lnTo>
                      <a:lnTo>
                        <a:pt x="585" y="736"/>
                      </a:lnTo>
                      <a:lnTo>
                        <a:pt x="586" y="744"/>
                      </a:lnTo>
                      <a:lnTo>
                        <a:pt x="595" y="754"/>
                      </a:lnTo>
                      <a:lnTo>
                        <a:pt x="601" y="756"/>
                      </a:lnTo>
                      <a:lnTo>
                        <a:pt x="606" y="759"/>
                      </a:lnTo>
                      <a:lnTo>
                        <a:pt x="608" y="764"/>
                      </a:lnTo>
                      <a:lnTo>
                        <a:pt x="613" y="764"/>
                      </a:lnTo>
                      <a:lnTo>
                        <a:pt x="615" y="762"/>
                      </a:lnTo>
                      <a:lnTo>
                        <a:pt x="618" y="761"/>
                      </a:lnTo>
                      <a:lnTo>
                        <a:pt x="623" y="762"/>
                      </a:lnTo>
                      <a:lnTo>
                        <a:pt x="628" y="769"/>
                      </a:lnTo>
                      <a:lnTo>
                        <a:pt x="635" y="769"/>
                      </a:lnTo>
                      <a:lnTo>
                        <a:pt x="640" y="774"/>
                      </a:lnTo>
                      <a:lnTo>
                        <a:pt x="641" y="779"/>
                      </a:lnTo>
                      <a:lnTo>
                        <a:pt x="646" y="781"/>
                      </a:lnTo>
                      <a:lnTo>
                        <a:pt x="651" y="786"/>
                      </a:lnTo>
                      <a:lnTo>
                        <a:pt x="655" y="786"/>
                      </a:lnTo>
                      <a:lnTo>
                        <a:pt x="656" y="782"/>
                      </a:lnTo>
                      <a:lnTo>
                        <a:pt x="666" y="779"/>
                      </a:lnTo>
                      <a:lnTo>
                        <a:pt x="668" y="776"/>
                      </a:lnTo>
                      <a:lnTo>
                        <a:pt x="675" y="774"/>
                      </a:lnTo>
                      <a:lnTo>
                        <a:pt x="681" y="769"/>
                      </a:lnTo>
                      <a:lnTo>
                        <a:pt x="684" y="771"/>
                      </a:lnTo>
                      <a:lnTo>
                        <a:pt x="686" y="767"/>
                      </a:lnTo>
                      <a:lnTo>
                        <a:pt x="686" y="766"/>
                      </a:lnTo>
                      <a:lnTo>
                        <a:pt x="681" y="764"/>
                      </a:lnTo>
                      <a:lnTo>
                        <a:pt x="683" y="761"/>
                      </a:lnTo>
                      <a:lnTo>
                        <a:pt x="691" y="756"/>
                      </a:lnTo>
                      <a:lnTo>
                        <a:pt x="699" y="761"/>
                      </a:lnTo>
                      <a:lnTo>
                        <a:pt x="699" y="766"/>
                      </a:lnTo>
                      <a:lnTo>
                        <a:pt x="689" y="771"/>
                      </a:lnTo>
                      <a:lnTo>
                        <a:pt x="691" y="774"/>
                      </a:lnTo>
                      <a:lnTo>
                        <a:pt x="694" y="776"/>
                      </a:lnTo>
                      <a:lnTo>
                        <a:pt x="698" y="772"/>
                      </a:lnTo>
                      <a:lnTo>
                        <a:pt x="703" y="769"/>
                      </a:lnTo>
                      <a:lnTo>
                        <a:pt x="708" y="771"/>
                      </a:lnTo>
                      <a:lnTo>
                        <a:pt x="706" y="776"/>
                      </a:lnTo>
                      <a:lnTo>
                        <a:pt x="704" y="776"/>
                      </a:lnTo>
                      <a:lnTo>
                        <a:pt x="699" y="779"/>
                      </a:lnTo>
                      <a:lnTo>
                        <a:pt x="706" y="786"/>
                      </a:lnTo>
                      <a:lnTo>
                        <a:pt x="708" y="794"/>
                      </a:lnTo>
                      <a:lnTo>
                        <a:pt x="709" y="792"/>
                      </a:lnTo>
                      <a:lnTo>
                        <a:pt x="713" y="792"/>
                      </a:lnTo>
                      <a:lnTo>
                        <a:pt x="714" y="797"/>
                      </a:lnTo>
                      <a:lnTo>
                        <a:pt x="718" y="801"/>
                      </a:lnTo>
                      <a:lnTo>
                        <a:pt x="721" y="796"/>
                      </a:lnTo>
                      <a:lnTo>
                        <a:pt x="721" y="791"/>
                      </a:lnTo>
                      <a:lnTo>
                        <a:pt x="716" y="792"/>
                      </a:lnTo>
                      <a:lnTo>
                        <a:pt x="716" y="791"/>
                      </a:lnTo>
                      <a:lnTo>
                        <a:pt x="718" y="787"/>
                      </a:lnTo>
                      <a:lnTo>
                        <a:pt x="731" y="787"/>
                      </a:lnTo>
                      <a:lnTo>
                        <a:pt x="733" y="789"/>
                      </a:lnTo>
                      <a:lnTo>
                        <a:pt x="734" y="787"/>
                      </a:lnTo>
                      <a:lnTo>
                        <a:pt x="739" y="779"/>
                      </a:lnTo>
                      <a:lnTo>
                        <a:pt x="753" y="772"/>
                      </a:lnTo>
                      <a:lnTo>
                        <a:pt x="759" y="767"/>
                      </a:lnTo>
                      <a:lnTo>
                        <a:pt x="756" y="767"/>
                      </a:lnTo>
                      <a:lnTo>
                        <a:pt x="753" y="769"/>
                      </a:lnTo>
                      <a:lnTo>
                        <a:pt x="754" y="767"/>
                      </a:lnTo>
                      <a:lnTo>
                        <a:pt x="749" y="766"/>
                      </a:lnTo>
                      <a:lnTo>
                        <a:pt x="754" y="766"/>
                      </a:lnTo>
                      <a:lnTo>
                        <a:pt x="761" y="766"/>
                      </a:lnTo>
                      <a:lnTo>
                        <a:pt x="769" y="764"/>
                      </a:lnTo>
                      <a:lnTo>
                        <a:pt x="787" y="761"/>
                      </a:lnTo>
                      <a:lnTo>
                        <a:pt x="802" y="762"/>
                      </a:lnTo>
                      <a:lnTo>
                        <a:pt x="809" y="759"/>
                      </a:lnTo>
                      <a:lnTo>
                        <a:pt x="809" y="756"/>
                      </a:lnTo>
                      <a:lnTo>
                        <a:pt x="814" y="756"/>
                      </a:lnTo>
                      <a:lnTo>
                        <a:pt x="819" y="753"/>
                      </a:lnTo>
                      <a:lnTo>
                        <a:pt x="822" y="746"/>
                      </a:lnTo>
                      <a:lnTo>
                        <a:pt x="821" y="736"/>
                      </a:lnTo>
                      <a:lnTo>
                        <a:pt x="821" y="733"/>
                      </a:lnTo>
                      <a:lnTo>
                        <a:pt x="829" y="724"/>
                      </a:lnTo>
                      <a:lnTo>
                        <a:pt x="829" y="711"/>
                      </a:lnTo>
                      <a:lnTo>
                        <a:pt x="832" y="706"/>
                      </a:lnTo>
                      <a:lnTo>
                        <a:pt x="834" y="698"/>
                      </a:lnTo>
                      <a:lnTo>
                        <a:pt x="839" y="696"/>
                      </a:lnTo>
                      <a:lnTo>
                        <a:pt x="839" y="691"/>
                      </a:lnTo>
                      <a:lnTo>
                        <a:pt x="854" y="674"/>
                      </a:lnTo>
                      <a:lnTo>
                        <a:pt x="857" y="674"/>
                      </a:lnTo>
                      <a:lnTo>
                        <a:pt x="861" y="666"/>
                      </a:lnTo>
                      <a:lnTo>
                        <a:pt x="866" y="658"/>
                      </a:lnTo>
                      <a:lnTo>
                        <a:pt x="869" y="650"/>
                      </a:lnTo>
                      <a:lnTo>
                        <a:pt x="876" y="645"/>
                      </a:lnTo>
                      <a:lnTo>
                        <a:pt x="876" y="640"/>
                      </a:lnTo>
                      <a:lnTo>
                        <a:pt x="879" y="636"/>
                      </a:lnTo>
                      <a:lnTo>
                        <a:pt x="882" y="628"/>
                      </a:lnTo>
                      <a:lnTo>
                        <a:pt x="880" y="626"/>
                      </a:lnTo>
                      <a:lnTo>
                        <a:pt x="887" y="623"/>
                      </a:lnTo>
                      <a:lnTo>
                        <a:pt x="892" y="616"/>
                      </a:lnTo>
                      <a:lnTo>
                        <a:pt x="895" y="613"/>
                      </a:lnTo>
                      <a:lnTo>
                        <a:pt x="899" y="606"/>
                      </a:lnTo>
                      <a:lnTo>
                        <a:pt x="907" y="605"/>
                      </a:lnTo>
                      <a:lnTo>
                        <a:pt x="910" y="601"/>
                      </a:lnTo>
                      <a:lnTo>
                        <a:pt x="904" y="601"/>
                      </a:lnTo>
                      <a:lnTo>
                        <a:pt x="905" y="600"/>
                      </a:lnTo>
                      <a:lnTo>
                        <a:pt x="914" y="600"/>
                      </a:lnTo>
                      <a:lnTo>
                        <a:pt x="922" y="595"/>
                      </a:lnTo>
                      <a:lnTo>
                        <a:pt x="924" y="590"/>
                      </a:lnTo>
                      <a:lnTo>
                        <a:pt x="922" y="586"/>
                      </a:lnTo>
                      <a:lnTo>
                        <a:pt x="924" y="581"/>
                      </a:lnTo>
                      <a:lnTo>
                        <a:pt x="930" y="576"/>
                      </a:lnTo>
                      <a:lnTo>
                        <a:pt x="932" y="571"/>
                      </a:lnTo>
                      <a:lnTo>
                        <a:pt x="937" y="570"/>
                      </a:lnTo>
                      <a:lnTo>
                        <a:pt x="942" y="562"/>
                      </a:lnTo>
                      <a:lnTo>
                        <a:pt x="942" y="558"/>
                      </a:lnTo>
                      <a:lnTo>
                        <a:pt x="944" y="552"/>
                      </a:lnTo>
                      <a:lnTo>
                        <a:pt x="942" y="548"/>
                      </a:lnTo>
                      <a:lnTo>
                        <a:pt x="942" y="545"/>
                      </a:lnTo>
                      <a:lnTo>
                        <a:pt x="950" y="532"/>
                      </a:lnTo>
                      <a:lnTo>
                        <a:pt x="952" y="523"/>
                      </a:lnTo>
                      <a:lnTo>
                        <a:pt x="960" y="510"/>
                      </a:lnTo>
                      <a:lnTo>
                        <a:pt x="960" y="503"/>
                      </a:lnTo>
                      <a:lnTo>
                        <a:pt x="964" y="493"/>
                      </a:lnTo>
                      <a:lnTo>
                        <a:pt x="970" y="488"/>
                      </a:lnTo>
                      <a:lnTo>
                        <a:pt x="974" y="483"/>
                      </a:lnTo>
                      <a:lnTo>
                        <a:pt x="972" y="477"/>
                      </a:lnTo>
                      <a:lnTo>
                        <a:pt x="975" y="472"/>
                      </a:lnTo>
                      <a:lnTo>
                        <a:pt x="972" y="462"/>
                      </a:lnTo>
                      <a:lnTo>
                        <a:pt x="972" y="457"/>
                      </a:lnTo>
                      <a:lnTo>
                        <a:pt x="969" y="449"/>
                      </a:lnTo>
                      <a:lnTo>
                        <a:pt x="967" y="445"/>
                      </a:lnTo>
                      <a:lnTo>
                        <a:pt x="967" y="442"/>
                      </a:lnTo>
                      <a:lnTo>
                        <a:pt x="969" y="439"/>
                      </a:lnTo>
                      <a:lnTo>
                        <a:pt x="969" y="434"/>
                      </a:lnTo>
                      <a:lnTo>
                        <a:pt x="974" y="427"/>
                      </a:lnTo>
                      <a:lnTo>
                        <a:pt x="974" y="425"/>
                      </a:lnTo>
                      <a:lnTo>
                        <a:pt x="972" y="412"/>
                      </a:lnTo>
                      <a:lnTo>
                        <a:pt x="975" y="409"/>
                      </a:lnTo>
                      <a:lnTo>
                        <a:pt x="974" y="405"/>
                      </a:lnTo>
                      <a:lnTo>
                        <a:pt x="972" y="402"/>
                      </a:lnTo>
                      <a:lnTo>
                        <a:pt x="972" y="394"/>
                      </a:lnTo>
                      <a:lnTo>
                        <a:pt x="970" y="392"/>
                      </a:lnTo>
                      <a:lnTo>
                        <a:pt x="972" y="387"/>
                      </a:lnTo>
                      <a:lnTo>
                        <a:pt x="969" y="385"/>
                      </a:lnTo>
                      <a:lnTo>
                        <a:pt x="965" y="382"/>
                      </a:lnTo>
                      <a:lnTo>
                        <a:pt x="965" y="377"/>
                      </a:lnTo>
                      <a:lnTo>
                        <a:pt x="960" y="372"/>
                      </a:lnTo>
                      <a:lnTo>
                        <a:pt x="957" y="366"/>
                      </a:lnTo>
                      <a:lnTo>
                        <a:pt x="955" y="359"/>
                      </a:lnTo>
                      <a:lnTo>
                        <a:pt x="952" y="354"/>
                      </a:lnTo>
                      <a:lnTo>
                        <a:pt x="949" y="354"/>
                      </a:lnTo>
                      <a:lnTo>
                        <a:pt x="945" y="356"/>
                      </a:lnTo>
                      <a:lnTo>
                        <a:pt x="942" y="352"/>
                      </a:lnTo>
                      <a:lnTo>
                        <a:pt x="942" y="347"/>
                      </a:lnTo>
                      <a:lnTo>
                        <a:pt x="939" y="346"/>
                      </a:lnTo>
                      <a:lnTo>
                        <a:pt x="939" y="342"/>
                      </a:lnTo>
                      <a:lnTo>
                        <a:pt x="932" y="339"/>
                      </a:lnTo>
                      <a:lnTo>
                        <a:pt x="930" y="336"/>
                      </a:lnTo>
                      <a:lnTo>
                        <a:pt x="930" y="332"/>
                      </a:lnTo>
                      <a:lnTo>
                        <a:pt x="927" y="327"/>
                      </a:lnTo>
                      <a:lnTo>
                        <a:pt x="932" y="322"/>
                      </a:lnTo>
                      <a:lnTo>
                        <a:pt x="934" y="316"/>
                      </a:lnTo>
                      <a:lnTo>
                        <a:pt x="932" y="312"/>
                      </a:lnTo>
                      <a:lnTo>
                        <a:pt x="932" y="307"/>
                      </a:lnTo>
                      <a:lnTo>
                        <a:pt x="929" y="306"/>
                      </a:lnTo>
                      <a:lnTo>
                        <a:pt x="929" y="309"/>
                      </a:lnTo>
                      <a:lnTo>
                        <a:pt x="930" y="311"/>
                      </a:lnTo>
                      <a:lnTo>
                        <a:pt x="929" y="312"/>
                      </a:lnTo>
                      <a:lnTo>
                        <a:pt x="917" y="304"/>
                      </a:lnTo>
                      <a:lnTo>
                        <a:pt x="915" y="299"/>
                      </a:lnTo>
                      <a:lnTo>
                        <a:pt x="914" y="301"/>
                      </a:lnTo>
                      <a:lnTo>
                        <a:pt x="914" y="302"/>
                      </a:lnTo>
                      <a:lnTo>
                        <a:pt x="912" y="306"/>
                      </a:lnTo>
                      <a:lnTo>
                        <a:pt x="914" y="312"/>
                      </a:lnTo>
                      <a:lnTo>
                        <a:pt x="909" y="307"/>
                      </a:lnTo>
                      <a:lnTo>
                        <a:pt x="907" y="311"/>
                      </a:lnTo>
                      <a:lnTo>
                        <a:pt x="907" y="306"/>
                      </a:lnTo>
                      <a:lnTo>
                        <a:pt x="904" y="302"/>
                      </a:lnTo>
                      <a:lnTo>
                        <a:pt x="904" y="291"/>
                      </a:lnTo>
                      <a:lnTo>
                        <a:pt x="905" y="289"/>
                      </a:lnTo>
                      <a:lnTo>
                        <a:pt x="905" y="286"/>
                      </a:lnTo>
                      <a:lnTo>
                        <a:pt x="900" y="282"/>
                      </a:lnTo>
                      <a:lnTo>
                        <a:pt x="902" y="279"/>
                      </a:lnTo>
                      <a:lnTo>
                        <a:pt x="899" y="277"/>
                      </a:lnTo>
                      <a:lnTo>
                        <a:pt x="900" y="272"/>
                      </a:lnTo>
                      <a:lnTo>
                        <a:pt x="892" y="268"/>
                      </a:lnTo>
                      <a:lnTo>
                        <a:pt x="890" y="263"/>
                      </a:lnTo>
                      <a:lnTo>
                        <a:pt x="889" y="258"/>
                      </a:lnTo>
                      <a:lnTo>
                        <a:pt x="894" y="259"/>
                      </a:lnTo>
                      <a:lnTo>
                        <a:pt x="894" y="254"/>
                      </a:lnTo>
                      <a:lnTo>
                        <a:pt x="890" y="248"/>
                      </a:lnTo>
                      <a:lnTo>
                        <a:pt x="887" y="249"/>
                      </a:lnTo>
                      <a:lnTo>
                        <a:pt x="884" y="249"/>
                      </a:lnTo>
                      <a:lnTo>
                        <a:pt x="879" y="243"/>
                      </a:lnTo>
                      <a:lnTo>
                        <a:pt x="876" y="243"/>
                      </a:lnTo>
                      <a:lnTo>
                        <a:pt x="871" y="239"/>
                      </a:lnTo>
                      <a:lnTo>
                        <a:pt x="869" y="241"/>
                      </a:lnTo>
                      <a:lnTo>
                        <a:pt x="866" y="239"/>
                      </a:lnTo>
                      <a:lnTo>
                        <a:pt x="861" y="238"/>
                      </a:lnTo>
                      <a:lnTo>
                        <a:pt x="857" y="239"/>
                      </a:lnTo>
                      <a:lnTo>
                        <a:pt x="861" y="236"/>
                      </a:lnTo>
                      <a:lnTo>
                        <a:pt x="866" y="234"/>
                      </a:lnTo>
                      <a:lnTo>
                        <a:pt x="866" y="231"/>
                      </a:lnTo>
                      <a:lnTo>
                        <a:pt x="864" y="229"/>
                      </a:lnTo>
                      <a:lnTo>
                        <a:pt x="859" y="229"/>
                      </a:lnTo>
                      <a:lnTo>
                        <a:pt x="854" y="229"/>
                      </a:lnTo>
                      <a:lnTo>
                        <a:pt x="852" y="226"/>
                      </a:lnTo>
                      <a:lnTo>
                        <a:pt x="851" y="226"/>
                      </a:lnTo>
                      <a:lnTo>
                        <a:pt x="841" y="221"/>
                      </a:lnTo>
                      <a:lnTo>
                        <a:pt x="836" y="214"/>
                      </a:lnTo>
                      <a:lnTo>
                        <a:pt x="836" y="206"/>
                      </a:lnTo>
                      <a:lnTo>
                        <a:pt x="832" y="201"/>
                      </a:lnTo>
                      <a:lnTo>
                        <a:pt x="832" y="196"/>
                      </a:lnTo>
                      <a:lnTo>
                        <a:pt x="836" y="196"/>
                      </a:lnTo>
                      <a:lnTo>
                        <a:pt x="837" y="186"/>
                      </a:lnTo>
                      <a:lnTo>
                        <a:pt x="834" y="174"/>
                      </a:lnTo>
                      <a:lnTo>
                        <a:pt x="831" y="170"/>
                      </a:lnTo>
                      <a:lnTo>
                        <a:pt x="834" y="170"/>
                      </a:lnTo>
                      <a:lnTo>
                        <a:pt x="831" y="166"/>
                      </a:lnTo>
                      <a:lnTo>
                        <a:pt x="827" y="166"/>
                      </a:lnTo>
                      <a:lnTo>
                        <a:pt x="822" y="158"/>
                      </a:lnTo>
                      <a:lnTo>
                        <a:pt x="822" y="146"/>
                      </a:lnTo>
                      <a:lnTo>
                        <a:pt x="824" y="145"/>
                      </a:lnTo>
                      <a:lnTo>
                        <a:pt x="824" y="143"/>
                      </a:lnTo>
                      <a:lnTo>
                        <a:pt x="822" y="141"/>
                      </a:lnTo>
                      <a:lnTo>
                        <a:pt x="821" y="126"/>
                      </a:lnTo>
                      <a:lnTo>
                        <a:pt x="822" y="123"/>
                      </a:lnTo>
                      <a:lnTo>
                        <a:pt x="821" y="120"/>
                      </a:lnTo>
                      <a:lnTo>
                        <a:pt x="822" y="118"/>
                      </a:lnTo>
                      <a:lnTo>
                        <a:pt x="822" y="115"/>
                      </a:lnTo>
                      <a:lnTo>
                        <a:pt x="814" y="108"/>
                      </a:lnTo>
                      <a:lnTo>
                        <a:pt x="809" y="105"/>
                      </a:lnTo>
                      <a:lnTo>
                        <a:pt x="811" y="103"/>
                      </a:lnTo>
                      <a:lnTo>
                        <a:pt x="806" y="98"/>
                      </a:lnTo>
                      <a:lnTo>
                        <a:pt x="801" y="100"/>
                      </a:lnTo>
                      <a:lnTo>
                        <a:pt x="797" y="100"/>
                      </a:lnTo>
                      <a:lnTo>
                        <a:pt x="796" y="103"/>
                      </a:lnTo>
                      <a:lnTo>
                        <a:pt x="791" y="105"/>
                      </a:lnTo>
                      <a:lnTo>
                        <a:pt x="786" y="96"/>
                      </a:lnTo>
                      <a:lnTo>
                        <a:pt x="787" y="93"/>
                      </a:lnTo>
                      <a:lnTo>
                        <a:pt x="784" y="88"/>
                      </a:lnTo>
                      <a:lnTo>
                        <a:pt x="786" y="80"/>
                      </a:lnTo>
                      <a:lnTo>
                        <a:pt x="784" y="70"/>
                      </a:lnTo>
                      <a:lnTo>
                        <a:pt x="782" y="70"/>
                      </a:lnTo>
                      <a:lnTo>
                        <a:pt x="781" y="67"/>
                      </a:lnTo>
                      <a:lnTo>
                        <a:pt x="782" y="63"/>
                      </a:lnTo>
                      <a:lnTo>
                        <a:pt x="779" y="58"/>
                      </a:lnTo>
                      <a:lnTo>
                        <a:pt x="779" y="55"/>
                      </a:lnTo>
                      <a:lnTo>
                        <a:pt x="776" y="53"/>
                      </a:lnTo>
                      <a:lnTo>
                        <a:pt x="777" y="47"/>
                      </a:lnTo>
                      <a:lnTo>
                        <a:pt x="779" y="45"/>
                      </a:lnTo>
                      <a:lnTo>
                        <a:pt x="776" y="43"/>
                      </a:lnTo>
                      <a:lnTo>
                        <a:pt x="773" y="43"/>
                      </a:lnTo>
                      <a:lnTo>
                        <a:pt x="769" y="42"/>
                      </a:lnTo>
                      <a:lnTo>
                        <a:pt x="771" y="30"/>
                      </a:lnTo>
                      <a:lnTo>
                        <a:pt x="769" y="28"/>
                      </a:lnTo>
                      <a:lnTo>
                        <a:pt x="768" y="22"/>
                      </a:lnTo>
                      <a:lnTo>
                        <a:pt x="763" y="22"/>
                      </a:lnTo>
                      <a:lnTo>
                        <a:pt x="763" y="18"/>
                      </a:lnTo>
                      <a:lnTo>
                        <a:pt x="758" y="20"/>
                      </a:lnTo>
                      <a:lnTo>
                        <a:pt x="754" y="23"/>
                      </a:lnTo>
                      <a:lnTo>
                        <a:pt x="754" y="32"/>
                      </a:lnTo>
                      <a:lnTo>
                        <a:pt x="753" y="38"/>
                      </a:lnTo>
                      <a:lnTo>
                        <a:pt x="753" y="40"/>
                      </a:lnTo>
                      <a:lnTo>
                        <a:pt x="751" y="45"/>
                      </a:lnTo>
                      <a:lnTo>
                        <a:pt x="748" y="45"/>
                      </a:lnTo>
                      <a:lnTo>
                        <a:pt x="746" y="52"/>
                      </a:lnTo>
                      <a:lnTo>
                        <a:pt x="741" y="57"/>
                      </a:lnTo>
                      <a:lnTo>
                        <a:pt x="744" y="60"/>
                      </a:lnTo>
                      <a:lnTo>
                        <a:pt x="749" y="63"/>
                      </a:lnTo>
                      <a:lnTo>
                        <a:pt x="746" y="65"/>
                      </a:lnTo>
                      <a:lnTo>
                        <a:pt x="743" y="65"/>
                      </a:lnTo>
                      <a:lnTo>
                        <a:pt x="741" y="68"/>
                      </a:lnTo>
                      <a:lnTo>
                        <a:pt x="739" y="73"/>
                      </a:lnTo>
                      <a:lnTo>
                        <a:pt x="743" y="78"/>
                      </a:lnTo>
                      <a:lnTo>
                        <a:pt x="743" y="81"/>
                      </a:lnTo>
                      <a:lnTo>
                        <a:pt x="739" y="80"/>
                      </a:lnTo>
                      <a:lnTo>
                        <a:pt x="736" y="83"/>
                      </a:lnTo>
                      <a:lnTo>
                        <a:pt x="734" y="93"/>
                      </a:lnTo>
                      <a:lnTo>
                        <a:pt x="736" y="100"/>
                      </a:lnTo>
                      <a:lnTo>
                        <a:pt x="734" y="108"/>
                      </a:lnTo>
                      <a:lnTo>
                        <a:pt x="738" y="115"/>
                      </a:lnTo>
                      <a:lnTo>
                        <a:pt x="736" y="121"/>
                      </a:lnTo>
                      <a:lnTo>
                        <a:pt x="733" y="125"/>
                      </a:lnTo>
                      <a:lnTo>
                        <a:pt x="733" y="128"/>
                      </a:lnTo>
                      <a:lnTo>
                        <a:pt x="728" y="136"/>
                      </a:lnTo>
                      <a:lnTo>
                        <a:pt x="726" y="150"/>
                      </a:lnTo>
                      <a:lnTo>
                        <a:pt x="721" y="153"/>
                      </a:lnTo>
                      <a:lnTo>
                        <a:pt x="723" y="158"/>
                      </a:lnTo>
                      <a:lnTo>
                        <a:pt x="721" y="165"/>
                      </a:lnTo>
                      <a:lnTo>
                        <a:pt x="716" y="168"/>
                      </a:lnTo>
                      <a:lnTo>
                        <a:pt x="716" y="176"/>
                      </a:lnTo>
                      <a:lnTo>
                        <a:pt x="708" y="181"/>
                      </a:lnTo>
                      <a:lnTo>
                        <a:pt x="693" y="188"/>
                      </a:lnTo>
                      <a:lnTo>
                        <a:pt x="686" y="183"/>
                      </a:lnTo>
                      <a:lnTo>
                        <a:pt x="679" y="183"/>
                      </a:lnTo>
                      <a:lnTo>
                        <a:pt x="676" y="179"/>
                      </a:lnTo>
                      <a:lnTo>
                        <a:pt x="671" y="174"/>
                      </a:lnTo>
                      <a:lnTo>
                        <a:pt x="671" y="171"/>
                      </a:lnTo>
                      <a:lnTo>
                        <a:pt x="670" y="170"/>
                      </a:lnTo>
                      <a:lnTo>
                        <a:pt x="668" y="165"/>
                      </a:lnTo>
                      <a:lnTo>
                        <a:pt x="661" y="165"/>
                      </a:lnTo>
                      <a:lnTo>
                        <a:pt x="658" y="163"/>
                      </a:lnTo>
                      <a:lnTo>
                        <a:pt x="650" y="163"/>
                      </a:lnTo>
                      <a:lnTo>
                        <a:pt x="643" y="158"/>
                      </a:lnTo>
                      <a:lnTo>
                        <a:pt x="641" y="155"/>
                      </a:lnTo>
                      <a:lnTo>
                        <a:pt x="636" y="148"/>
                      </a:lnTo>
                      <a:lnTo>
                        <a:pt x="630" y="148"/>
                      </a:lnTo>
                      <a:lnTo>
                        <a:pt x="625" y="145"/>
                      </a:lnTo>
                      <a:lnTo>
                        <a:pt x="623" y="141"/>
                      </a:lnTo>
                      <a:lnTo>
                        <a:pt x="620" y="141"/>
                      </a:lnTo>
                      <a:lnTo>
                        <a:pt x="618" y="140"/>
                      </a:lnTo>
                      <a:lnTo>
                        <a:pt x="613" y="140"/>
                      </a:lnTo>
                      <a:lnTo>
                        <a:pt x="608" y="138"/>
                      </a:lnTo>
                      <a:lnTo>
                        <a:pt x="610" y="136"/>
                      </a:lnTo>
                      <a:lnTo>
                        <a:pt x="603" y="133"/>
                      </a:lnTo>
                      <a:lnTo>
                        <a:pt x="601" y="128"/>
                      </a:lnTo>
                      <a:lnTo>
                        <a:pt x="596" y="121"/>
                      </a:lnTo>
                      <a:lnTo>
                        <a:pt x="591" y="121"/>
                      </a:lnTo>
                      <a:lnTo>
                        <a:pt x="586" y="116"/>
                      </a:lnTo>
                      <a:lnTo>
                        <a:pt x="586" y="111"/>
                      </a:lnTo>
                      <a:lnTo>
                        <a:pt x="591" y="105"/>
                      </a:lnTo>
                      <a:lnTo>
                        <a:pt x="591" y="98"/>
                      </a:lnTo>
                      <a:lnTo>
                        <a:pt x="596" y="96"/>
                      </a:lnTo>
                      <a:lnTo>
                        <a:pt x="598" y="90"/>
                      </a:lnTo>
                      <a:lnTo>
                        <a:pt x="600" y="85"/>
                      </a:lnTo>
                      <a:lnTo>
                        <a:pt x="596" y="88"/>
                      </a:lnTo>
                      <a:lnTo>
                        <a:pt x="593" y="83"/>
                      </a:lnTo>
                      <a:lnTo>
                        <a:pt x="598" y="80"/>
                      </a:lnTo>
                      <a:lnTo>
                        <a:pt x="596" y="75"/>
                      </a:lnTo>
                      <a:lnTo>
                        <a:pt x="600" y="75"/>
                      </a:lnTo>
                      <a:lnTo>
                        <a:pt x="601" y="73"/>
                      </a:lnTo>
                      <a:lnTo>
                        <a:pt x="603" y="75"/>
                      </a:lnTo>
                      <a:lnTo>
                        <a:pt x="608" y="76"/>
                      </a:lnTo>
                      <a:lnTo>
                        <a:pt x="615" y="73"/>
                      </a:lnTo>
                      <a:lnTo>
                        <a:pt x="616" y="68"/>
                      </a:lnTo>
                      <a:lnTo>
                        <a:pt x="611" y="67"/>
                      </a:lnTo>
                      <a:lnTo>
                        <a:pt x="615" y="63"/>
                      </a:lnTo>
                      <a:lnTo>
                        <a:pt x="618" y="65"/>
                      </a:lnTo>
                      <a:lnTo>
                        <a:pt x="621" y="57"/>
                      </a:lnTo>
                      <a:lnTo>
                        <a:pt x="625" y="55"/>
                      </a:lnTo>
                      <a:lnTo>
                        <a:pt x="628" y="52"/>
                      </a:lnTo>
                      <a:lnTo>
                        <a:pt x="628" y="50"/>
                      </a:lnTo>
                      <a:lnTo>
                        <a:pt x="623" y="47"/>
                      </a:lnTo>
                      <a:lnTo>
                        <a:pt x="620" y="50"/>
                      </a:lnTo>
                      <a:lnTo>
                        <a:pt x="616" y="50"/>
                      </a:lnTo>
                      <a:lnTo>
                        <a:pt x="616" y="42"/>
                      </a:lnTo>
                      <a:lnTo>
                        <a:pt x="611" y="43"/>
                      </a:lnTo>
                      <a:lnTo>
                        <a:pt x="606" y="50"/>
                      </a:lnTo>
                      <a:lnTo>
                        <a:pt x="608" y="50"/>
                      </a:lnTo>
                      <a:lnTo>
                        <a:pt x="608" y="53"/>
                      </a:lnTo>
                      <a:lnTo>
                        <a:pt x="605" y="55"/>
                      </a:lnTo>
                      <a:lnTo>
                        <a:pt x="601" y="53"/>
                      </a:lnTo>
                      <a:lnTo>
                        <a:pt x="600" y="50"/>
                      </a:lnTo>
                      <a:lnTo>
                        <a:pt x="598" y="48"/>
                      </a:lnTo>
                      <a:lnTo>
                        <a:pt x="596" y="52"/>
                      </a:lnTo>
                      <a:lnTo>
                        <a:pt x="593" y="52"/>
                      </a:lnTo>
                      <a:lnTo>
                        <a:pt x="593" y="48"/>
                      </a:lnTo>
                      <a:lnTo>
                        <a:pt x="596" y="47"/>
                      </a:lnTo>
                      <a:lnTo>
                        <a:pt x="596" y="45"/>
                      </a:lnTo>
                      <a:lnTo>
                        <a:pt x="593" y="45"/>
                      </a:lnTo>
                      <a:lnTo>
                        <a:pt x="591" y="48"/>
                      </a:lnTo>
                      <a:lnTo>
                        <a:pt x="585" y="50"/>
                      </a:lnTo>
                      <a:lnTo>
                        <a:pt x="585" y="52"/>
                      </a:lnTo>
                      <a:lnTo>
                        <a:pt x="581" y="52"/>
                      </a:lnTo>
                      <a:lnTo>
                        <a:pt x="580" y="50"/>
                      </a:lnTo>
                      <a:lnTo>
                        <a:pt x="577" y="50"/>
                      </a:lnTo>
                      <a:lnTo>
                        <a:pt x="575" y="48"/>
                      </a:lnTo>
                      <a:lnTo>
                        <a:pt x="572" y="43"/>
                      </a:lnTo>
                      <a:lnTo>
                        <a:pt x="570" y="43"/>
                      </a:lnTo>
                      <a:lnTo>
                        <a:pt x="565" y="45"/>
                      </a:lnTo>
                      <a:lnTo>
                        <a:pt x="560" y="45"/>
                      </a:lnTo>
                      <a:lnTo>
                        <a:pt x="558" y="45"/>
                      </a:lnTo>
                      <a:lnTo>
                        <a:pt x="557" y="42"/>
                      </a:lnTo>
                      <a:lnTo>
                        <a:pt x="553" y="42"/>
                      </a:lnTo>
                      <a:lnTo>
                        <a:pt x="552" y="37"/>
                      </a:lnTo>
                      <a:lnTo>
                        <a:pt x="545" y="40"/>
                      </a:lnTo>
                      <a:lnTo>
                        <a:pt x="540" y="38"/>
                      </a:lnTo>
                      <a:lnTo>
                        <a:pt x="535" y="37"/>
                      </a:lnTo>
                      <a:lnTo>
                        <a:pt x="535" y="33"/>
                      </a:lnTo>
                      <a:lnTo>
                        <a:pt x="532" y="30"/>
                      </a:lnTo>
                      <a:lnTo>
                        <a:pt x="528" y="30"/>
                      </a:lnTo>
                      <a:lnTo>
                        <a:pt x="530" y="32"/>
                      </a:lnTo>
                      <a:lnTo>
                        <a:pt x="522" y="33"/>
                      </a:lnTo>
                      <a:lnTo>
                        <a:pt x="520" y="30"/>
                      </a:lnTo>
                      <a:lnTo>
                        <a:pt x="517" y="28"/>
                      </a:lnTo>
                      <a:lnTo>
                        <a:pt x="510" y="25"/>
                      </a:lnTo>
                      <a:lnTo>
                        <a:pt x="508" y="27"/>
                      </a:lnTo>
                      <a:lnTo>
                        <a:pt x="505" y="25"/>
                      </a:lnTo>
                      <a:lnTo>
                        <a:pt x="502" y="27"/>
                      </a:lnTo>
                      <a:lnTo>
                        <a:pt x="507" y="30"/>
                      </a:lnTo>
                      <a:lnTo>
                        <a:pt x="505" y="32"/>
                      </a:lnTo>
                      <a:lnTo>
                        <a:pt x="510" y="33"/>
                      </a:lnTo>
                      <a:lnTo>
                        <a:pt x="513" y="32"/>
                      </a:lnTo>
                      <a:lnTo>
                        <a:pt x="520" y="37"/>
                      </a:lnTo>
                      <a:lnTo>
                        <a:pt x="520" y="40"/>
                      </a:lnTo>
                      <a:lnTo>
                        <a:pt x="522" y="47"/>
                      </a:lnTo>
                      <a:lnTo>
                        <a:pt x="517" y="47"/>
                      </a:lnTo>
                      <a:lnTo>
                        <a:pt x="515" y="52"/>
                      </a:lnTo>
                      <a:lnTo>
                        <a:pt x="513" y="48"/>
                      </a:lnTo>
                      <a:lnTo>
                        <a:pt x="510" y="48"/>
                      </a:lnTo>
                      <a:lnTo>
                        <a:pt x="505" y="50"/>
                      </a:lnTo>
                      <a:lnTo>
                        <a:pt x="492" y="50"/>
                      </a:lnTo>
                      <a:lnTo>
                        <a:pt x="487" y="47"/>
                      </a:lnTo>
                      <a:lnTo>
                        <a:pt x="485" y="48"/>
                      </a:lnTo>
                      <a:lnTo>
                        <a:pt x="480" y="50"/>
                      </a:lnTo>
                      <a:lnTo>
                        <a:pt x="480" y="55"/>
                      </a:lnTo>
                      <a:lnTo>
                        <a:pt x="475" y="53"/>
                      </a:lnTo>
                      <a:lnTo>
                        <a:pt x="477" y="60"/>
                      </a:lnTo>
                      <a:lnTo>
                        <a:pt x="475" y="57"/>
                      </a:lnTo>
                      <a:lnTo>
                        <a:pt x="470" y="55"/>
                      </a:lnTo>
                      <a:lnTo>
                        <a:pt x="469" y="58"/>
                      </a:lnTo>
                      <a:lnTo>
                        <a:pt x="470" y="62"/>
                      </a:lnTo>
                      <a:lnTo>
                        <a:pt x="470" y="63"/>
                      </a:lnTo>
                      <a:lnTo>
                        <a:pt x="464" y="62"/>
                      </a:lnTo>
                      <a:lnTo>
                        <a:pt x="460" y="65"/>
                      </a:lnTo>
                      <a:lnTo>
                        <a:pt x="464" y="67"/>
                      </a:lnTo>
                      <a:lnTo>
                        <a:pt x="460" y="68"/>
                      </a:lnTo>
                      <a:lnTo>
                        <a:pt x="457" y="70"/>
                      </a:lnTo>
                      <a:lnTo>
                        <a:pt x="457" y="73"/>
                      </a:lnTo>
                      <a:lnTo>
                        <a:pt x="460" y="76"/>
                      </a:lnTo>
                      <a:lnTo>
                        <a:pt x="462" y="78"/>
                      </a:lnTo>
                      <a:lnTo>
                        <a:pt x="457" y="76"/>
                      </a:lnTo>
                      <a:lnTo>
                        <a:pt x="454" y="78"/>
                      </a:lnTo>
                      <a:lnTo>
                        <a:pt x="449" y="78"/>
                      </a:lnTo>
                      <a:lnTo>
                        <a:pt x="445" y="85"/>
                      </a:lnTo>
                      <a:lnTo>
                        <a:pt x="442" y="91"/>
                      </a:lnTo>
                      <a:lnTo>
                        <a:pt x="439" y="93"/>
                      </a:lnTo>
                      <a:lnTo>
                        <a:pt x="437" y="98"/>
                      </a:lnTo>
                      <a:lnTo>
                        <a:pt x="434" y="101"/>
                      </a:lnTo>
                      <a:lnTo>
                        <a:pt x="437" y="103"/>
                      </a:lnTo>
                      <a:lnTo>
                        <a:pt x="445" y="105"/>
                      </a:lnTo>
                      <a:lnTo>
                        <a:pt x="442" y="106"/>
                      </a:lnTo>
                      <a:lnTo>
                        <a:pt x="440" y="110"/>
                      </a:lnTo>
                      <a:lnTo>
                        <a:pt x="449" y="111"/>
                      </a:lnTo>
                      <a:lnTo>
                        <a:pt x="445" y="113"/>
                      </a:lnTo>
                      <a:lnTo>
                        <a:pt x="439" y="113"/>
                      </a:lnTo>
                      <a:lnTo>
                        <a:pt x="437" y="110"/>
                      </a:lnTo>
                      <a:lnTo>
                        <a:pt x="437" y="113"/>
                      </a:lnTo>
                      <a:lnTo>
                        <a:pt x="442" y="116"/>
                      </a:lnTo>
                      <a:lnTo>
                        <a:pt x="442" y="121"/>
                      </a:lnTo>
                      <a:lnTo>
                        <a:pt x="445" y="126"/>
                      </a:lnTo>
                      <a:lnTo>
                        <a:pt x="439" y="121"/>
                      </a:lnTo>
                      <a:lnTo>
                        <a:pt x="435" y="115"/>
                      </a:lnTo>
                      <a:lnTo>
                        <a:pt x="430" y="115"/>
                      </a:lnTo>
                      <a:lnTo>
                        <a:pt x="430" y="116"/>
                      </a:lnTo>
                      <a:lnTo>
                        <a:pt x="429" y="120"/>
                      </a:lnTo>
                      <a:lnTo>
                        <a:pt x="429" y="116"/>
                      </a:lnTo>
                      <a:lnTo>
                        <a:pt x="419" y="110"/>
                      </a:lnTo>
                      <a:lnTo>
                        <a:pt x="410" y="111"/>
                      </a:lnTo>
                      <a:lnTo>
                        <a:pt x="414" y="115"/>
                      </a:lnTo>
                      <a:lnTo>
                        <a:pt x="410" y="116"/>
                      </a:lnTo>
                      <a:lnTo>
                        <a:pt x="407" y="115"/>
                      </a:lnTo>
                      <a:lnTo>
                        <a:pt x="405" y="115"/>
                      </a:lnTo>
                      <a:lnTo>
                        <a:pt x="404" y="116"/>
                      </a:lnTo>
                      <a:lnTo>
                        <a:pt x="407" y="121"/>
                      </a:lnTo>
                      <a:lnTo>
                        <a:pt x="405" y="123"/>
                      </a:lnTo>
                      <a:lnTo>
                        <a:pt x="405" y="121"/>
                      </a:lnTo>
                      <a:lnTo>
                        <a:pt x="404" y="123"/>
                      </a:lnTo>
                      <a:lnTo>
                        <a:pt x="404" y="125"/>
                      </a:lnTo>
                      <a:lnTo>
                        <a:pt x="399" y="126"/>
                      </a:lnTo>
                      <a:lnTo>
                        <a:pt x="392" y="128"/>
                      </a:lnTo>
                      <a:lnTo>
                        <a:pt x="397" y="126"/>
                      </a:lnTo>
                      <a:lnTo>
                        <a:pt x="400" y="121"/>
                      </a:lnTo>
                      <a:lnTo>
                        <a:pt x="400" y="115"/>
                      </a:lnTo>
                      <a:lnTo>
                        <a:pt x="404" y="110"/>
                      </a:lnTo>
                      <a:lnTo>
                        <a:pt x="402" y="108"/>
                      </a:lnTo>
                      <a:lnTo>
                        <a:pt x="397" y="106"/>
                      </a:lnTo>
                      <a:lnTo>
                        <a:pt x="390" y="96"/>
                      </a:lnTo>
                      <a:lnTo>
                        <a:pt x="387" y="91"/>
                      </a:lnTo>
                      <a:lnTo>
                        <a:pt x="380" y="90"/>
                      </a:lnTo>
                      <a:lnTo>
                        <a:pt x="376" y="86"/>
                      </a:lnTo>
                      <a:lnTo>
                        <a:pt x="372" y="88"/>
                      </a:lnTo>
                      <a:lnTo>
                        <a:pt x="376" y="90"/>
                      </a:lnTo>
                      <a:lnTo>
                        <a:pt x="372" y="91"/>
                      </a:lnTo>
                      <a:lnTo>
                        <a:pt x="369" y="96"/>
                      </a:lnTo>
                      <a:lnTo>
                        <a:pt x="366" y="95"/>
                      </a:lnTo>
                      <a:lnTo>
                        <a:pt x="367" y="93"/>
                      </a:lnTo>
                      <a:lnTo>
                        <a:pt x="362" y="93"/>
                      </a:lnTo>
                      <a:lnTo>
                        <a:pt x="361" y="96"/>
                      </a:lnTo>
                      <a:lnTo>
                        <a:pt x="357" y="90"/>
                      </a:lnTo>
                      <a:lnTo>
                        <a:pt x="356" y="90"/>
                      </a:lnTo>
                      <a:lnTo>
                        <a:pt x="354" y="93"/>
                      </a:lnTo>
                      <a:lnTo>
                        <a:pt x="357" y="95"/>
                      </a:lnTo>
                      <a:lnTo>
                        <a:pt x="354" y="98"/>
                      </a:lnTo>
                      <a:lnTo>
                        <a:pt x="352" y="103"/>
                      </a:lnTo>
                      <a:lnTo>
                        <a:pt x="354" y="105"/>
                      </a:lnTo>
                      <a:lnTo>
                        <a:pt x="349" y="108"/>
                      </a:lnTo>
                      <a:lnTo>
                        <a:pt x="346" y="105"/>
                      </a:lnTo>
                      <a:lnTo>
                        <a:pt x="344" y="105"/>
                      </a:lnTo>
                      <a:lnTo>
                        <a:pt x="342" y="103"/>
                      </a:lnTo>
                      <a:lnTo>
                        <a:pt x="346" y="98"/>
                      </a:lnTo>
                      <a:lnTo>
                        <a:pt x="342" y="98"/>
                      </a:lnTo>
                      <a:lnTo>
                        <a:pt x="341" y="103"/>
                      </a:lnTo>
                      <a:lnTo>
                        <a:pt x="336" y="105"/>
                      </a:lnTo>
                      <a:lnTo>
                        <a:pt x="334" y="108"/>
                      </a:lnTo>
                      <a:lnTo>
                        <a:pt x="332" y="111"/>
                      </a:lnTo>
                      <a:lnTo>
                        <a:pt x="339" y="115"/>
                      </a:lnTo>
                      <a:lnTo>
                        <a:pt x="334" y="118"/>
                      </a:lnTo>
                      <a:lnTo>
                        <a:pt x="329" y="116"/>
                      </a:lnTo>
                      <a:lnTo>
                        <a:pt x="322" y="120"/>
                      </a:lnTo>
                      <a:lnTo>
                        <a:pt x="324" y="123"/>
                      </a:lnTo>
                      <a:lnTo>
                        <a:pt x="331" y="123"/>
                      </a:lnTo>
                      <a:lnTo>
                        <a:pt x="329" y="128"/>
                      </a:lnTo>
                      <a:lnTo>
                        <a:pt x="326" y="128"/>
                      </a:lnTo>
                      <a:lnTo>
                        <a:pt x="321" y="123"/>
                      </a:lnTo>
                      <a:lnTo>
                        <a:pt x="316" y="126"/>
                      </a:lnTo>
                      <a:lnTo>
                        <a:pt x="312" y="128"/>
                      </a:lnTo>
                      <a:lnTo>
                        <a:pt x="312" y="131"/>
                      </a:lnTo>
                      <a:lnTo>
                        <a:pt x="314" y="135"/>
                      </a:lnTo>
                      <a:lnTo>
                        <a:pt x="314" y="136"/>
                      </a:lnTo>
                      <a:lnTo>
                        <a:pt x="317" y="136"/>
                      </a:lnTo>
                      <a:lnTo>
                        <a:pt x="314" y="140"/>
                      </a:lnTo>
                      <a:lnTo>
                        <a:pt x="316" y="143"/>
                      </a:lnTo>
                      <a:lnTo>
                        <a:pt x="312" y="145"/>
                      </a:lnTo>
                      <a:lnTo>
                        <a:pt x="309" y="148"/>
                      </a:lnTo>
                      <a:lnTo>
                        <a:pt x="317" y="150"/>
                      </a:lnTo>
                      <a:lnTo>
                        <a:pt x="312" y="151"/>
                      </a:lnTo>
                      <a:lnTo>
                        <a:pt x="311" y="155"/>
                      </a:lnTo>
                      <a:lnTo>
                        <a:pt x="306" y="153"/>
                      </a:lnTo>
                      <a:lnTo>
                        <a:pt x="304" y="150"/>
                      </a:lnTo>
                      <a:lnTo>
                        <a:pt x="301" y="148"/>
                      </a:lnTo>
                      <a:lnTo>
                        <a:pt x="296" y="150"/>
                      </a:lnTo>
                      <a:lnTo>
                        <a:pt x="294" y="146"/>
                      </a:lnTo>
                      <a:lnTo>
                        <a:pt x="291" y="145"/>
                      </a:lnTo>
                      <a:lnTo>
                        <a:pt x="287" y="146"/>
                      </a:lnTo>
                      <a:lnTo>
                        <a:pt x="292" y="151"/>
                      </a:lnTo>
                      <a:lnTo>
                        <a:pt x="291" y="151"/>
                      </a:lnTo>
                      <a:lnTo>
                        <a:pt x="287" y="156"/>
                      </a:lnTo>
                      <a:lnTo>
                        <a:pt x="292" y="160"/>
                      </a:lnTo>
                      <a:lnTo>
                        <a:pt x="297" y="160"/>
                      </a:lnTo>
                      <a:lnTo>
                        <a:pt x="296" y="163"/>
                      </a:lnTo>
                      <a:lnTo>
                        <a:pt x="296" y="168"/>
                      </a:lnTo>
                      <a:lnTo>
                        <a:pt x="294" y="166"/>
                      </a:lnTo>
                      <a:lnTo>
                        <a:pt x="291" y="166"/>
                      </a:lnTo>
                      <a:lnTo>
                        <a:pt x="292" y="171"/>
                      </a:lnTo>
                      <a:lnTo>
                        <a:pt x="291" y="174"/>
                      </a:lnTo>
                      <a:lnTo>
                        <a:pt x="289" y="181"/>
                      </a:lnTo>
                      <a:lnTo>
                        <a:pt x="281" y="166"/>
                      </a:lnTo>
                      <a:lnTo>
                        <a:pt x="276" y="156"/>
                      </a:lnTo>
                      <a:lnTo>
                        <a:pt x="274" y="153"/>
                      </a:lnTo>
                      <a:lnTo>
                        <a:pt x="276" y="148"/>
                      </a:lnTo>
                      <a:lnTo>
                        <a:pt x="273" y="151"/>
                      </a:lnTo>
                      <a:lnTo>
                        <a:pt x="268" y="155"/>
                      </a:lnTo>
                      <a:lnTo>
                        <a:pt x="268" y="160"/>
                      </a:lnTo>
                      <a:lnTo>
                        <a:pt x="263" y="161"/>
                      </a:lnTo>
                      <a:lnTo>
                        <a:pt x="263" y="163"/>
                      </a:lnTo>
                      <a:lnTo>
                        <a:pt x="258" y="163"/>
                      </a:lnTo>
                      <a:lnTo>
                        <a:pt x="254" y="166"/>
                      </a:lnTo>
                      <a:lnTo>
                        <a:pt x="251" y="170"/>
                      </a:lnTo>
                      <a:lnTo>
                        <a:pt x="253" y="174"/>
                      </a:lnTo>
                      <a:lnTo>
                        <a:pt x="253" y="186"/>
                      </a:lnTo>
                      <a:lnTo>
                        <a:pt x="254" y="188"/>
                      </a:lnTo>
                      <a:lnTo>
                        <a:pt x="254" y="191"/>
                      </a:lnTo>
                      <a:lnTo>
                        <a:pt x="249" y="193"/>
                      </a:lnTo>
                      <a:lnTo>
                        <a:pt x="248" y="198"/>
                      </a:lnTo>
                      <a:lnTo>
                        <a:pt x="241" y="199"/>
                      </a:lnTo>
                      <a:lnTo>
                        <a:pt x="241" y="203"/>
                      </a:lnTo>
                      <a:lnTo>
                        <a:pt x="236" y="206"/>
                      </a:lnTo>
                      <a:lnTo>
                        <a:pt x="236" y="211"/>
                      </a:lnTo>
                      <a:lnTo>
                        <a:pt x="233" y="214"/>
                      </a:lnTo>
                      <a:lnTo>
                        <a:pt x="224" y="223"/>
                      </a:lnTo>
                      <a:lnTo>
                        <a:pt x="211" y="231"/>
                      </a:lnTo>
                      <a:lnTo>
                        <a:pt x="198" y="231"/>
                      </a:lnTo>
                      <a:lnTo>
                        <a:pt x="193" y="233"/>
                      </a:lnTo>
                      <a:lnTo>
                        <a:pt x="186" y="234"/>
                      </a:lnTo>
                      <a:lnTo>
                        <a:pt x="180" y="236"/>
                      </a:lnTo>
                      <a:lnTo>
                        <a:pt x="175" y="234"/>
                      </a:lnTo>
                      <a:lnTo>
                        <a:pt x="166" y="236"/>
                      </a:lnTo>
                      <a:lnTo>
                        <a:pt x="166" y="241"/>
                      </a:lnTo>
                      <a:lnTo>
                        <a:pt x="161" y="243"/>
                      </a:lnTo>
                      <a:lnTo>
                        <a:pt x="145" y="243"/>
                      </a:lnTo>
                      <a:lnTo>
                        <a:pt x="141" y="244"/>
                      </a:lnTo>
                      <a:lnTo>
                        <a:pt x="140" y="248"/>
                      </a:lnTo>
                      <a:lnTo>
                        <a:pt x="130" y="253"/>
                      </a:lnTo>
                      <a:lnTo>
                        <a:pt x="121" y="253"/>
                      </a:lnTo>
                      <a:lnTo>
                        <a:pt x="118" y="251"/>
                      </a:lnTo>
                      <a:lnTo>
                        <a:pt x="115" y="251"/>
                      </a:lnTo>
                      <a:lnTo>
                        <a:pt x="113" y="248"/>
                      </a:lnTo>
                      <a:lnTo>
                        <a:pt x="108" y="249"/>
                      </a:lnTo>
                      <a:lnTo>
                        <a:pt x="105" y="256"/>
                      </a:lnTo>
                      <a:lnTo>
                        <a:pt x="95" y="258"/>
                      </a:lnTo>
                      <a:lnTo>
                        <a:pt x="93" y="259"/>
                      </a:lnTo>
                      <a:lnTo>
                        <a:pt x="91" y="259"/>
                      </a:lnTo>
                      <a:lnTo>
                        <a:pt x="83" y="266"/>
                      </a:lnTo>
                      <a:lnTo>
                        <a:pt x="73" y="269"/>
                      </a:lnTo>
                      <a:lnTo>
                        <a:pt x="58" y="274"/>
                      </a:lnTo>
                      <a:lnTo>
                        <a:pt x="53" y="281"/>
                      </a:lnTo>
                      <a:lnTo>
                        <a:pt x="53" y="287"/>
                      </a:lnTo>
                      <a:lnTo>
                        <a:pt x="47" y="292"/>
                      </a:lnTo>
                      <a:lnTo>
                        <a:pt x="43" y="291"/>
                      </a:lnTo>
                      <a:lnTo>
                        <a:pt x="45" y="287"/>
                      </a:lnTo>
                      <a:lnTo>
                        <a:pt x="45" y="284"/>
                      </a:lnTo>
                      <a:lnTo>
                        <a:pt x="47" y="279"/>
                      </a:lnTo>
                      <a:lnTo>
                        <a:pt x="47" y="274"/>
                      </a:lnTo>
                      <a:lnTo>
                        <a:pt x="38" y="281"/>
                      </a:lnTo>
                      <a:lnTo>
                        <a:pt x="37" y="286"/>
                      </a:lnTo>
                      <a:lnTo>
                        <a:pt x="32" y="296"/>
                      </a:lnTo>
                      <a:lnTo>
                        <a:pt x="35" y="302"/>
                      </a:lnTo>
                      <a:lnTo>
                        <a:pt x="33" y="307"/>
                      </a:lnTo>
                      <a:lnTo>
                        <a:pt x="33" y="319"/>
                      </a:lnTo>
                      <a:lnTo>
                        <a:pt x="23" y="329"/>
                      </a:lnTo>
                      <a:lnTo>
                        <a:pt x="20" y="344"/>
                      </a:lnTo>
                      <a:lnTo>
                        <a:pt x="23" y="351"/>
                      </a:lnTo>
                      <a:lnTo>
                        <a:pt x="22" y="361"/>
                      </a:lnTo>
                      <a:lnTo>
                        <a:pt x="30" y="374"/>
                      </a:lnTo>
                      <a:lnTo>
                        <a:pt x="30" y="379"/>
                      </a:lnTo>
                      <a:lnTo>
                        <a:pt x="33" y="382"/>
                      </a:lnTo>
                      <a:lnTo>
                        <a:pt x="30" y="389"/>
                      </a:lnTo>
                      <a:lnTo>
                        <a:pt x="32" y="395"/>
                      </a:lnTo>
                      <a:lnTo>
                        <a:pt x="27" y="397"/>
                      </a:lnTo>
                      <a:lnTo>
                        <a:pt x="25" y="394"/>
                      </a:lnTo>
                      <a:lnTo>
                        <a:pt x="25" y="385"/>
                      </a:lnTo>
                      <a:lnTo>
                        <a:pt x="22" y="390"/>
                      </a:lnTo>
                      <a:lnTo>
                        <a:pt x="20" y="389"/>
                      </a:lnTo>
                      <a:lnTo>
                        <a:pt x="20" y="382"/>
                      </a:lnTo>
                      <a:lnTo>
                        <a:pt x="15" y="372"/>
                      </a:lnTo>
                      <a:lnTo>
                        <a:pt x="12" y="377"/>
                      </a:lnTo>
                      <a:lnTo>
                        <a:pt x="13" y="385"/>
                      </a:lnTo>
                      <a:lnTo>
                        <a:pt x="20" y="392"/>
                      </a:lnTo>
                      <a:lnTo>
                        <a:pt x="25" y="400"/>
                      </a:lnTo>
                      <a:lnTo>
                        <a:pt x="18" y="402"/>
                      </a:lnTo>
                      <a:lnTo>
                        <a:pt x="12" y="395"/>
                      </a:lnTo>
                      <a:lnTo>
                        <a:pt x="12" y="387"/>
                      </a:lnTo>
                      <a:lnTo>
                        <a:pt x="8" y="390"/>
                      </a:lnTo>
                      <a:lnTo>
                        <a:pt x="7" y="392"/>
                      </a:lnTo>
                      <a:lnTo>
                        <a:pt x="10" y="399"/>
                      </a:lnTo>
                      <a:lnTo>
                        <a:pt x="18" y="409"/>
                      </a:lnTo>
                      <a:lnTo>
                        <a:pt x="23" y="420"/>
                      </a:lnTo>
                      <a:lnTo>
                        <a:pt x="23" y="444"/>
                      </a:lnTo>
                      <a:lnTo>
                        <a:pt x="27" y="447"/>
                      </a:lnTo>
                      <a:lnTo>
                        <a:pt x="28" y="460"/>
                      </a:lnTo>
                      <a:lnTo>
                        <a:pt x="37" y="475"/>
                      </a:lnTo>
                      <a:lnTo>
                        <a:pt x="33" y="482"/>
                      </a:lnTo>
                      <a:lnTo>
                        <a:pt x="35" y="507"/>
                      </a:lnTo>
                      <a:lnTo>
                        <a:pt x="33" y="510"/>
                      </a:lnTo>
                      <a:lnTo>
                        <a:pt x="35" y="517"/>
                      </a:lnTo>
                      <a:lnTo>
                        <a:pt x="35" y="523"/>
                      </a:lnTo>
                      <a:lnTo>
                        <a:pt x="40" y="535"/>
                      </a:lnTo>
                      <a:lnTo>
                        <a:pt x="42" y="540"/>
                      </a:lnTo>
                      <a:lnTo>
                        <a:pt x="37" y="543"/>
                      </a:lnTo>
                      <a:lnTo>
                        <a:pt x="38" y="545"/>
                      </a:lnTo>
                      <a:lnTo>
                        <a:pt x="37" y="552"/>
                      </a:lnTo>
                      <a:lnTo>
                        <a:pt x="37" y="560"/>
                      </a:lnTo>
                      <a:lnTo>
                        <a:pt x="32" y="565"/>
                      </a:lnTo>
                      <a:lnTo>
                        <a:pt x="33" y="566"/>
                      </a:lnTo>
                      <a:lnTo>
                        <a:pt x="32" y="573"/>
                      </a:lnTo>
                      <a:lnTo>
                        <a:pt x="28" y="575"/>
                      </a:lnTo>
                      <a:lnTo>
                        <a:pt x="28" y="581"/>
                      </a:lnTo>
                      <a:lnTo>
                        <a:pt x="20" y="586"/>
                      </a:lnTo>
                      <a:lnTo>
                        <a:pt x="17" y="583"/>
                      </a:lnTo>
                      <a:lnTo>
                        <a:pt x="12" y="591"/>
                      </a:lnTo>
                      <a:lnTo>
                        <a:pt x="12" y="606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2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grpSp>
              <p:nvGrpSpPr>
                <p:cNvPr id="516" name="Google Shape;3061;p98">
                  <a:extLst>
                    <a:ext uri="{FF2B5EF4-FFF2-40B4-BE49-F238E27FC236}">
                      <a16:creationId xmlns:a16="http://schemas.microsoft.com/office/drawing/2014/main" id="{5184F7E1-BE7F-3926-08A9-A38D1646DB58}"/>
                    </a:ext>
                  </a:extLst>
                </p:cNvPr>
                <p:cNvGrpSpPr/>
                <p:nvPr/>
              </p:nvGrpSpPr>
              <p:grpSpPr>
                <a:xfrm>
                  <a:off x="6156845" y="1962823"/>
                  <a:ext cx="2253177" cy="884806"/>
                  <a:chOff x="6156014" y="1963391"/>
                  <a:chExt cx="2252873" cy="885062"/>
                </a:xfrm>
                <a:grpFill/>
              </p:grpSpPr>
              <p:sp>
                <p:nvSpPr>
                  <p:cNvPr id="615" name="Google Shape;3062;p98">
                    <a:extLst>
                      <a:ext uri="{FF2B5EF4-FFF2-40B4-BE49-F238E27FC236}">
                        <a16:creationId xmlns:a16="http://schemas.microsoft.com/office/drawing/2014/main" id="{7B9E8F9E-F69B-77A7-0310-950525DD8438}"/>
                      </a:ext>
                    </a:extLst>
                  </p:cNvPr>
                  <p:cNvSpPr/>
                  <p:nvPr/>
                </p:nvSpPr>
                <p:spPr>
                  <a:xfrm>
                    <a:off x="6700770" y="1963391"/>
                    <a:ext cx="1708117" cy="80413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193" h="1550" extrusionOk="0">
                        <a:moveTo>
                          <a:pt x="2477" y="1409"/>
                        </a:moveTo>
                        <a:lnTo>
                          <a:pt x="2477" y="1407"/>
                        </a:lnTo>
                        <a:lnTo>
                          <a:pt x="2472" y="1404"/>
                        </a:lnTo>
                        <a:lnTo>
                          <a:pt x="2472" y="1404"/>
                        </a:lnTo>
                        <a:lnTo>
                          <a:pt x="2474" y="1402"/>
                        </a:lnTo>
                        <a:lnTo>
                          <a:pt x="2474" y="1399"/>
                        </a:lnTo>
                        <a:lnTo>
                          <a:pt x="2472" y="1399"/>
                        </a:lnTo>
                        <a:lnTo>
                          <a:pt x="2470" y="1394"/>
                        </a:lnTo>
                        <a:lnTo>
                          <a:pt x="2470" y="1392"/>
                        </a:lnTo>
                        <a:lnTo>
                          <a:pt x="2474" y="1391"/>
                        </a:lnTo>
                        <a:lnTo>
                          <a:pt x="2480" y="1392"/>
                        </a:lnTo>
                        <a:lnTo>
                          <a:pt x="2480" y="1391"/>
                        </a:lnTo>
                        <a:lnTo>
                          <a:pt x="2482" y="1387"/>
                        </a:lnTo>
                        <a:lnTo>
                          <a:pt x="2480" y="1386"/>
                        </a:lnTo>
                        <a:lnTo>
                          <a:pt x="2480" y="1382"/>
                        </a:lnTo>
                        <a:lnTo>
                          <a:pt x="2482" y="1381"/>
                        </a:lnTo>
                        <a:lnTo>
                          <a:pt x="2482" y="1376"/>
                        </a:lnTo>
                        <a:lnTo>
                          <a:pt x="2482" y="1372"/>
                        </a:lnTo>
                        <a:lnTo>
                          <a:pt x="2479" y="1371"/>
                        </a:lnTo>
                        <a:lnTo>
                          <a:pt x="2479" y="1362"/>
                        </a:lnTo>
                        <a:lnTo>
                          <a:pt x="2479" y="1359"/>
                        </a:lnTo>
                        <a:lnTo>
                          <a:pt x="2477" y="1354"/>
                        </a:lnTo>
                        <a:lnTo>
                          <a:pt x="2477" y="1351"/>
                        </a:lnTo>
                        <a:lnTo>
                          <a:pt x="2475" y="1346"/>
                        </a:lnTo>
                        <a:lnTo>
                          <a:pt x="2474" y="1344"/>
                        </a:lnTo>
                        <a:lnTo>
                          <a:pt x="2472" y="1341"/>
                        </a:lnTo>
                        <a:lnTo>
                          <a:pt x="2465" y="1333"/>
                        </a:lnTo>
                        <a:lnTo>
                          <a:pt x="2464" y="1329"/>
                        </a:lnTo>
                        <a:lnTo>
                          <a:pt x="2465" y="1328"/>
                        </a:lnTo>
                        <a:lnTo>
                          <a:pt x="2469" y="1326"/>
                        </a:lnTo>
                        <a:lnTo>
                          <a:pt x="2472" y="1324"/>
                        </a:lnTo>
                        <a:lnTo>
                          <a:pt x="2474" y="1323"/>
                        </a:lnTo>
                        <a:lnTo>
                          <a:pt x="2475" y="1319"/>
                        </a:lnTo>
                        <a:lnTo>
                          <a:pt x="2479" y="1313"/>
                        </a:lnTo>
                        <a:lnTo>
                          <a:pt x="2480" y="1313"/>
                        </a:lnTo>
                        <a:lnTo>
                          <a:pt x="2485" y="1314"/>
                        </a:lnTo>
                        <a:lnTo>
                          <a:pt x="2489" y="1314"/>
                        </a:lnTo>
                        <a:lnTo>
                          <a:pt x="2504" y="1318"/>
                        </a:lnTo>
                        <a:lnTo>
                          <a:pt x="2505" y="1318"/>
                        </a:lnTo>
                        <a:lnTo>
                          <a:pt x="2509" y="1318"/>
                        </a:lnTo>
                        <a:lnTo>
                          <a:pt x="2510" y="1316"/>
                        </a:lnTo>
                        <a:lnTo>
                          <a:pt x="2510" y="1313"/>
                        </a:lnTo>
                        <a:lnTo>
                          <a:pt x="2509" y="1309"/>
                        </a:lnTo>
                        <a:lnTo>
                          <a:pt x="2509" y="1308"/>
                        </a:lnTo>
                        <a:lnTo>
                          <a:pt x="2509" y="1306"/>
                        </a:lnTo>
                        <a:lnTo>
                          <a:pt x="2509" y="1304"/>
                        </a:lnTo>
                        <a:lnTo>
                          <a:pt x="2507" y="1301"/>
                        </a:lnTo>
                        <a:lnTo>
                          <a:pt x="2509" y="1298"/>
                        </a:lnTo>
                        <a:lnTo>
                          <a:pt x="2510" y="1296"/>
                        </a:lnTo>
                        <a:lnTo>
                          <a:pt x="2510" y="1293"/>
                        </a:lnTo>
                        <a:lnTo>
                          <a:pt x="2509" y="1289"/>
                        </a:lnTo>
                        <a:lnTo>
                          <a:pt x="2510" y="1288"/>
                        </a:lnTo>
                        <a:lnTo>
                          <a:pt x="2512" y="1288"/>
                        </a:lnTo>
                        <a:lnTo>
                          <a:pt x="2512" y="1284"/>
                        </a:lnTo>
                        <a:lnTo>
                          <a:pt x="2512" y="1283"/>
                        </a:lnTo>
                        <a:lnTo>
                          <a:pt x="2510" y="1279"/>
                        </a:lnTo>
                        <a:lnTo>
                          <a:pt x="2510" y="1278"/>
                        </a:lnTo>
                        <a:lnTo>
                          <a:pt x="2514" y="1276"/>
                        </a:lnTo>
                        <a:lnTo>
                          <a:pt x="2514" y="1274"/>
                        </a:lnTo>
                        <a:lnTo>
                          <a:pt x="2512" y="1271"/>
                        </a:lnTo>
                        <a:lnTo>
                          <a:pt x="2510" y="1268"/>
                        </a:lnTo>
                        <a:lnTo>
                          <a:pt x="2510" y="1263"/>
                        </a:lnTo>
                        <a:lnTo>
                          <a:pt x="2512" y="1261"/>
                        </a:lnTo>
                        <a:lnTo>
                          <a:pt x="2512" y="1261"/>
                        </a:lnTo>
                        <a:lnTo>
                          <a:pt x="2512" y="1259"/>
                        </a:lnTo>
                        <a:lnTo>
                          <a:pt x="2512" y="1258"/>
                        </a:lnTo>
                        <a:lnTo>
                          <a:pt x="2512" y="1255"/>
                        </a:lnTo>
                        <a:lnTo>
                          <a:pt x="2509" y="1253"/>
                        </a:lnTo>
                        <a:lnTo>
                          <a:pt x="2509" y="1251"/>
                        </a:lnTo>
                        <a:lnTo>
                          <a:pt x="2509" y="1248"/>
                        </a:lnTo>
                        <a:lnTo>
                          <a:pt x="2510" y="1245"/>
                        </a:lnTo>
                        <a:lnTo>
                          <a:pt x="2509" y="1243"/>
                        </a:lnTo>
                        <a:lnTo>
                          <a:pt x="2507" y="1241"/>
                        </a:lnTo>
                        <a:lnTo>
                          <a:pt x="2507" y="1240"/>
                        </a:lnTo>
                        <a:lnTo>
                          <a:pt x="2510" y="1235"/>
                        </a:lnTo>
                        <a:lnTo>
                          <a:pt x="2514" y="1235"/>
                        </a:lnTo>
                        <a:lnTo>
                          <a:pt x="2514" y="1233"/>
                        </a:lnTo>
                        <a:lnTo>
                          <a:pt x="2515" y="1230"/>
                        </a:lnTo>
                        <a:lnTo>
                          <a:pt x="2515" y="1225"/>
                        </a:lnTo>
                        <a:lnTo>
                          <a:pt x="2512" y="1223"/>
                        </a:lnTo>
                        <a:lnTo>
                          <a:pt x="2510" y="1221"/>
                        </a:lnTo>
                        <a:lnTo>
                          <a:pt x="2510" y="1218"/>
                        </a:lnTo>
                        <a:lnTo>
                          <a:pt x="2505" y="1213"/>
                        </a:lnTo>
                        <a:lnTo>
                          <a:pt x="2505" y="1211"/>
                        </a:lnTo>
                        <a:lnTo>
                          <a:pt x="2507" y="1210"/>
                        </a:lnTo>
                        <a:lnTo>
                          <a:pt x="2505" y="1206"/>
                        </a:lnTo>
                        <a:lnTo>
                          <a:pt x="2504" y="1203"/>
                        </a:lnTo>
                        <a:lnTo>
                          <a:pt x="2499" y="1203"/>
                        </a:lnTo>
                        <a:lnTo>
                          <a:pt x="2497" y="1201"/>
                        </a:lnTo>
                        <a:lnTo>
                          <a:pt x="2492" y="1200"/>
                        </a:lnTo>
                        <a:lnTo>
                          <a:pt x="2490" y="1201"/>
                        </a:lnTo>
                        <a:lnTo>
                          <a:pt x="2485" y="1203"/>
                        </a:lnTo>
                        <a:lnTo>
                          <a:pt x="2484" y="1205"/>
                        </a:lnTo>
                        <a:lnTo>
                          <a:pt x="2482" y="1208"/>
                        </a:lnTo>
                        <a:lnTo>
                          <a:pt x="2480" y="1208"/>
                        </a:lnTo>
                        <a:lnTo>
                          <a:pt x="2477" y="1210"/>
                        </a:lnTo>
                        <a:lnTo>
                          <a:pt x="2477" y="1213"/>
                        </a:lnTo>
                        <a:lnTo>
                          <a:pt x="2472" y="1213"/>
                        </a:lnTo>
                        <a:lnTo>
                          <a:pt x="2469" y="1213"/>
                        </a:lnTo>
                        <a:lnTo>
                          <a:pt x="2467" y="1216"/>
                        </a:lnTo>
                        <a:lnTo>
                          <a:pt x="2467" y="1220"/>
                        </a:lnTo>
                        <a:lnTo>
                          <a:pt x="2464" y="1221"/>
                        </a:lnTo>
                        <a:lnTo>
                          <a:pt x="2462" y="1226"/>
                        </a:lnTo>
                        <a:lnTo>
                          <a:pt x="2462" y="1228"/>
                        </a:lnTo>
                        <a:lnTo>
                          <a:pt x="2460" y="1230"/>
                        </a:lnTo>
                        <a:lnTo>
                          <a:pt x="2457" y="1231"/>
                        </a:lnTo>
                        <a:lnTo>
                          <a:pt x="2450" y="1233"/>
                        </a:lnTo>
                        <a:lnTo>
                          <a:pt x="2449" y="1233"/>
                        </a:lnTo>
                        <a:lnTo>
                          <a:pt x="2444" y="1233"/>
                        </a:lnTo>
                        <a:lnTo>
                          <a:pt x="2442" y="1235"/>
                        </a:lnTo>
                        <a:lnTo>
                          <a:pt x="2441" y="1236"/>
                        </a:lnTo>
                        <a:lnTo>
                          <a:pt x="2439" y="1233"/>
                        </a:lnTo>
                        <a:lnTo>
                          <a:pt x="2436" y="1230"/>
                        </a:lnTo>
                        <a:lnTo>
                          <a:pt x="2432" y="1230"/>
                        </a:lnTo>
                        <a:lnTo>
                          <a:pt x="2429" y="1231"/>
                        </a:lnTo>
                        <a:lnTo>
                          <a:pt x="2426" y="1233"/>
                        </a:lnTo>
                        <a:lnTo>
                          <a:pt x="2424" y="1231"/>
                        </a:lnTo>
                        <a:lnTo>
                          <a:pt x="2421" y="1226"/>
                        </a:lnTo>
                        <a:lnTo>
                          <a:pt x="2419" y="1225"/>
                        </a:lnTo>
                        <a:lnTo>
                          <a:pt x="2414" y="1220"/>
                        </a:lnTo>
                        <a:lnTo>
                          <a:pt x="2414" y="1216"/>
                        </a:lnTo>
                        <a:lnTo>
                          <a:pt x="2416" y="1216"/>
                        </a:lnTo>
                        <a:lnTo>
                          <a:pt x="2416" y="1211"/>
                        </a:lnTo>
                        <a:lnTo>
                          <a:pt x="2414" y="1208"/>
                        </a:lnTo>
                        <a:lnTo>
                          <a:pt x="2414" y="1205"/>
                        </a:lnTo>
                        <a:lnTo>
                          <a:pt x="2409" y="1205"/>
                        </a:lnTo>
                        <a:lnTo>
                          <a:pt x="2409" y="1201"/>
                        </a:lnTo>
                        <a:lnTo>
                          <a:pt x="2409" y="1198"/>
                        </a:lnTo>
                        <a:lnTo>
                          <a:pt x="2411" y="1196"/>
                        </a:lnTo>
                        <a:lnTo>
                          <a:pt x="2412" y="1193"/>
                        </a:lnTo>
                        <a:lnTo>
                          <a:pt x="2409" y="1193"/>
                        </a:lnTo>
                        <a:lnTo>
                          <a:pt x="2407" y="1193"/>
                        </a:lnTo>
                        <a:lnTo>
                          <a:pt x="2406" y="1195"/>
                        </a:lnTo>
                        <a:lnTo>
                          <a:pt x="2402" y="1195"/>
                        </a:lnTo>
                        <a:lnTo>
                          <a:pt x="2399" y="1195"/>
                        </a:lnTo>
                        <a:lnTo>
                          <a:pt x="2396" y="1195"/>
                        </a:lnTo>
                        <a:lnTo>
                          <a:pt x="2394" y="1193"/>
                        </a:lnTo>
                        <a:lnTo>
                          <a:pt x="2392" y="1193"/>
                        </a:lnTo>
                        <a:lnTo>
                          <a:pt x="2391" y="1191"/>
                        </a:lnTo>
                        <a:lnTo>
                          <a:pt x="2386" y="1190"/>
                        </a:lnTo>
                        <a:lnTo>
                          <a:pt x="2384" y="1188"/>
                        </a:lnTo>
                        <a:lnTo>
                          <a:pt x="2382" y="1185"/>
                        </a:lnTo>
                        <a:lnTo>
                          <a:pt x="2381" y="1186"/>
                        </a:lnTo>
                        <a:lnTo>
                          <a:pt x="2379" y="1183"/>
                        </a:lnTo>
                        <a:lnTo>
                          <a:pt x="2377" y="1181"/>
                        </a:lnTo>
                        <a:lnTo>
                          <a:pt x="2376" y="1181"/>
                        </a:lnTo>
                        <a:lnTo>
                          <a:pt x="2372" y="1178"/>
                        </a:lnTo>
                        <a:lnTo>
                          <a:pt x="2372" y="1176"/>
                        </a:lnTo>
                        <a:lnTo>
                          <a:pt x="2371" y="1175"/>
                        </a:lnTo>
                        <a:lnTo>
                          <a:pt x="2367" y="1175"/>
                        </a:lnTo>
                        <a:lnTo>
                          <a:pt x="2366" y="1178"/>
                        </a:lnTo>
                        <a:lnTo>
                          <a:pt x="2364" y="1176"/>
                        </a:lnTo>
                        <a:lnTo>
                          <a:pt x="2361" y="1178"/>
                        </a:lnTo>
                        <a:lnTo>
                          <a:pt x="2361" y="1180"/>
                        </a:lnTo>
                        <a:lnTo>
                          <a:pt x="2357" y="1178"/>
                        </a:lnTo>
                        <a:lnTo>
                          <a:pt x="2356" y="1176"/>
                        </a:lnTo>
                        <a:lnTo>
                          <a:pt x="2354" y="1175"/>
                        </a:lnTo>
                        <a:lnTo>
                          <a:pt x="2349" y="1175"/>
                        </a:lnTo>
                        <a:lnTo>
                          <a:pt x="2348" y="1173"/>
                        </a:lnTo>
                        <a:lnTo>
                          <a:pt x="2349" y="1171"/>
                        </a:lnTo>
                        <a:lnTo>
                          <a:pt x="2349" y="1170"/>
                        </a:lnTo>
                        <a:lnTo>
                          <a:pt x="2346" y="1170"/>
                        </a:lnTo>
                        <a:lnTo>
                          <a:pt x="2343" y="1171"/>
                        </a:lnTo>
                        <a:lnTo>
                          <a:pt x="2338" y="1171"/>
                        </a:lnTo>
                        <a:lnTo>
                          <a:pt x="2336" y="1173"/>
                        </a:lnTo>
                        <a:lnTo>
                          <a:pt x="2334" y="1171"/>
                        </a:lnTo>
                        <a:lnTo>
                          <a:pt x="2331" y="1171"/>
                        </a:lnTo>
                        <a:lnTo>
                          <a:pt x="2328" y="1171"/>
                        </a:lnTo>
                        <a:lnTo>
                          <a:pt x="2326" y="1168"/>
                        </a:lnTo>
                        <a:lnTo>
                          <a:pt x="2323" y="1168"/>
                        </a:lnTo>
                        <a:lnTo>
                          <a:pt x="2316" y="1161"/>
                        </a:lnTo>
                        <a:lnTo>
                          <a:pt x="2314" y="1158"/>
                        </a:lnTo>
                        <a:lnTo>
                          <a:pt x="2314" y="1155"/>
                        </a:lnTo>
                        <a:lnTo>
                          <a:pt x="2314" y="1152"/>
                        </a:lnTo>
                        <a:lnTo>
                          <a:pt x="2311" y="1152"/>
                        </a:lnTo>
                        <a:lnTo>
                          <a:pt x="2308" y="1150"/>
                        </a:lnTo>
                        <a:lnTo>
                          <a:pt x="2308" y="1145"/>
                        </a:lnTo>
                        <a:lnTo>
                          <a:pt x="2306" y="1143"/>
                        </a:lnTo>
                        <a:lnTo>
                          <a:pt x="2306" y="1140"/>
                        </a:lnTo>
                        <a:lnTo>
                          <a:pt x="2304" y="1135"/>
                        </a:lnTo>
                        <a:lnTo>
                          <a:pt x="2294" y="1130"/>
                        </a:lnTo>
                        <a:lnTo>
                          <a:pt x="2291" y="1125"/>
                        </a:lnTo>
                        <a:lnTo>
                          <a:pt x="2289" y="1122"/>
                        </a:lnTo>
                        <a:lnTo>
                          <a:pt x="2288" y="1118"/>
                        </a:lnTo>
                        <a:lnTo>
                          <a:pt x="2284" y="1120"/>
                        </a:lnTo>
                        <a:lnTo>
                          <a:pt x="2284" y="1118"/>
                        </a:lnTo>
                        <a:lnTo>
                          <a:pt x="2284" y="1117"/>
                        </a:lnTo>
                        <a:lnTo>
                          <a:pt x="2284" y="1115"/>
                        </a:lnTo>
                        <a:lnTo>
                          <a:pt x="2281" y="1112"/>
                        </a:lnTo>
                        <a:lnTo>
                          <a:pt x="2279" y="1108"/>
                        </a:lnTo>
                        <a:lnTo>
                          <a:pt x="2278" y="1107"/>
                        </a:lnTo>
                        <a:lnTo>
                          <a:pt x="2276" y="1105"/>
                        </a:lnTo>
                        <a:lnTo>
                          <a:pt x="2273" y="1100"/>
                        </a:lnTo>
                        <a:lnTo>
                          <a:pt x="2271" y="1097"/>
                        </a:lnTo>
                        <a:lnTo>
                          <a:pt x="2266" y="1093"/>
                        </a:lnTo>
                        <a:lnTo>
                          <a:pt x="2266" y="1092"/>
                        </a:lnTo>
                        <a:lnTo>
                          <a:pt x="2268" y="1088"/>
                        </a:lnTo>
                        <a:lnTo>
                          <a:pt x="2266" y="1087"/>
                        </a:lnTo>
                        <a:lnTo>
                          <a:pt x="2259" y="1087"/>
                        </a:lnTo>
                        <a:lnTo>
                          <a:pt x="2259" y="1085"/>
                        </a:lnTo>
                        <a:lnTo>
                          <a:pt x="2259" y="1082"/>
                        </a:lnTo>
                        <a:lnTo>
                          <a:pt x="2258" y="1080"/>
                        </a:lnTo>
                        <a:lnTo>
                          <a:pt x="2258" y="1077"/>
                        </a:lnTo>
                        <a:lnTo>
                          <a:pt x="2256" y="1075"/>
                        </a:lnTo>
                        <a:lnTo>
                          <a:pt x="2253" y="1073"/>
                        </a:lnTo>
                        <a:lnTo>
                          <a:pt x="2253" y="1072"/>
                        </a:lnTo>
                        <a:lnTo>
                          <a:pt x="2251" y="1070"/>
                        </a:lnTo>
                        <a:lnTo>
                          <a:pt x="2250" y="1070"/>
                        </a:lnTo>
                        <a:lnTo>
                          <a:pt x="2246" y="1068"/>
                        </a:lnTo>
                        <a:lnTo>
                          <a:pt x="2245" y="1067"/>
                        </a:lnTo>
                        <a:lnTo>
                          <a:pt x="2246" y="1065"/>
                        </a:lnTo>
                        <a:lnTo>
                          <a:pt x="2245" y="1063"/>
                        </a:lnTo>
                        <a:lnTo>
                          <a:pt x="2241" y="1062"/>
                        </a:lnTo>
                        <a:lnTo>
                          <a:pt x="2240" y="1063"/>
                        </a:lnTo>
                        <a:lnTo>
                          <a:pt x="2238" y="1062"/>
                        </a:lnTo>
                        <a:lnTo>
                          <a:pt x="2235" y="1062"/>
                        </a:lnTo>
                        <a:lnTo>
                          <a:pt x="2235" y="1060"/>
                        </a:lnTo>
                        <a:lnTo>
                          <a:pt x="2235" y="1059"/>
                        </a:lnTo>
                        <a:lnTo>
                          <a:pt x="2233" y="1055"/>
                        </a:lnTo>
                        <a:lnTo>
                          <a:pt x="2230" y="1055"/>
                        </a:lnTo>
                        <a:lnTo>
                          <a:pt x="2228" y="1055"/>
                        </a:lnTo>
                        <a:lnTo>
                          <a:pt x="2226" y="1052"/>
                        </a:lnTo>
                        <a:lnTo>
                          <a:pt x="2223" y="1054"/>
                        </a:lnTo>
                        <a:lnTo>
                          <a:pt x="2220" y="1054"/>
                        </a:lnTo>
                        <a:lnTo>
                          <a:pt x="2218" y="1052"/>
                        </a:lnTo>
                        <a:lnTo>
                          <a:pt x="2216" y="1054"/>
                        </a:lnTo>
                        <a:lnTo>
                          <a:pt x="2216" y="1057"/>
                        </a:lnTo>
                        <a:lnTo>
                          <a:pt x="2215" y="1057"/>
                        </a:lnTo>
                        <a:lnTo>
                          <a:pt x="2210" y="1055"/>
                        </a:lnTo>
                        <a:lnTo>
                          <a:pt x="2208" y="1054"/>
                        </a:lnTo>
                        <a:lnTo>
                          <a:pt x="2205" y="1055"/>
                        </a:lnTo>
                        <a:lnTo>
                          <a:pt x="2200" y="1055"/>
                        </a:lnTo>
                        <a:lnTo>
                          <a:pt x="2198" y="1054"/>
                        </a:lnTo>
                        <a:lnTo>
                          <a:pt x="2196" y="1050"/>
                        </a:lnTo>
                        <a:lnTo>
                          <a:pt x="2188" y="1050"/>
                        </a:lnTo>
                        <a:lnTo>
                          <a:pt x="2185" y="1049"/>
                        </a:lnTo>
                        <a:lnTo>
                          <a:pt x="2181" y="1047"/>
                        </a:lnTo>
                        <a:lnTo>
                          <a:pt x="2178" y="1047"/>
                        </a:lnTo>
                        <a:lnTo>
                          <a:pt x="2176" y="1047"/>
                        </a:lnTo>
                        <a:lnTo>
                          <a:pt x="2170" y="1049"/>
                        </a:lnTo>
                        <a:lnTo>
                          <a:pt x="2168" y="1052"/>
                        </a:lnTo>
                        <a:lnTo>
                          <a:pt x="2166" y="1052"/>
                        </a:lnTo>
                        <a:lnTo>
                          <a:pt x="2165" y="1054"/>
                        </a:lnTo>
                        <a:lnTo>
                          <a:pt x="2160" y="1054"/>
                        </a:lnTo>
                        <a:lnTo>
                          <a:pt x="2156" y="1054"/>
                        </a:lnTo>
                        <a:lnTo>
                          <a:pt x="2151" y="1054"/>
                        </a:lnTo>
                        <a:lnTo>
                          <a:pt x="2148" y="1055"/>
                        </a:lnTo>
                        <a:lnTo>
                          <a:pt x="2145" y="1055"/>
                        </a:lnTo>
                        <a:lnTo>
                          <a:pt x="2142" y="1059"/>
                        </a:lnTo>
                        <a:lnTo>
                          <a:pt x="2138" y="1060"/>
                        </a:lnTo>
                        <a:lnTo>
                          <a:pt x="2135" y="1060"/>
                        </a:lnTo>
                        <a:lnTo>
                          <a:pt x="2135" y="1060"/>
                        </a:lnTo>
                        <a:lnTo>
                          <a:pt x="2132" y="1062"/>
                        </a:lnTo>
                        <a:lnTo>
                          <a:pt x="2128" y="1062"/>
                        </a:lnTo>
                        <a:lnTo>
                          <a:pt x="2122" y="1062"/>
                        </a:lnTo>
                        <a:lnTo>
                          <a:pt x="2120" y="1065"/>
                        </a:lnTo>
                        <a:lnTo>
                          <a:pt x="2120" y="1067"/>
                        </a:lnTo>
                        <a:lnTo>
                          <a:pt x="2115" y="1072"/>
                        </a:lnTo>
                        <a:lnTo>
                          <a:pt x="2115" y="1075"/>
                        </a:lnTo>
                        <a:lnTo>
                          <a:pt x="2112" y="1077"/>
                        </a:lnTo>
                        <a:lnTo>
                          <a:pt x="2112" y="1080"/>
                        </a:lnTo>
                        <a:lnTo>
                          <a:pt x="2110" y="1082"/>
                        </a:lnTo>
                        <a:lnTo>
                          <a:pt x="2110" y="1087"/>
                        </a:lnTo>
                        <a:lnTo>
                          <a:pt x="2112" y="1088"/>
                        </a:lnTo>
                        <a:lnTo>
                          <a:pt x="2115" y="1088"/>
                        </a:lnTo>
                        <a:lnTo>
                          <a:pt x="2120" y="1087"/>
                        </a:lnTo>
                        <a:lnTo>
                          <a:pt x="2123" y="1085"/>
                        </a:lnTo>
                        <a:lnTo>
                          <a:pt x="2127" y="1085"/>
                        </a:lnTo>
                        <a:lnTo>
                          <a:pt x="2130" y="1090"/>
                        </a:lnTo>
                        <a:lnTo>
                          <a:pt x="2132" y="1095"/>
                        </a:lnTo>
                        <a:lnTo>
                          <a:pt x="2135" y="1097"/>
                        </a:lnTo>
                        <a:lnTo>
                          <a:pt x="2135" y="1100"/>
                        </a:lnTo>
                        <a:lnTo>
                          <a:pt x="2137" y="1103"/>
                        </a:lnTo>
                        <a:lnTo>
                          <a:pt x="2137" y="1108"/>
                        </a:lnTo>
                        <a:lnTo>
                          <a:pt x="2133" y="1110"/>
                        </a:lnTo>
                        <a:lnTo>
                          <a:pt x="2130" y="1115"/>
                        </a:lnTo>
                        <a:lnTo>
                          <a:pt x="2128" y="1120"/>
                        </a:lnTo>
                        <a:lnTo>
                          <a:pt x="2127" y="1122"/>
                        </a:lnTo>
                        <a:lnTo>
                          <a:pt x="2123" y="1127"/>
                        </a:lnTo>
                        <a:lnTo>
                          <a:pt x="2123" y="1130"/>
                        </a:lnTo>
                        <a:lnTo>
                          <a:pt x="2125" y="1133"/>
                        </a:lnTo>
                        <a:lnTo>
                          <a:pt x="2125" y="1137"/>
                        </a:lnTo>
                        <a:lnTo>
                          <a:pt x="2125" y="1140"/>
                        </a:lnTo>
                        <a:lnTo>
                          <a:pt x="2128" y="1143"/>
                        </a:lnTo>
                        <a:lnTo>
                          <a:pt x="2128" y="1147"/>
                        </a:lnTo>
                        <a:lnTo>
                          <a:pt x="2125" y="1148"/>
                        </a:lnTo>
                        <a:lnTo>
                          <a:pt x="2123" y="1152"/>
                        </a:lnTo>
                        <a:lnTo>
                          <a:pt x="2125" y="1155"/>
                        </a:lnTo>
                        <a:lnTo>
                          <a:pt x="2125" y="1161"/>
                        </a:lnTo>
                        <a:lnTo>
                          <a:pt x="2125" y="1163"/>
                        </a:lnTo>
                        <a:lnTo>
                          <a:pt x="2125" y="1170"/>
                        </a:lnTo>
                        <a:lnTo>
                          <a:pt x="2127" y="1170"/>
                        </a:lnTo>
                        <a:lnTo>
                          <a:pt x="2128" y="1171"/>
                        </a:lnTo>
                        <a:lnTo>
                          <a:pt x="2132" y="1170"/>
                        </a:lnTo>
                        <a:lnTo>
                          <a:pt x="2133" y="1171"/>
                        </a:lnTo>
                        <a:lnTo>
                          <a:pt x="2133" y="1175"/>
                        </a:lnTo>
                        <a:lnTo>
                          <a:pt x="2132" y="1180"/>
                        </a:lnTo>
                        <a:lnTo>
                          <a:pt x="2128" y="1183"/>
                        </a:lnTo>
                        <a:lnTo>
                          <a:pt x="2120" y="1185"/>
                        </a:lnTo>
                        <a:lnTo>
                          <a:pt x="2115" y="1188"/>
                        </a:lnTo>
                        <a:lnTo>
                          <a:pt x="2103" y="1198"/>
                        </a:lnTo>
                        <a:lnTo>
                          <a:pt x="2100" y="1198"/>
                        </a:lnTo>
                        <a:lnTo>
                          <a:pt x="2097" y="1195"/>
                        </a:lnTo>
                        <a:lnTo>
                          <a:pt x="2090" y="1195"/>
                        </a:lnTo>
                        <a:lnTo>
                          <a:pt x="2085" y="1195"/>
                        </a:lnTo>
                        <a:lnTo>
                          <a:pt x="2085" y="1193"/>
                        </a:lnTo>
                        <a:lnTo>
                          <a:pt x="2080" y="1193"/>
                        </a:lnTo>
                        <a:lnTo>
                          <a:pt x="2078" y="1195"/>
                        </a:lnTo>
                        <a:lnTo>
                          <a:pt x="2075" y="1191"/>
                        </a:lnTo>
                        <a:lnTo>
                          <a:pt x="2067" y="1190"/>
                        </a:lnTo>
                        <a:lnTo>
                          <a:pt x="2058" y="1190"/>
                        </a:lnTo>
                        <a:lnTo>
                          <a:pt x="2058" y="1193"/>
                        </a:lnTo>
                        <a:lnTo>
                          <a:pt x="2053" y="1196"/>
                        </a:lnTo>
                        <a:lnTo>
                          <a:pt x="2049" y="1196"/>
                        </a:lnTo>
                        <a:lnTo>
                          <a:pt x="2047" y="1195"/>
                        </a:lnTo>
                        <a:lnTo>
                          <a:pt x="2042" y="1196"/>
                        </a:lnTo>
                        <a:lnTo>
                          <a:pt x="2039" y="1195"/>
                        </a:lnTo>
                        <a:lnTo>
                          <a:pt x="2035" y="1191"/>
                        </a:lnTo>
                        <a:lnTo>
                          <a:pt x="2030" y="1188"/>
                        </a:lnTo>
                        <a:lnTo>
                          <a:pt x="2025" y="1188"/>
                        </a:lnTo>
                        <a:lnTo>
                          <a:pt x="2019" y="1190"/>
                        </a:lnTo>
                        <a:lnTo>
                          <a:pt x="2017" y="1188"/>
                        </a:lnTo>
                        <a:lnTo>
                          <a:pt x="2012" y="1188"/>
                        </a:lnTo>
                        <a:lnTo>
                          <a:pt x="2009" y="1191"/>
                        </a:lnTo>
                        <a:lnTo>
                          <a:pt x="2007" y="1196"/>
                        </a:lnTo>
                        <a:lnTo>
                          <a:pt x="2004" y="1200"/>
                        </a:lnTo>
                        <a:lnTo>
                          <a:pt x="1999" y="1201"/>
                        </a:lnTo>
                        <a:lnTo>
                          <a:pt x="1995" y="1205"/>
                        </a:lnTo>
                        <a:lnTo>
                          <a:pt x="1995" y="1208"/>
                        </a:lnTo>
                        <a:lnTo>
                          <a:pt x="1994" y="1211"/>
                        </a:lnTo>
                        <a:lnTo>
                          <a:pt x="1989" y="1215"/>
                        </a:lnTo>
                        <a:lnTo>
                          <a:pt x="1977" y="1215"/>
                        </a:lnTo>
                        <a:lnTo>
                          <a:pt x="1974" y="1216"/>
                        </a:lnTo>
                        <a:lnTo>
                          <a:pt x="1970" y="1220"/>
                        </a:lnTo>
                        <a:lnTo>
                          <a:pt x="1964" y="1220"/>
                        </a:lnTo>
                        <a:lnTo>
                          <a:pt x="1955" y="1225"/>
                        </a:lnTo>
                        <a:lnTo>
                          <a:pt x="1951" y="1230"/>
                        </a:lnTo>
                        <a:lnTo>
                          <a:pt x="1949" y="1230"/>
                        </a:lnTo>
                        <a:lnTo>
                          <a:pt x="1944" y="1228"/>
                        </a:lnTo>
                        <a:lnTo>
                          <a:pt x="1939" y="1228"/>
                        </a:lnTo>
                        <a:lnTo>
                          <a:pt x="1936" y="1230"/>
                        </a:lnTo>
                        <a:lnTo>
                          <a:pt x="1931" y="1231"/>
                        </a:lnTo>
                        <a:lnTo>
                          <a:pt x="1916" y="1231"/>
                        </a:lnTo>
                        <a:lnTo>
                          <a:pt x="1906" y="1228"/>
                        </a:lnTo>
                        <a:lnTo>
                          <a:pt x="1896" y="1230"/>
                        </a:lnTo>
                        <a:lnTo>
                          <a:pt x="1891" y="1230"/>
                        </a:lnTo>
                        <a:lnTo>
                          <a:pt x="1887" y="1225"/>
                        </a:lnTo>
                        <a:lnTo>
                          <a:pt x="1884" y="1225"/>
                        </a:lnTo>
                        <a:lnTo>
                          <a:pt x="1881" y="1223"/>
                        </a:lnTo>
                        <a:lnTo>
                          <a:pt x="1876" y="1220"/>
                        </a:lnTo>
                        <a:lnTo>
                          <a:pt x="1874" y="1213"/>
                        </a:lnTo>
                        <a:lnTo>
                          <a:pt x="1871" y="1211"/>
                        </a:lnTo>
                        <a:lnTo>
                          <a:pt x="1866" y="1211"/>
                        </a:lnTo>
                        <a:lnTo>
                          <a:pt x="1859" y="1211"/>
                        </a:lnTo>
                        <a:lnTo>
                          <a:pt x="1851" y="1210"/>
                        </a:lnTo>
                        <a:lnTo>
                          <a:pt x="1846" y="1203"/>
                        </a:lnTo>
                        <a:lnTo>
                          <a:pt x="1836" y="1203"/>
                        </a:lnTo>
                        <a:lnTo>
                          <a:pt x="1829" y="1201"/>
                        </a:lnTo>
                        <a:lnTo>
                          <a:pt x="1824" y="1200"/>
                        </a:lnTo>
                        <a:lnTo>
                          <a:pt x="1818" y="1201"/>
                        </a:lnTo>
                        <a:lnTo>
                          <a:pt x="1811" y="1201"/>
                        </a:lnTo>
                        <a:lnTo>
                          <a:pt x="1806" y="1203"/>
                        </a:lnTo>
                        <a:lnTo>
                          <a:pt x="1796" y="1205"/>
                        </a:lnTo>
                        <a:lnTo>
                          <a:pt x="1789" y="1206"/>
                        </a:lnTo>
                        <a:lnTo>
                          <a:pt x="1786" y="1211"/>
                        </a:lnTo>
                        <a:lnTo>
                          <a:pt x="1783" y="1211"/>
                        </a:lnTo>
                        <a:lnTo>
                          <a:pt x="1779" y="1210"/>
                        </a:lnTo>
                        <a:lnTo>
                          <a:pt x="1776" y="1210"/>
                        </a:lnTo>
                        <a:lnTo>
                          <a:pt x="1773" y="1213"/>
                        </a:lnTo>
                        <a:lnTo>
                          <a:pt x="1764" y="1211"/>
                        </a:lnTo>
                        <a:lnTo>
                          <a:pt x="1763" y="1213"/>
                        </a:lnTo>
                        <a:lnTo>
                          <a:pt x="1759" y="1213"/>
                        </a:lnTo>
                        <a:lnTo>
                          <a:pt x="1753" y="1210"/>
                        </a:lnTo>
                        <a:lnTo>
                          <a:pt x="1745" y="1208"/>
                        </a:lnTo>
                        <a:lnTo>
                          <a:pt x="1745" y="1206"/>
                        </a:lnTo>
                        <a:lnTo>
                          <a:pt x="1740" y="1201"/>
                        </a:lnTo>
                        <a:lnTo>
                          <a:pt x="1736" y="1201"/>
                        </a:lnTo>
                        <a:lnTo>
                          <a:pt x="1733" y="1200"/>
                        </a:lnTo>
                        <a:lnTo>
                          <a:pt x="1733" y="1195"/>
                        </a:lnTo>
                        <a:lnTo>
                          <a:pt x="1731" y="1190"/>
                        </a:lnTo>
                        <a:lnTo>
                          <a:pt x="1728" y="1188"/>
                        </a:lnTo>
                        <a:lnTo>
                          <a:pt x="1728" y="1185"/>
                        </a:lnTo>
                        <a:lnTo>
                          <a:pt x="1726" y="1181"/>
                        </a:lnTo>
                        <a:lnTo>
                          <a:pt x="1726" y="1180"/>
                        </a:lnTo>
                        <a:lnTo>
                          <a:pt x="1725" y="1176"/>
                        </a:lnTo>
                        <a:lnTo>
                          <a:pt x="1721" y="1175"/>
                        </a:lnTo>
                        <a:lnTo>
                          <a:pt x="1710" y="1175"/>
                        </a:lnTo>
                        <a:lnTo>
                          <a:pt x="1706" y="1175"/>
                        </a:lnTo>
                        <a:lnTo>
                          <a:pt x="1703" y="1173"/>
                        </a:lnTo>
                        <a:lnTo>
                          <a:pt x="1696" y="1171"/>
                        </a:lnTo>
                        <a:lnTo>
                          <a:pt x="1695" y="1170"/>
                        </a:lnTo>
                        <a:lnTo>
                          <a:pt x="1691" y="1168"/>
                        </a:lnTo>
                        <a:lnTo>
                          <a:pt x="1681" y="1168"/>
                        </a:lnTo>
                        <a:lnTo>
                          <a:pt x="1676" y="1168"/>
                        </a:lnTo>
                        <a:lnTo>
                          <a:pt x="1670" y="1166"/>
                        </a:lnTo>
                        <a:lnTo>
                          <a:pt x="1670" y="1165"/>
                        </a:lnTo>
                        <a:lnTo>
                          <a:pt x="1663" y="1161"/>
                        </a:lnTo>
                        <a:lnTo>
                          <a:pt x="1656" y="1160"/>
                        </a:lnTo>
                        <a:lnTo>
                          <a:pt x="1653" y="1158"/>
                        </a:lnTo>
                        <a:lnTo>
                          <a:pt x="1648" y="1158"/>
                        </a:lnTo>
                        <a:lnTo>
                          <a:pt x="1647" y="1160"/>
                        </a:lnTo>
                        <a:lnTo>
                          <a:pt x="1645" y="1163"/>
                        </a:lnTo>
                        <a:lnTo>
                          <a:pt x="1647" y="1168"/>
                        </a:lnTo>
                        <a:lnTo>
                          <a:pt x="1645" y="1171"/>
                        </a:lnTo>
                        <a:lnTo>
                          <a:pt x="1643" y="1170"/>
                        </a:lnTo>
                        <a:lnTo>
                          <a:pt x="1638" y="1171"/>
                        </a:lnTo>
                        <a:lnTo>
                          <a:pt x="1637" y="1175"/>
                        </a:lnTo>
                        <a:lnTo>
                          <a:pt x="1637" y="1178"/>
                        </a:lnTo>
                        <a:lnTo>
                          <a:pt x="1632" y="1183"/>
                        </a:lnTo>
                        <a:lnTo>
                          <a:pt x="1632" y="1195"/>
                        </a:lnTo>
                        <a:lnTo>
                          <a:pt x="1633" y="1200"/>
                        </a:lnTo>
                        <a:lnTo>
                          <a:pt x="1640" y="1201"/>
                        </a:lnTo>
                        <a:lnTo>
                          <a:pt x="1642" y="1205"/>
                        </a:lnTo>
                        <a:lnTo>
                          <a:pt x="1647" y="1206"/>
                        </a:lnTo>
                        <a:lnTo>
                          <a:pt x="1648" y="1208"/>
                        </a:lnTo>
                        <a:lnTo>
                          <a:pt x="1647" y="1216"/>
                        </a:lnTo>
                        <a:lnTo>
                          <a:pt x="1647" y="1223"/>
                        </a:lnTo>
                        <a:lnTo>
                          <a:pt x="1652" y="1225"/>
                        </a:lnTo>
                        <a:lnTo>
                          <a:pt x="1653" y="1228"/>
                        </a:lnTo>
                        <a:lnTo>
                          <a:pt x="1648" y="1235"/>
                        </a:lnTo>
                        <a:lnTo>
                          <a:pt x="1642" y="1236"/>
                        </a:lnTo>
                        <a:lnTo>
                          <a:pt x="1637" y="1235"/>
                        </a:lnTo>
                        <a:lnTo>
                          <a:pt x="1635" y="1236"/>
                        </a:lnTo>
                        <a:lnTo>
                          <a:pt x="1630" y="1236"/>
                        </a:lnTo>
                        <a:lnTo>
                          <a:pt x="1627" y="1235"/>
                        </a:lnTo>
                        <a:lnTo>
                          <a:pt x="1617" y="1235"/>
                        </a:lnTo>
                        <a:lnTo>
                          <a:pt x="1612" y="1236"/>
                        </a:lnTo>
                        <a:lnTo>
                          <a:pt x="1608" y="1233"/>
                        </a:lnTo>
                        <a:lnTo>
                          <a:pt x="1605" y="1231"/>
                        </a:lnTo>
                        <a:lnTo>
                          <a:pt x="1600" y="1233"/>
                        </a:lnTo>
                        <a:lnTo>
                          <a:pt x="1595" y="1236"/>
                        </a:lnTo>
                        <a:lnTo>
                          <a:pt x="1590" y="1238"/>
                        </a:lnTo>
                        <a:lnTo>
                          <a:pt x="1587" y="1240"/>
                        </a:lnTo>
                        <a:lnTo>
                          <a:pt x="1578" y="1236"/>
                        </a:lnTo>
                        <a:lnTo>
                          <a:pt x="1573" y="1233"/>
                        </a:lnTo>
                        <a:lnTo>
                          <a:pt x="1562" y="1226"/>
                        </a:lnTo>
                        <a:lnTo>
                          <a:pt x="1560" y="1223"/>
                        </a:lnTo>
                        <a:lnTo>
                          <a:pt x="1558" y="1220"/>
                        </a:lnTo>
                        <a:lnTo>
                          <a:pt x="1558" y="1216"/>
                        </a:lnTo>
                        <a:lnTo>
                          <a:pt x="1550" y="1216"/>
                        </a:lnTo>
                        <a:lnTo>
                          <a:pt x="1547" y="1218"/>
                        </a:lnTo>
                        <a:lnTo>
                          <a:pt x="1542" y="1218"/>
                        </a:lnTo>
                        <a:lnTo>
                          <a:pt x="1540" y="1220"/>
                        </a:lnTo>
                        <a:lnTo>
                          <a:pt x="1534" y="1220"/>
                        </a:lnTo>
                        <a:lnTo>
                          <a:pt x="1532" y="1216"/>
                        </a:lnTo>
                        <a:lnTo>
                          <a:pt x="1530" y="1215"/>
                        </a:lnTo>
                        <a:lnTo>
                          <a:pt x="1529" y="1211"/>
                        </a:lnTo>
                        <a:lnTo>
                          <a:pt x="1527" y="1211"/>
                        </a:lnTo>
                        <a:lnTo>
                          <a:pt x="1524" y="1213"/>
                        </a:lnTo>
                        <a:lnTo>
                          <a:pt x="1517" y="1213"/>
                        </a:lnTo>
                        <a:lnTo>
                          <a:pt x="1514" y="1213"/>
                        </a:lnTo>
                        <a:lnTo>
                          <a:pt x="1509" y="1213"/>
                        </a:lnTo>
                        <a:lnTo>
                          <a:pt x="1500" y="1215"/>
                        </a:lnTo>
                        <a:lnTo>
                          <a:pt x="1497" y="1216"/>
                        </a:lnTo>
                        <a:lnTo>
                          <a:pt x="1494" y="1221"/>
                        </a:lnTo>
                        <a:lnTo>
                          <a:pt x="1490" y="1223"/>
                        </a:lnTo>
                        <a:lnTo>
                          <a:pt x="1482" y="1221"/>
                        </a:lnTo>
                        <a:lnTo>
                          <a:pt x="1480" y="1223"/>
                        </a:lnTo>
                        <a:lnTo>
                          <a:pt x="1482" y="1226"/>
                        </a:lnTo>
                        <a:lnTo>
                          <a:pt x="1484" y="1228"/>
                        </a:lnTo>
                        <a:lnTo>
                          <a:pt x="1482" y="1230"/>
                        </a:lnTo>
                        <a:lnTo>
                          <a:pt x="1479" y="1235"/>
                        </a:lnTo>
                        <a:lnTo>
                          <a:pt x="1474" y="1235"/>
                        </a:lnTo>
                        <a:lnTo>
                          <a:pt x="1470" y="1238"/>
                        </a:lnTo>
                        <a:lnTo>
                          <a:pt x="1470" y="1241"/>
                        </a:lnTo>
                        <a:lnTo>
                          <a:pt x="1464" y="1245"/>
                        </a:lnTo>
                        <a:lnTo>
                          <a:pt x="1462" y="1248"/>
                        </a:lnTo>
                        <a:lnTo>
                          <a:pt x="1462" y="1253"/>
                        </a:lnTo>
                        <a:lnTo>
                          <a:pt x="1454" y="1256"/>
                        </a:lnTo>
                        <a:lnTo>
                          <a:pt x="1451" y="1259"/>
                        </a:lnTo>
                        <a:lnTo>
                          <a:pt x="1449" y="1261"/>
                        </a:lnTo>
                        <a:lnTo>
                          <a:pt x="1437" y="1261"/>
                        </a:lnTo>
                        <a:lnTo>
                          <a:pt x="1432" y="1263"/>
                        </a:lnTo>
                        <a:lnTo>
                          <a:pt x="1429" y="1271"/>
                        </a:lnTo>
                        <a:lnTo>
                          <a:pt x="1429" y="1271"/>
                        </a:lnTo>
                        <a:lnTo>
                          <a:pt x="1427" y="1271"/>
                        </a:lnTo>
                        <a:lnTo>
                          <a:pt x="1422" y="1269"/>
                        </a:lnTo>
                        <a:lnTo>
                          <a:pt x="1419" y="1269"/>
                        </a:lnTo>
                        <a:lnTo>
                          <a:pt x="1417" y="1269"/>
                        </a:lnTo>
                        <a:lnTo>
                          <a:pt x="1411" y="1266"/>
                        </a:lnTo>
                        <a:lnTo>
                          <a:pt x="1406" y="1263"/>
                        </a:lnTo>
                        <a:lnTo>
                          <a:pt x="1402" y="1261"/>
                        </a:lnTo>
                        <a:lnTo>
                          <a:pt x="1401" y="1258"/>
                        </a:lnTo>
                        <a:lnTo>
                          <a:pt x="1402" y="1253"/>
                        </a:lnTo>
                        <a:lnTo>
                          <a:pt x="1401" y="1251"/>
                        </a:lnTo>
                        <a:lnTo>
                          <a:pt x="1396" y="1255"/>
                        </a:lnTo>
                        <a:lnTo>
                          <a:pt x="1392" y="1258"/>
                        </a:lnTo>
                        <a:lnTo>
                          <a:pt x="1387" y="1259"/>
                        </a:lnTo>
                        <a:lnTo>
                          <a:pt x="1376" y="1259"/>
                        </a:lnTo>
                        <a:lnTo>
                          <a:pt x="1372" y="1261"/>
                        </a:lnTo>
                        <a:lnTo>
                          <a:pt x="1371" y="1264"/>
                        </a:lnTo>
                        <a:lnTo>
                          <a:pt x="1367" y="1263"/>
                        </a:lnTo>
                        <a:lnTo>
                          <a:pt x="1362" y="1261"/>
                        </a:lnTo>
                        <a:lnTo>
                          <a:pt x="1361" y="1261"/>
                        </a:lnTo>
                        <a:lnTo>
                          <a:pt x="1359" y="1259"/>
                        </a:lnTo>
                        <a:lnTo>
                          <a:pt x="1358" y="1258"/>
                        </a:lnTo>
                        <a:lnTo>
                          <a:pt x="1356" y="1255"/>
                        </a:lnTo>
                        <a:lnTo>
                          <a:pt x="1356" y="1251"/>
                        </a:lnTo>
                        <a:lnTo>
                          <a:pt x="1356" y="1250"/>
                        </a:lnTo>
                        <a:lnTo>
                          <a:pt x="1356" y="1246"/>
                        </a:lnTo>
                        <a:lnTo>
                          <a:pt x="1353" y="1245"/>
                        </a:lnTo>
                        <a:lnTo>
                          <a:pt x="1351" y="1245"/>
                        </a:lnTo>
                        <a:lnTo>
                          <a:pt x="1346" y="1241"/>
                        </a:lnTo>
                        <a:lnTo>
                          <a:pt x="1341" y="1240"/>
                        </a:lnTo>
                        <a:lnTo>
                          <a:pt x="1338" y="1240"/>
                        </a:lnTo>
                        <a:lnTo>
                          <a:pt x="1336" y="1235"/>
                        </a:lnTo>
                        <a:lnTo>
                          <a:pt x="1331" y="1228"/>
                        </a:lnTo>
                        <a:lnTo>
                          <a:pt x="1324" y="1225"/>
                        </a:lnTo>
                        <a:lnTo>
                          <a:pt x="1318" y="1221"/>
                        </a:lnTo>
                        <a:lnTo>
                          <a:pt x="1308" y="1221"/>
                        </a:lnTo>
                        <a:lnTo>
                          <a:pt x="1301" y="1223"/>
                        </a:lnTo>
                        <a:lnTo>
                          <a:pt x="1299" y="1225"/>
                        </a:lnTo>
                        <a:lnTo>
                          <a:pt x="1301" y="1228"/>
                        </a:lnTo>
                        <a:lnTo>
                          <a:pt x="1299" y="1230"/>
                        </a:lnTo>
                        <a:lnTo>
                          <a:pt x="1294" y="1231"/>
                        </a:lnTo>
                        <a:lnTo>
                          <a:pt x="1291" y="1231"/>
                        </a:lnTo>
                        <a:lnTo>
                          <a:pt x="1286" y="1233"/>
                        </a:lnTo>
                        <a:lnTo>
                          <a:pt x="1279" y="1230"/>
                        </a:lnTo>
                        <a:lnTo>
                          <a:pt x="1276" y="1230"/>
                        </a:lnTo>
                        <a:lnTo>
                          <a:pt x="1273" y="1233"/>
                        </a:lnTo>
                        <a:lnTo>
                          <a:pt x="1268" y="1233"/>
                        </a:lnTo>
                        <a:lnTo>
                          <a:pt x="1264" y="1230"/>
                        </a:lnTo>
                        <a:lnTo>
                          <a:pt x="1259" y="1228"/>
                        </a:lnTo>
                        <a:lnTo>
                          <a:pt x="1258" y="1225"/>
                        </a:lnTo>
                        <a:lnTo>
                          <a:pt x="1259" y="1221"/>
                        </a:lnTo>
                        <a:lnTo>
                          <a:pt x="1253" y="1218"/>
                        </a:lnTo>
                        <a:lnTo>
                          <a:pt x="1248" y="1220"/>
                        </a:lnTo>
                        <a:lnTo>
                          <a:pt x="1248" y="1225"/>
                        </a:lnTo>
                        <a:lnTo>
                          <a:pt x="1250" y="1226"/>
                        </a:lnTo>
                        <a:lnTo>
                          <a:pt x="1250" y="1228"/>
                        </a:lnTo>
                        <a:lnTo>
                          <a:pt x="1245" y="1231"/>
                        </a:lnTo>
                        <a:lnTo>
                          <a:pt x="1240" y="1231"/>
                        </a:lnTo>
                        <a:lnTo>
                          <a:pt x="1180" y="1165"/>
                        </a:lnTo>
                        <a:lnTo>
                          <a:pt x="1137" y="1135"/>
                        </a:lnTo>
                        <a:lnTo>
                          <a:pt x="1133" y="1132"/>
                        </a:lnTo>
                        <a:lnTo>
                          <a:pt x="1138" y="1132"/>
                        </a:lnTo>
                        <a:lnTo>
                          <a:pt x="1142" y="1127"/>
                        </a:lnTo>
                        <a:lnTo>
                          <a:pt x="1142" y="1123"/>
                        </a:lnTo>
                        <a:lnTo>
                          <a:pt x="1140" y="1122"/>
                        </a:lnTo>
                        <a:lnTo>
                          <a:pt x="1133" y="1123"/>
                        </a:lnTo>
                        <a:lnTo>
                          <a:pt x="1128" y="1125"/>
                        </a:lnTo>
                        <a:lnTo>
                          <a:pt x="1123" y="1128"/>
                        </a:lnTo>
                        <a:lnTo>
                          <a:pt x="1120" y="1130"/>
                        </a:lnTo>
                        <a:lnTo>
                          <a:pt x="1115" y="1133"/>
                        </a:lnTo>
                        <a:lnTo>
                          <a:pt x="1115" y="1137"/>
                        </a:lnTo>
                        <a:lnTo>
                          <a:pt x="1110" y="1140"/>
                        </a:lnTo>
                        <a:lnTo>
                          <a:pt x="1108" y="1143"/>
                        </a:lnTo>
                        <a:lnTo>
                          <a:pt x="1105" y="1147"/>
                        </a:lnTo>
                        <a:lnTo>
                          <a:pt x="1097" y="1147"/>
                        </a:lnTo>
                        <a:lnTo>
                          <a:pt x="1093" y="1148"/>
                        </a:lnTo>
                        <a:lnTo>
                          <a:pt x="1093" y="1153"/>
                        </a:lnTo>
                        <a:lnTo>
                          <a:pt x="1090" y="1157"/>
                        </a:lnTo>
                        <a:lnTo>
                          <a:pt x="1088" y="1155"/>
                        </a:lnTo>
                        <a:lnTo>
                          <a:pt x="1078" y="1152"/>
                        </a:lnTo>
                        <a:lnTo>
                          <a:pt x="1073" y="1153"/>
                        </a:lnTo>
                        <a:lnTo>
                          <a:pt x="1070" y="1157"/>
                        </a:lnTo>
                        <a:lnTo>
                          <a:pt x="1067" y="1157"/>
                        </a:lnTo>
                        <a:lnTo>
                          <a:pt x="1063" y="1153"/>
                        </a:lnTo>
                        <a:lnTo>
                          <a:pt x="1063" y="1147"/>
                        </a:lnTo>
                        <a:lnTo>
                          <a:pt x="1067" y="1145"/>
                        </a:lnTo>
                        <a:lnTo>
                          <a:pt x="1068" y="1140"/>
                        </a:lnTo>
                        <a:lnTo>
                          <a:pt x="1065" y="1140"/>
                        </a:lnTo>
                        <a:lnTo>
                          <a:pt x="1062" y="1142"/>
                        </a:lnTo>
                        <a:lnTo>
                          <a:pt x="1059" y="1142"/>
                        </a:lnTo>
                        <a:lnTo>
                          <a:pt x="1050" y="1138"/>
                        </a:lnTo>
                        <a:lnTo>
                          <a:pt x="1045" y="1138"/>
                        </a:lnTo>
                        <a:lnTo>
                          <a:pt x="1047" y="1142"/>
                        </a:lnTo>
                        <a:lnTo>
                          <a:pt x="1049" y="1143"/>
                        </a:lnTo>
                        <a:lnTo>
                          <a:pt x="1045" y="1147"/>
                        </a:lnTo>
                        <a:lnTo>
                          <a:pt x="1042" y="1147"/>
                        </a:lnTo>
                        <a:lnTo>
                          <a:pt x="1039" y="1142"/>
                        </a:lnTo>
                        <a:lnTo>
                          <a:pt x="1039" y="1133"/>
                        </a:lnTo>
                        <a:lnTo>
                          <a:pt x="1030" y="1128"/>
                        </a:lnTo>
                        <a:lnTo>
                          <a:pt x="1029" y="1130"/>
                        </a:lnTo>
                        <a:lnTo>
                          <a:pt x="1030" y="1133"/>
                        </a:lnTo>
                        <a:lnTo>
                          <a:pt x="1030" y="1137"/>
                        </a:lnTo>
                        <a:lnTo>
                          <a:pt x="1027" y="1137"/>
                        </a:lnTo>
                        <a:lnTo>
                          <a:pt x="1025" y="1133"/>
                        </a:lnTo>
                        <a:lnTo>
                          <a:pt x="1022" y="1133"/>
                        </a:lnTo>
                        <a:lnTo>
                          <a:pt x="1022" y="1138"/>
                        </a:lnTo>
                        <a:lnTo>
                          <a:pt x="1019" y="1138"/>
                        </a:lnTo>
                        <a:lnTo>
                          <a:pt x="1015" y="1137"/>
                        </a:lnTo>
                        <a:lnTo>
                          <a:pt x="1009" y="1138"/>
                        </a:lnTo>
                        <a:lnTo>
                          <a:pt x="1007" y="1137"/>
                        </a:lnTo>
                        <a:lnTo>
                          <a:pt x="1004" y="1133"/>
                        </a:lnTo>
                        <a:lnTo>
                          <a:pt x="1009" y="1132"/>
                        </a:lnTo>
                        <a:lnTo>
                          <a:pt x="1009" y="1130"/>
                        </a:lnTo>
                        <a:lnTo>
                          <a:pt x="1007" y="1127"/>
                        </a:lnTo>
                        <a:lnTo>
                          <a:pt x="1009" y="1122"/>
                        </a:lnTo>
                        <a:lnTo>
                          <a:pt x="1009" y="1120"/>
                        </a:lnTo>
                        <a:lnTo>
                          <a:pt x="1005" y="1118"/>
                        </a:lnTo>
                        <a:lnTo>
                          <a:pt x="1002" y="1115"/>
                        </a:lnTo>
                        <a:lnTo>
                          <a:pt x="1000" y="1110"/>
                        </a:lnTo>
                        <a:lnTo>
                          <a:pt x="999" y="1108"/>
                        </a:lnTo>
                        <a:lnTo>
                          <a:pt x="995" y="1103"/>
                        </a:lnTo>
                        <a:lnTo>
                          <a:pt x="990" y="1103"/>
                        </a:lnTo>
                        <a:lnTo>
                          <a:pt x="985" y="1105"/>
                        </a:lnTo>
                        <a:lnTo>
                          <a:pt x="980" y="1105"/>
                        </a:lnTo>
                        <a:lnTo>
                          <a:pt x="974" y="1102"/>
                        </a:lnTo>
                        <a:lnTo>
                          <a:pt x="967" y="1102"/>
                        </a:lnTo>
                        <a:lnTo>
                          <a:pt x="962" y="1100"/>
                        </a:lnTo>
                        <a:lnTo>
                          <a:pt x="957" y="1102"/>
                        </a:lnTo>
                        <a:lnTo>
                          <a:pt x="956" y="1100"/>
                        </a:lnTo>
                        <a:lnTo>
                          <a:pt x="951" y="1103"/>
                        </a:lnTo>
                        <a:lnTo>
                          <a:pt x="949" y="1107"/>
                        </a:lnTo>
                        <a:lnTo>
                          <a:pt x="942" y="1107"/>
                        </a:lnTo>
                        <a:lnTo>
                          <a:pt x="941" y="1108"/>
                        </a:lnTo>
                        <a:lnTo>
                          <a:pt x="942" y="1112"/>
                        </a:lnTo>
                        <a:lnTo>
                          <a:pt x="942" y="1115"/>
                        </a:lnTo>
                        <a:lnTo>
                          <a:pt x="936" y="1117"/>
                        </a:lnTo>
                        <a:lnTo>
                          <a:pt x="932" y="1115"/>
                        </a:lnTo>
                        <a:lnTo>
                          <a:pt x="929" y="1120"/>
                        </a:lnTo>
                        <a:lnTo>
                          <a:pt x="924" y="1120"/>
                        </a:lnTo>
                        <a:lnTo>
                          <a:pt x="922" y="1122"/>
                        </a:lnTo>
                        <a:lnTo>
                          <a:pt x="919" y="1122"/>
                        </a:lnTo>
                        <a:lnTo>
                          <a:pt x="909" y="1128"/>
                        </a:lnTo>
                        <a:lnTo>
                          <a:pt x="904" y="1130"/>
                        </a:lnTo>
                        <a:lnTo>
                          <a:pt x="899" y="1132"/>
                        </a:lnTo>
                        <a:lnTo>
                          <a:pt x="896" y="1132"/>
                        </a:lnTo>
                        <a:lnTo>
                          <a:pt x="892" y="1130"/>
                        </a:lnTo>
                        <a:lnTo>
                          <a:pt x="889" y="1132"/>
                        </a:lnTo>
                        <a:lnTo>
                          <a:pt x="889" y="1135"/>
                        </a:lnTo>
                        <a:lnTo>
                          <a:pt x="884" y="1135"/>
                        </a:lnTo>
                        <a:lnTo>
                          <a:pt x="881" y="1137"/>
                        </a:lnTo>
                        <a:lnTo>
                          <a:pt x="881" y="1142"/>
                        </a:lnTo>
                        <a:lnTo>
                          <a:pt x="879" y="1143"/>
                        </a:lnTo>
                        <a:lnTo>
                          <a:pt x="876" y="1142"/>
                        </a:lnTo>
                        <a:lnTo>
                          <a:pt x="872" y="1142"/>
                        </a:lnTo>
                        <a:lnTo>
                          <a:pt x="869" y="1145"/>
                        </a:lnTo>
                        <a:lnTo>
                          <a:pt x="862" y="1145"/>
                        </a:lnTo>
                        <a:lnTo>
                          <a:pt x="856" y="1148"/>
                        </a:lnTo>
                        <a:lnTo>
                          <a:pt x="854" y="1150"/>
                        </a:lnTo>
                        <a:lnTo>
                          <a:pt x="849" y="1150"/>
                        </a:lnTo>
                        <a:lnTo>
                          <a:pt x="843" y="1153"/>
                        </a:lnTo>
                        <a:lnTo>
                          <a:pt x="838" y="1153"/>
                        </a:lnTo>
                        <a:lnTo>
                          <a:pt x="829" y="1157"/>
                        </a:lnTo>
                        <a:lnTo>
                          <a:pt x="828" y="1160"/>
                        </a:lnTo>
                        <a:lnTo>
                          <a:pt x="826" y="1161"/>
                        </a:lnTo>
                        <a:lnTo>
                          <a:pt x="823" y="1158"/>
                        </a:lnTo>
                        <a:lnTo>
                          <a:pt x="819" y="1158"/>
                        </a:lnTo>
                        <a:lnTo>
                          <a:pt x="814" y="1160"/>
                        </a:lnTo>
                        <a:lnTo>
                          <a:pt x="814" y="1163"/>
                        </a:lnTo>
                        <a:lnTo>
                          <a:pt x="813" y="1165"/>
                        </a:lnTo>
                        <a:lnTo>
                          <a:pt x="808" y="1161"/>
                        </a:lnTo>
                        <a:lnTo>
                          <a:pt x="803" y="1163"/>
                        </a:lnTo>
                        <a:lnTo>
                          <a:pt x="801" y="1160"/>
                        </a:lnTo>
                        <a:lnTo>
                          <a:pt x="798" y="1160"/>
                        </a:lnTo>
                        <a:lnTo>
                          <a:pt x="794" y="1163"/>
                        </a:lnTo>
                        <a:lnTo>
                          <a:pt x="789" y="1163"/>
                        </a:lnTo>
                        <a:lnTo>
                          <a:pt x="788" y="1165"/>
                        </a:lnTo>
                        <a:lnTo>
                          <a:pt x="791" y="1170"/>
                        </a:lnTo>
                        <a:lnTo>
                          <a:pt x="788" y="1171"/>
                        </a:lnTo>
                        <a:lnTo>
                          <a:pt x="793" y="1173"/>
                        </a:lnTo>
                        <a:lnTo>
                          <a:pt x="799" y="1173"/>
                        </a:lnTo>
                        <a:lnTo>
                          <a:pt x="801" y="1178"/>
                        </a:lnTo>
                        <a:lnTo>
                          <a:pt x="794" y="1178"/>
                        </a:lnTo>
                        <a:lnTo>
                          <a:pt x="793" y="1180"/>
                        </a:lnTo>
                        <a:lnTo>
                          <a:pt x="793" y="1181"/>
                        </a:lnTo>
                        <a:lnTo>
                          <a:pt x="799" y="1181"/>
                        </a:lnTo>
                        <a:lnTo>
                          <a:pt x="804" y="1185"/>
                        </a:lnTo>
                        <a:lnTo>
                          <a:pt x="806" y="1181"/>
                        </a:lnTo>
                        <a:lnTo>
                          <a:pt x="811" y="1181"/>
                        </a:lnTo>
                        <a:lnTo>
                          <a:pt x="814" y="1185"/>
                        </a:lnTo>
                        <a:lnTo>
                          <a:pt x="819" y="1186"/>
                        </a:lnTo>
                        <a:lnTo>
                          <a:pt x="819" y="1191"/>
                        </a:lnTo>
                        <a:lnTo>
                          <a:pt x="816" y="1193"/>
                        </a:lnTo>
                        <a:lnTo>
                          <a:pt x="813" y="1191"/>
                        </a:lnTo>
                        <a:lnTo>
                          <a:pt x="803" y="1193"/>
                        </a:lnTo>
                        <a:lnTo>
                          <a:pt x="796" y="1196"/>
                        </a:lnTo>
                        <a:lnTo>
                          <a:pt x="791" y="1205"/>
                        </a:lnTo>
                        <a:lnTo>
                          <a:pt x="791" y="1210"/>
                        </a:lnTo>
                        <a:lnTo>
                          <a:pt x="794" y="1210"/>
                        </a:lnTo>
                        <a:lnTo>
                          <a:pt x="796" y="1215"/>
                        </a:lnTo>
                        <a:lnTo>
                          <a:pt x="793" y="1218"/>
                        </a:lnTo>
                        <a:lnTo>
                          <a:pt x="791" y="1223"/>
                        </a:lnTo>
                        <a:lnTo>
                          <a:pt x="788" y="1223"/>
                        </a:lnTo>
                        <a:lnTo>
                          <a:pt x="786" y="1226"/>
                        </a:lnTo>
                        <a:lnTo>
                          <a:pt x="788" y="1228"/>
                        </a:lnTo>
                        <a:lnTo>
                          <a:pt x="788" y="1231"/>
                        </a:lnTo>
                        <a:lnTo>
                          <a:pt x="794" y="1231"/>
                        </a:lnTo>
                        <a:lnTo>
                          <a:pt x="798" y="1235"/>
                        </a:lnTo>
                        <a:lnTo>
                          <a:pt x="803" y="1235"/>
                        </a:lnTo>
                        <a:lnTo>
                          <a:pt x="804" y="1238"/>
                        </a:lnTo>
                        <a:lnTo>
                          <a:pt x="808" y="1241"/>
                        </a:lnTo>
                        <a:lnTo>
                          <a:pt x="816" y="1241"/>
                        </a:lnTo>
                        <a:lnTo>
                          <a:pt x="818" y="1243"/>
                        </a:lnTo>
                        <a:lnTo>
                          <a:pt x="819" y="1259"/>
                        </a:lnTo>
                        <a:lnTo>
                          <a:pt x="816" y="1263"/>
                        </a:lnTo>
                        <a:lnTo>
                          <a:pt x="809" y="1266"/>
                        </a:lnTo>
                        <a:lnTo>
                          <a:pt x="801" y="1264"/>
                        </a:lnTo>
                        <a:lnTo>
                          <a:pt x="794" y="1261"/>
                        </a:lnTo>
                        <a:lnTo>
                          <a:pt x="791" y="1263"/>
                        </a:lnTo>
                        <a:lnTo>
                          <a:pt x="791" y="1268"/>
                        </a:lnTo>
                        <a:lnTo>
                          <a:pt x="789" y="1273"/>
                        </a:lnTo>
                        <a:lnTo>
                          <a:pt x="783" y="1273"/>
                        </a:lnTo>
                        <a:lnTo>
                          <a:pt x="774" y="1268"/>
                        </a:lnTo>
                        <a:lnTo>
                          <a:pt x="768" y="1269"/>
                        </a:lnTo>
                        <a:lnTo>
                          <a:pt x="764" y="1268"/>
                        </a:lnTo>
                        <a:lnTo>
                          <a:pt x="763" y="1268"/>
                        </a:lnTo>
                        <a:lnTo>
                          <a:pt x="758" y="1268"/>
                        </a:lnTo>
                        <a:lnTo>
                          <a:pt x="753" y="1263"/>
                        </a:lnTo>
                        <a:lnTo>
                          <a:pt x="756" y="1261"/>
                        </a:lnTo>
                        <a:lnTo>
                          <a:pt x="758" y="1258"/>
                        </a:lnTo>
                        <a:lnTo>
                          <a:pt x="755" y="1256"/>
                        </a:lnTo>
                        <a:lnTo>
                          <a:pt x="750" y="1253"/>
                        </a:lnTo>
                        <a:lnTo>
                          <a:pt x="746" y="1256"/>
                        </a:lnTo>
                        <a:lnTo>
                          <a:pt x="741" y="1256"/>
                        </a:lnTo>
                        <a:lnTo>
                          <a:pt x="738" y="1256"/>
                        </a:lnTo>
                        <a:lnTo>
                          <a:pt x="738" y="1263"/>
                        </a:lnTo>
                        <a:lnTo>
                          <a:pt x="731" y="1263"/>
                        </a:lnTo>
                        <a:lnTo>
                          <a:pt x="730" y="1259"/>
                        </a:lnTo>
                        <a:lnTo>
                          <a:pt x="723" y="1255"/>
                        </a:lnTo>
                        <a:lnTo>
                          <a:pt x="718" y="1255"/>
                        </a:lnTo>
                        <a:lnTo>
                          <a:pt x="715" y="1259"/>
                        </a:lnTo>
                        <a:lnTo>
                          <a:pt x="713" y="1256"/>
                        </a:lnTo>
                        <a:lnTo>
                          <a:pt x="708" y="1256"/>
                        </a:lnTo>
                        <a:lnTo>
                          <a:pt x="708" y="1261"/>
                        </a:lnTo>
                        <a:lnTo>
                          <a:pt x="703" y="1261"/>
                        </a:lnTo>
                        <a:lnTo>
                          <a:pt x="703" y="1269"/>
                        </a:lnTo>
                        <a:lnTo>
                          <a:pt x="696" y="1273"/>
                        </a:lnTo>
                        <a:lnTo>
                          <a:pt x="693" y="1273"/>
                        </a:lnTo>
                        <a:lnTo>
                          <a:pt x="690" y="1268"/>
                        </a:lnTo>
                        <a:lnTo>
                          <a:pt x="681" y="1266"/>
                        </a:lnTo>
                        <a:lnTo>
                          <a:pt x="678" y="1263"/>
                        </a:lnTo>
                        <a:lnTo>
                          <a:pt x="673" y="1264"/>
                        </a:lnTo>
                        <a:lnTo>
                          <a:pt x="673" y="1271"/>
                        </a:lnTo>
                        <a:lnTo>
                          <a:pt x="670" y="1274"/>
                        </a:lnTo>
                        <a:lnTo>
                          <a:pt x="668" y="1274"/>
                        </a:lnTo>
                        <a:lnTo>
                          <a:pt x="666" y="1269"/>
                        </a:lnTo>
                        <a:lnTo>
                          <a:pt x="665" y="1266"/>
                        </a:lnTo>
                        <a:lnTo>
                          <a:pt x="662" y="1266"/>
                        </a:lnTo>
                        <a:lnTo>
                          <a:pt x="655" y="1261"/>
                        </a:lnTo>
                        <a:lnTo>
                          <a:pt x="652" y="1256"/>
                        </a:lnTo>
                        <a:lnTo>
                          <a:pt x="645" y="1256"/>
                        </a:lnTo>
                        <a:lnTo>
                          <a:pt x="640" y="1251"/>
                        </a:lnTo>
                        <a:lnTo>
                          <a:pt x="638" y="1251"/>
                        </a:lnTo>
                        <a:lnTo>
                          <a:pt x="635" y="1248"/>
                        </a:lnTo>
                        <a:lnTo>
                          <a:pt x="632" y="1248"/>
                        </a:lnTo>
                        <a:lnTo>
                          <a:pt x="623" y="1250"/>
                        </a:lnTo>
                        <a:lnTo>
                          <a:pt x="617" y="1246"/>
                        </a:lnTo>
                        <a:lnTo>
                          <a:pt x="615" y="1241"/>
                        </a:lnTo>
                        <a:lnTo>
                          <a:pt x="610" y="1241"/>
                        </a:lnTo>
                        <a:lnTo>
                          <a:pt x="605" y="1245"/>
                        </a:lnTo>
                        <a:lnTo>
                          <a:pt x="600" y="1245"/>
                        </a:lnTo>
                        <a:lnTo>
                          <a:pt x="600" y="1246"/>
                        </a:lnTo>
                        <a:lnTo>
                          <a:pt x="597" y="1250"/>
                        </a:lnTo>
                        <a:lnTo>
                          <a:pt x="597" y="1246"/>
                        </a:lnTo>
                        <a:lnTo>
                          <a:pt x="593" y="1248"/>
                        </a:lnTo>
                        <a:lnTo>
                          <a:pt x="592" y="1251"/>
                        </a:lnTo>
                        <a:lnTo>
                          <a:pt x="587" y="1255"/>
                        </a:lnTo>
                        <a:lnTo>
                          <a:pt x="585" y="1251"/>
                        </a:lnTo>
                        <a:lnTo>
                          <a:pt x="588" y="1248"/>
                        </a:lnTo>
                        <a:lnTo>
                          <a:pt x="588" y="1245"/>
                        </a:lnTo>
                        <a:lnTo>
                          <a:pt x="583" y="1243"/>
                        </a:lnTo>
                        <a:lnTo>
                          <a:pt x="577" y="1240"/>
                        </a:lnTo>
                        <a:lnTo>
                          <a:pt x="575" y="1241"/>
                        </a:lnTo>
                        <a:lnTo>
                          <a:pt x="577" y="1246"/>
                        </a:lnTo>
                        <a:lnTo>
                          <a:pt x="575" y="1250"/>
                        </a:lnTo>
                        <a:lnTo>
                          <a:pt x="570" y="1248"/>
                        </a:lnTo>
                        <a:lnTo>
                          <a:pt x="567" y="1251"/>
                        </a:lnTo>
                        <a:lnTo>
                          <a:pt x="565" y="1256"/>
                        </a:lnTo>
                        <a:lnTo>
                          <a:pt x="562" y="1258"/>
                        </a:lnTo>
                        <a:lnTo>
                          <a:pt x="554" y="1261"/>
                        </a:lnTo>
                        <a:lnTo>
                          <a:pt x="552" y="1266"/>
                        </a:lnTo>
                        <a:lnTo>
                          <a:pt x="555" y="1269"/>
                        </a:lnTo>
                        <a:lnTo>
                          <a:pt x="555" y="1276"/>
                        </a:lnTo>
                        <a:lnTo>
                          <a:pt x="549" y="1276"/>
                        </a:lnTo>
                        <a:lnTo>
                          <a:pt x="540" y="1276"/>
                        </a:lnTo>
                        <a:lnTo>
                          <a:pt x="547" y="1294"/>
                        </a:lnTo>
                        <a:lnTo>
                          <a:pt x="544" y="1296"/>
                        </a:lnTo>
                        <a:lnTo>
                          <a:pt x="544" y="1303"/>
                        </a:lnTo>
                        <a:lnTo>
                          <a:pt x="537" y="1303"/>
                        </a:lnTo>
                        <a:lnTo>
                          <a:pt x="529" y="1299"/>
                        </a:lnTo>
                        <a:lnTo>
                          <a:pt x="527" y="1294"/>
                        </a:lnTo>
                        <a:lnTo>
                          <a:pt x="515" y="1284"/>
                        </a:lnTo>
                        <a:lnTo>
                          <a:pt x="510" y="1289"/>
                        </a:lnTo>
                        <a:lnTo>
                          <a:pt x="510" y="1294"/>
                        </a:lnTo>
                        <a:lnTo>
                          <a:pt x="505" y="1301"/>
                        </a:lnTo>
                        <a:lnTo>
                          <a:pt x="500" y="1303"/>
                        </a:lnTo>
                        <a:lnTo>
                          <a:pt x="502" y="1314"/>
                        </a:lnTo>
                        <a:lnTo>
                          <a:pt x="505" y="1318"/>
                        </a:lnTo>
                        <a:lnTo>
                          <a:pt x="502" y="1331"/>
                        </a:lnTo>
                        <a:lnTo>
                          <a:pt x="499" y="1339"/>
                        </a:lnTo>
                        <a:lnTo>
                          <a:pt x="509" y="1343"/>
                        </a:lnTo>
                        <a:lnTo>
                          <a:pt x="514" y="1348"/>
                        </a:lnTo>
                        <a:lnTo>
                          <a:pt x="512" y="1351"/>
                        </a:lnTo>
                        <a:lnTo>
                          <a:pt x="520" y="1357"/>
                        </a:lnTo>
                        <a:lnTo>
                          <a:pt x="522" y="1354"/>
                        </a:lnTo>
                        <a:lnTo>
                          <a:pt x="537" y="1357"/>
                        </a:lnTo>
                        <a:lnTo>
                          <a:pt x="549" y="1367"/>
                        </a:lnTo>
                        <a:lnTo>
                          <a:pt x="559" y="1382"/>
                        </a:lnTo>
                        <a:lnTo>
                          <a:pt x="549" y="1382"/>
                        </a:lnTo>
                        <a:lnTo>
                          <a:pt x="549" y="1386"/>
                        </a:lnTo>
                        <a:lnTo>
                          <a:pt x="557" y="1391"/>
                        </a:lnTo>
                        <a:lnTo>
                          <a:pt x="564" y="1389"/>
                        </a:lnTo>
                        <a:lnTo>
                          <a:pt x="570" y="1392"/>
                        </a:lnTo>
                        <a:lnTo>
                          <a:pt x="570" y="1392"/>
                        </a:lnTo>
                        <a:lnTo>
                          <a:pt x="568" y="1392"/>
                        </a:lnTo>
                        <a:lnTo>
                          <a:pt x="568" y="1396"/>
                        </a:lnTo>
                        <a:lnTo>
                          <a:pt x="568" y="1397"/>
                        </a:lnTo>
                        <a:lnTo>
                          <a:pt x="565" y="1397"/>
                        </a:lnTo>
                        <a:lnTo>
                          <a:pt x="567" y="1399"/>
                        </a:lnTo>
                        <a:lnTo>
                          <a:pt x="567" y="1402"/>
                        </a:lnTo>
                        <a:lnTo>
                          <a:pt x="565" y="1402"/>
                        </a:lnTo>
                        <a:lnTo>
                          <a:pt x="567" y="1404"/>
                        </a:lnTo>
                        <a:lnTo>
                          <a:pt x="567" y="1406"/>
                        </a:lnTo>
                        <a:lnTo>
                          <a:pt x="564" y="1406"/>
                        </a:lnTo>
                        <a:lnTo>
                          <a:pt x="562" y="1406"/>
                        </a:lnTo>
                        <a:lnTo>
                          <a:pt x="557" y="1404"/>
                        </a:lnTo>
                        <a:lnTo>
                          <a:pt x="554" y="1406"/>
                        </a:lnTo>
                        <a:lnTo>
                          <a:pt x="560" y="1409"/>
                        </a:lnTo>
                        <a:lnTo>
                          <a:pt x="562" y="1411"/>
                        </a:lnTo>
                        <a:lnTo>
                          <a:pt x="560" y="1412"/>
                        </a:lnTo>
                        <a:lnTo>
                          <a:pt x="557" y="1411"/>
                        </a:lnTo>
                        <a:lnTo>
                          <a:pt x="557" y="1411"/>
                        </a:lnTo>
                        <a:lnTo>
                          <a:pt x="554" y="1412"/>
                        </a:lnTo>
                        <a:lnTo>
                          <a:pt x="554" y="1412"/>
                        </a:lnTo>
                        <a:lnTo>
                          <a:pt x="552" y="1411"/>
                        </a:lnTo>
                        <a:lnTo>
                          <a:pt x="550" y="1411"/>
                        </a:lnTo>
                        <a:lnTo>
                          <a:pt x="554" y="1412"/>
                        </a:lnTo>
                        <a:lnTo>
                          <a:pt x="554" y="1414"/>
                        </a:lnTo>
                        <a:lnTo>
                          <a:pt x="550" y="1416"/>
                        </a:lnTo>
                        <a:lnTo>
                          <a:pt x="547" y="1416"/>
                        </a:lnTo>
                        <a:lnTo>
                          <a:pt x="545" y="1417"/>
                        </a:lnTo>
                        <a:lnTo>
                          <a:pt x="544" y="1416"/>
                        </a:lnTo>
                        <a:lnTo>
                          <a:pt x="542" y="1419"/>
                        </a:lnTo>
                        <a:lnTo>
                          <a:pt x="540" y="1419"/>
                        </a:lnTo>
                        <a:lnTo>
                          <a:pt x="537" y="1417"/>
                        </a:lnTo>
                        <a:lnTo>
                          <a:pt x="535" y="1417"/>
                        </a:lnTo>
                        <a:lnTo>
                          <a:pt x="535" y="1419"/>
                        </a:lnTo>
                        <a:lnTo>
                          <a:pt x="532" y="1424"/>
                        </a:lnTo>
                        <a:lnTo>
                          <a:pt x="532" y="1427"/>
                        </a:lnTo>
                        <a:lnTo>
                          <a:pt x="529" y="1429"/>
                        </a:lnTo>
                        <a:lnTo>
                          <a:pt x="527" y="1434"/>
                        </a:lnTo>
                        <a:lnTo>
                          <a:pt x="525" y="1437"/>
                        </a:lnTo>
                        <a:lnTo>
                          <a:pt x="525" y="1446"/>
                        </a:lnTo>
                        <a:lnTo>
                          <a:pt x="524" y="1447"/>
                        </a:lnTo>
                        <a:lnTo>
                          <a:pt x="522" y="1452"/>
                        </a:lnTo>
                        <a:lnTo>
                          <a:pt x="524" y="1459"/>
                        </a:lnTo>
                        <a:lnTo>
                          <a:pt x="527" y="1459"/>
                        </a:lnTo>
                        <a:lnTo>
                          <a:pt x="530" y="1459"/>
                        </a:lnTo>
                        <a:lnTo>
                          <a:pt x="534" y="1462"/>
                        </a:lnTo>
                        <a:lnTo>
                          <a:pt x="539" y="1464"/>
                        </a:lnTo>
                        <a:lnTo>
                          <a:pt x="539" y="1470"/>
                        </a:lnTo>
                        <a:lnTo>
                          <a:pt x="544" y="1474"/>
                        </a:lnTo>
                        <a:lnTo>
                          <a:pt x="547" y="1472"/>
                        </a:lnTo>
                        <a:lnTo>
                          <a:pt x="549" y="1472"/>
                        </a:lnTo>
                        <a:lnTo>
                          <a:pt x="547" y="1475"/>
                        </a:lnTo>
                        <a:lnTo>
                          <a:pt x="545" y="1479"/>
                        </a:lnTo>
                        <a:lnTo>
                          <a:pt x="544" y="1479"/>
                        </a:lnTo>
                        <a:lnTo>
                          <a:pt x="544" y="1482"/>
                        </a:lnTo>
                        <a:lnTo>
                          <a:pt x="547" y="1482"/>
                        </a:lnTo>
                        <a:lnTo>
                          <a:pt x="547" y="1484"/>
                        </a:lnTo>
                        <a:lnTo>
                          <a:pt x="549" y="1487"/>
                        </a:lnTo>
                        <a:lnTo>
                          <a:pt x="549" y="1494"/>
                        </a:lnTo>
                        <a:lnTo>
                          <a:pt x="552" y="1497"/>
                        </a:lnTo>
                        <a:lnTo>
                          <a:pt x="554" y="1504"/>
                        </a:lnTo>
                        <a:lnTo>
                          <a:pt x="564" y="1514"/>
                        </a:lnTo>
                        <a:lnTo>
                          <a:pt x="577" y="1524"/>
                        </a:lnTo>
                        <a:lnTo>
                          <a:pt x="578" y="1525"/>
                        </a:lnTo>
                        <a:lnTo>
                          <a:pt x="578" y="1525"/>
                        </a:lnTo>
                        <a:lnTo>
                          <a:pt x="570" y="1534"/>
                        </a:lnTo>
                        <a:lnTo>
                          <a:pt x="564" y="1537"/>
                        </a:lnTo>
                        <a:lnTo>
                          <a:pt x="560" y="1542"/>
                        </a:lnTo>
                        <a:lnTo>
                          <a:pt x="550" y="1540"/>
                        </a:lnTo>
                        <a:lnTo>
                          <a:pt x="547" y="1535"/>
                        </a:lnTo>
                        <a:lnTo>
                          <a:pt x="535" y="1527"/>
                        </a:lnTo>
                        <a:lnTo>
                          <a:pt x="529" y="1527"/>
                        </a:lnTo>
                        <a:lnTo>
                          <a:pt x="525" y="1534"/>
                        </a:lnTo>
                        <a:lnTo>
                          <a:pt x="532" y="1537"/>
                        </a:lnTo>
                        <a:lnTo>
                          <a:pt x="535" y="1542"/>
                        </a:lnTo>
                        <a:lnTo>
                          <a:pt x="534" y="1550"/>
                        </a:lnTo>
                        <a:lnTo>
                          <a:pt x="525" y="1545"/>
                        </a:lnTo>
                        <a:lnTo>
                          <a:pt x="517" y="1545"/>
                        </a:lnTo>
                        <a:lnTo>
                          <a:pt x="502" y="1539"/>
                        </a:lnTo>
                        <a:lnTo>
                          <a:pt x="494" y="1542"/>
                        </a:lnTo>
                        <a:lnTo>
                          <a:pt x="494" y="1545"/>
                        </a:lnTo>
                        <a:lnTo>
                          <a:pt x="497" y="1550"/>
                        </a:lnTo>
                        <a:lnTo>
                          <a:pt x="492" y="1545"/>
                        </a:lnTo>
                        <a:lnTo>
                          <a:pt x="479" y="1545"/>
                        </a:lnTo>
                        <a:lnTo>
                          <a:pt x="475" y="1544"/>
                        </a:lnTo>
                        <a:lnTo>
                          <a:pt x="464" y="1547"/>
                        </a:lnTo>
                        <a:lnTo>
                          <a:pt x="457" y="1549"/>
                        </a:lnTo>
                        <a:lnTo>
                          <a:pt x="457" y="1549"/>
                        </a:lnTo>
                        <a:lnTo>
                          <a:pt x="452" y="1547"/>
                        </a:lnTo>
                        <a:lnTo>
                          <a:pt x="442" y="1540"/>
                        </a:lnTo>
                        <a:lnTo>
                          <a:pt x="437" y="1539"/>
                        </a:lnTo>
                        <a:lnTo>
                          <a:pt x="434" y="1542"/>
                        </a:lnTo>
                        <a:lnTo>
                          <a:pt x="432" y="1542"/>
                        </a:lnTo>
                        <a:lnTo>
                          <a:pt x="426" y="1540"/>
                        </a:lnTo>
                        <a:lnTo>
                          <a:pt x="422" y="1542"/>
                        </a:lnTo>
                        <a:lnTo>
                          <a:pt x="421" y="1542"/>
                        </a:lnTo>
                        <a:lnTo>
                          <a:pt x="419" y="1537"/>
                        </a:lnTo>
                        <a:lnTo>
                          <a:pt x="416" y="1537"/>
                        </a:lnTo>
                        <a:lnTo>
                          <a:pt x="416" y="1537"/>
                        </a:lnTo>
                        <a:lnTo>
                          <a:pt x="417" y="1537"/>
                        </a:lnTo>
                        <a:lnTo>
                          <a:pt x="416" y="1532"/>
                        </a:lnTo>
                        <a:lnTo>
                          <a:pt x="417" y="1530"/>
                        </a:lnTo>
                        <a:lnTo>
                          <a:pt x="412" y="1524"/>
                        </a:lnTo>
                        <a:lnTo>
                          <a:pt x="412" y="1514"/>
                        </a:lnTo>
                        <a:lnTo>
                          <a:pt x="409" y="1510"/>
                        </a:lnTo>
                        <a:lnTo>
                          <a:pt x="404" y="1504"/>
                        </a:lnTo>
                        <a:lnTo>
                          <a:pt x="397" y="1502"/>
                        </a:lnTo>
                        <a:lnTo>
                          <a:pt x="397" y="1500"/>
                        </a:lnTo>
                        <a:lnTo>
                          <a:pt x="391" y="1495"/>
                        </a:lnTo>
                        <a:lnTo>
                          <a:pt x="389" y="1497"/>
                        </a:lnTo>
                        <a:lnTo>
                          <a:pt x="386" y="1495"/>
                        </a:lnTo>
                        <a:lnTo>
                          <a:pt x="381" y="1495"/>
                        </a:lnTo>
                        <a:lnTo>
                          <a:pt x="377" y="1489"/>
                        </a:lnTo>
                        <a:lnTo>
                          <a:pt x="376" y="1489"/>
                        </a:lnTo>
                        <a:lnTo>
                          <a:pt x="371" y="1487"/>
                        </a:lnTo>
                        <a:lnTo>
                          <a:pt x="369" y="1485"/>
                        </a:lnTo>
                        <a:lnTo>
                          <a:pt x="366" y="1485"/>
                        </a:lnTo>
                        <a:lnTo>
                          <a:pt x="361" y="1482"/>
                        </a:lnTo>
                        <a:lnTo>
                          <a:pt x="359" y="1479"/>
                        </a:lnTo>
                        <a:lnTo>
                          <a:pt x="356" y="1477"/>
                        </a:lnTo>
                        <a:lnTo>
                          <a:pt x="353" y="1472"/>
                        </a:lnTo>
                        <a:lnTo>
                          <a:pt x="338" y="1462"/>
                        </a:lnTo>
                        <a:lnTo>
                          <a:pt x="331" y="1460"/>
                        </a:lnTo>
                        <a:lnTo>
                          <a:pt x="321" y="1455"/>
                        </a:lnTo>
                        <a:lnTo>
                          <a:pt x="313" y="1455"/>
                        </a:lnTo>
                        <a:lnTo>
                          <a:pt x="306" y="1451"/>
                        </a:lnTo>
                        <a:lnTo>
                          <a:pt x="306" y="1447"/>
                        </a:lnTo>
                        <a:lnTo>
                          <a:pt x="299" y="1442"/>
                        </a:lnTo>
                        <a:lnTo>
                          <a:pt x="298" y="1444"/>
                        </a:lnTo>
                        <a:lnTo>
                          <a:pt x="291" y="1442"/>
                        </a:lnTo>
                        <a:lnTo>
                          <a:pt x="294" y="1441"/>
                        </a:lnTo>
                        <a:lnTo>
                          <a:pt x="298" y="1439"/>
                        </a:lnTo>
                        <a:lnTo>
                          <a:pt x="296" y="1436"/>
                        </a:lnTo>
                        <a:lnTo>
                          <a:pt x="296" y="1434"/>
                        </a:lnTo>
                        <a:lnTo>
                          <a:pt x="303" y="1434"/>
                        </a:lnTo>
                        <a:lnTo>
                          <a:pt x="306" y="1437"/>
                        </a:lnTo>
                        <a:lnTo>
                          <a:pt x="308" y="1437"/>
                        </a:lnTo>
                        <a:lnTo>
                          <a:pt x="311" y="1437"/>
                        </a:lnTo>
                        <a:lnTo>
                          <a:pt x="313" y="1431"/>
                        </a:lnTo>
                        <a:lnTo>
                          <a:pt x="311" y="1429"/>
                        </a:lnTo>
                        <a:lnTo>
                          <a:pt x="311" y="1426"/>
                        </a:lnTo>
                        <a:lnTo>
                          <a:pt x="316" y="1421"/>
                        </a:lnTo>
                        <a:lnTo>
                          <a:pt x="316" y="1419"/>
                        </a:lnTo>
                        <a:lnTo>
                          <a:pt x="318" y="1417"/>
                        </a:lnTo>
                        <a:lnTo>
                          <a:pt x="321" y="1417"/>
                        </a:lnTo>
                        <a:lnTo>
                          <a:pt x="323" y="1414"/>
                        </a:lnTo>
                        <a:lnTo>
                          <a:pt x="326" y="1414"/>
                        </a:lnTo>
                        <a:lnTo>
                          <a:pt x="326" y="1412"/>
                        </a:lnTo>
                        <a:lnTo>
                          <a:pt x="321" y="1411"/>
                        </a:lnTo>
                        <a:lnTo>
                          <a:pt x="319" y="1409"/>
                        </a:lnTo>
                        <a:lnTo>
                          <a:pt x="318" y="1411"/>
                        </a:lnTo>
                        <a:lnTo>
                          <a:pt x="314" y="1407"/>
                        </a:lnTo>
                        <a:lnTo>
                          <a:pt x="311" y="1401"/>
                        </a:lnTo>
                        <a:lnTo>
                          <a:pt x="319" y="1401"/>
                        </a:lnTo>
                        <a:lnTo>
                          <a:pt x="324" y="1401"/>
                        </a:lnTo>
                        <a:lnTo>
                          <a:pt x="328" y="1397"/>
                        </a:lnTo>
                        <a:lnTo>
                          <a:pt x="324" y="1397"/>
                        </a:lnTo>
                        <a:lnTo>
                          <a:pt x="323" y="1396"/>
                        </a:lnTo>
                        <a:lnTo>
                          <a:pt x="328" y="1392"/>
                        </a:lnTo>
                        <a:lnTo>
                          <a:pt x="341" y="1386"/>
                        </a:lnTo>
                        <a:lnTo>
                          <a:pt x="341" y="1382"/>
                        </a:lnTo>
                        <a:lnTo>
                          <a:pt x="339" y="1381"/>
                        </a:lnTo>
                        <a:lnTo>
                          <a:pt x="334" y="1381"/>
                        </a:lnTo>
                        <a:lnTo>
                          <a:pt x="328" y="1384"/>
                        </a:lnTo>
                        <a:lnTo>
                          <a:pt x="323" y="1384"/>
                        </a:lnTo>
                        <a:lnTo>
                          <a:pt x="323" y="1384"/>
                        </a:lnTo>
                        <a:lnTo>
                          <a:pt x="323" y="1384"/>
                        </a:lnTo>
                        <a:lnTo>
                          <a:pt x="324" y="1374"/>
                        </a:lnTo>
                        <a:lnTo>
                          <a:pt x="326" y="1372"/>
                        </a:lnTo>
                        <a:lnTo>
                          <a:pt x="333" y="1366"/>
                        </a:lnTo>
                        <a:lnTo>
                          <a:pt x="344" y="1364"/>
                        </a:lnTo>
                        <a:lnTo>
                          <a:pt x="348" y="1362"/>
                        </a:lnTo>
                        <a:lnTo>
                          <a:pt x="348" y="1356"/>
                        </a:lnTo>
                        <a:lnTo>
                          <a:pt x="351" y="1348"/>
                        </a:lnTo>
                        <a:lnTo>
                          <a:pt x="349" y="1343"/>
                        </a:lnTo>
                        <a:lnTo>
                          <a:pt x="343" y="1338"/>
                        </a:lnTo>
                        <a:lnTo>
                          <a:pt x="344" y="1328"/>
                        </a:lnTo>
                        <a:lnTo>
                          <a:pt x="349" y="1328"/>
                        </a:lnTo>
                        <a:lnTo>
                          <a:pt x="353" y="1323"/>
                        </a:lnTo>
                        <a:lnTo>
                          <a:pt x="353" y="1316"/>
                        </a:lnTo>
                        <a:lnTo>
                          <a:pt x="349" y="1314"/>
                        </a:lnTo>
                        <a:lnTo>
                          <a:pt x="348" y="1309"/>
                        </a:lnTo>
                        <a:lnTo>
                          <a:pt x="344" y="1313"/>
                        </a:lnTo>
                        <a:lnTo>
                          <a:pt x="336" y="1311"/>
                        </a:lnTo>
                        <a:lnTo>
                          <a:pt x="329" y="1308"/>
                        </a:lnTo>
                        <a:lnTo>
                          <a:pt x="324" y="1309"/>
                        </a:lnTo>
                        <a:lnTo>
                          <a:pt x="319" y="1306"/>
                        </a:lnTo>
                        <a:lnTo>
                          <a:pt x="314" y="1306"/>
                        </a:lnTo>
                        <a:lnTo>
                          <a:pt x="304" y="1304"/>
                        </a:lnTo>
                        <a:lnTo>
                          <a:pt x="301" y="1308"/>
                        </a:lnTo>
                        <a:lnTo>
                          <a:pt x="299" y="1303"/>
                        </a:lnTo>
                        <a:lnTo>
                          <a:pt x="291" y="1299"/>
                        </a:lnTo>
                        <a:lnTo>
                          <a:pt x="286" y="1288"/>
                        </a:lnTo>
                        <a:lnTo>
                          <a:pt x="283" y="1289"/>
                        </a:lnTo>
                        <a:lnTo>
                          <a:pt x="274" y="1294"/>
                        </a:lnTo>
                        <a:lnTo>
                          <a:pt x="269" y="1293"/>
                        </a:lnTo>
                        <a:lnTo>
                          <a:pt x="263" y="1294"/>
                        </a:lnTo>
                        <a:lnTo>
                          <a:pt x="256" y="1291"/>
                        </a:lnTo>
                        <a:lnTo>
                          <a:pt x="253" y="1296"/>
                        </a:lnTo>
                        <a:lnTo>
                          <a:pt x="241" y="1286"/>
                        </a:lnTo>
                        <a:lnTo>
                          <a:pt x="240" y="1279"/>
                        </a:lnTo>
                        <a:lnTo>
                          <a:pt x="240" y="1273"/>
                        </a:lnTo>
                        <a:lnTo>
                          <a:pt x="235" y="1273"/>
                        </a:lnTo>
                        <a:lnTo>
                          <a:pt x="233" y="1268"/>
                        </a:lnTo>
                        <a:lnTo>
                          <a:pt x="228" y="1264"/>
                        </a:lnTo>
                        <a:lnTo>
                          <a:pt x="215" y="1266"/>
                        </a:lnTo>
                        <a:lnTo>
                          <a:pt x="208" y="1258"/>
                        </a:lnTo>
                        <a:lnTo>
                          <a:pt x="211" y="1253"/>
                        </a:lnTo>
                        <a:lnTo>
                          <a:pt x="206" y="1250"/>
                        </a:lnTo>
                        <a:lnTo>
                          <a:pt x="203" y="1240"/>
                        </a:lnTo>
                        <a:lnTo>
                          <a:pt x="196" y="1240"/>
                        </a:lnTo>
                        <a:lnTo>
                          <a:pt x="191" y="1241"/>
                        </a:lnTo>
                        <a:lnTo>
                          <a:pt x="178" y="1241"/>
                        </a:lnTo>
                        <a:lnTo>
                          <a:pt x="167" y="1238"/>
                        </a:lnTo>
                        <a:lnTo>
                          <a:pt x="163" y="1241"/>
                        </a:lnTo>
                        <a:lnTo>
                          <a:pt x="163" y="1246"/>
                        </a:lnTo>
                        <a:lnTo>
                          <a:pt x="158" y="1246"/>
                        </a:lnTo>
                        <a:lnTo>
                          <a:pt x="153" y="1246"/>
                        </a:lnTo>
                        <a:lnTo>
                          <a:pt x="153" y="1241"/>
                        </a:lnTo>
                        <a:lnTo>
                          <a:pt x="148" y="1235"/>
                        </a:lnTo>
                        <a:lnTo>
                          <a:pt x="148" y="1230"/>
                        </a:lnTo>
                        <a:lnTo>
                          <a:pt x="145" y="1221"/>
                        </a:lnTo>
                        <a:lnTo>
                          <a:pt x="143" y="1216"/>
                        </a:lnTo>
                        <a:lnTo>
                          <a:pt x="147" y="1213"/>
                        </a:lnTo>
                        <a:lnTo>
                          <a:pt x="152" y="1218"/>
                        </a:lnTo>
                        <a:lnTo>
                          <a:pt x="163" y="1216"/>
                        </a:lnTo>
                        <a:lnTo>
                          <a:pt x="168" y="1208"/>
                        </a:lnTo>
                        <a:lnTo>
                          <a:pt x="171" y="1206"/>
                        </a:lnTo>
                        <a:lnTo>
                          <a:pt x="165" y="1203"/>
                        </a:lnTo>
                        <a:lnTo>
                          <a:pt x="165" y="1198"/>
                        </a:lnTo>
                        <a:lnTo>
                          <a:pt x="155" y="1191"/>
                        </a:lnTo>
                        <a:lnTo>
                          <a:pt x="147" y="1190"/>
                        </a:lnTo>
                        <a:lnTo>
                          <a:pt x="145" y="1181"/>
                        </a:lnTo>
                        <a:lnTo>
                          <a:pt x="140" y="1180"/>
                        </a:lnTo>
                        <a:lnTo>
                          <a:pt x="133" y="1171"/>
                        </a:lnTo>
                        <a:lnTo>
                          <a:pt x="132" y="1165"/>
                        </a:lnTo>
                        <a:lnTo>
                          <a:pt x="125" y="1160"/>
                        </a:lnTo>
                        <a:lnTo>
                          <a:pt x="125" y="1153"/>
                        </a:lnTo>
                        <a:lnTo>
                          <a:pt x="122" y="1148"/>
                        </a:lnTo>
                        <a:lnTo>
                          <a:pt x="123" y="1143"/>
                        </a:lnTo>
                        <a:lnTo>
                          <a:pt x="122" y="1138"/>
                        </a:lnTo>
                        <a:lnTo>
                          <a:pt x="112" y="1135"/>
                        </a:lnTo>
                        <a:lnTo>
                          <a:pt x="108" y="1135"/>
                        </a:lnTo>
                        <a:lnTo>
                          <a:pt x="105" y="1132"/>
                        </a:lnTo>
                        <a:lnTo>
                          <a:pt x="98" y="1133"/>
                        </a:lnTo>
                        <a:lnTo>
                          <a:pt x="92" y="1138"/>
                        </a:lnTo>
                        <a:lnTo>
                          <a:pt x="87" y="1130"/>
                        </a:lnTo>
                        <a:lnTo>
                          <a:pt x="82" y="1130"/>
                        </a:lnTo>
                        <a:lnTo>
                          <a:pt x="77" y="1132"/>
                        </a:lnTo>
                        <a:lnTo>
                          <a:pt x="72" y="1125"/>
                        </a:lnTo>
                        <a:lnTo>
                          <a:pt x="65" y="1128"/>
                        </a:lnTo>
                        <a:lnTo>
                          <a:pt x="62" y="1125"/>
                        </a:lnTo>
                        <a:lnTo>
                          <a:pt x="60" y="1127"/>
                        </a:lnTo>
                        <a:lnTo>
                          <a:pt x="59" y="1120"/>
                        </a:lnTo>
                        <a:lnTo>
                          <a:pt x="55" y="1115"/>
                        </a:lnTo>
                        <a:lnTo>
                          <a:pt x="54" y="1110"/>
                        </a:lnTo>
                        <a:lnTo>
                          <a:pt x="52" y="1107"/>
                        </a:lnTo>
                        <a:lnTo>
                          <a:pt x="49" y="1102"/>
                        </a:lnTo>
                        <a:lnTo>
                          <a:pt x="49" y="1098"/>
                        </a:lnTo>
                        <a:lnTo>
                          <a:pt x="47" y="1095"/>
                        </a:lnTo>
                        <a:lnTo>
                          <a:pt x="45" y="1093"/>
                        </a:lnTo>
                        <a:lnTo>
                          <a:pt x="47" y="1092"/>
                        </a:lnTo>
                        <a:lnTo>
                          <a:pt x="45" y="1088"/>
                        </a:lnTo>
                        <a:lnTo>
                          <a:pt x="40" y="1087"/>
                        </a:lnTo>
                        <a:lnTo>
                          <a:pt x="45" y="1082"/>
                        </a:lnTo>
                        <a:lnTo>
                          <a:pt x="44" y="1078"/>
                        </a:lnTo>
                        <a:lnTo>
                          <a:pt x="47" y="1075"/>
                        </a:lnTo>
                        <a:lnTo>
                          <a:pt x="47" y="1070"/>
                        </a:lnTo>
                        <a:lnTo>
                          <a:pt x="37" y="1052"/>
                        </a:lnTo>
                        <a:lnTo>
                          <a:pt x="39" y="1037"/>
                        </a:lnTo>
                        <a:lnTo>
                          <a:pt x="40" y="1035"/>
                        </a:lnTo>
                        <a:lnTo>
                          <a:pt x="42" y="1029"/>
                        </a:lnTo>
                        <a:lnTo>
                          <a:pt x="47" y="1024"/>
                        </a:lnTo>
                        <a:lnTo>
                          <a:pt x="47" y="1022"/>
                        </a:lnTo>
                        <a:lnTo>
                          <a:pt x="47" y="1022"/>
                        </a:lnTo>
                        <a:lnTo>
                          <a:pt x="45" y="1019"/>
                        </a:lnTo>
                        <a:lnTo>
                          <a:pt x="45" y="1019"/>
                        </a:lnTo>
                        <a:lnTo>
                          <a:pt x="47" y="1014"/>
                        </a:lnTo>
                        <a:lnTo>
                          <a:pt x="44" y="1010"/>
                        </a:lnTo>
                        <a:lnTo>
                          <a:pt x="44" y="1007"/>
                        </a:lnTo>
                        <a:lnTo>
                          <a:pt x="47" y="1007"/>
                        </a:lnTo>
                        <a:lnTo>
                          <a:pt x="49" y="1010"/>
                        </a:lnTo>
                        <a:lnTo>
                          <a:pt x="52" y="1009"/>
                        </a:lnTo>
                        <a:lnTo>
                          <a:pt x="52" y="1005"/>
                        </a:lnTo>
                        <a:lnTo>
                          <a:pt x="55" y="1002"/>
                        </a:lnTo>
                        <a:lnTo>
                          <a:pt x="60" y="1005"/>
                        </a:lnTo>
                        <a:lnTo>
                          <a:pt x="65" y="1002"/>
                        </a:lnTo>
                        <a:lnTo>
                          <a:pt x="67" y="997"/>
                        </a:lnTo>
                        <a:lnTo>
                          <a:pt x="70" y="997"/>
                        </a:lnTo>
                        <a:lnTo>
                          <a:pt x="77" y="999"/>
                        </a:lnTo>
                        <a:lnTo>
                          <a:pt x="80" y="995"/>
                        </a:lnTo>
                        <a:lnTo>
                          <a:pt x="75" y="990"/>
                        </a:lnTo>
                        <a:lnTo>
                          <a:pt x="72" y="990"/>
                        </a:lnTo>
                        <a:lnTo>
                          <a:pt x="70" y="990"/>
                        </a:lnTo>
                        <a:lnTo>
                          <a:pt x="64" y="990"/>
                        </a:lnTo>
                        <a:lnTo>
                          <a:pt x="60" y="987"/>
                        </a:lnTo>
                        <a:lnTo>
                          <a:pt x="55" y="987"/>
                        </a:lnTo>
                        <a:lnTo>
                          <a:pt x="50" y="980"/>
                        </a:lnTo>
                        <a:lnTo>
                          <a:pt x="50" y="977"/>
                        </a:lnTo>
                        <a:lnTo>
                          <a:pt x="55" y="982"/>
                        </a:lnTo>
                        <a:lnTo>
                          <a:pt x="55" y="979"/>
                        </a:lnTo>
                        <a:lnTo>
                          <a:pt x="54" y="975"/>
                        </a:lnTo>
                        <a:lnTo>
                          <a:pt x="57" y="972"/>
                        </a:lnTo>
                        <a:lnTo>
                          <a:pt x="52" y="974"/>
                        </a:lnTo>
                        <a:lnTo>
                          <a:pt x="52" y="974"/>
                        </a:lnTo>
                        <a:lnTo>
                          <a:pt x="45" y="977"/>
                        </a:lnTo>
                        <a:lnTo>
                          <a:pt x="45" y="977"/>
                        </a:lnTo>
                        <a:lnTo>
                          <a:pt x="45" y="977"/>
                        </a:lnTo>
                        <a:lnTo>
                          <a:pt x="44" y="977"/>
                        </a:lnTo>
                        <a:lnTo>
                          <a:pt x="44" y="972"/>
                        </a:lnTo>
                        <a:lnTo>
                          <a:pt x="55" y="962"/>
                        </a:lnTo>
                        <a:lnTo>
                          <a:pt x="60" y="961"/>
                        </a:lnTo>
                        <a:lnTo>
                          <a:pt x="67" y="949"/>
                        </a:lnTo>
                        <a:lnTo>
                          <a:pt x="73" y="941"/>
                        </a:lnTo>
                        <a:lnTo>
                          <a:pt x="78" y="929"/>
                        </a:lnTo>
                        <a:lnTo>
                          <a:pt x="88" y="914"/>
                        </a:lnTo>
                        <a:lnTo>
                          <a:pt x="95" y="899"/>
                        </a:lnTo>
                        <a:lnTo>
                          <a:pt x="93" y="892"/>
                        </a:lnTo>
                        <a:lnTo>
                          <a:pt x="83" y="881"/>
                        </a:lnTo>
                        <a:lnTo>
                          <a:pt x="77" y="879"/>
                        </a:lnTo>
                        <a:lnTo>
                          <a:pt x="65" y="866"/>
                        </a:lnTo>
                        <a:lnTo>
                          <a:pt x="68" y="859"/>
                        </a:lnTo>
                        <a:lnTo>
                          <a:pt x="72" y="853"/>
                        </a:lnTo>
                        <a:lnTo>
                          <a:pt x="72" y="846"/>
                        </a:lnTo>
                        <a:lnTo>
                          <a:pt x="65" y="843"/>
                        </a:lnTo>
                        <a:lnTo>
                          <a:pt x="62" y="838"/>
                        </a:lnTo>
                        <a:lnTo>
                          <a:pt x="62" y="829"/>
                        </a:lnTo>
                        <a:lnTo>
                          <a:pt x="64" y="826"/>
                        </a:lnTo>
                        <a:lnTo>
                          <a:pt x="62" y="823"/>
                        </a:lnTo>
                        <a:lnTo>
                          <a:pt x="55" y="821"/>
                        </a:lnTo>
                        <a:lnTo>
                          <a:pt x="52" y="818"/>
                        </a:lnTo>
                        <a:lnTo>
                          <a:pt x="52" y="811"/>
                        </a:lnTo>
                        <a:lnTo>
                          <a:pt x="55" y="806"/>
                        </a:lnTo>
                        <a:lnTo>
                          <a:pt x="50" y="806"/>
                        </a:lnTo>
                        <a:lnTo>
                          <a:pt x="50" y="803"/>
                        </a:lnTo>
                        <a:lnTo>
                          <a:pt x="52" y="788"/>
                        </a:lnTo>
                        <a:lnTo>
                          <a:pt x="57" y="786"/>
                        </a:lnTo>
                        <a:lnTo>
                          <a:pt x="45" y="764"/>
                        </a:lnTo>
                        <a:lnTo>
                          <a:pt x="35" y="748"/>
                        </a:lnTo>
                        <a:lnTo>
                          <a:pt x="34" y="741"/>
                        </a:lnTo>
                        <a:lnTo>
                          <a:pt x="27" y="736"/>
                        </a:lnTo>
                        <a:lnTo>
                          <a:pt x="32" y="725"/>
                        </a:lnTo>
                        <a:lnTo>
                          <a:pt x="37" y="718"/>
                        </a:lnTo>
                        <a:lnTo>
                          <a:pt x="39" y="711"/>
                        </a:lnTo>
                        <a:lnTo>
                          <a:pt x="35" y="710"/>
                        </a:lnTo>
                        <a:lnTo>
                          <a:pt x="25" y="703"/>
                        </a:lnTo>
                        <a:lnTo>
                          <a:pt x="24" y="698"/>
                        </a:lnTo>
                        <a:lnTo>
                          <a:pt x="19" y="693"/>
                        </a:lnTo>
                        <a:lnTo>
                          <a:pt x="12" y="690"/>
                        </a:lnTo>
                        <a:lnTo>
                          <a:pt x="9" y="690"/>
                        </a:lnTo>
                        <a:lnTo>
                          <a:pt x="5" y="680"/>
                        </a:lnTo>
                        <a:lnTo>
                          <a:pt x="2" y="676"/>
                        </a:lnTo>
                        <a:lnTo>
                          <a:pt x="4" y="668"/>
                        </a:lnTo>
                        <a:lnTo>
                          <a:pt x="5" y="663"/>
                        </a:lnTo>
                        <a:lnTo>
                          <a:pt x="0" y="662"/>
                        </a:lnTo>
                        <a:lnTo>
                          <a:pt x="5" y="660"/>
                        </a:lnTo>
                        <a:lnTo>
                          <a:pt x="10" y="657"/>
                        </a:lnTo>
                        <a:lnTo>
                          <a:pt x="10" y="657"/>
                        </a:lnTo>
                        <a:lnTo>
                          <a:pt x="14" y="657"/>
                        </a:lnTo>
                        <a:lnTo>
                          <a:pt x="14" y="648"/>
                        </a:lnTo>
                        <a:lnTo>
                          <a:pt x="20" y="643"/>
                        </a:lnTo>
                        <a:lnTo>
                          <a:pt x="27" y="643"/>
                        </a:lnTo>
                        <a:lnTo>
                          <a:pt x="30" y="638"/>
                        </a:lnTo>
                        <a:lnTo>
                          <a:pt x="30" y="632"/>
                        </a:lnTo>
                        <a:lnTo>
                          <a:pt x="34" y="632"/>
                        </a:lnTo>
                        <a:lnTo>
                          <a:pt x="39" y="633"/>
                        </a:lnTo>
                        <a:lnTo>
                          <a:pt x="42" y="630"/>
                        </a:lnTo>
                        <a:lnTo>
                          <a:pt x="42" y="625"/>
                        </a:lnTo>
                        <a:lnTo>
                          <a:pt x="42" y="625"/>
                        </a:lnTo>
                        <a:lnTo>
                          <a:pt x="47" y="625"/>
                        </a:lnTo>
                        <a:lnTo>
                          <a:pt x="49" y="627"/>
                        </a:lnTo>
                        <a:lnTo>
                          <a:pt x="49" y="632"/>
                        </a:lnTo>
                        <a:lnTo>
                          <a:pt x="50" y="635"/>
                        </a:lnTo>
                        <a:lnTo>
                          <a:pt x="52" y="628"/>
                        </a:lnTo>
                        <a:lnTo>
                          <a:pt x="54" y="627"/>
                        </a:lnTo>
                        <a:lnTo>
                          <a:pt x="57" y="627"/>
                        </a:lnTo>
                        <a:lnTo>
                          <a:pt x="59" y="625"/>
                        </a:lnTo>
                        <a:lnTo>
                          <a:pt x="55" y="623"/>
                        </a:lnTo>
                        <a:lnTo>
                          <a:pt x="55" y="622"/>
                        </a:lnTo>
                        <a:lnTo>
                          <a:pt x="57" y="622"/>
                        </a:lnTo>
                        <a:lnTo>
                          <a:pt x="60" y="622"/>
                        </a:lnTo>
                        <a:lnTo>
                          <a:pt x="60" y="620"/>
                        </a:lnTo>
                        <a:lnTo>
                          <a:pt x="59" y="618"/>
                        </a:lnTo>
                        <a:lnTo>
                          <a:pt x="57" y="617"/>
                        </a:lnTo>
                        <a:lnTo>
                          <a:pt x="59" y="615"/>
                        </a:lnTo>
                        <a:lnTo>
                          <a:pt x="62" y="615"/>
                        </a:lnTo>
                        <a:lnTo>
                          <a:pt x="67" y="618"/>
                        </a:lnTo>
                        <a:lnTo>
                          <a:pt x="70" y="622"/>
                        </a:lnTo>
                        <a:lnTo>
                          <a:pt x="72" y="623"/>
                        </a:lnTo>
                        <a:lnTo>
                          <a:pt x="75" y="622"/>
                        </a:lnTo>
                        <a:lnTo>
                          <a:pt x="78" y="623"/>
                        </a:lnTo>
                        <a:lnTo>
                          <a:pt x="80" y="623"/>
                        </a:lnTo>
                        <a:lnTo>
                          <a:pt x="82" y="625"/>
                        </a:lnTo>
                        <a:lnTo>
                          <a:pt x="83" y="628"/>
                        </a:lnTo>
                        <a:lnTo>
                          <a:pt x="78" y="632"/>
                        </a:lnTo>
                        <a:lnTo>
                          <a:pt x="75" y="630"/>
                        </a:lnTo>
                        <a:lnTo>
                          <a:pt x="68" y="630"/>
                        </a:lnTo>
                        <a:lnTo>
                          <a:pt x="65" y="627"/>
                        </a:lnTo>
                        <a:lnTo>
                          <a:pt x="65" y="623"/>
                        </a:lnTo>
                        <a:lnTo>
                          <a:pt x="62" y="627"/>
                        </a:lnTo>
                        <a:lnTo>
                          <a:pt x="62" y="632"/>
                        </a:lnTo>
                        <a:lnTo>
                          <a:pt x="64" y="637"/>
                        </a:lnTo>
                        <a:lnTo>
                          <a:pt x="67" y="633"/>
                        </a:lnTo>
                        <a:lnTo>
                          <a:pt x="68" y="635"/>
                        </a:lnTo>
                        <a:lnTo>
                          <a:pt x="70" y="638"/>
                        </a:lnTo>
                        <a:lnTo>
                          <a:pt x="73" y="635"/>
                        </a:lnTo>
                        <a:lnTo>
                          <a:pt x="78" y="637"/>
                        </a:lnTo>
                        <a:lnTo>
                          <a:pt x="78" y="640"/>
                        </a:lnTo>
                        <a:lnTo>
                          <a:pt x="80" y="640"/>
                        </a:lnTo>
                        <a:lnTo>
                          <a:pt x="82" y="637"/>
                        </a:lnTo>
                        <a:lnTo>
                          <a:pt x="83" y="638"/>
                        </a:lnTo>
                        <a:lnTo>
                          <a:pt x="83" y="640"/>
                        </a:lnTo>
                        <a:lnTo>
                          <a:pt x="83" y="642"/>
                        </a:lnTo>
                        <a:lnTo>
                          <a:pt x="87" y="638"/>
                        </a:lnTo>
                        <a:lnTo>
                          <a:pt x="88" y="635"/>
                        </a:lnTo>
                        <a:lnTo>
                          <a:pt x="92" y="637"/>
                        </a:lnTo>
                        <a:lnTo>
                          <a:pt x="90" y="638"/>
                        </a:lnTo>
                        <a:lnTo>
                          <a:pt x="88" y="642"/>
                        </a:lnTo>
                        <a:lnTo>
                          <a:pt x="92" y="642"/>
                        </a:lnTo>
                        <a:lnTo>
                          <a:pt x="93" y="643"/>
                        </a:lnTo>
                        <a:lnTo>
                          <a:pt x="92" y="645"/>
                        </a:lnTo>
                        <a:lnTo>
                          <a:pt x="88" y="648"/>
                        </a:lnTo>
                        <a:lnTo>
                          <a:pt x="93" y="648"/>
                        </a:lnTo>
                        <a:lnTo>
                          <a:pt x="97" y="643"/>
                        </a:lnTo>
                        <a:lnTo>
                          <a:pt x="95" y="640"/>
                        </a:lnTo>
                        <a:lnTo>
                          <a:pt x="97" y="638"/>
                        </a:lnTo>
                        <a:lnTo>
                          <a:pt x="102" y="638"/>
                        </a:lnTo>
                        <a:lnTo>
                          <a:pt x="105" y="640"/>
                        </a:lnTo>
                        <a:lnTo>
                          <a:pt x="107" y="638"/>
                        </a:lnTo>
                        <a:lnTo>
                          <a:pt x="103" y="635"/>
                        </a:lnTo>
                        <a:lnTo>
                          <a:pt x="103" y="633"/>
                        </a:lnTo>
                        <a:lnTo>
                          <a:pt x="108" y="635"/>
                        </a:lnTo>
                        <a:lnTo>
                          <a:pt x="112" y="640"/>
                        </a:lnTo>
                        <a:lnTo>
                          <a:pt x="118" y="640"/>
                        </a:lnTo>
                        <a:lnTo>
                          <a:pt x="123" y="642"/>
                        </a:lnTo>
                        <a:lnTo>
                          <a:pt x="127" y="640"/>
                        </a:lnTo>
                        <a:lnTo>
                          <a:pt x="127" y="637"/>
                        </a:lnTo>
                        <a:lnTo>
                          <a:pt x="132" y="638"/>
                        </a:lnTo>
                        <a:lnTo>
                          <a:pt x="138" y="642"/>
                        </a:lnTo>
                        <a:lnTo>
                          <a:pt x="138" y="640"/>
                        </a:lnTo>
                        <a:lnTo>
                          <a:pt x="143" y="642"/>
                        </a:lnTo>
                        <a:lnTo>
                          <a:pt x="168" y="653"/>
                        </a:lnTo>
                        <a:lnTo>
                          <a:pt x="185" y="663"/>
                        </a:lnTo>
                        <a:lnTo>
                          <a:pt x="188" y="666"/>
                        </a:lnTo>
                        <a:lnTo>
                          <a:pt x="193" y="668"/>
                        </a:lnTo>
                        <a:lnTo>
                          <a:pt x="200" y="676"/>
                        </a:lnTo>
                        <a:lnTo>
                          <a:pt x="203" y="676"/>
                        </a:lnTo>
                        <a:lnTo>
                          <a:pt x="201" y="675"/>
                        </a:lnTo>
                        <a:lnTo>
                          <a:pt x="201" y="673"/>
                        </a:lnTo>
                        <a:lnTo>
                          <a:pt x="205" y="673"/>
                        </a:lnTo>
                        <a:lnTo>
                          <a:pt x="211" y="678"/>
                        </a:lnTo>
                        <a:lnTo>
                          <a:pt x="215" y="678"/>
                        </a:lnTo>
                        <a:lnTo>
                          <a:pt x="221" y="683"/>
                        </a:lnTo>
                        <a:lnTo>
                          <a:pt x="225" y="681"/>
                        </a:lnTo>
                        <a:lnTo>
                          <a:pt x="221" y="676"/>
                        </a:lnTo>
                        <a:lnTo>
                          <a:pt x="220" y="675"/>
                        </a:lnTo>
                        <a:lnTo>
                          <a:pt x="223" y="675"/>
                        </a:lnTo>
                        <a:lnTo>
                          <a:pt x="228" y="680"/>
                        </a:lnTo>
                        <a:lnTo>
                          <a:pt x="226" y="683"/>
                        </a:lnTo>
                        <a:lnTo>
                          <a:pt x="236" y="690"/>
                        </a:lnTo>
                        <a:lnTo>
                          <a:pt x="236" y="693"/>
                        </a:lnTo>
                        <a:lnTo>
                          <a:pt x="241" y="695"/>
                        </a:lnTo>
                        <a:lnTo>
                          <a:pt x="243" y="693"/>
                        </a:lnTo>
                        <a:lnTo>
                          <a:pt x="246" y="693"/>
                        </a:lnTo>
                        <a:lnTo>
                          <a:pt x="251" y="698"/>
                        </a:lnTo>
                        <a:lnTo>
                          <a:pt x="253" y="705"/>
                        </a:lnTo>
                        <a:lnTo>
                          <a:pt x="256" y="706"/>
                        </a:lnTo>
                        <a:lnTo>
                          <a:pt x="261" y="711"/>
                        </a:lnTo>
                        <a:lnTo>
                          <a:pt x="263" y="711"/>
                        </a:lnTo>
                        <a:lnTo>
                          <a:pt x="265" y="713"/>
                        </a:lnTo>
                        <a:lnTo>
                          <a:pt x="265" y="718"/>
                        </a:lnTo>
                        <a:lnTo>
                          <a:pt x="265" y="723"/>
                        </a:lnTo>
                        <a:lnTo>
                          <a:pt x="263" y="730"/>
                        </a:lnTo>
                        <a:lnTo>
                          <a:pt x="261" y="733"/>
                        </a:lnTo>
                        <a:lnTo>
                          <a:pt x="261" y="736"/>
                        </a:lnTo>
                        <a:lnTo>
                          <a:pt x="256" y="741"/>
                        </a:lnTo>
                        <a:lnTo>
                          <a:pt x="256" y="745"/>
                        </a:lnTo>
                        <a:lnTo>
                          <a:pt x="246" y="756"/>
                        </a:lnTo>
                        <a:lnTo>
                          <a:pt x="240" y="760"/>
                        </a:lnTo>
                        <a:lnTo>
                          <a:pt x="231" y="761"/>
                        </a:lnTo>
                        <a:lnTo>
                          <a:pt x="228" y="763"/>
                        </a:lnTo>
                        <a:lnTo>
                          <a:pt x="221" y="763"/>
                        </a:lnTo>
                        <a:lnTo>
                          <a:pt x="220" y="764"/>
                        </a:lnTo>
                        <a:lnTo>
                          <a:pt x="208" y="766"/>
                        </a:lnTo>
                        <a:lnTo>
                          <a:pt x="195" y="766"/>
                        </a:lnTo>
                        <a:lnTo>
                          <a:pt x="186" y="763"/>
                        </a:lnTo>
                        <a:lnTo>
                          <a:pt x="181" y="760"/>
                        </a:lnTo>
                        <a:lnTo>
                          <a:pt x="178" y="761"/>
                        </a:lnTo>
                        <a:lnTo>
                          <a:pt x="173" y="761"/>
                        </a:lnTo>
                        <a:lnTo>
                          <a:pt x="167" y="761"/>
                        </a:lnTo>
                        <a:lnTo>
                          <a:pt x="167" y="758"/>
                        </a:lnTo>
                        <a:lnTo>
                          <a:pt x="162" y="758"/>
                        </a:lnTo>
                        <a:lnTo>
                          <a:pt x="158" y="760"/>
                        </a:lnTo>
                        <a:lnTo>
                          <a:pt x="152" y="755"/>
                        </a:lnTo>
                        <a:lnTo>
                          <a:pt x="152" y="751"/>
                        </a:lnTo>
                        <a:lnTo>
                          <a:pt x="148" y="753"/>
                        </a:lnTo>
                        <a:lnTo>
                          <a:pt x="143" y="751"/>
                        </a:lnTo>
                        <a:lnTo>
                          <a:pt x="145" y="751"/>
                        </a:lnTo>
                        <a:lnTo>
                          <a:pt x="138" y="751"/>
                        </a:lnTo>
                        <a:lnTo>
                          <a:pt x="135" y="753"/>
                        </a:lnTo>
                        <a:lnTo>
                          <a:pt x="130" y="753"/>
                        </a:lnTo>
                        <a:lnTo>
                          <a:pt x="130" y="750"/>
                        </a:lnTo>
                        <a:lnTo>
                          <a:pt x="128" y="750"/>
                        </a:lnTo>
                        <a:lnTo>
                          <a:pt x="132" y="748"/>
                        </a:lnTo>
                        <a:lnTo>
                          <a:pt x="128" y="745"/>
                        </a:lnTo>
                        <a:lnTo>
                          <a:pt x="128" y="746"/>
                        </a:lnTo>
                        <a:lnTo>
                          <a:pt x="120" y="746"/>
                        </a:lnTo>
                        <a:lnTo>
                          <a:pt x="115" y="743"/>
                        </a:lnTo>
                        <a:lnTo>
                          <a:pt x="113" y="745"/>
                        </a:lnTo>
                        <a:lnTo>
                          <a:pt x="110" y="745"/>
                        </a:lnTo>
                        <a:lnTo>
                          <a:pt x="100" y="736"/>
                        </a:lnTo>
                        <a:lnTo>
                          <a:pt x="100" y="731"/>
                        </a:lnTo>
                        <a:lnTo>
                          <a:pt x="93" y="731"/>
                        </a:lnTo>
                        <a:lnTo>
                          <a:pt x="92" y="730"/>
                        </a:lnTo>
                        <a:lnTo>
                          <a:pt x="87" y="730"/>
                        </a:lnTo>
                        <a:lnTo>
                          <a:pt x="87" y="731"/>
                        </a:lnTo>
                        <a:lnTo>
                          <a:pt x="92" y="735"/>
                        </a:lnTo>
                        <a:lnTo>
                          <a:pt x="93" y="741"/>
                        </a:lnTo>
                        <a:lnTo>
                          <a:pt x="98" y="745"/>
                        </a:lnTo>
                        <a:lnTo>
                          <a:pt x="100" y="748"/>
                        </a:lnTo>
                        <a:lnTo>
                          <a:pt x="107" y="750"/>
                        </a:lnTo>
                        <a:lnTo>
                          <a:pt x="108" y="751"/>
                        </a:lnTo>
                        <a:lnTo>
                          <a:pt x="103" y="753"/>
                        </a:lnTo>
                        <a:lnTo>
                          <a:pt x="102" y="756"/>
                        </a:lnTo>
                        <a:lnTo>
                          <a:pt x="102" y="756"/>
                        </a:lnTo>
                        <a:lnTo>
                          <a:pt x="110" y="755"/>
                        </a:lnTo>
                        <a:lnTo>
                          <a:pt x="113" y="753"/>
                        </a:lnTo>
                        <a:lnTo>
                          <a:pt x="117" y="755"/>
                        </a:lnTo>
                        <a:lnTo>
                          <a:pt x="113" y="756"/>
                        </a:lnTo>
                        <a:lnTo>
                          <a:pt x="113" y="758"/>
                        </a:lnTo>
                        <a:lnTo>
                          <a:pt x="118" y="758"/>
                        </a:lnTo>
                        <a:lnTo>
                          <a:pt x="117" y="761"/>
                        </a:lnTo>
                        <a:lnTo>
                          <a:pt x="113" y="763"/>
                        </a:lnTo>
                        <a:lnTo>
                          <a:pt x="110" y="764"/>
                        </a:lnTo>
                        <a:lnTo>
                          <a:pt x="117" y="766"/>
                        </a:lnTo>
                        <a:lnTo>
                          <a:pt x="118" y="764"/>
                        </a:lnTo>
                        <a:lnTo>
                          <a:pt x="122" y="764"/>
                        </a:lnTo>
                        <a:lnTo>
                          <a:pt x="125" y="766"/>
                        </a:lnTo>
                        <a:lnTo>
                          <a:pt x="127" y="764"/>
                        </a:lnTo>
                        <a:lnTo>
                          <a:pt x="138" y="768"/>
                        </a:lnTo>
                        <a:lnTo>
                          <a:pt x="143" y="774"/>
                        </a:lnTo>
                        <a:lnTo>
                          <a:pt x="147" y="776"/>
                        </a:lnTo>
                        <a:lnTo>
                          <a:pt x="145" y="778"/>
                        </a:lnTo>
                        <a:lnTo>
                          <a:pt x="145" y="781"/>
                        </a:lnTo>
                        <a:lnTo>
                          <a:pt x="147" y="781"/>
                        </a:lnTo>
                        <a:lnTo>
                          <a:pt x="147" y="786"/>
                        </a:lnTo>
                        <a:lnTo>
                          <a:pt x="145" y="793"/>
                        </a:lnTo>
                        <a:lnTo>
                          <a:pt x="142" y="794"/>
                        </a:lnTo>
                        <a:lnTo>
                          <a:pt x="142" y="798"/>
                        </a:lnTo>
                        <a:lnTo>
                          <a:pt x="145" y="799"/>
                        </a:lnTo>
                        <a:lnTo>
                          <a:pt x="145" y="804"/>
                        </a:lnTo>
                        <a:lnTo>
                          <a:pt x="152" y="809"/>
                        </a:lnTo>
                        <a:lnTo>
                          <a:pt x="152" y="813"/>
                        </a:lnTo>
                        <a:lnTo>
                          <a:pt x="157" y="816"/>
                        </a:lnTo>
                        <a:lnTo>
                          <a:pt x="157" y="821"/>
                        </a:lnTo>
                        <a:lnTo>
                          <a:pt x="157" y="826"/>
                        </a:lnTo>
                        <a:lnTo>
                          <a:pt x="155" y="829"/>
                        </a:lnTo>
                        <a:lnTo>
                          <a:pt x="158" y="831"/>
                        </a:lnTo>
                        <a:lnTo>
                          <a:pt x="160" y="834"/>
                        </a:lnTo>
                        <a:lnTo>
                          <a:pt x="170" y="838"/>
                        </a:lnTo>
                        <a:lnTo>
                          <a:pt x="173" y="834"/>
                        </a:lnTo>
                        <a:lnTo>
                          <a:pt x="176" y="836"/>
                        </a:lnTo>
                        <a:lnTo>
                          <a:pt x="180" y="839"/>
                        </a:lnTo>
                        <a:lnTo>
                          <a:pt x="183" y="841"/>
                        </a:lnTo>
                        <a:lnTo>
                          <a:pt x="183" y="848"/>
                        </a:lnTo>
                        <a:lnTo>
                          <a:pt x="186" y="849"/>
                        </a:lnTo>
                        <a:lnTo>
                          <a:pt x="193" y="849"/>
                        </a:lnTo>
                        <a:lnTo>
                          <a:pt x="196" y="851"/>
                        </a:lnTo>
                        <a:lnTo>
                          <a:pt x="203" y="851"/>
                        </a:lnTo>
                        <a:lnTo>
                          <a:pt x="208" y="854"/>
                        </a:lnTo>
                        <a:lnTo>
                          <a:pt x="211" y="854"/>
                        </a:lnTo>
                        <a:lnTo>
                          <a:pt x="216" y="849"/>
                        </a:lnTo>
                        <a:lnTo>
                          <a:pt x="220" y="849"/>
                        </a:lnTo>
                        <a:lnTo>
                          <a:pt x="223" y="848"/>
                        </a:lnTo>
                        <a:lnTo>
                          <a:pt x="223" y="841"/>
                        </a:lnTo>
                        <a:lnTo>
                          <a:pt x="220" y="839"/>
                        </a:lnTo>
                        <a:lnTo>
                          <a:pt x="221" y="836"/>
                        </a:lnTo>
                        <a:lnTo>
                          <a:pt x="221" y="834"/>
                        </a:lnTo>
                        <a:lnTo>
                          <a:pt x="216" y="833"/>
                        </a:lnTo>
                        <a:lnTo>
                          <a:pt x="215" y="829"/>
                        </a:lnTo>
                        <a:lnTo>
                          <a:pt x="211" y="833"/>
                        </a:lnTo>
                        <a:lnTo>
                          <a:pt x="208" y="833"/>
                        </a:lnTo>
                        <a:lnTo>
                          <a:pt x="203" y="834"/>
                        </a:lnTo>
                        <a:lnTo>
                          <a:pt x="198" y="831"/>
                        </a:lnTo>
                        <a:lnTo>
                          <a:pt x="193" y="826"/>
                        </a:lnTo>
                        <a:lnTo>
                          <a:pt x="186" y="823"/>
                        </a:lnTo>
                        <a:lnTo>
                          <a:pt x="186" y="818"/>
                        </a:lnTo>
                        <a:lnTo>
                          <a:pt x="183" y="813"/>
                        </a:lnTo>
                        <a:lnTo>
                          <a:pt x="186" y="813"/>
                        </a:lnTo>
                        <a:lnTo>
                          <a:pt x="190" y="809"/>
                        </a:lnTo>
                        <a:lnTo>
                          <a:pt x="188" y="808"/>
                        </a:lnTo>
                        <a:lnTo>
                          <a:pt x="190" y="804"/>
                        </a:lnTo>
                        <a:lnTo>
                          <a:pt x="188" y="803"/>
                        </a:lnTo>
                        <a:lnTo>
                          <a:pt x="190" y="799"/>
                        </a:lnTo>
                        <a:lnTo>
                          <a:pt x="195" y="799"/>
                        </a:lnTo>
                        <a:lnTo>
                          <a:pt x="200" y="803"/>
                        </a:lnTo>
                        <a:lnTo>
                          <a:pt x="206" y="804"/>
                        </a:lnTo>
                        <a:lnTo>
                          <a:pt x="210" y="808"/>
                        </a:lnTo>
                        <a:lnTo>
                          <a:pt x="215" y="811"/>
                        </a:lnTo>
                        <a:lnTo>
                          <a:pt x="223" y="813"/>
                        </a:lnTo>
                        <a:lnTo>
                          <a:pt x="225" y="814"/>
                        </a:lnTo>
                        <a:lnTo>
                          <a:pt x="230" y="816"/>
                        </a:lnTo>
                        <a:lnTo>
                          <a:pt x="246" y="823"/>
                        </a:lnTo>
                        <a:lnTo>
                          <a:pt x="251" y="828"/>
                        </a:lnTo>
                        <a:lnTo>
                          <a:pt x="255" y="824"/>
                        </a:lnTo>
                        <a:lnTo>
                          <a:pt x="260" y="821"/>
                        </a:lnTo>
                        <a:lnTo>
                          <a:pt x="258" y="816"/>
                        </a:lnTo>
                        <a:lnTo>
                          <a:pt x="263" y="816"/>
                        </a:lnTo>
                        <a:lnTo>
                          <a:pt x="266" y="813"/>
                        </a:lnTo>
                        <a:lnTo>
                          <a:pt x="260" y="803"/>
                        </a:lnTo>
                        <a:lnTo>
                          <a:pt x="250" y="793"/>
                        </a:lnTo>
                        <a:lnTo>
                          <a:pt x="246" y="788"/>
                        </a:lnTo>
                        <a:lnTo>
                          <a:pt x="246" y="783"/>
                        </a:lnTo>
                        <a:lnTo>
                          <a:pt x="253" y="778"/>
                        </a:lnTo>
                        <a:lnTo>
                          <a:pt x="260" y="773"/>
                        </a:lnTo>
                        <a:lnTo>
                          <a:pt x="260" y="766"/>
                        </a:lnTo>
                        <a:lnTo>
                          <a:pt x="265" y="763"/>
                        </a:lnTo>
                        <a:lnTo>
                          <a:pt x="269" y="761"/>
                        </a:lnTo>
                        <a:lnTo>
                          <a:pt x="278" y="756"/>
                        </a:lnTo>
                        <a:lnTo>
                          <a:pt x="283" y="746"/>
                        </a:lnTo>
                        <a:lnTo>
                          <a:pt x="286" y="743"/>
                        </a:lnTo>
                        <a:lnTo>
                          <a:pt x="293" y="745"/>
                        </a:lnTo>
                        <a:lnTo>
                          <a:pt x="298" y="748"/>
                        </a:lnTo>
                        <a:lnTo>
                          <a:pt x="304" y="746"/>
                        </a:lnTo>
                        <a:lnTo>
                          <a:pt x="313" y="748"/>
                        </a:lnTo>
                        <a:lnTo>
                          <a:pt x="314" y="751"/>
                        </a:lnTo>
                        <a:lnTo>
                          <a:pt x="314" y="755"/>
                        </a:lnTo>
                        <a:lnTo>
                          <a:pt x="319" y="750"/>
                        </a:lnTo>
                        <a:lnTo>
                          <a:pt x="326" y="755"/>
                        </a:lnTo>
                        <a:lnTo>
                          <a:pt x="328" y="760"/>
                        </a:lnTo>
                        <a:lnTo>
                          <a:pt x="331" y="763"/>
                        </a:lnTo>
                        <a:lnTo>
                          <a:pt x="329" y="755"/>
                        </a:lnTo>
                        <a:lnTo>
                          <a:pt x="326" y="748"/>
                        </a:lnTo>
                        <a:lnTo>
                          <a:pt x="329" y="746"/>
                        </a:lnTo>
                        <a:lnTo>
                          <a:pt x="329" y="736"/>
                        </a:lnTo>
                        <a:lnTo>
                          <a:pt x="329" y="733"/>
                        </a:lnTo>
                        <a:lnTo>
                          <a:pt x="328" y="731"/>
                        </a:lnTo>
                        <a:lnTo>
                          <a:pt x="328" y="730"/>
                        </a:lnTo>
                        <a:lnTo>
                          <a:pt x="329" y="726"/>
                        </a:lnTo>
                        <a:lnTo>
                          <a:pt x="328" y="723"/>
                        </a:lnTo>
                        <a:lnTo>
                          <a:pt x="329" y="721"/>
                        </a:lnTo>
                        <a:lnTo>
                          <a:pt x="326" y="718"/>
                        </a:lnTo>
                        <a:lnTo>
                          <a:pt x="319" y="715"/>
                        </a:lnTo>
                        <a:lnTo>
                          <a:pt x="313" y="716"/>
                        </a:lnTo>
                        <a:lnTo>
                          <a:pt x="311" y="710"/>
                        </a:lnTo>
                        <a:lnTo>
                          <a:pt x="313" y="705"/>
                        </a:lnTo>
                        <a:lnTo>
                          <a:pt x="313" y="695"/>
                        </a:lnTo>
                        <a:lnTo>
                          <a:pt x="314" y="693"/>
                        </a:lnTo>
                        <a:lnTo>
                          <a:pt x="313" y="690"/>
                        </a:lnTo>
                        <a:lnTo>
                          <a:pt x="313" y="686"/>
                        </a:lnTo>
                        <a:lnTo>
                          <a:pt x="316" y="685"/>
                        </a:lnTo>
                        <a:lnTo>
                          <a:pt x="313" y="681"/>
                        </a:lnTo>
                        <a:lnTo>
                          <a:pt x="313" y="676"/>
                        </a:lnTo>
                        <a:lnTo>
                          <a:pt x="309" y="666"/>
                        </a:lnTo>
                        <a:lnTo>
                          <a:pt x="303" y="663"/>
                        </a:lnTo>
                        <a:lnTo>
                          <a:pt x="291" y="653"/>
                        </a:lnTo>
                        <a:lnTo>
                          <a:pt x="289" y="652"/>
                        </a:lnTo>
                        <a:lnTo>
                          <a:pt x="296" y="652"/>
                        </a:lnTo>
                        <a:lnTo>
                          <a:pt x="306" y="658"/>
                        </a:lnTo>
                        <a:lnTo>
                          <a:pt x="311" y="658"/>
                        </a:lnTo>
                        <a:lnTo>
                          <a:pt x="316" y="655"/>
                        </a:lnTo>
                        <a:lnTo>
                          <a:pt x="324" y="655"/>
                        </a:lnTo>
                        <a:lnTo>
                          <a:pt x="338" y="657"/>
                        </a:lnTo>
                        <a:lnTo>
                          <a:pt x="343" y="660"/>
                        </a:lnTo>
                        <a:lnTo>
                          <a:pt x="343" y="663"/>
                        </a:lnTo>
                        <a:lnTo>
                          <a:pt x="348" y="670"/>
                        </a:lnTo>
                        <a:lnTo>
                          <a:pt x="354" y="670"/>
                        </a:lnTo>
                        <a:lnTo>
                          <a:pt x="354" y="673"/>
                        </a:lnTo>
                        <a:lnTo>
                          <a:pt x="361" y="681"/>
                        </a:lnTo>
                        <a:lnTo>
                          <a:pt x="361" y="685"/>
                        </a:lnTo>
                        <a:lnTo>
                          <a:pt x="353" y="685"/>
                        </a:lnTo>
                        <a:lnTo>
                          <a:pt x="349" y="686"/>
                        </a:lnTo>
                        <a:lnTo>
                          <a:pt x="343" y="686"/>
                        </a:lnTo>
                        <a:lnTo>
                          <a:pt x="339" y="690"/>
                        </a:lnTo>
                        <a:lnTo>
                          <a:pt x="341" y="691"/>
                        </a:lnTo>
                        <a:lnTo>
                          <a:pt x="339" y="695"/>
                        </a:lnTo>
                        <a:lnTo>
                          <a:pt x="336" y="693"/>
                        </a:lnTo>
                        <a:lnTo>
                          <a:pt x="334" y="696"/>
                        </a:lnTo>
                        <a:lnTo>
                          <a:pt x="334" y="703"/>
                        </a:lnTo>
                        <a:lnTo>
                          <a:pt x="338" y="705"/>
                        </a:lnTo>
                        <a:lnTo>
                          <a:pt x="348" y="711"/>
                        </a:lnTo>
                        <a:lnTo>
                          <a:pt x="358" y="723"/>
                        </a:lnTo>
                        <a:lnTo>
                          <a:pt x="363" y="723"/>
                        </a:lnTo>
                        <a:lnTo>
                          <a:pt x="367" y="720"/>
                        </a:lnTo>
                        <a:lnTo>
                          <a:pt x="371" y="725"/>
                        </a:lnTo>
                        <a:lnTo>
                          <a:pt x="374" y="721"/>
                        </a:lnTo>
                        <a:lnTo>
                          <a:pt x="379" y="721"/>
                        </a:lnTo>
                        <a:lnTo>
                          <a:pt x="379" y="720"/>
                        </a:lnTo>
                        <a:lnTo>
                          <a:pt x="389" y="716"/>
                        </a:lnTo>
                        <a:lnTo>
                          <a:pt x="391" y="711"/>
                        </a:lnTo>
                        <a:lnTo>
                          <a:pt x="387" y="705"/>
                        </a:lnTo>
                        <a:lnTo>
                          <a:pt x="391" y="700"/>
                        </a:lnTo>
                        <a:lnTo>
                          <a:pt x="391" y="695"/>
                        </a:lnTo>
                        <a:lnTo>
                          <a:pt x="387" y="691"/>
                        </a:lnTo>
                        <a:lnTo>
                          <a:pt x="389" y="690"/>
                        </a:lnTo>
                        <a:lnTo>
                          <a:pt x="402" y="688"/>
                        </a:lnTo>
                        <a:lnTo>
                          <a:pt x="404" y="686"/>
                        </a:lnTo>
                        <a:lnTo>
                          <a:pt x="412" y="688"/>
                        </a:lnTo>
                        <a:lnTo>
                          <a:pt x="412" y="685"/>
                        </a:lnTo>
                        <a:lnTo>
                          <a:pt x="406" y="681"/>
                        </a:lnTo>
                        <a:lnTo>
                          <a:pt x="402" y="676"/>
                        </a:lnTo>
                        <a:lnTo>
                          <a:pt x="406" y="676"/>
                        </a:lnTo>
                        <a:lnTo>
                          <a:pt x="409" y="680"/>
                        </a:lnTo>
                        <a:lnTo>
                          <a:pt x="414" y="678"/>
                        </a:lnTo>
                        <a:lnTo>
                          <a:pt x="422" y="668"/>
                        </a:lnTo>
                        <a:lnTo>
                          <a:pt x="426" y="666"/>
                        </a:lnTo>
                        <a:lnTo>
                          <a:pt x="436" y="657"/>
                        </a:lnTo>
                        <a:lnTo>
                          <a:pt x="436" y="653"/>
                        </a:lnTo>
                        <a:lnTo>
                          <a:pt x="437" y="652"/>
                        </a:lnTo>
                        <a:lnTo>
                          <a:pt x="442" y="653"/>
                        </a:lnTo>
                        <a:lnTo>
                          <a:pt x="449" y="650"/>
                        </a:lnTo>
                        <a:lnTo>
                          <a:pt x="451" y="648"/>
                        </a:lnTo>
                        <a:lnTo>
                          <a:pt x="461" y="645"/>
                        </a:lnTo>
                        <a:lnTo>
                          <a:pt x="461" y="648"/>
                        </a:lnTo>
                        <a:lnTo>
                          <a:pt x="462" y="648"/>
                        </a:lnTo>
                        <a:lnTo>
                          <a:pt x="464" y="652"/>
                        </a:lnTo>
                        <a:lnTo>
                          <a:pt x="462" y="655"/>
                        </a:lnTo>
                        <a:lnTo>
                          <a:pt x="464" y="657"/>
                        </a:lnTo>
                        <a:lnTo>
                          <a:pt x="470" y="652"/>
                        </a:lnTo>
                        <a:lnTo>
                          <a:pt x="470" y="648"/>
                        </a:lnTo>
                        <a:lnTo>
                          <a:pt x="467" y="647"/>
                        </a:lnTo>
                        <a:lnTo>
                          <a:pt x="464" y="643"/>
                        </a:lnTo>
                        <a:lnTo>
                          <a:pt x="464" y="642"/>
                        </a:lnTo>
                        <a:lnTo>
                          <a:pt x="472" y="633"/>
                        </a:lnTo>
                        <a:lnTo>
                          <a:pt x="474" y="633"/>
                        </a:lnTo>
                        <a:lnTo>
                          <a:pt x="475" y="637"/>
                        </a:lnTo>
                        <a:lnTo>
                          <a:pt x="474" y="637"/>
                        </a:lnTo>
                        <a:lnTo>
                          <a:pt x="472" y="638"/>
                        </a:lnTo>
                        <a:lnTo>
                          <a:pt x="475" y="643"/>
                        </a:lnTo>
                        <a:lnTo>
                          <a:pt x="479" y="643"/>
                        </a:lnTo>
                        <a:lnTo>
                          <a:pt x="482" y="640"/>
                        </a:lnTo>
                        <a:lnTo>
                          <a:pt x="480" y="637"/>
                        </a:lnTo>
                        <a:lnTo>
                          <a:pt x="479" y="633"/>
                        </a:lnTo>
                        <a:lnTo>
                          <a:pt x="477" y="632"/>
                        </a:lnTo>
                        <a:lnTo>
                          <a:pt x="480" y="628"/>
                        </a:lnTo>
                        <a:lnTo>
                          <a:pt x="494" y="623"/>
                        </a:lnTo>
                        <a:lnTo>
                          <a:pt x="502" y="622"/>
                        </a:lnTo>
                        <a:lnTo>
                          <a:pt x="504" y="623"/>
                        </a:lnTo>
                        <a:lnTo>
                          <a:pt x="499" y="627"/>
                        </a:lnTo>
                        <a:lnTo>
                          <a:pt x="494" y="627"/>
                        </a:lnTo>
                        <a:lnTo>
                          <a:pt x="485" y="630"/>
                        </a:lnTo>
                        <a:lnTo>
                          <a:pt x="487" y="632"/>
                        </a:lnTo>
                        <a:lnTo>
                          <a:pt x="490" y="633"/>
                        </a:lnTo>
                        <a:lnTo>
                          <a:pt x="494" y="632"/>
                        </a:lnTo>
                        <a:lnTo>
                          <a:pt x="499" y="637"/>
                        </a:lnTo>
                        <a:lnTo>
                          <a:pt x="495" y="638"/>
                        </a:lnTo>
                        <a:lnTo>
                          <a:pt x="495" y="640"/>
                        </a:lnTo>
                        <a:lnTo>
                          <a:pt x="497" y="643"/>
                        </a:lnTo>
                        <a:lnTo>
                          <a:pt x="495" y="647"/>
                        </a:lnTo>
                        <a:lnTo>
                          <a:pt x="490" y="647"/>
                        </a:lnTo>
                        <a:lnTo>
                          <a:pt x="485" y="652"/>
                        </a:lnTo>
                        <a:lnTo>
                          <a:pt x="487" y="655"/>
                        </a:lnTo>
                        <a:lnTo>
                          <a:pt x="490" y="657"/>
                        </a:lnTo>
                        <a:lnTo>
                          <a:pt x="494" y="655"/>
                        </a:lnTo>
                        <a:lnTo>
                          <a:pt x="497" y="655"/>
                        </a:lnTo>
                        <a:lnTo>
                          <a:pt x="500" y="653"/>
                        </a:lnTo>
                        <a:lnTo>
                          <a:pt x="505" y="655"/>
                        </a:lnTo>
                        <a:lnTo>
                          <a:pt x="505" y="660"/>
                        </a:lnTo>
                        <a:lnTo>
                          <a:pt x="509" y="655"/>
                        </a:lnTo>
                        <a:lnTo>
                          <a:pt x="514" y="650"/>
                        </a:lnTo>
                        <a:lnTo>
                          <a:pt x="515" y="650"/>
                        </a:lnTo>
                        <a:lnTo>
                          <a:pt x="517" y="652"/>
                        </a:lnTo>
                        <a:lnTo>
                          <a:pt x="522" y="655"/>
                        </a:lnTo>
                        <a:lnTo>
                          <a:pt x="524" y="653"/>
                        </a:lnTo>
                        <a:lnTo>
                          <a:pt x="522" y="650"/>
                        </a:lnTo>
                        <a:lnTo>
                          <a:pt x="524" y="648"/>
                        </a:lnTo>
                        <a:lnTo>
                          <a:pt x="520" y="645"/>
                        </a:lnTo>
                        <a:lnTo>
                          <a:pt x="520" y="643"/>
                        </a:lnTo>
                        <a:lnTo>
                          <a:pt x="524" y="640"/>
                        </a:lnTo>
                        <a:lnTo>
                          <a:pt x="529" y="638"/>
                        </a:lnTo>
                        <a:lnTo>
                          <a:pt x="530" y="637"/>
                        </a:lnTo>
                        <a:lnTo>
                          <a:pt x="537" y="633"/>
                        </a:lnTo>
                        <a:lnTo>
                          <a:pt x="539" y="635"/>
                        </a:lnTo>
                        <a:lnTo>
                          <a:pt x="542" y="635"/>
                        </a:lnTo>
                        <a:lnTo>
                          <a:pt x="545" y="633"/>
                        </a:lnTo>
                        <a:lnTo>
                          <a:pt x="549" y="635"/>
                        </a:lnTo>
                        <a:lnTo>
                          <a:pt x="559" y="635"/>
                        </a:lnTo>
                        <a:lnTo>
                          <a:pt x="562" y="632"/>
                        </a:lnTo>
                        <a:lnTo>
                          <a:pt x="562" y="630"/>
                        </a:lnTo>
                        <a:lnTo>
                          <a:pt x="565" y="627"/>
                        </a:lnTo>
                        <a:lnTo>
                          <a:pt x="572" y="627"/>
                        </a:lnTo>
                        <a:lnTo>
                          <a:pt x="572" y="625"/>
                        </a:lnTo>
                        <a:lnTo>
                          <a:pt x="577" y="620"/>
                        </a:lnTo>
                        <a:lnTo>
                          <a:pt x="580" y="620"/>
                        </a:lnTo>
                        <a:lnTo>
                          <a:pt x="587" y="613"/>
                        </a:lnTo>
                        <a:lnTo>
                          <a:pt x="588" y="613"/>
                        </a:lnTo>
                        <a:lnTo>
                          <a:pt x="592" y="612"/>
                        </a:lnTo>
                        <a:lnTo>
                          <a:pt x="593" y="613"/>
                        </a:lnTo>
                        <a:lnTo>
                          <a:pt x="590" y="618"/>
                        </a:lnTo>
                        <a:lnTo>
                          <a:pt x="593" y="618"/>
                        </a:lnTo>
                        <a:lnTo>
                          <a:pt x="598" y="623"/>
                        </a:lnTo>
                        <a:lnTo>
                          <a:pt x="598" y="625"/>
                        </a:lnTo>
                        <a:lnTo>
                          <a:pt x="595" y="628"/>
                        </a:lnTo>
                        <a:lnTo>
                          <a:pt x="597" y="633"/>
                        </a:lnTo>
                        <a:lnTo>
                          <a:pt x="595" y="637"/>
                        </a:lnTo>
                        <a:lnTo>
                          <a:pt x="598" y="640"/>
                        </a:lnTo>
                        <a:lnTo>
                          <a:pt x="612" y="640"/>
                        </a:lnTo>
                        <a:lnTo>
                          <a:pt x="613" y="638"/>
                        </a:lnTo>
                        <a:lnTo>
                          <a:pt x="613" y="635"/>
                        </a:lnTo>
                        <a:lnTo>
                          <a:pt x="612" y="633"/>
                        </a:lnTo>
                        <a:lnTo>
                          <a:pt x="607" y="628"/>
                        </a:lnTo>
                        <a:lnTo>
                          <a:pt x="607" y="625"/>
                        </a:lnTo>
                        <a:lnTo>
                          <a:pt x="610" y="623"/>
                        </a:lnTo>
                        <a:lnTo>
                          <a:pt x="617" y="625"/>
                        </a:lnTo>
                        <a:lnTo>
                          <a:pt x="622" y="623"/>
                        </a:lnTo>
                        <a:lnTo>
                          <a:pt x="623" y="615"/>
                        </a:lnTo>
                        <a:lnTo>
                          <a:pt x="627" y="615"/>
                        </a:lnTo>
                        <a:lnTo>
                          <a:pt x="630" y="617"/>
                        </a:lnTo>
                        <a:lnTo>
                          <a:pt x="637" y="618"/>
                        </a:lnTo>
                        <a:lnTo>
                          <a:pt x="630" y="612"/>
                        </a:lnTo>
                        <a:lnTo>
                          <a:pt x="623" y="610"/>
                        </a:lnTo>
                        <a:lnTo>
                          <a:pt x="623" y="607"/>
                        </a:lnTo>
                        <a:lnTo>
                          <a:pt x="618" y="600"/>
                        </a:lnTo>
                        <a:lnTo>
                          <a:pt x="617" y="598"/>
                        </a:lnTo>
                        <a:lnTo>
                          <a:pt x="615" y="603"/>
                        </a:lnTo>
                        <a:lnTo>
                          <a:pt x="613" y="598"/>
                        </a:lnTo>
                        <a:lnTo>
                          <a:pt x="610" y="592"/>
                        </a:lnTo>
                        <a:lnTo>
                          <a:pt x="607" y="590"/>
                        </a:lnTo>
                        <a:lnTo>
                          <a:pt x="603" y="585"/>
                        </a:lnTo>
                        <a:lnTo>
                          <a:pt x="603" y="583"/>
                        </a:lnTo>
                        <a:lnTo>
                          <a:pt x="608" y="582"/>
                        </a:lnTo>
                        <a:lnTo>
                          <a:pt x="608" y="577"/>
                        </a:lnTo>
                        <a:lnTo>
                          <a:pt x="607" y="573"/>
                        </a:lnTo>
                        <a:lnTo>
                          <a:pt x="610" y="570"/>
                        </a:lnTo>
                        <a:lnTo>
                          <a:pt x="613" y="572"/>
                        </a:lnTo>
                        <a:lnTo>
                          <a:pt x="615" y="570"/>
                        </a:lnTo>
                        <a:lnTo>
                          <a:pt x="620" y="572"/>
                        </a:lnTo>
                        <a:lnTo>
                          <a:pt x="623" y="572"/>
                        </a:lnTo>
                        <a:lnTo>
                          <a:pt x="628" y="573"/>
                        </a:lnTo>
                        <a:lnTo>
                          <a:pt x="647" y="570"/>
                        </a:lnTo>
                        <a:lnTo>
                          <a:pt x="670" y="572"/>
                        </a:lnTo>
                        <a:lnTo>
                          <a:pt x="676" y="577"/>
                        </a:lnTo>
                        <a:lnTo>
                          <a:pt x="693" y="582"/>
                        </a:lnTo>
                        <a:lnTo>
                          <a:pt x="693" y="585"/>
                        </a:lnTo>
                        <a:lnTo>
                          <a:pt x="693" y="587"/>
                        </a:lnTo>
                        <a:lnTo>
                          <a:pt x="695" y="592"/>
                        </a:lnTo>
                        <a:lnTo>
                          <a:pt x="700" y="588"/>
                        </a:lnTo>
                        <a:lnTo>
                          <a:pt x="706" y="585"/>
                        </a:lnTo>
                        <a:lnTo>
                          <a:pt x="710" y="588"/>
                        </a:lnTo>
                        <a:lnTo>
                          <a:pt x="713" y="590"/>
                        </a:lnTo>
                        <a:lnTo>
                          <a:pt x="715" y="593"/>
                        </a:lnTo>
                        <a:lnTo>
                          <a:pt x="723" y="595"/>
                        </a:lnTo>
                        <a:lnTo>
                          <a:pt x="736" y="602"/>
                        </a:lnTo>
                        <a:lnTo>
                          <a:pt x="750" y="602"/>
                        </a:lnTo>
                        <a:lnTo>
                          <a:pt x="755" y="607"/>
                        </a:lnTo>
                        <a:lnTo>
                          <a:pt x="758" y="612"/>
                        </a:lnTo>
                        <a:lnTo>
                          <a:pt x="764" y="613"/>
                        </a:lnTo>
                        <a:lnTo>
                          <a:pt x="771" y="618"/>
                        </a:lnTo>
                        <a:lnTo>
                          <a:pt x="778" y="628"/>
                        </a:lnTo>
                        <a:lnTo>
                          <a:pt x="783" y="628"/>
                        </a:lnTo>
                        <a:lnTo>
                          <a:pt x="783" y="627"/>
                        </a:lnTo>
                        <a:lnTo>
                          <a:pt x="781" y="620"/>
                        </a:lnTo>
                        <a:lnTo>
                          <a:pt x="784" y="620"/>
                        </a:lnTo>
                        <a:lnTo>
                          <a:pt x="786" y="618"/>
                        </a:lnTo>
                        <a:lnTo>
                          <a:pt x="783" y="613"/>
                        </a:lnTo>
                        <a:lnTo>
                          <a:pt x="783" y="610"/>
                        </a:lnTo>
                        <a:lnTo>
                          <a:pt x="783" y="598"/>
                        </a:lnTo>
                        <a:lnTo>
                          <a:pt x="788" y="595"/>
                        </a:lnTo>
                        <a:lnTo>
                          <a:pt x="783" y="595"/>
                        </a:lnTo>
                        <a:lnTo>
                          <a:pt x="783" y="593"/>
                        </a:lnTo>
                        <a:lnTo>
                          <a:pt x="778" y="593"/>
                        </a:lnTo>
                        <a:lnTo>
                          <a:pt x="774" y="595"/>
                        </a:lnTo>
                        <a:lnTo>
                          <a:pt x="769" y="595"/>
                        </a:lnTo>
                        <a:lnTo>
                          <a:pt x="760" y="583"/>
                        </a:lnTo>
                        <a:lnTo>
                          <a:pt x="756" y="583"/>
                        </a:lnTo>
                        <a:lnTo>
                          <a:pt x="753" y="578"/>
                        </a:lnTo>
                        <a:lnTo>
                          <a:pt x="753" y="572"/>
                        </a:lnTo>
                        <a:lnTo>
                          <a:pt x="751" y="568"/>
                        </a:lnTo>
                        <a:lnTo>
                          <a:pt x="746" y="575"/>
                        </a:lnTo>
                        <a:lnTo>
                          <a:pt x="741" y="572"/>
                        </a:lnTo>
                        <a:lnTo>
                          <a:pt x="735" y="572"/>
                        </a:lnTo>
                        <a:lnTo>
                          <a:pt x="731" y="568"/>
                        </a:lnTo>
                        <a:lnTo>
                          <a:pt x="728" y="572"/>
                        </a:lnTo>
                        <a:lnTo>
                          <a:pt x="726" y="565"/>
                        </a:lnTo>
                        <a:lnTo>
                          <a:pt x="723" y="562"/>
                        </a:lnTo>
                        <a:lnTo>
                          <a:pt x="720" y="552"/>
                        </a:lnTo>
                        <a:lnTo>
                          <a:pt x="720" y="549"/>
                        </a:lnTo>
                        <a:lnTo>
                          <a:pt x="723" y="552"/>
                        </a:lnTo>
                        <a:lnTo>
                          <a:pt x="726" y="549"/>
                        </a:lnTo>
                        <a:lnTo>
                          <a:pt x="726" y="544"/>
                        </a:lnTo>
                        <a:lnTo>
                          <a:pt x="718" y="539"/>
                        </a:lnTo>
                        <a:lnTo>
                          <a:pt x="718" y="534"/>
                        </a:lnTo>
                        <a:lnTo>
                          <a:pt x="721" y="529"/>
                        </a:lnTo>
                        <a:lnTo>
                          <a:pt x="725" y="530"/>
                        </a:lnTo>
                        <a:lnTo>
                          <a:pt x="721" y="527"/>
                        </a:lnTo>
                        <a:lnTo>
                          <a:pt x="715" y="525"/>
                        </a:lnTo>
                        <a:lnTo>
                          <a:pt x="711" y="519"/>
                        </a:lnTo>
                        <a:lnTo>
                          <a:pt x="708" y="515"/>
                        </a:lnTo>
                        <a:lnTo>
                          <a:pt x="705" y="517"/>
                        </a:lnTo>
                        <a:lnTo>
                          <a:pt x="700" y="512"/>
                        </a:lnTo>
                        <a:lnTo>
                          <a:pt x="700" y="505"/>
                        </a:lnTo>
                        <a:lnTo>
                          <a:pt x="703" y="500"/>
                        </a:lnTo>
                        <a:lnTo>
                          <a:pt x="700" y="497"/>
                        </a:lnTo>
                        <a:lnTo>
                          <a:pt x="700" y="494"/>
                        </a:lnTo>
                        <a:lnTo>
                          <a:pt x="703" y="490"/>
                        </a:lnTo>
                        <a:lnTo>
                          <a:pt x="711" y="479"/>
                        </a:lnTo>
                        <a:lnTo>
                          <a:pt x="716" y="475"/>
                        </a:lnTo>
                        <a:lnTo>
                          <a:pt x="718" y="474"/>
                        </a:lnTo>
                        <a:lnTo>
                          <a:pt x="715" y="467"/>
                        </a:lnTo>
                        <a:lnTo>
                          <a:pt x="715" y="464"/>
                        </a:lnTo>
                        <a:lnTo>
                          <a:pt x="718" y="457"/>
                        </a:lnTo>
                        <a:lnTo>
                          <a:pt x="715" y="452"/>
                        </a:lnTo>
                        <a:lnTo>
                          <a:pt x="713" y="446"/>
                        </a:lnTo>
                        <a:lnTo>
                          <a:pt x="716" y="442"/>
                        </a:lnTo>
                        <a:lnTo>
                          <a:pt x="715" y="439"/>
                        </a:lnTo>
                        <a:lnTo>
                          <a:pt x="715" y="434"/>
                        </a:lnTo>
                        <a:lnTo>
                          <a:pt x="711" y="432"/>
                        </a:lnTo>
                        <a:lnTo>
                          <a:pt x="713" y="424"/>
                        </a:lnTo>
                        <a:lnTo>
                          <a:pt x="715" y="422"/>
                        </a:lnTo>
                        <a:lnTo>
                          <a:pt x="711" y="417"/>
                        </a:lnTo>
                        <a:lnTo>
                          <a:pt x="713" y="409"/>
                        </a:lnTo>
                        <a:lnTo>
                          <a:pt x="711" y="401"/>
                        </a:lnTo>
                        <a:lnTo>
                          <a:pt x="716" y="399"/>
                        </a:lnTo>
                        <a:lnTo>
                          <a:pt x="720" y="401"/>
                        </a:lnTo>
                        <a:lnTo>
                          <a:pt x="718" y="402"/>
                        </a:lnTo>
                        <a:lnTo>
                          <a:pt x="720" y="406"/>
                        </a:lnTo>
                        <a:lnTo>
                          <a:pt x="725" y="402"/>
                        </a:lnTo>
                        <a:lnTo>
                          <a:pt x="731" y="402"/>
                        </a:lnTo>
                        <a:lnTo>
                          <a:pt x="738" y="399"/>
                        </a:lnTo>
                        <a:lnTo>
                          <a:pt x="743" y="401"/>
                        </a:lnTo>
                        <a:lnTo>
                          <a:pt x="746" y="402"/>
                        </a:lnTo>
                        <a:lnTo>
                          <a:pt x="750" y="399"/>
                        </a:lnTo>
                        <a:lnTo>
                          <a:pt x="755" y="399"/>
                        </a:lnTo>
                        <a:lnTo>
                          <a:pt x="769" y="406"/>
                        </a:lnTo>
                        <a:lnTo>
                          <a:pt x="776" y="406"/>
                        </a:lnTo>
                        <a:lnTo>
                          <a:pt x="781" y="406"/>
                        </a:lnTo>
                        <a:lnTo>
                          <a:pt x="783" y="411"/>
                        </a:lnTo>
                        <a:lnTo>
                          <a:pt x="779" y="412"/>
                        </a:lnTo>
                        <a:lnTo>
                          <a:pt x="783" y="417"/>
                        </a:lnTo>
                        <a:lnTo>
                          <a:pt x="783" y="422"/>
                        </a:lnTo>
                        <a:lnTo>
                          <a:pt x="784" y="424"/>
                        </a:lnTo>
                        <a:lnTo>
                          <a:pt x="784" y="432"/>
                        </a:lnTo>
                        <a:lnTo>
                          <a:pt x="788" y="439"/>
                        </a:lnTo>
                        <a:lnTo>
                          <a:pt x="786" y="451"/>
                        </a:lnTo>
                        <a:lnTo>
                          <a:pt x="788" y="454"/>
                        </a:lnTo>
                        <a:lnTo>
                          <a:pt x="788" y="457"/>
                        </a:lnTo>
                        <a:lnTo>
                          <a:pt x="789" y="461"/>
                        </a:lnTo>
                        <a:lnTo>
                          <a:pt x="788" y="466"/>
                        </a:lnTo>
                        <a:lnTo>
                          <a:pt x="786" y="467"/>
                        </a:lnTo>
                        <a:lnTo>
                          <a:pt x="788" y="472"/>
                        </a:lnTo>
                        <a:lnTo>
                          <a:pt x="793" y="475"/>
                        </a:lnTo>
                        <a:lnTo>
                          <a:pt x="796" y="482"/>
                        </a:lnTo>
                        <a:lnTo>
                          <a:pt x="801" y="484"/>
                        </a:lnTo>
                        <a:lnTo>
                          <a:pt x="801" y="484"/>
                        </a:lnTo>
                        <a:lnTo>
                          <a:pt x="804" y="484"/>
                        </a:lnTo>
                        <a:lnTo>
                          <a:pt x="808" y="485"/>
                        </a:lnTo>
                        <a:lnTo>
                          <a:pt x="809" y="494"/>
                        </a:lnTo>
                        <a:lnTo>
                          <a:pt x="816" y="497"/>
                        </a:lnTo>
                        <a:lnTo>
                          <a:pt x="818" y="502"/>
                        </a:lnTo>
                        <a:lnTo>
                          <a:pt x="821" y="515"/>
                        </a:lnTo>
                        <a:lnTo>
                          <a:pt x="824" y="519"/>
                        </a:lnTo>
                        <a:lnTo>
                          <a:pt x="824" y="522"/>
                        </a:lnTo>
                        <a:lnTo>
                          <a:pt x="823" y="525"/>
                        </a:lnTo>
                        <a:lnTo>
                          <a:pt x="828" y="530"/>
                        </a:lnTo>
                        <a:lnTo>
                          <a:pt x="828" y="537"/>
                        </a:lnTo>
                        <a:lnTo>
                          <a:pt x="836" y="547"/>
                        </a:lnTo>
                        <a:lnTo>
                          <a:pt x="834" y="552"/>
                        </a:lnTo>
                        <a:lnTo>
                          <a:pt x="836" y="557"/>
                        </a:lnTo>
                        <a:lnTo>
                          <a:pt x="841" y="560"/>
                        </a:lnTo>
                        <a:lnTo>
                          <a:pt x="839" y="564"/>
                        </a:lnTo>
                        <a:lnTo>
                          <a:pt x="841" y="565"/>
                        </a:lnTo>
                        <a:lnTo>
                          <a:pt x="844" y="575"/>
                        </a:lnTo>
                        <a:lnTo>
                          <a:pt x="854" y="587"/>
                        </a:lnTo>
                        <a:lnTo>
                          <a:pt x="861" y="588"/>
                        </a:lnTo>
                        <a:lnTo>
                          <a:pt x="864" y="592"/>
                        </a:lnTo>
                        <a:lnTo>
                          <a:pt x="867" y="593"/>
                        </a:lnTo>
                        <a:lnTo>
                          <a:pt x="876" y="600"/>
                        </a:lnTo>
                        <a:lnTo>
                          <a:pt x="876" y="603"/>
                        </a:lnTo>
                        <a:lnTo>
                          <a:pt x="872" y="602"/>
                        </a:lnTo>
                        <a:lnTo>
                          <a:pt x="872" y="607"/>
                        </a:lnTo>
                        <a:lnTo>
                          <a:pt x="871" y="613"/>
                        </a:lnTo>
                        <a:lnTo>
                          <a:pt x="874" y="622"/>
                        </a:lnTo>
                        <a:lnTo>
                          <a:pt x="881" y="627"/>
                        </a:lnTo>
                        <a:lnTo>
                          <a:pt x="881" y="633"/>
                        </a:lnTo>
                        <a:lnTo>
                          <a:pt x="876" y="637"/>
                        </a:lnTo>
                        <a:lnTo>
                          <a:pt x="877" y="638"/>
                        </a:lnTo>
                        <a:lnTo>
                          <a:pt x="874" y="642"/>
                        </a:lnTo>
                        <a:lnTo>
                          <a:pt x="876" y="645"/>
                        </a:lnTo>
                        <a:lnTo>
                          <a:pt x="876" y="655"/>
                        </a:lnTo>
                        <a:lnTo>
                          <a:pt x="869" y="657"/>
                        </a:lnTo>
                        <a:lnTo>
                          <a:pt x="871" y="658"/>
                        </a:lnTo>
                        <a:lnTo>
                          <a:pt x="874" y="658"/>
                        </a:lnTo>
                        <a:lnTo>
                          <a:pt x="876" y="660"/>
                        </a:lnTo>
                        <a:lnTo>
                          <a:pt x="869" y="663"/>
                        </a:lnTo>
                        <a:lnTo>
                          <a:pt x="869" y="673"/>
                        </a:lnTo>
                        <a:lnTo>
                          <a:pt x="867" y="675"/>
                        </a:lnTo>
                        <a:lnTo>
                          <a:pt x="861" y="673"/>
                        </a:lnTo>
                        <a:lnTo>
                          <a:pt x="861" y="675"/>
                        </a:lnTo>
                        <a:lnTo>
                          <a:pt x="866" y="680"/>
                        </a:lnTo>
                        <a:lnTo>
                          <a:pt x="867" y="683"/>
                        </a:lnTo>
                        <a:lnTo>
                          <a:pt x="861" y="686"/>
                        </a:lnTo>
                        <a:lnTo>
                          <a:pt x="858" y="690"/>
                        </a:lnTo>
                        <a:lnTo>
                          <a:pt x="849" y="691"/>
                        </a:lnTo>
                        <a:lnTo>
                          <a:pt x="844" y="686"/>
                        </a:lnTo>
                        <a:lnTo>
                          <a:pt x="851" y="683"/>
                        </a:lnTo>
                        <a:lnTo>
                          <a:pt x="853" y="680"/>
                        </a:lnTo>
                        <a:lnTo>
                          <a:pt x="846" y="680"/>
                        </a:lnTo>
                        <a:lnTo>
                          <a:pt x="846" y="683"/>
                        </a:lnTo>
                        <a:lnTo>
                          <a:pt x="843" y="683"/>
                        </a:lnTo>
                        <a:lnTo>
                          <a:pt x="831" y="678"/>
                        </a:lnTo>
                        <a:lnTo>
                          <a:pt x="829" y="680"/>
                        </a:lnTo>
                        <a:lnTo>
                          <a:pt x="814" y="681"/>
                        </a:lnTo>
                        <a:lnTo>
                          <a:pt x="808" y="683"/>
                        </a:lnTo>
                        <a:lnTo>
                          <a:pt x="804" y="688"/>
                        </a:lnTo>
                        <a:lnTo>
                          <a:pt x="808" y="690"/>
                        </a:lnTo>
                        <a:lnTo>
                          <a:pt x="809" y="691"/>
                        </a:lnTo>
                        <a:lnTo>
                          <a:pt x="813" y="686"/>
                        </a:lnTo>
                        <a:lnTo>
                          <a:pt x="819" y="685"/>
                        </a:lnTo>
                        <a:lnTo>
                          <a:pt x="821" y="690"/>
                        </a:lnTo>
                        <a:lnTo>
                          <a:pt x="828" y="695"/>
                        </a:lnTo>
                        <a:lnTo>
                          <a:pt x="846" y="698"/>
                        </a:lnTo>
                        <a:lnTo>
                          <a:pt x="854" y="700"/>
                        </a:lnTo>
                        <a:lnTo>
                          <a:pt x="862" y="698"/>
                        </a:lnTo>
                        <a:lnTo>
                          <a:pt x="871" y="698"/>
                        </a:lnTo>
                        <a:lnTo>
                          <a:pt x="872" y="700"/>
                        </a:lnTo>
                        <a:lnTo>
                          <a:pt x="882" y="703"/>
                        </a:lnTo>
                        <a:lnTo>
                          <a:pt x="889" y="698"/>
                        </a:lnTo>
                        <a:lnTo>
                          <a:pt x="889" y="695"/>
                        </a:lnTo>
                        <a:lnTo>
                          <a:pt x="886" y="691"/>
                        </a:lnTo>
                        <a:lnTo>
                          <a:pt x="886" y="685"/>
                        </a:lnTo>
                        <a:lnTo>
                          <a:pt x="889" y="681"/>
                        </a:lnTo>
                        <a:lnTo>
                          <a:pt x="894" y="680"/>
                        </a:lnTo>
                        <a:lnTo>
                          <a:pt x="894" y="676"/>
                        </a:lnTo>
                        <a:lnTo>
                          <a:pt x="901" y="670"/>
                        </a:lnTo>
                        <a:lnTo>
                          <a:pt x="902" y="666"/>
                        </a:lnTo>
                        <a:lnTo>
                          <a:pt x="906" y="657"/>
                        </a:lnTo>
                        <a:lnTo>
                          <a:pt x="902" y="650"/>
                        </a:lnTo>
                        <a:lnTo>
                          <a:pt x="902" y="643"/>
                        </a:lnTo>
                        <a:lnTo>
                          <a:pt x="911" y="630"/>
                        </a:lnTo>
                        <a:lnTo>
                          <a:pt x="911" y="627"/>
                        </a:lnTo>
                        <a:lnTo>
                          <a:pt x="904" y="610"/>
                        </a:lnTo>
                        <a:lnTo>
                          <a:pt x="894" y="605"/>
                        </a:lnTo>
                        <a:lnTo>
                          <a:pt x="891" y="602"/>
                        </a:lnTo>
                        <a:lnTo>
                          <a:pt x="891" y="588"/>
                        </a:lnTo>
                        <a:lnTo>
                          <a:pt x="897" y="583"/>
                        </a:lnTo>
                        <a:lnTo>
                          <a:pt x="901" y="578"/>
                        </a:lnTo>
                        <a:lnTo>
                          <a:pt x="907" y="577"/>
                        </a:lnTo>
                        <a:lnTo>
                          <a:pt x="917" y="568"/>
                        </a:lnTo>
                        <a:lnTo>
                          <a:pt x="924" y="568"/>
                        </a:lnTo>
                        <a:lnTo>
                          <a:pt x="932" y="575"/>
                        </a:lnTo>
                        <a:lnTo>
                          <a:pt x="932" y="582"/>
                        </a:lnTo>
                        <a:lnTo>
                          <a:pt x="941" y="585"/>
                        </a:lnTo>
                        <a:lnTo>
                          <a:pt x="942" y="588"/>
                        </a:lnTo>
                        <a:lnTo>
                          <a:pt x="944" y="588"/>
                        </a:lnTo>
                        <a:lnTo>
                          <a:pt x="951" y="595"/>
                        </a:lnTo>
                        <a:lnTo>
                          <a:pt x="949" y="600"/>
                        </a:lnTo>
                        <a:lnTo>
                          <a:pt x="954" y="603"/>
                        </a:lnTo>
                        <a:lnTo>
                          <a:pt x="956" y="608"/>
                        </a:lnTo>
                        <a:lnTo>
                          <a:pt x="959" y="613"/>
                        </a:lnTo>
                        <a:lnTo>
                          <a:pt x="961" y="618"/>
                        </a:lnTo>
                        <a:lnTo>
                          <a:pt x="957" y="620"/>
                        </a:lnTo>
                        <a:lnTo>
                          <a:pt x="962" y="625"/>
                        </a:lnTo>
                        <a:lnTo>
                          <a:pt x="967" y="625"/>
                        </a:lnTo>
                        <a:lnTo>
                          <a:pt x="974" y="630"/>
                        </a:lnTo>
                        <a:lnTo>
                          <a:pt x="980" y="628"/>
                        </a:lnTo>
                        <a:lnTo>
                          <a:pt x="984" y="627"/>
                        </a:lnTo>
                        <a:lnTo>
                          <a:pt x="992" y="627"/>
                        </a:lnTo>
                        <a:lnTo>
                          <a:pt x="994" y="623"/>
                        </a:lnTo>
                        <a:lnTo>
                          <a:pt x="995" y="623"/>
                        </a:lnTo>
                        <a:lnTo>
                          <a:pt x="992" y="622"/>
                        </a:lnTo>
                        <a:lnTo>
                          <a:pt x="989" y="623"/>
                        </a:lnTo>
                        <a:lnTo>
                          <a:pt x="987" y="620"/>
                        </a:lnTo>
                        <a:lnTo>
                          <a:pt x="982" y="625"/>
                        </a:lnTo>
                        <a:lnTo>
                          <a:pt x="975" y="625"/>
                        </a:lnTo>
                        <a:lnTo>
                          <a:pt x="972" y="622"/>
                        </a:lnTo>
                        <a:lnTo>
                          <a:pt x="967" y="622"/>
                        </a:lnTo>
                        <a:lnTo>
                          <a:pt x="964" y="617"/>
                        </a:lnTo>
                        <a:lnTo>
                          <a:pt x="965" y="613"/>
                        </a:lnTo>
                        <a:lnTo>
                          <a:pt x="962" y="612"/>
                        </a:lnTo>
                        <a:lnTo>
                          <a:pt x="959" y="605"/>
                        </a:lnTo>
                        <a:lnTo>
                          <a:pt x="961" y="598"/>
                        </a:lnTo>
                        <a:lnTo>
                          <a:pt x="965" y="597"/>
                        </a:lnTo>
                        <a:lnTo>
                          <a:pt x="969" y="593"/>
                        </a:lnTo>
                        <a:lnTo>
                          <a:pt x="965" y="592"/>
                        </a:lnTo>
                        <a:lnTo>
                          <a:pt x="964" y="588"/>
                        </a:lnTo>
                        <a:lnTo>
                          <a:pt x="962" y="587"/>
                        </a:lnTo>
                        <a:lnTo>
                          <a:pt x="961" y="583"/>
                        </a:lnTo>
                        <a:lnTo>
                          <a:pt x="954" y="580"/>
                        </a:lnTo>
                        <a:lnTo>
                          <a:pt x="954" y="577"/>
                        </a:lnTo>
                        <a:lnTo>
                          <a:pt x="947" y="570"/>
                        </a:lnTo>
                        <a:lnTo>
                          <a:pt x="939" y="570"/>
                        </a:lnTo>
                        <a:lnTo>
                          <a:pt x="927" y="565"/>
                        </a:lnTo>
                        <a:lnTo>
                          <a:pt x="926" y="560"/>
                        </a:lnTo>
                        <a:lnTo>
                          <a:pt x="921" y="562"/>
                        </a:lnTo>
                        <a:lnTo>
                          <a:pt x="911" y="559"/>
                        </a:lnTo>
                        <a:lnTo>
                          <a:pt x="907" y="559"/>
                        </a:lnTo>
                        <a:lnTo>
                          <a:pt x="901" y="557"/>
                        </a:lnTo>
                        <a:lnTo>
                          <a:pt x="896" y="564"/>
                        </a:lnTo>
                        <a:lnTo>
                          <a:pt x="894" y="568"/>
                        </a:lnTo>
                        <a:lnTo>
                          <a:pt x="891" y="572"/>
                        </a:lnTo>
                        <a:lnTo>
                          <a:pt x="881" y="568"/>
                        </a:lnTo>
                        <a:lnTo>
                          <a:pt x="874" y="573"/>
                        </a:lnTo>
                        <a:lnTo>
                          <a:pt x="867" y="572"/>
                        </a:lnTo>
                        <a:lnTo>
                          <a:pt x="864" y="568"/>
                        </a:lnTo>
                        <a:lnTo>
                          <a:pt x="866" y="562"/>
                        </a:lnTo>
                        <a:lnTo>
                          <a:pt x="864" y="559"/>
                        </a:lnTo>
                        <a:lnTo>
                          <a:pt x="856" y="549"/>
                        </a:lnTo>
                        <a:lnTo>
                          <a:pt x="853" y="544"/>
                        </a:lnTo>
                        <a:lnTo>
                          <a:pt x="854" y="534"/>
                        </a:lnTo>
                        <a:lnTo>
                          <a:pt x="848" y="527"/>
                        </a:lnTo>
                        <a:lnTo>
                          <a:pt x="849" y="520"/>
                        </a:lnTo>
                        <a:lnTo>
                          <a:pt x="851" y="507"/>
                        </a:lnTo>
                        <a:lnTo>
                          <a:pt x="846" y="499"/>
                        </a:lnTo>
                        <a:lnTo>
                          <a:pt x="841" y="492"/>
                        </a:lnTo>
                        <a:lnTo>
                          <a:pt x="834" y="492"/>
                        </a:lnTo>
                        <a:lnTo>
                          <a:pt x="833" y="487"/>
                        </a:lnTo>
                        <a:lnTo>
                          <a:pt x="821" y="479"/>
                        </a:lnTo>
                        <a:lnTo>
                          <a:pt x="813" y="474"/>
                        </a:lnTo>
                        <a:lnTo>
                          <a:pt x="813" y="467"/>
                        </a:lnTo>
                        <a:lnTo>
                          <a:pt x="816" y="459"/>
                        </a:lnTo>
                        <a:lnTo>
                          <a:pt x="814" y="452"/>
                        </a:lnTo>
                        <a:lnTo>
                          <a:pt x="811" y="449"/>
                        </a:lnTo>
                        <a:lnTo>
                          <a:pt x="811" y="447"/>
                        </a:lnTo>
                        <a:lnTo>
                          <a:pt x="816" y="442"/>
                        </a:lnTo>
                        <a:lnTo>
                          <a:pt x="823" y="434"/>
                        </a:lnTo>
                        <a:lnTo>
                          <a:pt x="826" y="424"/>
                        </a:lnTo>
                        <a:lnTo>
                          <a:pt x="823" y="412"/>
                        </a:lnTo>
                        <a:lnTo>
                          <a:pt x="813" y="394"/>
                        </a:lnTo>
                        <a:lnTo>
                          <a:pt x="816" y="394"/>
                        </a:lnTo>
                        <a:lnTo>
                          <a:pt x="823" y="397"/>
                        </a:lnTo>
                        <a:lnTo>
                          <a:pt x="824" y="404"/>
                        </a:lnTo>
                        <a:lnTo>
                          <a:pt x="828" y="404"/>
                        </a:lnTo>
                        <a:lnTo>
                          <a:pt x="829" y="407"/>
                        </a:lnTo>
                        <a:lnTo>
                          <a:pt x="829" y="414"/>
                        </a:lnTo>
                        <a:lnTo>
                          <a:pt x="834" y="419"/>
                        </a:lnTo>
                        <a:lnTo>
                          <a:pt x="834" y="427"/>
                        </a:lnTo>
                        <a:lnTo>
                          <a:pt x="838" y="434"/>
                        </a:lnTo>
                        <a:lnTo>
                          <a:pt x="836" y="439"/>
                        </a:lnTo>
                        <a:lnTo>
                          <a:pt x="839" y="444"/>
                        </a:lnTo>
                        <a:lnTo>
                          <a:pt x="846" y="451"/>
                        </a:lnTo>
                        <a:lnTo>
                          <a:pt x="846" y="454"/>
                        </a:lnTo>
                        <a:lnTo>
                          <a:pt x="851" y="457"/>
                        </a:lnTo>
                        <a:lnTo>
                          <a:pt x="851" y="461"/>
                        </a:lnTo>
                        <a:lnTo>
                          <a:pt x="846" y="462"/>
                        </a:lnTo>
                        <a:lnTo>
                          <a:pt x="849" y="466"/>
                        </a:lnTo>
                        <a:lnTo>
                          <a:pt x="854" y="466"/>
                        </a:lnTo>
                        <a:lnTo>
                          <a:pt x="861" y="469"/>
                        </a:lnTo>
                        <a:lnTo>
                          <a:pt x="869" y="469"/>
                        </a:lnTo>
                        <a:lnTo>
                          <a:pt x="874" y="467"/>
                        </a:lnTo>
                        <a:lnTo>
                          <a:pt x="879" y="470"/>
                        </a:lnTo>
                        <a:lnTo>
                          <a:pt x="881" y="474"/>
                        </a:lnTo>
                        <a:lnTo>
                          <a:pt x="886" y="469"/>
                        </a:lnTo>
                        <a:lnTo>
                          <a:pt x="891" y="467"/>
                        </a:lnTo>
                        <a:lnTo>
                          <a:pt x="896" y="466"/>
                        </a:lnTo>
                        <a:lnTo>
                          <a:pt x="899" y="467"/>
                        </a:lnTo>
                        <a:lnTo>
                          <a:pt x="906" y="474"/>
                        </a:lnTo>
                        <a:lnTo>
                          <a:pt x="911" y="474"/>
                        </a:lnTo>
                        <a:lnTo>
                          <a:pt x="917" y="477"/>
                        </a:lnTo>
                        <a:lnTo>
                          <a:pt x="927" y="475"/>
                        </a:lnTo>
                        <a:lnTo>
                          <a:pt x="931" y="472"/>
                        </a:lnTo>
                        <a:lnTo>
                          <a:pt x="926" y="474"/>
                        </a:lnTo>
                        <a:lnTo>
                          <a:pt x="916" y="474"/>
                        </a:lnTo>
                        <a:lnTo>
                          <a:pt x="916" y="469"/>
                        </a:lnTo>
                        <a:lnTo>
                          <a:pt x="912" y="469"/>
                        </a:lnTo>
                        <a:lnTo>
                          <a:pt x="909" y="462"/>
                        </a:lnTo>
                        <a:lnTo>
                          <a:pt x="901" y="462"/>
                        </a:lnTo>
                        <a:lnTo>
                          <a:pt x="901" y="459"/>
                        </a:lnTo>
                        <a:lnTo>
                          <a:pt x="897" y="457"/>
                        </a:lnTo>
                        <a:lnTo>
                          <a:pt x="894" y="461"/>
                        </a:lnTo>
                        <a:lnTo>
                          <a:pt x="882" y="461"/>
                        </a:lnTo>
                        <a:lnTo>
                          <a:pt x="879" y="457"/>
                        </a:lnTo>
                        <a:lnTo>
                          <a:pt x="871" y="456"/>
                        </a:lnTo>
                        <a:lnTo>
                          <a:pt x="862" y="449"/>
                        </a:lnTo>
                        <a:lnTo>
                          <a:pt x="861" y="444"/>
                        </a:lnTo>
                        <a:lnTo>
                          <a:pt x="858" y="444"/>
                        </a:lnTo>
                        <a:lnTo>
                          <a:pt x="849" y="434"/>
                        </a:lnTo>
                        <a:lnTo>
                          <a:pt x="853" y="432"/>
                        </a:lnTo>
                        <a:lnTo>
                          <a:pt x="856" y="431"/>
                        </a:lnTo>
                        <a:lnTo>
                          <a:pt x="862" y="426"/>
                        </a:lnTo>
                        <a:lnTo>
                          <a:pt x="866" y="426"/>
                        </a:lnTo>
                        <a:lnTo>
                          <a:pt x="872" y="432"/>
                        </a:lnTo>
                        <a:lnTo>
                          <a:pt x="884" y="437"/>
                        </a:lnTo>
                        <a:lnTo>
                          <a:pt x="891" y="436"/>
                        </a:lnTo>
                        <a:lnTo>
                          <a:pt x="896" y="427"/>
                        </a:lnTo>
                        <a:lnTo>
                          <a:pt x="891" y="419"/>
                        </a:lnTo>
                        <a:lnTo>
                          <a:pt x="882" y="417"/>
                        </a:lnTo>
                        <a:lnTo>
                          <a:pt x="874" y="421"/>
                        </a:lnTo>
                        <a:lnTo>
                          <a:pt x="871" y="419"/>
                        </a:lnTo>
                        <a:lnTo>
                          <a:pt x="872" y="416"/>
                        </a:lnTo>
                        <a:lnTo>
                          <a:pt x="874" y="417"/>
                        </a:lnTo>
                        <a:lnTo>
                          <a:pt x="877" y="416"/>
                        </a:lnTo>
                        <a:lnTo>
                          <a:pt x="877" y="411"/>
                        </a:lnTo>
                        <a:lnTo>
                          <a:pt x="884" y="402"/>
                        </a:lnTo>
                        <a:lnTo>
                          <a:pt x="889" y="399"/>
                        </a:lnTo>
                        <a:lnTo>
                          <a:pt x="894" y="401"/>
                        </a:lnTo>
                        <a:lnTo>
                          <a:pt x="911" y="401"/>
                        </a:lnTo>
                        <a:lnTo>
                          <a:pt x="917" y="406"/>
                        </a:lnTo>
                        <a:lnTo>
                          <a:pt x="922" y="411"/>
                        </a:lnTo>
                        <a:lnTo>
                          <a:pt x="937" y="412"/>
                        </a:lnTo>
                        <a:lnTo>
                          <a:pt x="937" y="416"/>
                        </a:lnTo>
                        <a:lnTo>
                          <a:pt x="944" y="419"/>
                        </a:lnTo>
                        <a:lnTo>
                          <a:pt x="954" y="427"/>
                        </a:lnTo>
                        <a:lnTo>
                          <a:pt x="961" y="429"/>
                        </a:lnTo>
                        <a:lnTo>
                          <a:pt x="974" y="427"/>
                        </a:lnTo>
                        <a:lnTo>
                          <a:pt x="984" y="421"/>
                        </a:lnTo>
                        <a:lnTo>
                          <a:pt x="987" y="424"/>
                        </a:lnTo>
                        <a:lnTo>
                          <a:pt x="989" y="424"/>
                        </a:lnTo>
                        <a:lnTo>
                          <a:pt x="995" y="424"/>
                        </a:lnTo>
                        <a:lnTo>
                          <a:pt x="994" y="432"/>
                        </a:lnTo>
                        <a:lnTo>
                          <a:pt x="995" y="436"/>
                        </a:lnTo>
                        <a:lnTo>
                          <a:pt x="994" y="439"/>
                        </a:lnTo>
                        <a:lnTo>
                          <a:pt x="987" y="444"/>
                        </a:lnTo>
                        <a:lnTo>
                          <a:pt x="987" y="449"/>
                        </a:lnTo>
                        <a:lnTo>
                          <a:pt x="990" y="454"/>
                        </a:lnTo>
                        <a:lnTo>
                          <a:pt x="990" y="462"/>
                        </a:lnTo>
                        <a:lnTo>
                          <a:pt x="999" y="467"/>
                        </a:lnTo>
                        <a:lnTo>
                          <a:pt x="999" y="472"/>
                        </a:lnTo>
                        <a:lnTo>
                          <a:pt x="995" y="475"/>
                        </a:lnTo>
                        <a:lnTo>
                          <a:pt x="997" y="490"/>
                        </a:lnTo>
                        <a:lnTo>
                          <a:pt x="1000" y="489"/>
                        </a:lnTo>
                        <a:lnTo>
                          <a:pt x="1002" y="485"/>
                        </a:lnTo>
                        <a:lnTo>
                          <a:pt x="1000" y="482"/>
                        </a:lnTo>
                        <a:lnTo>
                          <a:pt x="1004" y="479"/>
                        </a:lnTo>
                        <a:lnTo>
                          <a:pt x="1004" y="474"/>
                        </a:lnTo>
                        <a:lnTo>
                          <a:pt x="1007" y="472"/>
                        </a:lnTo>
                        <a:lnTo>
                          <a:pt x="1010" y="466"/>
                        </a:lnTo>
                        <a:lnTo>
                          <a:pt x="1014" y="467"/>
                        </a:lnTo>
                        <a:lnTo>
                          <a:pt x="1017" y="475"/>
                        </a:lnTo>
                        <a:lnTo>
                          <a:pt x="1017" y="485"/>
                        </a:lnTo>
                        <a:lnTo>
                          <a:pt x="1019" y="489"/>
                        </a:lnTo>
                        <a:lnTo>
                          <a:pt x="1015" y="490"/>
                        </a:lnTo>
                        <a:lnTo>
                          <a:pt x="1015" y="495"/>
                        </a:lnTo>
                        <a:lnTo>
                          <a:pt x="1012" y="497"/>
                        </a:lnTo>
                        <a:lnTo>
                          <a:pt x="1022" y="502"/>
                        </a:lnTo>
                        <a:lnTo>
                          <a:pt x="1029" y="502"/>
                        </a:lnTo>
                        <a:lnTo>
                          <a:pt x="1037" y="504"/>
                        </a:lnTo>
                        <a:lnTo>
                          <a:pt x="1042" y="509"/>
                        </a:lnTo>
                        <a:lnTo>
                          <a:pt x="1040" y="514"/>
                        </a:lnTo>
                        <a:lnTo>
                          <a:pt x="1047" y="517"/>
                        </a:lnTo>
                        <a:lnTo>
                          <a:pt x="1057" y="519"/>
                        </a:lnTo>
                        <a:lnTo>
                          <a:pt x="1065" y="527"/>
                        </a:lnTo>
                        <a:lnTo>
                          <a:pt x="1065" y="524"/>
                        </a:lnTo>
                        <a:lnTo>
                          <a:pt x="1065" y="517"/>
                        </a:lnTo>
                        <a:lnTo>
                          <a:pt x="1072" y="510"/>
                        </a:lnTo>
                        <a:lnTo>
                          <a:pt x="1078" y="510"/>
                        </a:lnTo>
                        <a:lnTo>
                          <a:pt x="1088" y="519"/>
                        </a:lnTo>
                        <a:lnTo>
                          <a:pt x="1095" y="519"/>
                        </a:lnTo>
                        <a:lnTo>
                          <a:pt x="1100" y="522"/>
                        </a:lnTo>
                        <a:lnTo>
                          <a:pt x="1102" y="530"/>
                        </a:lnTo>
                        <a:lnTo>
                          <a:pt x="1100" y="522"/>
                        </a:lnTo>
                        <a:lnTo>
                          <a:pt x="1098" y="515"/>
                        </a:lnTo>
                        <a:lnTo>
                          <a:pt x="1093" y="515"/>
                        </a:lnTo>
                        <a:lnTo>
                          <a:pt x="1087" y="514"/>
                        </a:lnTo>
                        <a:lnTo>
                          <a:pt x="1078" y="509"/>
                        </a:lnTo>
                        <a:lnTo>
                          <a:pt x="1070" y="510"/>
                        </a:lnTo>
                        <a:lnTo>
                          <a:pt x="1062" y="515"/>
                        </a:lnTo>
                        <a:lnTo>
                          <a:pt x="1059" y="514"/>
                        </a:lnTo>
                        <a:lnTo>
                          <a:pt x="1057" y="515"/>
                        </a:lnTo>
                        <a:lnTo>
                          <a:pt x="1049" y="512"/>
                        </a:lnTo>
                        <a:lnTo>
                          <a:pt x="1040" y="504"/>
                        </a:lnTo>
                        <a:lnTo>
                          <a:pt x="1035" y="500"/>
                        </a:lnTo>
                        <a:lnTo>
                          <a:pt x="1027" y="499"/>
                        </a:lnTo>
                        <a:lnTo>
                          <a:pt x="1022" y="492"/>
                        </a:lnTo>
                        <a:lnTo>
                          <a:pt x="1027" y="494"/>
                        </a:lnTo>
                        <a:lnTo>
                          <a:pt x="1029" y="494"/>
                        </a:lnTo>
                        <a:lnTo>
                          <a:pt x="1035" y="484"/>
                        </a:lnTo>
                        <a:lnTo>
                          <a:pt x="1034" y="479"/>
                        </a:lnTo>
                        <a:lnTo>
                          <a:pt x="1027" y="474"/>
                        </a:lnTo>
                        <a:lnTo>
                          <a:pt x="1024" y="464"/>
                        </a:lnTo>
                        <a:lnTo>
                          <a:pt x="1015" y="454"/>
                        </a:lnTo>
                        <a:lnTo>
                          <a:pt x="1010" y="451"/>
                        </a:lnTo>
                        <a:lnTo>
                          <a:pt x="1005" y="446"/>
                        </a:lnTo>
                        <a:lnTo>
                          <a:pt x="1007" y="441"/>
                        </a:lnTo>
                        <a:lnTo>
                          <a:pt x="1005" y="436"/>
                        </a:lnTo>
                        <a:lnTo>
                          <a:pt x="1004" y="424"/>
                        </a:lnTo>
                        <a:lnTo>
                          <a:pt x="999" y="419"/>
                        </a:lnTo>
                        <a:lnTo>
                          <a:pt x="995" y="419"/>
                        </a:lnTo>
                        <a:lnTo>
                          <a:pt x="987" y="414"/>
                        </a:lnTo>
                        <a:lnTo>
                          <a:pt x="974" y="414"/>
                        </a:lnTo>
                        <a:lnTo>
                          <a:pt x="970" y="407"/>
                        </a:lnTo>
                        <a:lnTo>
                          <a:pt x="964" y="404"/>
                        </a:lnTo>
                        <a:lnTo>
                          <a:pt x="964" y="399"/>
                        </a:lnTo>
                        <a:lnTo>
                          <a:pt x="961" y="394"/>
                        </a:lnTo>
                        <a:lnTo>
                          <a:pt x="961" y="392"/>
                        </a:lnTo>
                        <a:lnTo>
                          <a:pt x="956" y="394"/>
                        </a:lnTo>
                        <a:lnTo>
                          <a:pt x="939" y="394"/>
                        </a:lnTo>
                        <a:lnTo>
                          <a:pt x="934" y="394"/>
                        </a:lnTo>
                        <a:lnTo>
                          <a:pt x="926" y="391"/>
                        </a:lnTo>
                        <a:lnTo>
                          <a:pt x="926" y="384"/>
                        </a:lnTo>
                        <a:lnTo>
                          <a:pt x="922" y="384"/>
                        </a:lnTo>
                        <a:lnTo>
                          <a:pt x="921" y="381"/>
                        </a:lnTo>
                        <a:lnTo>
                          <a:pt x="922" y="372"/>
                        </a:lnTo>
                        <a:lnTo>
                          <a:pt x="916" y="363"/>
                        </a:lnTo>
                        <a:lnTo>
                          <a:pt x="907" y="359"/>
                        </a:lnTo>
                        <a:lnTo>
                          <a:pt x="909" y="356"/>
                        </a:lnTo>
                        <a:lnTo>
                          <a:pt x="907" y="353"/>
                        </a:lnTo>
                        <a:lnTo>
                          <a:pt x="904" y="353"/>
                        </a:lnTo>
                        <a:lnTo>
                          <a:pt x="901" y="349"/>
                        </a:lnTo>
                        <a:lnTo>
                          <a:pt x="902" y="346"/>
                        </a:lnTo>
                        <a:lnTo>
                          <a:pt x="902" y="341"/>
                        </a:lnTo>
                        <a:lnTo>
                          <a:pt x="897" y="336"/>
                        </a:lnTo>
                        <a:lnTo>
                          <a:pt x="901" y="334"/>
                        </a:lnTo>
                        <a:lnTo>
                          <a:pt x="907" y="334"/>
                        </a:lnTo>
                        <a:lnTo>
                          <a:pt x="914" y="328"/>
                        </a:lnTo>
                        <a:lnTo>
                          <a:pt x="919" y="328"/>
                        </a:lnTo>
                        <a:lnTo>
                          <a:pt x="932" y="326"/>
                        </a:lnTo>
                        <a:lnTo>
                          <a:pt x="951" y="319"/>
                        </a:lnTo>
                        <a:lnTo>
                          <a:pt x="957" y="314"/>
                        </a:lnTo>
                        <a:lnTo>
                          <a:pt x="964" y="313"/>
                        </a:lnTo>
                        <a:lnTo>
                          <a:pt x="969" y="314"/>
                        </a:lnTo>
                        <a:lnTo>
                          <a:pt x="974" y="313"/>
                        </a:lnTo>
                        <a:lnTo>
                          <a:pt x="977" y="308"/>
                        </a:lnTo>
                        <a:lnTo>
                          <a:pt x="985" y="304"/>
                        </a:lnTo>
                        <a:lnTo>
                          <a:pt x="1002" y="298"/>
                        </a:lnTo>
                        <a:lnTo>
                          <a:pt x="1004" y="299"/>
                        </a:lnTo>
                        <a:lnTo>
                          <a:pt x="1002" y="304"/>
                        </a:lnTo>
                        <a:lnTo>
                          <a:pt x="1002" y="308"/>
                        </a:lnTo>
                        <a:lnTo>
                          <a:pt x="999" y="309"/>
                        </a:lnTo>
                        <a:lnTo>
                          <a:pt x="994" y="319"/>
                        </a:lnTo>
                        <a:lnTo>
                          <a:pt x="994" y="323"/>
                        </a:lnTo>
                        <a:lnTo>
                          <a:pt x="1004" y="331"/>
                        </a:lnTo>
                        <a:lnTo>
                          <a:pt x="1012" y="331"/>
                        </a:lnTo>
                        <a:lnTo>
                          <a:pt x="1007" y="328"/>
                        </a:lnTo>
                        <a:lnTo>
                          <a:pt x="999" y="321"/>
                        </a:lnTo>
                        <a:lnTo>
                          <a:pt x="999" y="318"/>
                        </a:lnTo>
                        <a:lnTo>
                          <a:pt x="1002" y="313"/>
                        </a:lnTo>
                        <a:lnTo>
                          <a:pt x="1012" y="308"/>
                        </a:lnTo>
                        <a:lnTo>
                          <a:pt x="1015" y="299"/>
                        </a:lnTo>
                        <a:lnTo>
                          <a:pt x="1012" y="293"/>
                        </a:lnTo>
                        <a:lnTo>
                          <a:pt x="1007" y="293"/>
                        </a:lnTo>
                        <a:lnTo>
                          <a:pt x="1000" y="289"/>
                        </a:lnTo>
                        <a:lnTo>
                          <a:pt x="1000" y="286"/>
                        </a:lnTo>
                        <a:lnTo>
                          <a:pt x="994" y="284"/>
                        </a:lnTo>
                        <a:lnTo>
                          <a:pt x="990" y="288"/>
                        </a:lnTo>
                        <a:lnTo>
                          <a:pt x="989" y="286"/>
                        </a:lnTo>
                        <a:lnTo>
                          <a:pt x="985" y="279"/>
                        </a:lnTo>
                        <a:lnTo>
                          <a:pt x="977" y="279"/>
                        </a:lnTo>
                        <a:lnTo>
                          <a:pt x="974" y="281"/>
                        </a:lnTo>
                        <a:lnTo>
                          <a:pt x="969" y="274"/>
                        </a:lnTo>
                        <a:lnTo>
                          <a:pt x="970" y="274"/>
                        </a:lnTo>
                        <a:lnTo>
                          <a:pt x="972" y="270"/>
                        </a:lnTo>
                        <a:lnTo>
                          <a:pt x="974" y="270"/>
                        </a:lnTo>
                        <a:lnTo>
                          <a:pt x="979" y="273"/>
                        </a:lnTo>
                        <a:lnTo>
                          <a:pt x="985" y="273"/>
                        </a:lnTo>
                        <a:lnTo>
                          <a:pt x="989" y="270"/>
                        </a:lnTo>
                        <a:lnTo>
                          <a:pt x="987" y="268"/>
                        </a:lnTo>
                        <a:lnTo>
                          <a:pt x="985" y="270"/>
                        </a:lnTo>
                        <a:lnTo>
                          <a:pt x="980" y="270"/>
                        </a:lnTo>
                        <a:lnTo>
                          <a:pt x="975" y="266"/>
                        </a:lnTo>
                        <a:lnTo>
                          <a:pt x="975" y="263"/>
                        </a:lnTo>
                        <a:lnTo>
                          <a:pt x="969" y="261"/>
                        </a:lnTo>
                        <a:lnTo>
                          <a:pt x="962" y="260"/>
                        </a:lnTo>
                        <a:lnTo>
                          <a:pt x="957" y="261"/>
                        </a:lnTo>
                        <a:lnTo>
                          <a:pt x="954" y="258"/>
                        </a:lnTo>
                        <a:lnTo>
                          <a:pt x="957" y="255"/>
                        </a:lnTo>
                        <a:lnTo>
                          <a:pt x="956" y="250"/>
                        </a:lnTo>
                        <a:lnTo>
                          <a:pt x="954" y="248"/>
                        </a:lnTo>
                        <a:lnTo>
                          <a:pt x="954" y="246"/>
                        </a:lnTo>
                        <a:lnTo>
                          <a:pt x="957" y="246"/>
                        </a:lnTo>
                        <a:lnTo>
                          <a:pt x="962" y="253"/>
                        </a:lnTo>
                        <a:lnTo>
                          <a:pt x="967" y="251"/>
                        </a:lnTo>
                        <a:lnTo>
                          <a:pt x="972" y="260"/>
                        </a:lnTo>
                        <a:lnTo>
                          <a:pt x="974" y="255"/>
                        </a:lnTo>
                        <a:lnTo>
                          <a:pt x="972" y="251"/>
                        </a:lnTo>
                        <a:lnTo>
                          <a:pt x="977" y="248"/>
                        </a:lnTo>
                        <a:lnTo>
                          <a:pt x="977" y="240"/>
                        </a:lnTo>
                        <a:lnTo>
                          <a:pt x="974" y="238"/>
                        </a:lnTo>
                        <a:lnTo>
                          <a:pt x="975" y="236"/>
                        </a:lnTo>
                        <a:lnTo>
                          <a:pt x="980" y="236"/>
                        </a:lnTo>
                        <a:lnTo>
                          <a:pt x="982" y="233"/>
                        </a:lnTo>
                        <a:lnTo>
                          <a:pt x="970" y="231"/>
                        </a:lnTo>
                        <a:lnTo>
                          <a:pt x="969" y="233"/>
                        </a:lnTo>
                        <a:lnTo>
                          <a:pt x="965" y="233"/>
                        </a:lnTo>
                        <a:lnTo>
                          <a:pt x="965" y="230"/>
                        </a:lnTo>
                        <a:lnTo>
                          <a:pt x="970" y="226"/>
                        </a:lnTo>
                        <a:lnTo>
                          <a:pt x="979" y="225"/>
                        </a:lnTo>
                        <a:lnTo>
                          <a:pt x="984" y="223"/>
                        </a:lnTo>
                        <a:lnTo>
                          <a:pt x="984" y="220"/>
                        </a:lnTo>
                        <a:lnTo>
                          <a:pt x="989" y="215"/>
                        </a:lnTo>
                        <a:lnTo>
                          <a:pt x="989" y="211"/>
                        </a:lnTo>
                        <a:lnTo>
                          <a:pt x="990" y="210"/>
                        </a:lnTo>
                        <a:lnTo>
                          <a:pt x="989" y="206"/>
                        </a:lnTo>
                        <a:lnTo>
                          <a:pt x="994" y="201"/>
                        </a:lnTo>
                        <a:lnTo>
                          <a:pt x="995" y="201"/>
                        </a:lnTo>
                        <a:lnTo>
                          <a:pt x="997" y="203"/>
                        </a:lnTo>
                        <a:lnTo>
                          <a:pt x="1000" y="203"/>
                        </a:lnTo>
                        <a:lnTo>
                          <a:pt x="1002" y="198"/>
                        </a:lnTo>
                        <a:lnTo>
                          <a:pt x="1004" y="198"/>
                        </a:lnTo>
                        <a:lnTo>
                          <a:pt x="1000" y="195"/>
                        </a:lnTo>
                        <a:lnTo>
                          <a:pt x="1002" y="191"/>
                        </a:lnTo>
                        <a:lnTo>
                          <a:pt x="1009" y="190"/>
                        </a:lnTo>
                        <a:lnTo>
                          <a:pt x="1012" y="190"/>
                        </a:lnTo>
                        <a:lnTo>
                          <a:pt x="1014" y="185"/>
                        </a:lnTo>
                        <a:lnTo>
                          <a:pt x="1015" y="185"/>
                        </a:lnTo>
                        <a:lnTo>
                          <a:pt x="1020" y="186"/>
                        </a:lnTo>
                        <a:lnTo>
                          <a:pt x="1029" y="185"/>
                        </a:lnTo>
                        <a:lnTo>
                          <a:pt x="1027" y="181"/>
                        </a:lnTo>
                        <a:lnTo>
                          <a:pt x="1027" y="178"/>
                        </a:lnTo>
                        <a:lnTo>
                          <a:pt x="1037" y="176"/>
                        </a:lnTo>
                        <a:lnTo>
                          <a:pt x="1044" y="175"/>
                        </a:lnTo>
                        <a:lnTo>
                          <a:pt x="1045" y="170"/>
                        </a:lnTo>
                        <a:lnTo>
                          <a:pt x="1060" y="165"/>
                        </a:lnTo>
                        <a:lnTo>
                          <a:pt x="1060" y="160"/>
                        </a:lnTo>
                        <a:lnTo>
                          <a:pt x="1059" y="160"/>
                        </a:lnTo>
                        <a:lnTo>
                          <a:pt x="1050" y="163"/>
                        </a:lnTo>
                        <a:lnTo>
                          <a:pt x="1047" y="162"/>
                        </a:lnTo>
                        <a:lnTo>
                          <a:pt x="1042" y="167"/>
                        </a:lnTo>
                        <a:lnTo>
                          <a:pt x="1039" y="163"/>
                        </a:lnTo>
                        <a:lnTo>
                          <a:pt x="1039" y="155"/>
                        </a:lnTo>
                        <a:lnTo>
                          <a:pt x="1042" y="153"/>
                        </a:lnTo>
                        <a:lnTo>
                          <a:pt x="1044" y="148"/>
                        </a:lnTo>
                        <a:lnTo>
                          <a:pt x="1045" y="150"/>
                        </a:lnTo>
                        <a:lnTo>
                          <a:pt x="1045" y="152"/>
                        </a:lnTo>
                        <a:lnTo>
                          <a:pt x="1047" y="152"/>
                        </a:lnTo>
                        <a:lnTo>
                          <a:pt x="1052" y="148"/>
                        </a:lnTo>
                        <a:lnTo>
                          <a:pt x="1045" y="145"/>
                        </a:lnTo>
                        <a:lnTo>
                          <a:pt x="1052" y="143"/>
                        </a:lnTo>
                        <a:lnTo>
                          <a:pt x="1057" y="147"/>
                        </a:lnTo>
                        <a:lnTo>
                          <a:pt x="1060" y="147"/>
                        </a:lnTo>
                        <a:lnTo>
                          <a:pt x="1067" y="142"/>
                        </a:lnTo>
                        <a:lnTo>
                          <a:pt x="1072" y="143"/>
                        </a:lnTo>
                        <a:lnTo>
                          <a:pt x="1085" y="140"/>
                        </a:lnTo>
                        <a:lnTo>
                          <a:pt x="1090" y="140"/>
                        </a:lnTo>
                        <a:lnTo>
                          <a:pt x="1092" y="143"/>
                        </a:lnTo>
                        <a:lnTo>
                          <a:pt x="1087" y="153"/>
                        </a:lnTo>
                        <a:lnTo>
                          <a:pt x="1087" y="157"/>
                        </a:lnTo>
                        <a:lnTo>
                          <a:pt x="1092" y="160"/>
                        </a:lnTo>
                        <a:lnTo>
                          <a:pt x="1093" y="153"/>
                        </a:lnTo>
                        <a:lnTo>
                          <a:pt x="1098" y="147"/>
                        </a:lnTo>
                        <a:lnTo>
                          <a:pt x="1097" y="143"/>
                        </a:lnTo>
                        <a:lnTo>
                          <a:pt x="1098" y="142"/>
                        </a:lnTo>
                        <a:lnTo>
                          <a:pt x="1102" y="145"/>
                        </a:lnTo>
                        <a:lnTo>
                          <a:pt x="1103" y="152"/>
                        </a:lnTo>
                        <a:lnTo>
                          <a:pt x="1107" y="152"/>
                        </a:lnTo>
                        <a:lnTo>
                          <a:pt x="1108" y="147"/>
                        </a:lnTo>
                        <a:lnTo>
                          <a:pt x="1107" y="143"/>
                        </a:lnTo>
                        <a:lnTo>
                          <a:pt x="1112" y="140"/>
                        </a:lnTo>
                        <a:lnTo>
                          <a:pt x="1113" y="140"/>
                        </a:lnTo>
                        <a:lnTo>
                          <a:pt x="1113" y="145"/>
                        </a:lnTo>
                        <a:lnTo>
                          <a:pt x="1122" y="140"/>
                        </a:lnTo>
                        <a:lnTo>
                          <a:pt x="1122" y="138"/>
                        </a:lnTo>
                        <a:lnTo>
                          <a:pt x="1118" y="133"/>
                        </a:lnTo>
                        <a:lnTo>
                          <a:pt x="1123" y="135"/>
                        </a:lnTo>
                        <a:lnTo>
                          <a:pt x="1127" y="132"/>
                        </a:lnTo>
                        <a:lnTo>
                          <a:pt x="1122" y="130"/>
                        </a:lnTo>
                        <a:lnTo>
                          <a:pt x="1127" y="125"/>
                        </a:lnTo>
                        <a:lnTo>
                          <a:pt x="1133" y="125"/>
                        </a:lnTo>
                        <a:lnTo>
                          <a:pt x="1138" y="122"/>
                        </a:lnTo>
                        <a:lnTo>
                          <a:pt x="1140" y="123"/>
                        </a:lnTo>
                        <a:lnTo>
                          <a:pt x="1140" y="127"/>
                        </a:lnTo>
                        <a:lnTo>
                          <a:pt x="1143" y="127"/>
                        </a:lnTo>
                        <a:lnTo>
                          <a:pt x="1150" y="128"/>
                        </a:lnTo>
                        <a:lnTo>
                          <a:pt x="1150" y="133"/>
                        </a:lnTo>
                        <a:lnTo>
                          <a:pt x="1153" y="137"/>
                        </a:lnTo>
                        <a:lnTo>
                          <a:pt x="1148" y="147"/>
                        </a:lnTo>
                        <a:lnTo>
                          <a:pt x="1155" y="143"/>
                        </a:lnTo>
                        <a:lnTo>
                          <a:pt x="1160" y="135"/>
                        </a:lnTo>
                        <a:lnTo>
                          <a:pt x="1155" y="125"/>
                        </a:lnTo>
                        <a:lnTo>
                          <a:pt x="1148" y="122"/>
                        </a:lnTo>
                        <a:lnTo>
                          <a:pt x="1143" y="117"/>
                        </a:lnTo>
                        <a:lnTo>
                          <a:pt x="1138" y="120"/>
                        </a:lnTo>
                        <a:lnTo>
                          <a:pt x="1137" y="117"/>
                        </a:lnTo>
                        <a:lnTo>
                          <a:pt x="1130" y="118"/>
                        </a:lnTo>
                        <a:lnTo>
                          <a:pt x="1130" y="115"/>
                        </a:lnTo>
                        <a:lnTo>
                          <a:pt x="1125" y="113"/>
                        </a:lnTo>
                        <a:lnTo>
                          <a:pt x="1123" y="112"/>
                        </a:lnTo>
                        <a:lnTo>
                          <a:pt x="1127" y="108"/>
                        </a:lnTo>
                        <a:lnTo>
                          <a:pt x="1137" y="108"/>
                        </a:lnTo>
                        <a:lnTo>
                          <a:pt x="1140" y="105"/>
                        </a:lnTo>
                        <a:lnTo>
                          <a:pt x="1145" y="105"/>
                        </a:lnTo>
                        <a:lnTo>
                          <a:pt x="1150" y="107"/>
                        </a:lnTo>
                        <a:lnTo>
                          <a:pt x="1153" y="105"/>
                        </a:lnTo>
                        <a:lnTo>
                          <a:pt x="1157" y="107"/>
                        </a:lnTo>
                        <a:lnTo>
                          <a:pt x="1168" y="102"/>
                        </a:lnTo>
                        <a:lnTo>
                          <a:pt x="1175" y="105"/>
                        </a:lnTo>
                        <a:lnTo>
                          <a:pt x="1178" y="105"/>
                        </a:lnTo>
                        <a:lnTo>
                          <a:pt x="1181" y="105"/>
                        </a:lnTo>
                        <a:lnTo>
                          <a:pt x="1186" y="102"/>
                        </a:lnTo>
                        <a:lnTo>
                          <a:pt x="1185" y="100"/>
                        </a:lnTo>
                        <a:lnTo>
                          <a:pt x="1176" y="100"/>
                        </a:lnTo>
                        <a:lnTo>
                          <a:pt x="1168" y="97"/>
                        </a:lnTo>
                        <a:lnTo>
                          <a:pt x="1163" y="98"/>
                        </a:lnTo>
                        <a:lnTo>
                          <a:pt x="1155" y="98"/>
                        </a:lnTo>
                        <a:lnTo>
                          <a:pt x="1155" y="95"/>
                        </a:lnTo>
                        <a:lnTo>
                          <a:pt x="1152" y="90"/>
                        </a:lnTo>
                        <a:lnTo>
                          <a:pt x="1158" y="85"/>
                        </a:lnTo>
                        <a:lnTo>
                          <a:pt x="1152" y="83"/>
                        </a:lnTo>
                        <a:lnTo>
                          <a:pt x="1147" y="77"/>
                        </a:lnTo>
                        <a:lnTo>
                          <a:pt x="1142" y="78"/>
                        </a:lnTo>
                        <a:lnTo>
                          <a:pt x="1137" y="72"/>
                        </a:lnTo>
                        <a:lnTo>
                          <a:pt x="1137" y="67"/>
                        </a:lnTo>
                        <a:lnTo>
                          <a:pt x="1142" y="67"/>
                        </a:lnTo>
                        <a:lnTo>
                          <a:pt x="1142" y="62"/>
                        </a:lnTo>
                        <a:lnTo>
                          <a:pt x="1135" y="57"/>
                        </a:lnTo>
                        <a:lnTo>
                          <a:pt x="1137" y="37"/>
                        </a:lnTo>
                        <a:lnTo>
                          <a:pt x="1142" y="32"/>
                        </a:lnTo>
                        <a:lnTo>
                          <a:pt x="1140" y="27"/>
                        </a:lnTo>
                        <a:lnTo>
                          <a:pt x="1140" y="19"/>
                        </a:lnTo>
                        <a:lnTo>
                          <a:pt x="1145" y="15"/>
                        </a:lnTo>
                        <a:lnTo>
                          <a:pt x="1142" y="10"/>
                        </a:lnTo>
                        <a:lnTo>
                          <a:pt x="1147" y="9"/>
                        </a:lnTo>
                        <a:lnTo>
                          <a:pt x="1147" y="5"/>
                        </a:lnTo>
                        <a:lnTo>
                          <a:pt x="1155" y="0"/>
                        </a:lnTo>
                        <a:lnTo>
                          <a:pt x="1158" y="0"/>
                        </a:lnTo>
                        <a:lnTo>
                          <a:pt x="1163" y="7"/>
                        </a:lnTo>
                        <a:lnTo>
                          <a:pt x="1168" y="2"/>
                        </a:lnTo>
                        <a:lnTo>
                          <a:pt x="1171" y="2"/>
                        </a:lnTo>
                        <a:lnTo>
                          <a:pt x="1175" y="9"/>
                        </a:lnTo>
                        <a:lnTo>
                          <a:pt x="1181" y="9"/>
                        </a:lnTo>
                        <a:lnTo>
                          <a:pt x="1188" y="4"/>
                        </a:lnTo>
                        <a:lnTo>
                          <a:pt x="1190" y="5"/>
                        </a:lnTo>
                        <a:lnTo>
                          <a:pt x="1190" y="12"/>
                        </a:lnTo>
                        <a:lnTo>
                          <a:pt x="1191" y="14"/>
                        </a:lnTo>
                        <a:lnTo>
                          <a:pt x="1200" y="15"/>
                        </a:lnTo>
                        <a:lnTo>
                          <a:pt x="1200" y="17"/>
                        </a:lnTo>
                        <a:lnTo>
                          <a:pt x="1195" y="20"/>
                        </a:lnTo>
                        <a:lnTo>
                          <a:pt x="1195" y="22"/>
                        </a:lnTo>
                        <a:lnTo>
                          <a:pt x="1193" y="25"/>
                        </a:lnTo>
                        <a:lnTo>
                          <a:pt x="1195" y="30"/>
                        </a:lnTo>
                        <a:lnTo>
                          <a:pt x="1190" y="37"/>
                        </a:lnTo>
                        <a:lnTo>
                          <a:pt x="1183" y="39"/>
                        </a:lnTo>
                        <a:lnTo>
                          <a:pt x="1180" y="44"/>
                        </a:lnTo>
                        <a:lnTo>
                          <a:pt x="1183" y="45"/>
                        </a:lnTo>
                        <a:lnTo>
                          <a:pt x="1195" y="40"/>
                        </a:lnTo>
                        <a:lnTo>
                          <a:pt x="1203" y="30"/>
                        </a:lnTo>
                        <a:lnTo>
                          <a:pt x="1206" y="30"/>
                        </a:lnTo>
                        <a:lnTo>
                          <a:pt x="1206" y="34"/>
                        </a:lnTo>
                        <a:lnTo>
                          <a:pt x="1203" y="39"/>
                        </a:lnTo>
                        <a:lnTo>
                          <a:pt x="1203" y="42"/>
                        </a:lnTo>
                        <a:lnTo>
                          <a:pt x="1208" y="42"/>
                        </a:lnTo>
                        <a:lnTo>
                          <a:pt x="1211" y="35"/>
                        </a:lnTo>
                        <a:lnTo>
                          <a:pt x="1216" y="34"/>
                        </a:lnTo>
                        <a:lnTo>
                          <a:pt x="1220" y="35"/>
                        </a:lnTo>
                        <a:lnTo>
                          <a:pt x="1225" y="35"/>
                        </a:lnTo>
                        <a:lnTo>
                          <a:pt x="1226" y="30"/>
                        </a:lnTo>
                        <a:lnTo>
                          <a:pt x="1230" y="30"/>
                        </a:lnTo>
                        <a:lnTo>
                          <a:pt x="1233" y="32"/>
                        </a:lnTo>
                        <a:lnTo>
                          <a:pt x="1236" y="30"/>
                        </a:lnTo>
                        <a:lnTo>
                          <a:pt x="1243" y="35"/>
                        </a:lnTo>
                        <a:lnTo>
                          <a:pt x="1243" y="40"/>
                        </a:lnTo>
                        <a:lnTo>
                          <a:pt x="1246" y="47"/>
                        </a:lnTo>
                        <a:lnTo>
                          <a:pt x="1245" y="49"/>
                        </a:lnTo>
                        <a:lnTo>
                          <a:pt x="1243" y="54"/>
                        </a:lnTo>
                        <a:lnTo>
                          <a:pt x="1240" y="60"/>
                        </a:lnTo>
                        <a:lnTo>
                          <a:pt x="1246" y="69"/>
                        </a:lnTo>
                        <a:lnTo>
                          <a:pt x="1246" y="74"/>
                        </a:lnTo>
                        <a:lnTo>
                          <a:pt x="1241" y="75"/>
                        </a:lnTo>
                        <a:lnTo>
                          <a:pt x="1238" y="78"/>
                        </a:lnTo>
                        <a:lnTo>
                          <a:pt x="1241" y="78"/>
                        </a:lnTo>
                        <a:lnTo>
                          <a:pt x="1251" y="77"/>
                        </a:lnTo>
                        <a:lnTo>
                          <a:pt x="1256" y="72"/>
                        </a:lnTo>
                        <a:lnTo>
                          <a:pt x="1263" y="70"/>
                        </a:lnTo>
                        <a:lnTo>
                          <a:pt x="1266" y="65"/>
                        </a:lnTo>
                        <a:lnTo>
                          <a:pt x="1266" y="57"/>
                        </a:lnTo>
                        <a:lnTo>
                          <a:pt x="1263" y="50"/>
                        </a:lnTo>
                        <a:lnTo>
                          <a:pt x="1261" y="52"/>
                        </a:lnTo>
                        <a:lnTo>
                          <a:pt x="1258" y="50"/>
                        </a:lnTo>
                        <a:lnTo>
                          <a:pt x="1256" y="45"/>
                        </a:lnTo>
                        <a:lnTo>
                          <a:pt x="1259" y="44"/>
                        </a:lnTo>
                        <a:lnTo>
                          <a:pt x="1263" y="44"/>
                        </a:lnTo>
                        <a:lnTo>
                          <a:pt x="1264" y="45"/>
                        </a:lnTo>
                        <a:lnTo>
                          <a:pt x="1268" y="45"/>
                        </a:lnTo>
                        <a:lnTo>
                          <a:pt x="1276" y="42"/>
                        </a:lnTo>
                        <a:lnTo>
                          <a:pt x="1283" y="37"/>
                        </a:lnTo>
                        <a:lnTo>
                          <a:pt x="1286" y="37"/>
                        </a:lnTo>
                        <a:lnTo>
                          <a:pt x="1293" y="37"/>
                        </a:lnTo>
                        <a:lnTo>
                          <a:pt x="1294" y="34"/>
                        </a:lnTo>
                        <a:lnTo>
                          <a:pt x="1299" y="30"/>
                        </a:lnTo>
                        <a:lnTo>
                          <a:pt x="1301" y="30"/>
                        </a:lnTo>
                        <a:lnTo>
                          <a:pt x="1304" y="27"/>
                        </a:lnTo>
                        <a:lnTo>
                          <a:pt x="1309" y="27"/>
                        </a:lnTo>
                        <a:lnTo>
                          <a:pt x="1311" y="29"/>
                        </a:lnTo>
                        <a:lnTo>
                          <a:pt x="1316" y="27"/>
                        </a:lnTo>
                        <a:lnTo>
                          <a:pt x="1318" y="30"/>
                        </a:lnTo>
                        <a:lnTo>
                          <a:pt x="1316" y="32"/>
                        </a:lnTo>
                        <a:lnTo>
                          <a:pt x="1316" y="35"/>
                        </a:lnTo>
                        <a:lnTo>
                          <a:pt x="1328" y="35"/>
                        </a:lnTo>
                        <a:lnTo>
                          <a:pt x="1328" y="37"/>
                        </a:lnTo>
                        <a:lnTo>
                          <a:pt x="1333" y="37"/>
                        </a:lnTo>
                        <a:lnTo>
                          <a:pt x="1351" y="47"/>
                        </a:lnTo>
                        <a:lnTo>
                          <a:pt x="1356" y="49"/>
                        </a:lnTo>
                        <a:lnTo>
                          <a:pt x="1358" y="54"/>
                        </a:lnTo>
                        <a:lnTo>
                          <a:pt x="1358" y="55"/>
                        </a:lnTo>
                        <a:lnTo>
                          <a:pt x="1366" y="65"/>
                        </a:lnTo>
                        <a:lnTo>
                          <a:pt x="1367" y="64"/>
                        </a:lnTo>
                        <a:lnTo>
                          <a:pt x="1367" y="60"/>
                        </a:lnTo>
                        <a:lnTo>
                          <a:pt x="1371" y="59"/>
                        </a:lnTo>
                        <a:lnTo>
                          <a:pt x="1372" y="57"/>
                        </a:lnTo>
                        <a:lnTo>
                          <a:pt x="1369" y="55"/>
                        </a:lnTo>
                        <a:lnTo>
                          <a:pt x="1364" y="54"/>
                        </a:lnTo>
                        <a:lnTo>
                          <a:pt x="1364" y="50"/>
                        </a:lnTo>
                        <a:lnTo>
                          <a:pt x="1367" y="47"/>
                        </a:lnTo>
                        <a:lnTo>
                          <a:pt x="1371" y="49"/>
                        </a:lnTo>
                        <a:lnTo>
                          <a:pt x="1374" y="52"/>
                        </a:lnTo>
                        <a:lnTo>
                          <a:pt x="1377" y="54"/>
                        </a:lnTo>
                        <a:lnTo>
                          <a:pt x="1377" y="59"/>
                        </a:lnTo>
                        <a:lnTo>
                          <a:pt x="1384" y="64"/>
                        </a:lnTo>
                        <a:lnTo>
                          <a:pt x="1386" y="69"/>
                        </a:lnTo>
                        <a:lnTo>
                          <a:pt x="1389" y="70"/>
                        </a:lnTo>
                        <a:lnTo>
                          <a:pt x="1391" y="69"/>
                        </a:lnTo>
                        <a:lnTo>
                          <a:pt x="1394" y="69"/>
                        </a:lnTo>
                        <a:lnTo>
                          <a:pt x="1396" y="70"/>
                        </a:lnTo>
                        <a:lnTo>
                          <a:pt x="1399" y="74"/>
                        </a:lnTo>
                        <a:lnTo>
                          <a:pt x="1401" y="78"/>
                        </a:lnTo>
                        <a:lnTo>
                          <a:pt x="1404" y="83"/>
                        </a:lnTo>
                        <a:lnTo>
                          <a:pt x="1404" y="87"/>
                        </a:lnTo>
                        <a:lnTo>
                          <a:pt x="1402" y="85"/>
                        </a:lnTo>
                        <a:lnTo>
                          <a:pt x="1401" y="83"/>
                        </a:lnTo>
                        <a:lnTo>
                          <a:pt x="1399" y="80"/>
                        </a:lnTo>
                        <a:lnTo>
                          <a:pt x="1397" y="80"/>
                        </a:lnTo>
                        <a:lnTo>
                          <a:pt x="1396" y="83"/>
                        </a:lnTo>
                        <a:lnTo>
                          <a:pt x="1391" y="80"/>
                        </a:lnTo>
                        <a:lnTo>
                          <a:pt x="1382" y="77"/>
                        </a:lnTo>
                        <a:lnTo>
                          <a:pt x="1376" y="77"/>
                        </a:lnTo>
                        <a:lnTo>
                          <a:pt x="1376" y="78"/>
                        </a:lnTo>
                        <a:lnTo>
                          <a:pt x="1379" y="82"/>
                        </a:lnTo>
                        <a:lnTo>
                          <a:pt x="1386" y="83"/>
                        </a:lnTo>
                        <a:lnTo>
                          <a:pt x="1387" y="85"/>
                        </a:lnTo>
                        <a:lnTo>
                          <a:pt x="1386" y="87"/>
                        </a:lnTo>
                        <a:lnTo>
                          <a:pt x="1389" y="92"/>
                        </a:lnTo>
                        <a:lnTo>
                          <a:pt x="1392" y="93"/>
                        </a:lnTo>
                        <a:lnTo>
                          <a:pt x="1394" y="92"/>
                        </a:lnTo>
                        <a:lnTo>
                          <a:pt x="1396" y="87"/>
                        </a:lnTo>
                        <a:lnTo>
                          <a:pt x="1397" y="87"/>
                        </a:lnTo>
                        <a:lnTo>
                          <a:pt x="1401" y="90"/>
                        </a:lnTo>
                        <a:lnTo>
                          <a:pt x="1404" y="92"/>
                        </a:lnTo>
                        <a:lnTo>
                          <a:pt x="1406" y="90"/>
                        </a:lnTo>
                        <a:lnTo>
                          <a:pt x="1409" y="92"/>
                        </a:lnTo>
                        <a:lnTo>
                          <a:pt x="1411" y="93"/>
                        </a:lnTo>
                        <a:lnTo>
                          <a:pt x="1409" y="97"/>
                        </a:lnTo>
                        <a:lnTo>
                          <a:pt x="1412" y="103"/>
                        </a:lnTo>
                        <a:lnTo>
                          <a:pt x="1414" y="110"/>
                        </a:lnTo>
                        <a:lnTo>
                          <a:pt x="1414" y="120"/>
                        </a:lnTo>
                        <a:lnTo>
                          <a:pt x="1411" y="127"/>
                        </a:lnTo>
                        <a:lnTo>
                          <a:pt x="1409" y="127"/>
                        </a:lnTo>
                        <a:lnTo>
                          <a:pt x="1407" y="130"/>
                        </a:lnTo>
                        <a:lnTo>
                          <a:pt x="1409" y="135"/>
                        </a:lnTo>
                        <a:lnTo>
                          <a:pt x="1404" y="140"/>
                        </a:lnTo>
                        <a:lnTo>
                          <a:pt x="1406" y="142"/>
                        </a:lnTo>
                        <a:lnTo>
                          <a:pt x="1407" y="145"/>
                        </a:lnTo>
                        <a:lnTo>
                          <a:pt x="1409" y="148"/>
                        </a:lnTo>
                        <a:lnTo>
                          <a:pt x="1402" y="152"/>
                        </a:lnTo>
                        <a:lnTo>
                          <a:pt x="1401" y="155"/>
                        </a:lnTo>
                        <a:lnTo>
                          <a:pt x="1402" y="158"/>
                        </a:lnTo>
                        <a:lnTo>
                          <a:pt x="1397" y="165"/>
                        </a:lnTo>
                        <a:lnTo>
                          <a:pt x="1396" y="168"/>
                        </a:lnTo>
                        <a:lnTo>
                          <a:pt x="1396" y="170"/>
                        </a:lnTo>
                        <a:lnTo>
                          <a:pt x="1394" y="175"/>
                        </a:lnTo>
                        <a:lnTo>
                          <a:pt x="1389" y="176"/>
                        </a:lnTo>
                        <a:lnTo>
                          <a:pt x="1384" y="181"/>
                        </a:lnTo>
                        <a:lnTo>
                          <a:pt x="1379" y="181"/>
                        </a:lnTo>
                        <a:lnTo>
                          <a:pt x="1384" y="183"/>
                        </a:lnTo>
                        <a:lnTo>
                          <a:pt x="1387" y="181"/>
                        </a:lnTo>
                        <a:lnTo>
                          <a:pt x="1391" y="180"/>
                        </a:lnTo>
                        <a:lnTo>
                          <a:pt x="1392" y="180"/>
                        </a:lnTo>
                        <a:lnTo>
                          <a:pt x="1396" y="185"/>
                        </a:lnTo>
                        <a:lnTo>
                          <a:pt x="1391" y="193"/>
                        </a:lnTo>
                        <a:lnTo>
                          <a:pt x="1387" y="198"/>
                        </a:lnTo>
                        <a:lnTo>
                          <a:pt x="1384" y="208"/>
                        </a:lnTo>
                        <a:lnTo>
                          <a:pt x="1387" y="213"/>
                        </a:lnTo>
                        <a:lnTo>
                          <a:pt x="1387" y="216"/>
                        </a:lnTo>
                        <a:lnTo>
                          <a:pt x="1384" y="226"/>
                        </a:lnTo>
                        <a:lnTo>
                          <a:pt x="1377" y="228"/>
                        </a:lnTo>
                        <a:lnTo>
                          <a:pt x="1376" y="228"/>
                        </a:lnTo>
                        <a:lnTo>
                          <a:pt x="1372" y="228"/>
                        </a:lnTo>
                        <a:lnTo>
                          <a:pt x="1371" y="231"/>
                        </a:lnTo>
                        <a:lnTo>
                          <a:pt x="1372" y="233"/>
                        </a:lnTo>
                        <a:lnTo>
                          <a:pt x="1374" y="241"/>
                        </a:lnTo>
                        <a:lnTo>
                          <a:pt x="1372" y="246"/>
                        </a:lnTo>
                        <a:lnTo>
                          <a:pt x="1367" y="248"/>
                        </a:lnTo>
                        <a:lnTo>
                          <a:pt x="1366" y="255"/>
                        </a:lnTo>
                        <a:lnTo>
                          <a:pt x="1367" y="260"/>
                        </a:lnTo>
                        <a:lnTo>
                          <a:pt x="1367" y="266"/>
                        </a:lnTo>
                        <a:lnTo>
                          <a:pt x="1366" y="268"/>
                        </a:lnTo>
                        <a:lnTo>
                          <a:pt x="1367" y="271"/>
                        </a:lnTo>
                        <a:lnTo>
                          <a:pt x="1371" y="273"/>
                        </a:lnTo>
                        <a:lnTo>
                          <a:pt x="1367" y="284"/>
                        </a:lnTo>
                        <a:lnTo>
                          <a:pt x="1362" y="288"/>
                        </a:lnTo>
                        <a:lnTo>
                          <a:pt x="1362" y="293"/>
                        </a:lnTo>
                        <a:lnTo>
                          <a:pt x="1364" y="289"/>
                        </a:lnTo>
                        <a:lnTo>
                          <a:pt x="1367" y="289"/>
                        </a:lnTo>
                        <a:lnTo>
                          <a:pt x="1372" y="284"/>
                        </a:lnTo>
                        <a:lnTo>
                          <a:pt x="1374" y="281"/>
                        </a:lnTo>
                        <a:lnTo>
                          <a:pt x="1374" y="279"/>
                        </a:lnTo>
                        <a:lnTo>
                          <a:pt x="1376" y="276"/>
                        </a:lnTo>
                        <a:lnTo>
                          <a:pt x="1382" y="276"/>
                        </a:lnTo>
                        <a:lnTo>
                          <a:pt x="1386" y="274"/>
                        </a:lnTo>
                        <a:lnTo>
                          <a:pt x="1381" y="274"/>
                        </a:lnTo>
                        <a:lnTo>
                          <a:pt x="1374" y="266"/>
                        </a:lnTo>
                        <a:lnTo>
                          <a:pt x="1371" y="260"/>
                        </a:lnTo>
                        <a:lnTo>
                          <a:pt x="1374" y="256"/>
                        </a:lnTo>
                        <a:lnTo>
                          <a:pt x="1382" y="255"/>
                        </a:lnTo>
                        <a:lnTo>
                          <a:pt x="1391" y="255"/>
                        </a:lnTo>
                        <a:lnTo>
                          <a:pt x="1397" y="248"/>
                        </a:lnTo>
                        <a:lnTo>
                          <a:pt x="1401" y="248"/>
                        </a:lnTo>
                        <a:lnTo>
                          <a:pt x="1404" y="246"/>
                        </a:lnTo>
                        <a:lnTo>
                          <a:pt x="1401" y="243"/>
                        </a:lnTo>
                        <a:lnTo>
                          <a:pt x="1409" y="236"/>
                        </a:lnTo>
                        <a:lnTo>
                          <a:pt x="1412" y="231"/>
                        </a:lnTo>
                        <a:lnTo>
                          <a:pt x="1409" y="228"/>
                        </a:lnTo>
                        <a:lnTo>
                          <a:pt x="1409" y="226"/>
                        </a:lnTo>
                        <a:lnTo>
                          <a:pt x="1414" y="228"/>
                        </a:lnTo>
                        <a:lnTo>
                          <a:pt x="1421" y="226"/>
                        </a:lnTo>
                        <a:lnTo>
                          <a:pt x="1424" y="221"/>
                        </a:lnTo>
                        <a:lnTo>
                          <a:pt x="1421" y="218"/>
                        </a:lnTo>
                        <a:lnTo>
                          <a:pt x="1431" y="213"/>
                        </a:lnTo>
                        <a:lnTo>
                          <a:pt x="1431" y="208"/>
                        </a:lnTo>
                        <a:lnTo>
                          <a:pt x="1429" y="205"/>
                        </a:lnTo>
                        <a:lnTo>
                          <a:pt x="1419" y="210"/>
                        </a:lnTo>
                        <a:lnTo>
                          <a:pt x="1419" y="211"/>
                        </a:lnTo>
                        <a:lnTo>
                          <a:pt x="1412" y="216"/>
                        </a:lnTo>
                        <a:lnTo>
                          <a:pt x="1406" y="215"/>
                        </a:lnTo>
                        <a:lnTo>
                          <a:pt x="1402" y="208"/>
                        </a:lnTo>
                        <a:lnTo>
                          <a:pt x="1407" y="203"/>
                        </a:lnTo>
                        <a:lnTo>
                          <a:pt x="1406" y="196"/>
                        </a:lnTo>
                        <a:lnTo>
                          <a:pt x="1411" y="193"/>
                        </a:lnTo>
                        <a:lnTo>
                          <a:pt x="1417" y="193"/>
                        </a:lnTo>
                        <a:lnTo>
                          <a:pt x="1426" y="198"/>
                        </a:lnTo>
                        <a:lnTo>
                          <a:pt x="1429" y="195"/>
                        </a:lnTo>
                        <a:lnTo>
                          <a:pt x="1429" y="190"/>
                        </a:lnTo>
                        <a:lnTo>
                          <a:pt x="1436" y="186"/>
                        </a:lnTo>
                        <a:lnTo>
                          <a:pt x="1436" y="190"/>
                        </a:lnTo>
                        <a:lnTo>
                          <a:pt x="1432" y="193"/>
                        </a:lnTo>
                        <a:lnTo>
                          <a:pt x="1434" y="196"/>
                        </a:lnTo>
                        <a:lnTo>
                          <a:pt x="1447" y="206"/>
                        </a:lnTo>
                        <a:lnTo>
                          <a:pt x="1454" y="208"/>
                        </a:lnTo>
                        <a:lnTo>
                          <a:pt x="1456" y="205"/>
                        </a:lnTo>
                        <a:lnTo>
                          <a:pt x="1465" y="205"/>
                        </a:lnTo>
                        <a:lnTo>
                          <a:pt x="1469" y="200"/>
                        </a:lnTo>
                        <a:lnTo>
                          <a:pt x="1469" y="195"/>
                        </a:lnTo>
                        <a:lnTo>
                          <a:pt x="1460" y="188"/>
                        </a:lnTo>
                        <a:lnTo>
                          <a:pt x="1460" y="185"/>
                        </a:lnTo>
                        <a:lnTo>
                          <a:pt x="1464" y="185"/>
                        </a:lnTo>
                        <a:lnTo>
                          <a:pt x="1474" y="193"/>
                        </a:lnTo>
                        <a:lnTo>
                          <a:pt x="1477" y="195"/>
                        </a:lnTo>
                        <a:lnTo>
                          <a:pt x="1482" y="198"/>
                        </a:lnTo>
                        <a:lnTo>
                          <a:pt x="1480" y="201"/>
                        </a:lnTo>
                        <a:lnTo>
                          <a:pt x="1482" y="205"/>
                        </a:lnTo>
                        <a:lnTo>
                          <a:pt x="1487" y="210"/>
                        </a:lnTo>
                        <a:lnTo>
                          <a:pt x="1489" y="218"/>
                        </a:lnTo>
                        <a:lnTo>
                          <a:pt x="1490" y="220"/>
                        </a:lnTo>
                        <a:lnTo>
                          <a:pt x="1490" y="216"/>
                        </a:lnTo>
                        <a:lnTo>
                          <a:pt x="1495" y="213"/>
                        </a:lnTo>
                        <a:lnTo>
                          <a:pt x="1497" y="211"/>
                        </a:lnTo>
                        <a:lnTo>
                          <a:pt x="1500" y="208"/>
                        </a:lnTo>
                        <a:lnTo>
                          <a:pt x="1497" y="208"/>
                        </a:lnTo>
                        <a:lnTo>
                          <a:pt x="1494" y="210"/>
                        </a:lnTo>
                        <a:lnTo>
                          <a:pt x="1490" y="208"/>
                        </a:lnTo>
                        <a:lnTo>
                          <a:pt x="1487" y="203"/>
                        </a:lnTo>
                        <a:lnTo>
                          <a:pt x="1494" y="198"/>
                        </a:lnTo>
                        <a:lnTo>
                          <a:pt x="1499" y="195"/>
                        </a:lnTo>
                        <a:lnTo>
                          <a:pt x="1500" y="191"/>
                        </a:lnTo>
                        <a:lnTo>
                          <a:pt x="1504" y="191"/>
                        </a:lnTo>
                        <a:lnTo>
                          <a:pt x="1505" y="188"/>
                        </a:lnTo>
                        <a:lnTo>
                          <a:pt x="1515" y="186"/>
                        </a:lnTo>
                        <a:lnTo>
                          <a:pt x="1532" y="183"/>
                        </a:lnTo>
                        <a:lnTo>
                          <a:pt x="1552" y="183"/>
                        </a:lnTo>
                        <a:lnTo>
                          <a:pt x="1567" y="176"/>
                        </a:lnTo>
                        <a:lnTo>
                          <a:pt x="1573" y="176"/>
                        </a:lnTo>
                        <a:lnTo>
                          <a:pt x="1580" y="178"/>
                        </a:lnTo>
                        <a:lnTo>
                          <a:pt x="1580" y="181"/>
                        </a:lnTo>
                        <a:lnTo>
                          <a:pt x="1578" y="183"/>
                        </a:lnTo>
                        <a:lnTo>
                          <a:pt x="1575" y="188"/>
                        </a:lnTo>
                        <a:lnTo>
                          <a:pt x="1577" y="196"/>
                        </a:lnTo>
                        <a:lnTo>
                          <a:pt x="1583" y="201"/>
                        </a:lnTo>
                        <a:lnTo>
                          <a:pt x="1605" y="201"/>
                        </a:lnTo>
                        <a:lnTo>
                          <a:pt x="1610" y="203"/>
                        </a:lnTo>
                        <a:lnTo>
                          <a:pt x="1612" y="201"/>
                        </a:lnTo>
                        <a:lnTo>
                          <a:pt x="1618" y="203"/>
                        </a:lnTo>
                        <a:lnTo>
                          <a:pt x="1625" y="205"/>
                        </a:lnTo>
                        <a:lnTo>
                          <a:pt x="1640" y="201"/>
                        </a:lnTo>
                        <a:lnTo>
                          <a:pt x="1650" y="196"/>
                        </a:lnTo>
                        <a:lnTo>
                          <a:pt x="1655" y="198"/>
                        </a:lnTo>
                        <a:lnTo>
                          <a:pt x="1660" y="198"/>
                        </a:lnTo>
                        <a:lnTo>
                          <a:pt x="1661" y="193"/>
                        </a:lnTo>
                        <a:lnTo>
                          <a:pt x="1660" y="190"/>
                        </a:lnTo>
                        <a:lnTo>
                          <a:pt x="1665" y="190"/>
                        </a:lnTo>
                        <a:lnTo>
                          <a:pt x="1670" y="190"/>
                        </a:lnTo>
                        <a:lnTo>
                          <a:pt x="1675" y="188"/>
                        </a:lnTo>
                        <a:lnTo>
                          <a:pt x="1676" y="191"/>
                        </a:lnTo>
                        <a:lnTo>
                          <a:pt x="1680" y="193"/>
                        </a:lnTo>
                        <a:lnTo>
                          <a:pt x="1683" y="188"/>
                        </a:lnTo>
                        <a:lnTo>
                          <a:pt x="1681" y="185"/>
                        </a:lnTo>
                        <a:lnTo>
                          <a:pt x="1676" y="181"/>
                        </a:lnTo>
                        <a:lnTo>
                          <a:pt x="1678" y="176"/>
                        </a:lnTo>
                        <a:lnTo>
                          <a:pt x="1675" y="173"/>
                        </a:lnTo>
                        <a:lnTo>
                          <a:pt x="1670" y="173"/>
                        </a:lnTo>
                        <a:lnTo>
                          <a:pt x="1670" y="167"/>
                        </a:lnTo>
                        <a:lnTo>
                          <a:pt x="1666" y="167"/>
                        </a:lnTo>
                        <a:lnTo>
                          <a:pt x="1665" y="162"/>
                        </a:lnTo>
                        <a:lnTo>
                          <a:pt x="1661" y="158"/>
                        </a:lnTo>
                        <a:lnTo>
                          <a:pt x="1661" y="153"/>
                        </a:lnTo>
                        <a:lnTo>
                          <a:pt x="1663" y="148"/>
                        </a:lnTo>
                        <a:lnTo>
                          <a:pt x="1665" y="152"/>
                        </a:lnTo>
                        <a:lnTo>
                          <a:pt x="1666" y="153"/>
                        </a:lnTo>
                        <a:lnTo>
                          <a:pt x="1673" y="148"/>
                        </a:lnTo>
                        <a:lnTo>
                          <a:pt x="1671" y="147"/>
                        </a:lnTo>
                        <a:lnTo>
                          <a:pt x="1670" y="143"/>
                        </a:lnTo>
                        <a:lnTo>
                          <a:pt x="1673" y="143"/>
                        </a:lnTo>
                        <a:lnTo>
                          <a:pt x="1680" y="147"/>
                        </a:lnTo>
                        <a:lnTo>
                          <a:pt x="1683" y="145"/>
                        </a:lnTo>
                        <a:lnTo>
                          <a:pt x="1683" y="142"/>
                        </a:lnTo>
                        <a:lnTo>
                          <a:pt x="1685" y="143"/>
                        </a:lnTo>
                        <a:lnTo>
                          <a:pt x="1691" y="143"/>
                        </a:lnTo>
                        <a:lnTo>
                          <a:pt x="1695" y="143"/>
                        </a:lnTo>
                        <a:lnTo>
                          <a:pt x="1696" y="140"/>
                        </a:lnTo>
                        <a:lnTo>
                          <a:pt x="1701" y="145"/>
                        </a:lnTo>
                        <a:lnTo>
                          <a:pt x="1705" y="145"/>
                        </a:lnTo>
                        <a:lnTo>
                          <a:pt x="1708" y="150"/>
                        </a:lnTo>
                        <a:lnTo>
                          <a:pt x="1711" y="147"/>
                        </a:lnTo>
                        <a:lnTo>
                          <a:pt x="1711" y="143"/>
                        </a:lnTo>
                        <a:lnTo>
                          <a:pt x="1715" y="143"/>
                        </a:lnTo>
                        <a:lnTo>
                          <a:pt x="1718" y="148"/>
                        </a:lnTo>
                        <a:lnTo>
                          <a:pt x="1715" y="150"/>
                        </a:lnTo>
                        <a:lnTo>
                          <a:pt x="1713" y="155"/>
                        </a:lnTo>
                        <a:lnTo>
                          <a:pt x="1715" y="155"/>
                        </a:lnTo>
                        <a:lnTo>
                          <a:pt x="1720" y="155"/>
                        </a:lnTo>
                        <a:lnTo>
                          <a:pt x="1721" y="155"/>
                        </a:lnTo>
                        <a:lnTo>
                          <a:pt x="1721" y="152"/>
                        </a:lnTo>
                        <a:lnTo>
                          <a:pt x="1723" y="150"/>
                        </a:lnTo>
                        <a:lnTo>
                          <a:pt x="1726" y="152"/>
                        </a:lnTo>
                        <a:lnTo>
                          <a:pt x="1725" y="147"/>
                        </a:lnTo>
                        <a:lnTo>
                          <a:pt x="1723" y="145"/>
                        </a:lnTo>
                        <a:lnTo>
                          <a:pt x="1723" y="143"/>
                        </a:lnTo>
                        <a:lnTo>
                          <a:pt x="1728" y="143"/>
                        </a:lnTo>
                        <a:lnTo>
                          <a:pt x="1735" y="142"/>
                        </a:lnTo>
                        <a:lnTo>
                          <a:pt x="1738" y="143"/>
                        </a:lnTo>
                        <a:lnTo>
                          <a:pt x="1741" y="142"/>
                        </a:lnTo>
                        <a:lnTo>
                          <a:pt x="1746" y="142"/>
                        </a:lnTo>
                        <a:lnTo>
                          <a:pt x="1748" y="145"/>
                        </a:lnTo>
                        <a:lnTo>
                          <a:pt x="1748" y="150"/>
                        </a:lnTo>
                        <a:lnTo>
                          <a:pt x="1750" y="148"/>
                        </a:lnTo>
                        <a:lnTo>
                          <a:pt x="1753" y="148"/>
                        </a:lnTo>
                        <a:lnTo>
                          <a:pt x="1756" y="143"/>
                        </a:lnTo>
                        <a:lnTo>
                          <a:pt x="1758" y="150"/>
                        </a:lnTo>
                        <a:lnTo>
                          <a:pt x="1761" y="150"/>
                        </a:lnTo>
                        <a:lnTo>
                          <a:pt x="1766" y="147"/>
                        </a:lnTo>
                        <a:lnTo>
                          <a:pt x="1769" y="150"/>
                        </a:lnTo>
                        <a:lnTo>
                          <a:pt x="1771" y="158"/>
                        </a:lnTo>
                        <a:lnTo>
                          <a:pt x="1774" y="153"/>
                        </a:lnTo>
                        <a:lnTo>
                          <a:pt x="1778" y="152"/>
                        </a:lnTo>
                        <a:lnTo>
                          <a:pt x="1779" y="153"/>
                        </a:lnTo>
                        <a:lnTo>
                          <a:pt x="1778" y="160"/>
                        </a:lnTo>
                        <a:lnTo>
                          <a:pt x="1781" y="162"/>
                        </a:lnTo>
                        <a:lnTo>
                          <a:pt x="1783" y="163"/>
                        </a:lnTo>
                        <a:lnTo>
                          <a:pt x="1788" y="163"/>
                        </a:lnTo>
                        <a:lnTo>
                          <a:pt x="1788" y="168"/>
                        </a:lnTo>
                        <a:lnTo>
                          <a:pt x="1791" y="167"/>
                        </a:lnTo>
                        <a:lnTo>
                          <a:pt x="1793" y="167"/>
                        </a:lnTo>
                        <a:lnTo>
                          <a:pt x="1794" y="170"/>
                        </a:lnTo>
                        <a:lnTo>
                          <a:pt x="1789" y="175"/>
                        </a:lnTo>
                        <a:lnTo>
                          <a:pt x="1791" y="180"/>
                        </a:lnTo>
                        <a:lnTo>
                          <a:pt x="1798" y="173"/>
                        </a:lnTo>
                        <a:lnTo>
                          <a:pt x="1801" y="173"/>
                        </a:lnTo>
                        <a:lnTo>
                          <a:pt x="1803" y="176"/>
                        </a:lnTo>
                        <a:lnTo>
                          <a:pt x="1793" y="185"/>
                        </a:lnTo>
                        <a:lnTo>
                          <a:pt x="1794" y="190"/>
                        </a:lnTo>
                        <a:lnTo>
                          <a:pt x="1801" y="191"/>
                        </a:lnTo>
                        <a:lnTo>
                          <a:pt x="1803" y="188"/>
                        </a:lnTo>
                        <a:lnTo>
                          <a:pt x="1806" y="186"/>
                        </a:lnTo>
                        <a:lnTo>
                          <a:pt x="1809" y="188"/>
                        </a:lnTo>
                        <a:lnTo>
                          <a:pt x="1811" y="191"/>
                        </a:lnTo>
                        <a:lnTo>
                          <a:pt x="1814" y="190"/>
                        </a:lnTo>
                        <a:lnTo>
                          <a:pt x="1819" y="195"/>
                        </a:lnTo>
                        <a:lnTo>
                          <a:pt x="1818" y="201"/>
                        </a:lnTo>
                        <a:lnTo>
                          <a:pt x="1823" y="201"/>
                        </a:lnTo>
                        <a:lnTo>
                          <a:pt x="1823" y="205"/>
                        </a:lnTo>
                        <a:lnTo>
                          <a:pt x="1828" y="203"/>
                        </a:lnTo>
                        <a:lnTo>
                          <a:pt x="1828" y="206"/>
                        </a:lnTo>
                        <a:lnTo>
                          <a:pt x="1824" y="213"/>
                        </a:lnTo>
                        <a:lnTo>
                          <a:pt x="1818" y="215"/>
                        </a:lnTo>
                        <a:lnTo>
                          <a:pt x="1814" y="213"/>
                        </a:lnTo>
                        <a:lnTo>
                          <a:pt x="1804" y="210"/>
                        </a:lnTo>
                        <a:lnTo>
                          <a:pt x="1794" y="210"/>
                        </a:lnTo>
                        <a:lnTo>
                          <a:pt x="1798" y="213"/>
                        </a:lnTo>
                        <a:lnTo>
                          <a:pt x="1799" y="218"/>
                        </a:lnTo>
                        <a:lnTo>
                          <a:pt x="1809" y="218"/>
                        </a:lnTo>
                        <a:lnTo>
                          <a:pt x="1811" y="221"/>
                        </a:lnTo>
                        <a:lnTo>
                          <a:pt x="1821" y="228"/>
                        </a:lnTo>
                        <a:lnTo>
                          <a:pt x="1829" y="230"/>
                        </a:lnTo>
                        <a:lnTo>
                          <a:pt x="1834" y="226"/>
                        </a:lnTo>
                        <a:lnTo>
                          <a:pt x="1836" y="221"/>
                        </a:lnTo>
                        <a:lnTo>
                          <a:pt x="1831" y="218"/>
                        </a:lnTo>
                        <a:lnTo>
                          <a:pt x="1829" y="215"/>
                        </a:lnTo>
                        <a:lnTo>
                          <a:pt x="1831" y="215"/>
                        </a:lnTo>
                        <a:lnTo>
                          <a:pt x="1836" y="220"/>
                        </a:lnTo>
                        <a:lnTo>
                          <a:pt x="1843" y="223"/>
                        </a:lnTo>
                        <a:lnTo>
                          <a:pt x="1844" y="225"/>
                        </a:lnTo>
                        <a:lnTo>
                          <a:pt x="1841" y="225"/>
                        </a:lnTo>
                        <a:lnTo>
                          <a:pt x="1831" y="233"/>
                        </a:lnTo>
                        <a:lnTo>
                          <a:pt x="1834" y="235"/>
                        </a:lnTo>
                        <a:lnTo>
                          <a:pt x="1838" y="235"/>
                        </a:lnTo>
                        <a:lnTo>
                          <a:pt x="1841" y="233"/>
                        </a:lnTo>
                        <a:lnTo>
                          <a:pt x="1844" y="233"/>
                        </a:lnTo>
                        <a:lnTo>
                          <a:pt x="1859" y="246"/>
                        </a:lnTo>
                        <a:lnTo>
                          <a:pt x="1864" y="248"/>
                        </a:lnTo>
                        <a:lnTo>
                          <a:pt x="1869" y="253"/>
                        </a:lnTo>
                        <a:lnTo>
                          <a:pt x="1881" y="255"/>
                        </a:lnTo>
                        <a:lnTo>
                          <a:pt x="1887" y="261"/>
                        </a:lnTo>
                        <a:lnTo>
                          <a:pt x="1894" y="263"/>
                        </a:lnTo>
                        <a:lnTo>
                          <a:pt x="1896" y="261"/>
                        </a:lnTo>
                        <a:lnTo>
                          <a:pt x="1894" y="258"/>
                        </a:lnTo>
                        <a:lnTo>
                          <a:pt x="1897" y="256"/>
                        </a:lnTo>
                        <a:lnTo>
                          <a:pt x="1901" y="260"/>
                        </a:lnTo>
                        <a:lnTo>
                          <a:pt x="1902" y="263"/>
                        </a:lnTo>
                        <a:lnTo>
                          <a:pt x="1906" y="268"/>
                        </a:lnTo>
                        <a:lnTo>
                          <a:pt x="1907" y="268"/>
                        </a:lnTo>
                        <a:lnTo>
                          <a:pt x="1909" y="263"/>
                        </a:lnTo>
                        <a:lnTo>
                          <a:pt x="1904" y="240"/>
                        </a:lnTo>
                        <a:lnTo>
                          <a:pt x="1899" y="228"/>
                        </a:lnTo>
                        <a:lnTo>
                          <a:pt x="1892" y="216"/>
                        </a:lnTo>
                        <a:lnTo>
                          <a:pt x="1891" y="205"/>
                        </a:lnTo>
                        <a:lnTo>
                          <a:pt x="1887" y="196"/>
                        </a:lnTo>
                        <a:lnTo>
                          <a:pt x="1887" y="193"/>
                        </a:lnTo>
                        <a:lnTo>
                          <a:pt x="1891" y="195"/>
                        </a:lnTo>
                        <a:lnTo>
                          <a:pt x="1894" y="201"/>
                        </a:lnTo>
                        <a:lnTo>
                          <a:pt x="1899" y="206"/>
                        </a:lnTo>
                        <a:lnTo>
                          <a:pt x="1906" y="208"/>
                        </a:lnTo>
                        <a:lnTo>
                          <a:pt x="1911" y="213"/>
                        </a:lnTo>
                        <a:lnTo>
                          <a:pt x="1919" y="213"/>
                        </a:lnTo>
                        <a:lnTo>
                          <a:pt x="1939" y="211"/>
                        </a:lnTo>
                        <a:lnTo>
                          <a:pt x="1942" y="213"/>
                        </a:lnTo>
                        <a:lnTo>
                          <a:pt x="1946" y="211"/>
                        </a:lnTo>
                        <a:lnTo>
                          <a:pt x="1951" y="215"/>
                        </a:lnTo>
                        <a:lnTo>
                          <a:pt x="1952" y="213"/>
                        </a:lnTo>
                        <a:lnTo>
                          <a:pt x="1949" y="208"/>
                        </a:lnTo>
                        <a:lnTo>
                          <a:pt x="1949" y="206"/>
                        </a:lnTo>
                        <a:lnTo>
                          <a:pt x="1946" y="203"/>
                        </a:lnTo>
                        <a:lnTo>
                          <a:pt x="1947" y="201"/>
                        </a:lnTo>
                        <a:lnTo>
                          <a:pt x="1949" y="196"/>
                        </a:lnTo>
                        <a:lnTo>
                          <a:pt x="1965" y="190"/>
                        </a:lnTo>
                        <a:lnTo>
                          <a:pt x="1967" y="191"/>
                        </a:lnTo>
                        <a:lnTo>
                          <a:pt x="1970" y="191"/>
                        </a:lnTo>
                        <a:lnTo>
                          <a:pt x="1977" y="193"/>
                        </a:lnTo>
                        <a:lnTo>
                          <a:pt x="1984" y="193"/>
                        </a:lnTo>
                        <a:lnTo>
                          <a:pt x="1990" y="198"/>
                        </a:lnTo>
                        <a:lnTo>
                          <a:pt x="1995" y="200"/>
                        </a:lnTo>
                        <a:lnTo>
                          <a:pt x="1999" y="205"/>
                        </a:lnTo>
                        <a:lnTo>
                          <a:pt x="2007" y="205"/>
                        </a:lnTo>
                        <a:lnTo>
                          <a:pt x="2009" y="210"/>
                        </a:lnTo>
                        <a:lnTo>
                          <a:pt x="2020" y="210"/>
                        </a:lnTo>
                        <a:lnTo>
                          <a:pt x="2014" y="206"/>
                        </a:lnTo>
                        <a:lnTo>
                          <a:pt x="2012" y="203"/>
                        </a:lnTo>
                        <a:lnTo>
                          <a:pt x="2019" y="205"/>
                        </a:lnTo>
                        <a:lnTo>
                          <a:pt x="2024" y="201"/>
                        </a:lnTo>
                        <a:lnTo>
                          <a:pt x="2019" y="200"/>
                        </a:lnTo>
                        <a:lnTo>
                          <a:pt x="2022" y="196"/>
                        </a:lnTo>
                        <a:lnTo>
                          <a:pt x="2019" y="193"/>
                        </a:lnTo>
                        <a:lnTo>
                          <a:pt x="2012" y="196"/>
                        </a:lnTo>
                        <a:lnTo>
                          <a:pt x="2007" y="195"/>
                        </a:lnTo>
                        <a:lnTo>
                          <a:pt x="2005" y="188"/>
                        </a:lnTo>
                        <a:lnTo>
                          <a:pt x="2004" y="183"/>
                        </a:lnTo>
                        <a:lnTo>
                          <a:pt x="2007" y="180"/>
                        </a:lnTo>
                        <a:lnTo>
                          <a:pt x="2009" y="183"/>
                        </a:lnTo>
                        <a:lnTo>
                          <a:pt x="2014" y="180"/>
                        </a:lnTo>
                        <a:lnTo>
                          <a:pt x="2010" y="176"/>
                        </a:lnTo>
                        <a:lnTo>
                          <a:pt x="2015" y="175"/>
                        </a:lnTo>
                        <a:lnTo>
                          <a:pt x="2022" y="180"/>
                        </a:lnTo>
                        <a:lnTo>
                          <a:pt x="2024" y="185"/>
                        </a:lnTo>
                        <a:lnTo>
                          <a:pt x="2027" y="185"/>
                        </a:lnTo>
                        <a:lnTo>
                          <a:pt x="2030" y="186"/>
                        </a:lnTo>
                        <a:lnTo>
                          <a:pt x="2034" y="185"/>
                        </a:lnTo>
                        <a:lnTo>
                          <a:pt x="2032" y="180"/>
                        </a:lnTo>
                        <a:lnTo>
                          <a:pt x="2037" y="178"/>
                        </a:lnTo>
                        <a:lnTo>
                          <a:pt x="2040" y="180"/>
                        </a:lnTo>
                        <a:lnTo>
                          <a:pt x="2042" y="176"/>
                        </a:lnTo>
                        <a:lnTo>
                          <a:pt x="2034" y="168"/>
                        </a:lnTo>
                        <a:lnTo>
                          <a:pt x="2029" y="168"/>
                        </a:lnTo>
                        <a:lnTo>
                          <a:pt x="2022" y="163"/>
                        </a:lnTo>
                        <a:lnTo>
                          <a:pt x="2024" y="158"/>
                        </a:lnTo>
                        <a:lnTo>
                          <a:pt x="2020" y="155"/>
                        </a:lnTo>
                        <a:lnTo>
                          <a:pt x="2015" y="157"/>
                        </a:lnTo>
                        <a:lnTo>
                          <a:pt x="2010" y="155"/>
                        </a:lnTo>
                        <a:lnTo>
                          <a:pt x="2017" y="152"/>
                        </a:lnTo>
                        <a:lnTo>
                          <a:pt x="2014" y="148"/>
                        </a:lnTo>
                        <a:lnTo>
                          <a:pt x="2015" y="147"/>
                        </a:lnTo>
                        <a:lnTo>
                          <a:pt x="2012" y="142"/>
                        </a:lnTo>
                        <a:lnTo>
                          <a:pt x="2020" y="142"/>
                        </a:lnTo>
                        <a:lnTo>
                          <a:pt x="2022" y="133"/>
                        </a:lnTo>
                        <a:lnTo>
                          <a:pt x="2012" y="137"/>
                        </a:lnTo>
                        <a:lnTo>
                          <a:pt x="2007" y="140"/>
                        </a:lnTo>
                        <a:lnTo>
                          <a:pt x="2007" y="145"/>
                        </a:lnTo>
                        <a:lnTo>
                          <a:pt x="1997" y="143"/>
                        </a:lnTo>
                        <a:lnTo>
                          <a:pt x="1992" y="135"/>
                        </a:lnTo>
                        <a:lnTo>
                          <a:pt x="1995" y="130"/>
                        </a:lnTo>
                        <a:lnTo>
                          <a:pt x="1997" y="125"/>
                        </a:lnTo>
                        <a:lnTo>
                          <a:pt x="2005" y="122"/>
                        </a:lnTo>
                        <a:lnTo>
                          <a:pt x="2010" y="122"/>
                        </a:lnTo>
                        <a:lnTo>
                          <a:pt x="2019" y="115"/>
                        </a:lnTo>
                        <a:lnTo>
                          <a:pt x="2019" y="112"/>
                        </a:lnTo>
                        <a:lnTo>
                          <a:pt x="2014" y="107"/>
                        </a:lnTo>
                        <a:lnTo>
                          <a:pt x="2009" y="107"/>
                        </a:lnTo>
                        <a:lnTo>
                          <a:pt x="2005" y="105"/>
                        </a:lnTo>
                        <a:lnTo>
                          <a:pt x="1997" y="105"/>
                        </a:lnTo>
                        <a:lnTo>
                          <a:pt x="1990" y="100"/>
                        </a:lnTo>
                        <a:lnTo>
                          <a:pt x="1999" y="97"/>
                        </a:lnTo>
                        <a:lnTo>
                          <a:pt x="2007" y="97"/>
                        </a:lnTo>
                        <a:lnTo>
                          <a:pt x="2019" y="100"/>
                        </a:lnTo>
                        <a:lnTo>
                          <a:pt x="2029" y="98"/>
                        </a:lnTo>
                        <a:lnTo>
                          <a:pt x="2045" y="98"/>
                        </a:lnTo>
                        <a:lnTo>
                          <a:pt x="2073" y="97"/>
                        </a:lnTo>
                        <a:lnTo>
                          <a:pt x="2077" y="93"/>
                        </a:lnTo>
                        <a:lnTo>
                          <a:pt x="2098" y="93"/>
                        </a:lnTo>
                        <a:lnTo>
                          <a:pt x="2107" y="95"/>
                        </a:lnTo>
                        <a:lnTo>
                          <a:pt x="2115" y="93"/>
                        </a:lnTo>
                        <a:lnTo>
                          <a:pt x="2127" y="93"/>
                        </a:lnTo>
                        <a:lnTo>
                          <a:pt x="2120" y="95"/>
                        </a:lnTo>
                        <a:lnTo>
                          <a:pt x="2103" y="102"/>
                        </a:lnTo>
                        <a:lnTo>
                          <a:pt x="2098" y="100"/>
                        </a:lnTo>
                        <a:lnTo>
                          <a:pt x="2095" y="100"/>
                        </a:lnTo>
                        <a:lnTo>
                          <a:pt x="2090" y="98"/>
                        </a:lnTo>
                        <a:lnTo>
                          <a:pt x="2088" y="108"/>
                        </a:lnTo>
                        <a:lnTo>
                          <a:pt x="2092" y="113"/>
                        </a:lnTo>
                        <a:lnTo>
                          <a:pt x="2088" y="115"/>
                        </a:lnTo>
                        <a:lnTo>
                          <a:pt x="2087" y="118"/>
                        </a:lnTo>
                        <a:lnTo>
                          <a:pt x="2092" y="120"/>
                        </a:lnTo>
                        <a:lnTo>
                          <a:pt x="2100" y="115"/>
                        </a:lnTo>
                        <a:lnTo>
                          <a:pt x="2100" y="112"/>
                        </a:lnTo>
                        <a:lnTo>
                          <a:pt x="2112" y="103"/>
                        </a:lnTo>
                        <a:lnTo>
                          <a:pt x="2128" y="97"/>
                        </a:lnTo>
                        <a:lnTo>
                          <a:pt x="2132" y="105"/>
                        </a:lnTo>
                        <a:lnTo>
                          <a:pt x="2132" y="117"/>
                        </a:lnTo>
                        <a:lnTo>
                          <a:pt x="2130" y="118"/>
                        </a:lnTo>
                        <a:lnTo>
                          <a:pt x="2127" y="112"/>
                        </a:lnTo>
                        <a:lnTo>
                          <a:pt x="2123" y="108"/>
                        </a:lnTo>
                        <a:lnTo>
                          <a:pt x="2122" y="103"/>
                        </a:lnTo>
                        <a:lnTo>
                          <a:pt x="2117" y="107"/>
                        </a:lnTo>
                        <a:lnTo>
                          <a:pt x="2115" y="107"/>
                        </a:lnTo>
                        <a:lnTo>
                          <a:pt x="2117" y="113"/>
                        </a:lnTo>
                        <a:lnTo>
                          <a:pt x="2122" y="115"/>
                        </a:lnTo>
                        <a:lnTo>
                          <a:pt x="2123" y="125"/>
                        </a:lnTo>
                        <a:lnTo>
                          <a:pt x="2120" y="132"/>
                        </a:lnTo>
                        <a:lnTo>
                          <a:pt x="2117" y="130"/>
                        </a:lnTo>
                        <a:lnTo>
                          <a:pt x="2113" y="133"/>
                        </a:lnTo>
                        <a:lnTo>
                          <a:pt x="2120" y="137"/>
                        </a:lnTo>
                        <a:lnTo>
                          <a:pt x="2120" y="140"/>
                        </a:lnTo>
                        <a:lnTo>
                          <a:pt x="2122" y="142"/>
                        </a:lnTo>
                        <a:lnTo>
                          <a:pt x="2125" y="142"/>
                        </a:lnTo>
                        <a:lnTo>
                          <a:pt x="2132" y="137"/>
                        </a:lnTo>
                        <a:lnTo>
                          <a:pt x="2132" y="132"/>
                        </a:lnTo>
                        <a:lnTo>
                          <a:pt x="2137" y="125"/>
                        </a:lnTo>
                        <a:lnTo>
                          <a:pt x="2135" y="120"/>
                        </a:lnTo>
                        <a:lnTo>
                          <a:pt x="2135" y="115"/>
                        </a:lnTo>
                        <a:lnTo>
                          <a:pt x="2133" y="92"/>
                        </a:lnTo>
                        <a:lnTo>
                          <a:pt x="2142" y="87"/>
                        </a:lnTo>
                        <a:lnTo>
                          <a:pt x="2155" y="83"/>
                        </a:lnTo>
                        <a:lnTo>
                          <a:pt x="2168" y="80"/>
                        </a:lnTo>
                        <a:lnTo>
                          <a:pt x="2181" y="82"/>
                        </a:lnTo>
                        <a:lnTo>
                          <a:pt x="2198" y="87"/>
                        </a:lnTo>
                        <a:lnTo>
                          <a:pt x="2206" y="97"/>
                        </a:lnTo>
                        <a:lnTo>
                          <a:pt x="2205" y="102"/>
                        </a:lnTo>
                        <a:lnTo>
                          <a:pt x="2201" y="105"/>
                        </a:lnTo>
                        <a:lnTo>
                          <a:pt x="2191" y="98"/>
                        </a:lnTo>
                        <a:lnTo>
                          <a:pt x="2191" y="100"/>
                        </a:lnTo>
                        <a:lnTo>
                          <a:pt x="2193" y="103"/>
                        </a:lnTo>
                        <a:lnTo>
                          <a:pt x="2193" y="108"/>
                        </a:lnTo>
                        <a:lnTo>
                          <a:pt x="2193" y="113"/>
                        </a:lnTo>
                        <a:lnTo>
                          <a:pt x="2190" y="115"/>
                        </a:lnTo>
                        <a:lnTo>
                          <a:pt x="2193" y="117"/>
                        </a:lnTo>
                        <a:lnTo>
                          <a:pt x="2198" y="113"/>
                        </a:lnTo>
                        <a:lnTo>
                          <a:pt x="2206" y="113"/>
                        </a:lnTo>
                        <a:lnTo>
                          <a:pt x="2211" y="108"/>
                        </a:lnTo>
                        <a:lnTo>
                          <a:pt x="2213" y="115"/>
                        </a:lnTo>
                        <a:lnTo>
                          <a:pt x="2216" y="120"/>
                        </a:lnTo>
                        <a:lnTo>
                          <a:pt x="2216" y="125"/>
                        </a:lnTo>
                        <a:lnTo>
                          <a:pt x="2220" y="128"/>
                        </a:lnTo>
                        <a:lnTo>
                          <a:pt x="2223" y="123"/>
                        </a:lnTo>
                        <a:lnTo>
                          <a:pt x="2223" y="120"/>
                        </a:lnTo>
                        <a:lnTo>
                          <a:pt x="2228" y="115"/>
                        </a:lnTo>
                        <a:lnTo>
                          <a:pt x="2235" y="118"/>
                        </a:lnTo>
                        <a:lnTo>
                          <a:pt x="2236" y="123"/>
                        </a:lnTo>
                        <a:lnTo>
                          <a:pt x="2235" y="127"/>
                        </a:lnTo>
                        <a:lnTo>
                          <a:pt x="2233" y="133"/>
                        </a:lnTo>
                        <a:lnTo>
                          <a:pt x="2233" y="135"/>
                        </a:lnTo>
                        <a:lnTo>
                          <a:pt x="2238" y="133"/>
                        </a:lnTo>
                        <a:lnTo>
                          <a:pt x="2240" y="128"/>
                        </a:lnTo>
                        <a:lnTo>
                          <a:pt x="2243" y="127"/>
                        </a:lnTo>
                        <a:lnTo>
                          <a:pt x="2245" y="130"/>
                        </a:lnTo>
                        <a:lnTo>
                          <a:pt x="2245" y="125"/>
                        </a:lnTo>
                        <a:lnTo>
                          <a:pt x="2250" y="117"/>
                        </a:lnTo>
                        <a:lnTo>
                          <a:pt x="2251" y="115"/>
                        </a:lnTo>
                        <a:lnTo>
                          <a:pt x="2254" y="117"/>
                        </a:lnTo>
                        <a:lnTo>
                          <a:pt x="2266" y="123"/>
                        </a:lnTo>
                        <a:lnTo>
                          <a:pt x="2278" y="127"/>
                        </a:lnTo>
                        <a:lnTo>
                          <a:pt x="2284" y="133"/>
                        </a:lnTo>
                        <a:lnTo>
                          <a:pt x="2284" y="137"/>
                        </a:lnTo>
                        <a:lnTo>
                          <a:pt x="2276" y="142"/>
                        </a:lnTo>
                        <a:lnTo>
                          <a:pt x="2271" y="147"/>
                        </a:lnTo>
                        <a:lnTo>
                          <a:pt x="2278" y="143"/>
                        </a:lnTo>
                        <a:lnTo>
                          <a:pt x="2288" y="142"/>
                        </a:lnTo>
                        <a:lnTo>
                          <a:pt x="2294" y="143"/>
                        </a:lnTo>
                        <a:lnTo>
                          <a:pt x="2303" y="142"/>
                        </a:lnTo>
                        <a:lnTo>
                          <a:pt x="2309" y="137"/>
                        </a:lnTo>
                        <a:lnTo>
                          <a:pt x="2314" y="135"/>
                        </a:lnTo>
                        <a:lnTo>
                          <a:pt x="2324" y="127"/>
                        </a:lnTo>
                        <a:lnTo>
                          <a:pt x="2329" y="125"/>
                        </a:lnTo>
                        <a:lnTo>
                          <a:pt x="2336" y="118"/>
                        </a:lnTo>
                        <a:lnTo>
                          <a:pt x="2343" y="117"/>
                        </a:lnTo>
                        <a:lnTo>
                          <a:pt x="2361" y="108"/>
                        </a:lnTo>
                        <a:lnTo>
                          <a:pt x="2371" y="105"/>
                        </a:lnTo>
                        <a:lnTo>
                          <a:pt x="2376" y="107"/>
                        </a:lnTo>
                        <a:lnTo>
                          <a:pt x="2376" y="105"/>
                        </a:lnTo>
                        <a:lnTo>
                          <a:pt x="2386" y="98"/>
                        </a:lnTo>
                        <a:lnTo>
                          <a:pt x="2392" y="98"/>
                        </a:lnTo>
                        <a:lnTo>
                          <a:pt x="2404" y="98"/>
                        </a:lnTo>
                        <a:lnTo>
                          <a:pt x="2429" y="105"/>
                        </a:lnTo>
                        <a:lnTo>
                          <a:pt x="2439" y="115"/>
                        </a:lnTo>
                        <a:lnTo>
                          <a:pt x="2449" y="120"/>
                        </a:lnTo>
                        <a:lnTo>
                          <a:pt x="2457" y="128"/>
                        </a:lnTo>
                        <a:lnTo>
                          <a:pt x="2462" y="137"/>
                        </a:lnTo>
                        <a:lnTo>
                          <a:pt x="2462" y="140"/>
                        </a:lnTo>
                        <a:lnTo>
                          <a:pt x="2464" y="143"/>
                        </a:lnTo>
                        <a:lnTo>
                          <a:pt x="2464" y="150"/>
                        </a:lnTo>
                        <a:lnTo>
                          <a:pt x="2469" y="158"/>
                        </a:lnTo>
                        <a:lnTo>
                          <a:pt x="2469" y="162"/>
                        </a:lnTo>
                        <a:lnTo>
                          <a:pt x="2465" y="167"/>
                        </a:lnTo>
                        <a:lnTo>
                          <a:pt x="2472" y="165"/>
                        </a:lnTo>
                        <a:lnTo>
                          <a:pt x="2477" y="160"/>
                        </a:lnTo>
                        <a:lnTo>
                          <a:pt x="2484" y="160"/>
                        </a:lnTo>
                        <a:lnTo>
                          <a:pt x="2487" y="162"/>
                        </a:lnTo>
                        <a:lnTo>
                          <a:pt x="2487" y="158"/>
                        </a:lnTo>
                        <a:lnTo>
                          <a:pt x="2494" y="158"/>
                        </a:lnTo>
                        <a:lnTo>
                          <a:pt x="2499" y="162"/>
                        </a:lnTo>
                        <a:lnTo>
                          <a:pt x="2502" y="167"/>
                        </a:lnTo>
                        <a:lnTo>
                          <a:pt x="2502" y="162"/>
                        </a:lnTo>
                        <a:lnTo>
                          <a:pt x="2500" y="155"/>
                        </a:lnTo>
                        <a:lnTo>
                          <a:pt x="2505" y="155"/>
                        </a:lnTo>
                        <a:lnTo>
                          <a:pt x="2509" y="160"/>
                        </a:lnTo>
                        <a:lnTo>
                          <a:pt x="2517" y="168"/>
                        </a:lnTo>
                        <a:lnTo>
                          <a:pt x="2519" y="175"/>
                        </a:lnTo>
                        <a:lnTo>
                          <a:pt x="2522" y="175"/>
                        </a:lnTo>
                        <a:lnTo>
                          <a:pt x="2530" y="183"/>
                        </a:lnTo>
                        <a:lnTo>
                          <a:pt x="2529" y="181"/>
                        </a:lnTo>
                        <a:lnTo>
                          <a:pt x="2527" y="175"/>
                        </a:lnTo>
                        <a:lnTo>
                          <a:pt x="2522" y="172"/>
                        </a:lnTo>
                        <a:lnTo>
                          <a:pt x="2522" y="168"/>
                        </a:lnTo>
                        <a:lnTo>
                          <a:pt x="2527" y="172"/>
                        </a:lnTo>
                        <a:lnTo>
                          <a:pt x="2530" y="170"/>
                        </a:lnTo>
                        <a:lnTo>
                          <a:pt x="2535" y="175"/>
                        </a:lnTo>
                        <a:lnTo>
                          <a:pt x="2542" y="183"/>
                        </a:lnTo>
                        <a:lnTo>
                          <a:pt x="2540" y="176"/>
                        </a:lnTo>
                        <a:lnTo>
                          <a:pt x="2532" y="165"/>
                        </a:lnTo>
                        <a:lnTo>
                          <a:pt x="2532" y="155"/>
                        </a:lnTo>
                        <a:lnTo>
                          <a:pt x="2532" y="147"/>
                        </a:lnTo>
                        <a:lnTo>
                          <a:pt x="2539" y="140"/>
                        </a:lnTo>
                        <a:lnTo>
                          <a:pt x="2547" y="140"/>
                        </a:lnTo>
                        <a:lnTo>
                          <a:pt x="2552" y="137"/>
                        </a:lnTo>
                        <a:lnTo>
                          <a:pt x="2560" y="133"/>
                        </a:lnTo>
                        <a:lnTo>
                          <a:pt x="2560" y="130"/>
                        </a:lnTo>
                        <a:lnTo>
                          <a:pt x="2562" y="128"/>
                        </a:lnTo>
                        <a:lnTo>
                          <a:pt x="2565" y="128"/>
                        </a:lnTo>
                        <a:lnTo>
                          <a:pt x="2570" y="132"/>
                        </a:lnTo>
                        <a:lnTo>
                          <a:pt x="2573" y="133"/>
                        </a:lnTo>
                        <a:lnTo>
                          <a:pt x="2580" y="132"/>
                        </a:lnTo>
                        <a:lnTo>
                          <a:pt x="2587" y="128"/>
                        </a:lnTo>
                        <a:lnTo>
                          <a:pt x="2590" y="128"/>
                        </a:lnTo>
                        <a:lnTo>
                          <a:pt x="2600" y="127"/>
                        </a:lnTo>
                        <a:lnTo>
                          <a:pt x="2610" y="127"/>
                        </a:lnTo>
                        <a:lnTo>
                          <a:pt x="2613" y="123"/>
                        </a:lnTo>
                        <a:lnTo>
                          <a:pt x="2617" y="123"/>
                        </a:lnTo>
                        <a:lnTo>
                          <a:pt x="2617" y="127"/>
                        </a:lnTo>
                        <a:lnTo>
                          <a:pt x="2620" y="130"/>
                        </a:lnTo>
                        <a:lnTo>
                          <a:pt x="2622" y="125"/>
                        </a:lnTo>
                        <a:lnTo>
                          <a:pt x="2628" y="118"/>
                        </a:lnTo>
                        <a:lnTo>
                          <a:pt x="2627" y="115"/>
                        </a:lnTo>
                        <a:lnTo>
                          <a:pt x="2627" y="108"/>
                        </a:lnTo>
                        <a:lnTo>
                          <a:pt x="2627" y="103"/>
                        </a:lnTo>
                        <a:lnTo>
                          <a:pt x="2630" y="102"/>
                        </a:lnTo>
                        <a:lnTo>
                          <a:pt x="2638" y="103"/>
                        </a:lnTo>
                        <a:lnTo>
                          <a:pt x="2640" y="108"/>
                        </a:lnTo>
                        <a:lnTo>
                          <a:pt x="2642" y="112"/>
                        </a:lnTo>
                        <a:lnTo>
                          <a:pt x="2648" y="112"/>
                        </a:lnTo>
                        <a:lnTo>
                          <a:pt x="2651" y="115"/>
                        </a:lnTo>
                        <a:lnTo>
                          <a:pt x="2651" y="120"/>
                        </a:lnTo>
                        <a:lnTo>
                          <a:pt x="2658" y="127"/>
                        </a:lnTo>
                        <a:lnTo>
                          <a:pt x="2661" y="128"/>
                        </a:lnTo>
                        <a:lnTo>
                          <a:pt x="2670" y="128"/>
                        </a:lnTo>
                        <a:lnTo>
                          <a:pt x="2681" y="130"/>
                        </a:lnTo>
                        <a:lnTo>
                          <a:pt x="2683" y="128"/>
                        </a:lnTo>
                        <a:lnTo>
                          <a:pt x="2686" y="130"/>
                        </a:lnTo>
                        <a:lnTo>
                          <a:pt x="2695" y="140"/>
                        </a:lnTo>
                        <a:lnTo>
                          <a:pt x="2695" y="145"/>
                        </a:lnTo>
                        <a:lnTo>
                          <a:pt x="2698" y="147"/>
                        </a:lnTo>
                        <a:lnTo>
                          <a:pt x="2705" y="148"/>
                        </a:lnTo>
                        <a:lnTo>
                          <a:pt x="2710" y="145"/>
                        </a:lnTo>
                        <a:lnTo>
                          <a:pt x="2715" y="145"/>
                        </a:lnTo>
                        <a:lnTo>
                          <a:pt x="2715" y="142"/>
                        </a:lnTo>
                        <a:lnTo>
                          <a:pt x="2720" y="138"/>
                        </a:lnTo>
                        <a:lnTo>
                          <a:pt x="2723" y="138"/>
                        </a:lnTo>
                        <a:lnTo>
                          <a:pt x="2726" y="137"/>
                        </a:lnTo>
                        <a:lnTo>
                          <a:pt x="2723" y="133"/>
                        </a:lnTo>
                        <a:lnTo>
                          <a:pt x="2725" y="132"/>
                        </a:lnTo>
                        <a:lnTo>
                          <a:pt x="2723" y="128"/>
                        </a:lnTo>
                        <a:lnTo>
                          <a:pt x="2723" y="125"/>
                        </a:lnTo>
                        <a:lnTo>
                          <a:pt x="2718" y="120"/>
                        </a:lnTo>
                        <a:lnTo>
                          <a:pt x="2711" y="118"/>
                        </a:lnTo>
                        <a:lnTo>
                          <a:pt x="2710" y="112"/>
                        </a:lnTo>
                        <a:lnTo>
                          <a:pt x="2701" y="103"/>
                        </a:lnTo>
                        <a:lnTo>
                          <a:pt x="2698" y="102"/>
                        </a:lnTo>
                        <a:lnTo>
                          <a:pt x="2696" y="98"/>
                        </a:lnTo>
                        <a:lnTo>
                          <a:pt x="2686" y="95"/>
                        </a:lnTo>
                        <a:lnTo>
                          <a:pt x="2683" y="98"/>
                        </a:lnTo>
                        <a:lnTo>
                          <a:pt x="2680" y="98"/>
                        </a:lnTo>
                        <a:lnTo>
                          <a:pt x="2680" y="93"/>
                        </a:lnTo>
                        <a:lnTo>
                          <a:pt x="2681" y="90"/>
                        </a:lnTo>
                        <a:lnTo>
                          <a:pt x="2678" y="83"/>
                        </a:lnTo>
                        <a:lnTo>
                          <a:pt x="2676" y="80"/>
                        </a:lnTo>
                        <a:lnTo>
                          <a:pt x="2673" y="77"/>
                        </a:lnTo>
                        <a:lnTo>
                          <a:pt x="2670" y="70"/>
                        </a:lnTo>
                        <a:lnTo>
                          <a:pt x="2663" y="65"/>
                        </a:lnTo>
                        <a:lnTo>
                          <a:pt x="2665" y="65"/>
                        </a:lnTo>
                        <a:lnTo>
                          <a:pt x="2676" y="64"/>
                        </a:lnTo>
                        <a:lnTo>
                          <a:pt x="2680" y="65"/>
                        </a:lnTo>
                        <a:lnTo>
                          <a:pt x="2691" y="64"/>
                        </a:lnTo>
                        <a:lnTo>
                          <a:pt x="2703" y="64"/>
                        </a:lnTo>
                        <a:lnTo>
                          <a:pt x="2703" y="60"/>
                        </a:lnTo>
                        <a:lnTo>
                          <a:pt x="2710" y="59"/>
                        </a:lnTo>
                        <a:lnTo>
                          <a:pt x="2716" y="62"/>
                        </a:lnTo>
                        <a:lnTo>
                          <a:pt x="2720" y="60"/>
                        </a:lnTo>
                        <a:lnTo>
                          <a:pt x="2723" y="62"/>
                        </a:lnTo>
                        <a:lnTo>
                          <a:pt x="2723" y="57"/>
                        </a:lnTo>
                        <a:lnTo>
                          <a:pt x="2730" y="57"/>
                        </a:lnTo>
                        <a:lnTo>
                          <a:pt x="2731" y="60"/>
                        </a:lnTo>
                        <a:lnTo>
                          <a:pt x="2733" y="59"/>
                        </a:lnTo>
                        <a:lnTo>
                          <a:pt x="2736" y="55"/>
                        </a:lnTo>
                        <a:lnTo>
                          <a:pt x="2741" y="55"/>
                        </a:lnTo>
                        <a:lnTo>
                          <a:pt x="2741" y="52"/>
                        </a:lnTo>
                        <a:lnTo>
                          <a:pt x="2761" y="47"/>
                        </a:lnTo>
                        <a:lnTo>
                          <a:pt x="2763" y="52"/>
                        </a:lnTo>
                        <a:lnTo>
                          <a:pt x="2764" y="47"/>
                        </a:lnTo>
                        <a:lnTo>
                          <a:pt x="2766" y="44"/>
                        </a:lnTo>
                        <a:lnTo>
                          <a:pt x="2769" y="45"/>
                        </a:lnTo>
                        <a:lnTo>
                          <a:pt x="2776" y="44"/>
                        </a:lnTo>
                        <a:lnTo>
                          <a:pt x="2779" y="44"/>
                        </a:lnTo>
                        <a:lnTo>
                          <a:pt x="2783" y="47"/>
                        </a:lnTo>
                        <a:lnTo>
                          <a:pt x="2793" y="47"/>
                        </a:lnTo>
                        <a:lnTo>
                          <a:pt x="2796" y="45"/>
                        </a:lnTo>
                        <a:lnTo>
                          <a:pt x="2799" y="49"/>
                        </a:lnTo>
                        <a:lnTo>
                          <a:pt x="2803" y="50"/>
                        </a:lnTo>
                        <a:lnTo>
                          <a:pt x="2804" y="47"/>
                        </a:lnTo>
                        <a:lnTo>
                          <a:pt x="2813" y="45"/>
                        </a:lnTo>
                        <a:lnTo>
                          <a:pt x="2828" y="50"/>
                        </a:lnTo>
                        <a:lnTo>
                          <a:pt x="2834" y="52"/>
                        </a:lnTo>
                        <a:lnTo>
                          <a:pt x="2838" y="52"/>
                        </a:lnTo>
                        <a:lnTo>
                          <a:pt x="2836" y="50"/>
                        </a:lnTo>
                        <a:lnTo>
                          <a:pt x="2841" y="49"/>
                        </a:lnTo>
                        <a:lnTo>
                          <a:pt x="2844" y="52"/>
                        </a:lnTo>
                        <a:lnTo>
                          <a:pt x="2841" y="54"/>
                        </a:lnTo>
                        <a:lnTo>
                          <a:pt x="2844" y="55"/>
                        </a:lnTo>
                        <a:lnTo>
                          <a:pt x="2851" y="54"/>
                        </a:lnTo>
                        <a:lnTo>
                          <a:pt x="2867" y="55"/>
                        </a:lnTo>
                        <a:lnTo>
                          <a:pt x="2882" y="64"/>
                        </a:lnTo>
                        <a:lnTo>
                          <a:pt x="2881" y="65"/>
                        </a:lnTo>
                        <a:lnTo>
                          <a:pt x="2877" y="64"/>
                        </a:lnTo>
                        <a:lnTo>
                          <a:pt x="2869" y="60"/>
                        </a:lnTo>
                        <a:lnTo>
                          <a:pt x="2867" y="62"/>
                        </a:lnTo>
                        <a:lnTo>
                          <a:pt x="2882" y="67"/>
                        </a:lnTo>
                        <a:lnTo>
                          <a:pt x="2889" y="67"/>
                        </a:lnTo>
                        <a:lnTo>
                          <a:pt x="2891" y="64"/>
                        </a:lnTo>
                        <a:lnTo>
                          <a:pt x="2897" y="64"/>
                        </a:lnTo>
                        <a:lnTo>
                          <a:pt x="2904" y="64"/>
                        </a:lnTo>
                        <a:lnTo>
                          <a:pt x="2902" y="60"/>
                        </a:lnTo>
                        <a:lnTo>
                          <a:pt x="2906" y="59"/>
                        </a:lnTo>
                        <a:lnTo>
                          <a:pt x="2911" y="62"/>
                        </a:lnTo>
                        <a:lnTo>
                          <a:pt x="2916" y="64"/>
                        </a:lnTo>
                        <a:lnTo>
                          <a:pt x="2917" y="65"/>
                        </a:lnTo>
                        <a:lnTo>
                          <a:pt x="2917" y="62"/>
                        </a:lnTo>
                        <a:lnTo>
                          <a:pt x="2919" y="62"/>
                        </a:lnTo>
                        <a:lnTo>
                          <a:pt x="2926" y="64"/>
                        </a:lnTo>
                        <a:lnTo>
                          <a:pt x="2926" y="65"/>
                        </a:lnTo>
                        <a:lnTo>
                          <a:pt x="2934" y="69"/>
                        </a:lnTo>
                        <a:lnTo>
                          <a:pt x="2939" y="67"/>
                        </a:lnTo>
                        <a:lnTo>
                          <a:pt x="2960" y="70"/>
                        </a:lnTo>
                        <a:lnTo>
                          <a:pt x="2957" y="67"/>
                        </a:lnTo>
                        <a:lnTo>
                          <a:pt x="2965" y="67"/>
                        </a:lnTo>
                        <a:lnTo>
                          <a:pt x="2967" y="70"/>
                        </a:lnTo>
                        <a:lnTo>
                          <a:pt x="2970" y="72"/>
                        </a:lnTo>
                        <a:lnTo>
                          <a:pt x="2970" y="67"/>
                        </a:lnTo>
                        <a:lnTo>
                          <a:pt x="2972" y="67"/>
                        </a:lnTo>
                        <a:lnTo>
                          <a:pt x="2980" y="69"/>
                        </a:lnTo>
                        <a:lnTo>
                          <a:pt x="2979" y="70"/>
                        </a:lnTo>
                        <a:lnTo>
                          <a:pt x="2982" y="74"/>
                        </a:lnTo>
                        <a:lnTo>
                          <a:pt x="2989" y="72"/>
                        </a:lnTo>
                        <a:lnTo>
                          <a:pt x="2989" y="70"/>
                        </a:lnTo>
                        <a:lnTo>
                          <a:pt x="2987" y="69"/>
                        </a:lnTo>
                        <a:lnTo>
                          <a:pt x="2994" y="69"/>
                        </a:lnTo>
                        <a:lnTo>
                          <a:pt x="2997" y="70"/>
                        </a:lnTo>
                        <a:lnTo>
                          <a:pt x="2995" y="74"/>
                        </a:lnTo>
                        <a:lnTo>
                          <a:pt x="3000" y="78"/>
                        </a:lnTo>
                        <a:lnTo>
                          <a:pt x="3009" y="80"/>
                        </a:lnTo>
                        <a:lnTo>
                          <a:pt x="3015" y="78"/>
                        </a:lnTo>
                        <a:lnTo>
                          <a:pt x="3005" y="75"/>
                        </a:lnTo>
                        <a:lnTo>
                          <a:pt x="3002" y="74"/>
                        </a:lnTo>
                        <a:lnTo>
                          <a:pt x="3000" y="70"/>
                        </a:lnTo>
                        <a:lnTo>
                          <a:pt x="3005" y="70"/>
                        </a:lnTo>
                        <a:lnTo>
                          <a:pt x="3010" y="70"/>
                        </a:lnTo>
                        <a:lnTo>
                          <a:pt x="3020" y="75"/>
                        </a:lnTo>
                        <a:lnTo>
                          <a:pt x="3024" y="80"/>
                        </a:lnTo>
                        <a:lnTo>
                          <a:pt x="3025" y="82"/>
                        </a:lnTo>
                        <a:lnTo>
                          <a:pt x="3027" y="77"/>
                        </a:lnTo>
                        <a:lnTo>
                          <a:pt x="3025" y="75"/>
                        </a:lnTo>
                        <a:lnTo>
                          <a:pt x="3029" y="77"/>
                        </a:lnTo>
                        <a:lnTo>
                          <a:pt x="3032" y="78"/>
                        </a:lnTo>
                        <a:lnTo>
                          <a:pt x="3032" y="80"/>
                        </a:lnTo>
                        <a:lnTo>
                          <a:pt x="3037" y="87"/>
                        </a:lnTo>
                        <a:lnTo>
                          <a:pt x="3044" y="98"/>
                        </a:lnTo>
                        <a:lnTo>
                          <a:pt x="3052" y="102"/>
                        </a:lnTo>
                        <a:lnTo>
                          <a:pt x="3053" y="105"/>
                        </a:lnTo>
                        <a:lnTo>
                          <a:pt x="3058" y="110"/>
                        </a:lnTo>
                        <a:lnTo>
                          <a:pt x="3060" y="113"/>
                        </a:lnTo>
                        <a:lnTo>
                          <a:pt x="3058" y="117"/>
                        </a:lnTo>
                        <a:lnTo>
                          <a:pt x="3060" y="120"/>
                        </a:lnTo>
                        <a:lnTo>
                          <a:pt x="3063" y="122"/>
                        </a:lnTo>
                        <a:lnTo>
                          <a:pt x="3068" y="118"/>
                        </a:lnTo>
                        <a:lnTo>
                          <a:pt x="3075" y="118"/>
                        </a:lnTo>
                        <a:lnTo>
                          <a:pt x="3078" y="125"/>
                        </a:lnTo>
                        <a:lnTo>
                          <a:pt x="3083" y="127"/>
                        </a:lnTo>
                        <a:lnTo>
                          <a:pt x="3083" y="125"/>
                        </a:lnTo>
                        <a:lnTo>
                          <a:pt x="3082" y="123"/>
                        </a:lnTo>
                        <a:lnTo>
                          <a:pt x="3080" y="120"/>
                        </a:lnTo>
                        <a:lnTo>
                          <a:pt x="3083" y="115"/>
                        </a:lnTo>
                        <a:lnTo>
                          <a:pt x="3087" y="117"/>
                        </a:lnTo>
                        <a:lnTo>
                          <a:pt x="3088" y="122"/>
                        </a:lnTo>
                        <a:lnTo>
                          <a:pt x="3093" y="127"/>
                        </a:lnTo>
                        <a:lnTo>
                          <a:pt x="3093" y="125"/>
                        </a:lnTo>
                        <a:lnTo>
                          <a:pt x="3090" y="118"/>
                        </a:lnTo>
                        <a:lnTo>
                          <a:pt x="3090" y="113"/>
                        </a:lnTo>
                        <a:lnTo>
                          <a:pt x="3087" y="110"/>
                        </a:lnTo>
                        <a:lnTo>
                          <a:pt x="3080" y="113"/>
                        </a:lnTo>
                        <a:lnTo>
                          <a:pt x="3073" y="113"/>
                        </a:lnTo>
                        <a:lnTo>
                          <a:pt x="3073" y="110"/>
                        </a:lnTo>
                        <a:lnTo>
                          <a:pt x="3077" y="107"/>
                        </a:lnTo>
                        <a:lnTo>
                          <a:pt x="3075" y="102"/>
                        </a:lnTo>
                        <a:lnTo>
                          <a:pt x="3065" y="97"/>
                        </a:lnTo>
                        <a:lnTo>
                          <a:pt x="3062" y="93"/>
                        </a:lnTo>
                        <a:lnTo>
                          <a:pt x="3058" y="88"/>
                        </a:lnTo>
                        <a:lnTo>
                          <a:pt x="3055" y="88"/>
                        </a:lnTo>
                        <a:lnTo>
                          <a:pt x="3050" y="93"/>
                        </a:lnTo>
                        <a:lnTo>
                          <a:pt x="3048" y="90"/>
                        </a:lnTo>
                        <a:lnTo>
                          <a:pt x="3053" y="87"/>
                        </a:lnTo>
                        <a:lnTo>
                          <a:pt x="3057" y="80"/>
                        </a:lnTo>
                        <a:lnTo>
                          <a:pt x="3063" y="72"/>
                        </a:lnTo>
                        <a:lnTo>
                          <a:pt x="3067" y="72"/>
                        </a:lnTo>
                        <a:lnTo>
                          <a:pt x="3067" y="74"/>
                        </a:lnTo>
                        <a:lnTo>
                          <a:pt x="3070" y="82"/>
                        </a:lnTo>
                        <a:lnTo>
                          <a:pt x="3075" y="83"/>
                        </a:lnTo>
                        <a:lnTo>
                          <a:pt x="3077" y="82"/>
                        </a:lnTo>
                        <a:lnTo>
                          <a:pt x="3072" y="78"/>
                        </a:lnTo>
                        <a:lnTo>
                          <a:pt x="3070" y="75"/>
                        </a:lnTo>
                        <a:lnTo>
                          <a:pt x="3072" y="74"/>
                        </a:lnTo>
                        <a:lnTo>
                          <a:pt x="3078" y="70"/>
                        </a:lnTo>
                        <a:lnTo>
                          <a:pt x="3080" y="69"/>
                        </a:lnTo>
                        <a:lnTo>
                          <a:pt x="3073" y="69"/>
                        </a:lnTo>
                        <a:lnTo>
                          <a:pt x="3077" y="65"/>
                        </a:lnTo>
                        <a:lnTo>
                          <a:pt x="3078" y="65"/>
                        </a:lnTo>
                        <a:lnTo>
                          <a:pt x="3083" y="64"/>
                        </a:lnTo>
                        <a:lnTo>
                          <a:pt x="3087" y="57"/>
                        </a:lnTo>
                        <a:lnTo>
                          <a:pt x="3092" y="59"/>
                        </a:lnTo>
                        <a:lnTo>
                          <a:pt x="3093" y="60"/>
                        </a:lnTo>
                        <a:lnTo>
                          <a:pt x="3097" y="60"/>
                        </a:lnTo>
                        <a:lnTo>
                          <a:pt x="3100" y="60"/>
                        </a:lnTo>
                        <a:lnTo>
                          <a:pt x="3102" y="64"/>
                        </a:lnTo>
                        <a:lnTo>
                          <a:pt x="3105" y="67"/>
                        </a:lnTo>
                        <a:lnTo>
                          <a:pt x="3112" y="67"/>
                        </a:lnTo>
                        <a:lnTo>
                          <a:pt x="3115" y="65"/>
                        </a:lnTo>
                        <a:lnTo>
                          <a:pt x="3130" y="69"/>
                        </a:lnTo>
                        <a:lnTo>
                          <a:pt x="3130" y="74"/>
                        </a:lnTo>
                        <a:lnTo>
                          <a:pt x="3130" y="75"/>
                        </a:lnTo>
                        <a:lnTo>
                          <a:pt x="3133" y="74"/>
                        </a:lnTo>
                        <a:lnTo>
                          <a:pt x="3133" y="70"/>
                        </a:lnTo>
                        <a:lnTo>
                          <a:pt x="3138" y="72"/>
                        </a:lnTo>
                        <a:lnTo>
                          <a:pt x="3138" y="77"/>
                        </a:lnTo>
                        <a:lnTo>
                          <a:pt x="3143" y="74"/>
                        </a:lnTo>
                        <a:lnTo>
                          <a:pt x="3146" y="69"/>
                        </a:lnTo>
                        <a:lnTo>
                          <a:pt x="3151" y="70"/>
                        </a:lnTo>
                        <a:lnTo>
                          <a:pt x="3151" y="74"/>
                        </a:lnTo>
                        <a:lnTo>
                          <a:pt x="3148" y="77"/>
                        </a:lnTo>
                        <a:lnTo>
                          <a:pt x="3148" y="80"/>
                        </a:lnTo>
                        <a:lnTo>
                          <a:pt x="3151" y="92"/>
                        </a:lnTo>
                        <a:lnTo>
                          <a:pt x="3150" y="97"/>
                        </a:lnTo>
                        <a:lnTo>
                          <a:pt x="3151" y="100"/>
                        </a:lnTo>
                        <a:lnTo>
                          <a:pt x="3155" y="98"/>
                        </a:lnTo>
                        <a:lnTo>
                          <a:pt x="3158" y="103"/>
                        </a:lnTo>
                        <a:lnTo>
                          <a:pt x="3163" y="105"/>
                        </a:lnTo>
                        <a:lnTo>
                          <a:pt x="3165" y="110"/>
                        </a:lnTo>
                        <a:lnTo>
                          <a:pt x="3163" y="113"/>
                        </a:lnTo>
                        <a:lnTo>
                          <a:pt x="3155" y="113"/>
                        </a:lnTo>
                        <a:lnTo>
                          <a:pt x="3146" y="113"/>
                        </a:lnTo>
                        <a:lnTo>
                          <a:pt x="3158" y="117"/>
                        </a:lnTo>
                        <a:lnTo>
                          <a:pt x="3161" y="120"/>
                        </a:lnTo>
                        <a:lnTo>
                          <a:pt x="3160" y="123"/>
                        </a:lnTo>
                        <a:lnTo>
                          <a:pt x="3155" y="125"/>
                        </a:lnTo>
                        <a:lnTo>
                          <a:pt x="3150" y="132"/>
                        </a:lnTo>
                        <a:lnTo>
                          <a:pt x="3148" y="130"/>
                        </a:lnTo>
                        <a:lnTo>
                          <a:pt x="3142" y="135"/>
                        </a:lnTo>
                        <a:lnTo>
                          <a:pt x="3135" y="133"/>
                        </a:lnTo>
                        <a:lnTo>
                          <a:pt x="3130" y="138"/>
                        </a:lnTo>
                        <a:lnTo>
                          <a:pt x="3138" y="137"/>
                        </a:lnTo>
                        <a:lnTo>
                          <a:pt x="3142" y="138"/>
                        </a:lnTo>
                        <a:lnTo>
                          <a:pt x="3143" y="142"/>
                        </a:lnTo>
                        <a:lnTo>
                          <a:pt x="3146" y="138"/>
                        </a:lnTo>
                        <a:lnTo>
                          <a:pt x="3150" y="138"/>
                        </a:lnTo>
                        <a:lnTo>
                          <a:pt x="3150" y="143"/>
                        </a:lnTo>
                        <a:lnTo>
                          <a:pt x="3155" y="148"/>
                        </a:lnTo>
                        <a:lnTo>
                          <a:pt x="3150" y="150"/>
                        </a:lnTo>
                        <a:lnTo>
                          <a:pt x="3150" y="158"/>
                        </a:lnTo>
                        <a:lnTo>
                          <a:pt x="3155" y="152"/>
                        </a:lnTo>
                        <a:lnTo>
                          <a:pt x="3161" y="152"/>
                        </a:lnTo>
                        <a:lnTo>
                          <a:pt x="3168" y="157"/>
                        </a:lnTo>
                        <a:lnTo>
                          <a:pt x="3166" y="160"/>
                        </a:lnTo>
                        <a:lnTo>
                          <a:pt x="3171" y="165"/>
                        </a:lnTo>
                        <a:lnTo>
                          <a:pt x="3165" y="168"/>
                        </a:lnTo>
                        <a:lnTo>
                          <a:pt x="3168" y="170"/>
                        </a:lnTo>
                        <a:lnTo>
                          <a:pt x="3170" y="176"/>
                        </a:lnTo>
                        <a:lnTo>
                          <a:pt x="3163" y="178"/>
                        </a:lnTo>
                        <a:lnTo>
                          <a:pt x="3163" y="181"/>
                        </a:lnTo>
                        <a:lnTo>
                          <a:pt x="3165" y="185"/>
                        </a:lnTo>
                        <a:lnTo>
                          <a:pt x="3166" y="181"/>
                        </a:lnTo>
                        <a:lnTo>
                          <a:pt x="3170" y="180"/>
                        </a:lnTo>
                        <a:lnTo>
                          <a:pt x="3173" y="183"/>
                        </a:lnTo>
                        <a:lnTo>
                          <a:pt x="3171" y="190"/>
                        </a:lnTo>
                        <a:lnTo>
                          <a:pt x="3178" y="188"/>
                        </a:lnTo>
                        <a:lnTo>
                          <a:pt x="3180" y="191"/>
                        </a:lnTo>
                        <a:lnTo>
                          <a:pt x="3180" y="188"/>
                        </a:lnTo>
                        <a:lnTo>
                          <a:pt x="3183" y="185"/>
                        </a:lnTo>
                        <a:lnTo>
                          <a:pt x="3186" y="186"/>
                        </a:lnTo>
                        <a:lnTo>
                          <a:pt x="3191" y="188"/>
                        </a:lnTo>
                        <a:lnTo>
                          <a:pt x="3191" y="193"/>
                        </a:lnTo>
                        <a:lnTo>
                          <a:pt x="3188" y="195"/>
                        </a:lnTo>
                        <a:lnTo>
                          <a:pt x="3183" y="191"/>
                        </a:lnTo>
                        <a:lnTo>
                          <a:pt x="3180" y="196"/>
                        </a:lnTo>
                        <a:lnTo>
                          <a:pt x="3185" y="198"/>
                        </a:lnTo>
                        <a:lnTo>
                          <a:pt x="3190" y="198"/>
                        </a:lnTo>
                        <a:lnTo>
                          <a:pt x="3193" y="205"/>
                        </a:lnTo>
                        <a:lnTo>
                          <a:pt x="3193" y="206"/>
                        </a:lnTo>
                        <a:lnTo>
                          <a:pt x="3186" y="210"/>
                        </a:lnTo>
                        <a:lnTo>
                          <a:pt x="3180" y="203"/>
                        </a:lnTo>
                        <a:lnTo>
                          <a:pt x="3178" y="201"/>
                        </a:lnTo>
                        <a:lnTo>
                          <a:pt x="3181" y="210"/>
                        </a:lnTo>
                        <a:lnTo>
                          <a:pt x="3178" y="213"/>
                        </a:lnTo>
                        <a:lnTo>
                          <a:pt x="3175" y="213"/>
                        </a:lnTo>
                        <a:lnTo>
                          <a:pt x="3175" y="211"/>
                        </a:lnTo>
                        <a:lnTo>
                          <a:pt x="3170" y="211"/>
                        </a:lnTo>
                        <a:lnTo>
                          <a:pt x="3166" y="210"/>
                        </a:lnTo>
                        <a:lnTo>
                          <a:pt x="3156" y="208"/>
                        </a:lnTo>
                        <a:lnTo>
                          <a:pt x="3151" y="211"/>
                        </a:lnTo>
                        <a:lnTo>
                          <a:pt x="3146" y="211"/>
                        </a:lnTo>
                        <a:lnTo>
                          <a:pt x="3148" y="208"/>
                        </a:lnTo>
                        <a:lnTo>
                          <a:pt x="3146" y="205"/>
                        </a:lnTo>
                        <a:lnTo>
                          <a:pt x="3143" y="205"/>
                        </a:lnTo>
                        <a:lnTo>
                          <a:pt x="3143" y="210"/>
                        </a:lnTo>
                        <a:lnTo>
                          <a:pt x="3142" y="210"/>
                        </a:lnTo>
                        <a:lnTo>
                          <a:pt x="3140" y="211"/>
                        </a:lnTo>
                        <a:lnTo>
                          <a:pt x="3142" y="215"/>
                        </a:lnTo>
                        <a:lnTo>
                          <a:pt x="3138" y="218"/>
                        </a:lnTo>
                        <a:lnTo>
                          <a:pt x="3137" y="218"/>
                        </a:lnTo>
                        <a:lnTo>
                          <a:pt x="3137" y="216"/>
                        </a:lnTo>
                        <a:lnTo>
                          <a:pt x="3135" y="215"/>
                        </a:lnTo>
                        <a:lnTo>
                          <a:pt x="3125" y="218"/>
                        </a:lnTo>
                        <a:lnTo>
                          <a:pt x="3122" y="216"/>
                        </a:lnTo>
                        <a:lnTo>
                          <a:pt x="3123" y="213"/>
                        </a:lnTo>
                        <a:lnTo>
                          <a:pt x="3122" y="208"/>
                        </a:lnTo>
                        <a:lnTo>
                          <a:pt x="3118" y="206"/>
                        </a:lnTo>
                        <a:lnTo>
                          <a:pt x="3107" y="200"/>
                        </a:lnTo>
                        <a:lnTo>
                          <a:pt x="3107" y="198"/>
                        </a:lnTo>
                        <a:lnTo>
                          <a:pt x="3107" y="196"/>
                        </a:lnTo>
                        <a:lnTo>
                          <a:pt x="3098" y="193"/>
                        </a:lnTo>
                        <a:lnTo>
                          <a:pt x="3098" y="198"/>
                        </a:lnTo>
                        <a:lnTo>
                          <a:pt x="3090" y="200"/>
                        </a:lnTo>
                        <a:lnTo>
                          <a:pt x="3085" y="205"/>
                        </a:lnTo>
                        <a:lnTo>
                          <a:pt x="3083" y="205"/>
                        </a:lnTo>
                        <a:lnTo>
                          <a:pt x="3082" y="198"/>
                        </a:lnTo>
                        <a:lnTo>
                          <a:pt x="3080" y="195"/>
                        </a:lnTo>
                        <a:lnTo>
                          <a:pt x="3080" y="198"/>
                        </a:lnTo>
                        <a:lnTo>
                          <a:pt x="3080" y="208"/>
                        </a:lnTo>
                        <a:lnTo>
                          <a:pt x="3082" y="213"/>
                        </a:lnTo>
                        <a:lnTo>
                          <a:pt x="3080" y="218"/>
                        </a:lnTo>
                        <a:lnTo>
                          <a:pt x="3072" y="230"/>
                        </a:lnTo>
                        <a:lnTo>
                          <a:pt x="3067" y="228"/>
                        </a:lnTo>
                        <a:lnTo>
                          <a:pt x="3067" y="221"/>
                        </a:lnTo>
                        <a:lnTo>
                          <a:pt x="3062" y="220"/>
                        </a:lnTo>
                        <a:lnTo>
                          <a:pt x="3057" y="221"/>
                        </a:lnTo>
                        <a:lnTo>
                          <a:pt x="3045" y="213"/>
                        </a:lnTo>
                        <a:lnTo>
                          <a:pt x="3045" y="210"/>
                        </a:lnTo>
                        <a:lnTo>
                          <a:pt x="3044" y="200"/>
                        </a:lnTo>
                        <a:lnTo>
                          <a:pt x="3040" y="198"/>
                        </a:lnTo>
                        <a:lnTo>
                          <a:pt x="3039" y="195"/>
                        </a:lnTo>
                        <a:lnTo>
                          <a:pt x="3035" y="191"/>
                        </a:lnTo>
                        <a:lnTo>
                          <a:pt x="3034" y="195"/>
                        </a:lnTo>
                        <a:lnTo>
                          <a:pt x="3035" y="198"/>
                        </a:lnTo>
                        <a:lnTo>
                          <a:pt x="3034" y="201"/>
                        </a:lnTo>
                        <a:lnTo>
                          <a:pt x="3037" y="205"/>
                        </a:lnTo>
                        <a:lnTo>
                          <a:pt x="3035" y="208"/>
                        </a:lnTo>
                        <a:lnTo>
                          <a:pt x="3029" y="203"/>
                        </a:lnTo>
                        <a:lnTo>
                          <a:pt x="3024" y="198"/>
                        </a:lnTo>
                        <a:lnTo>
                          <a:pt x="3022" y="198"/>
                        </a:lnTo>
                        <a:lnTo>
                          <a:pt x="3025" y="203"/>
                        </a:lnTo>
                        <a:lnTo>
                          <a:pt x="3022" y="206"/>
                        </a:lnTo>
                        <a:lnTo>
                          <a:pt x="3024" y="208"/>
                        </a:lnTo>
                        <a:lnTo>
                          <a:pt x="3030" y="208"/>
                        </a:lnTo>
                        <a:lnTo>
                          <a:pt x="3032" y="211"/>
                        </a:lnTo>
                        <a:lnTo>
                          <a:pt x="3030" y="216"/>
                        </a:lnTo>
                        <a:lnTo>
                          <a:pt x="3024" y="216"/>
                        </a:lnTo>
                        <a:lnTo>
                          <a:pt x="3024" y="220"/>
                        </a:lnTo>
                        <a:lnTo>
                          <a:pt x="3025" y="221"/>
                        </a:lnTo>
                        <a:lnTo>
                          <a:pt x="3040" y="235"/>
                        </a:lnTo>
                        <a:lnTo>
                          <a:pt x="3048" y="238"/>
                        </a:lnTo>
                        <a:lnTo>
                          <a:pt x="3055" y="235"/>
                        </a:lnTo>
                        <a:lnTo>
                          <a:pt x="3060" y="238"/>
                        </a:lnTo>
                        <a:lnTo>
                          <a:pt x="3063" y="245"/>
                        </a:lnTo>
                        <a:lnTo>
                          <a:pt x="3062" y="245"/>
                        </a:lnTo>
                        <a:lnTo>
                          <a:pt x="3057" y="240"/>
                        </a:lnTo>
                        <a:lnTo>
                          <a:pt x="3055" y="240"/>
                        </a:lnTo>
                        <a:lnTo>
                          <a:pt x="3058" y="246"/>
                        </a:lnTo>
                        <a:lnTo>
                          <a:pt x="3065" y="250"/>
                        </a:lnTo>
                        <a:lnTo>
                          <a:pt x="3067" y="256"/>
                        </a:lnTo>
                        <a:lnTo>
                          <a:pt x="3072" y="261"/>
                        </a:lnTo>
                        <a:lnTo>
                          <a:pt x="3072" y="270"/>
                        </a:lnTo>
                        <a:lnTo>
                          <a:pt x="3067" y="284"/>
                        </a:lnTo>
                        <a:lnTo>
                          <a:pt x="3070" y="293"/>
                        </a:lnTo>
                        <a:lnTo>
                          <a:pt x="3070" y="299"/>
                        </a:lnTo>
                        <a:lnTo>
                          <a:pt x="3072" y="301"/>
                        </a:lnTo>
                        <a:lnTo>
                          <a:pt x="3065" y="309"/>
                        </a:lnTo>
                        <a:lnTo>
                          <a:pt x="3065" y="316"/>
                        </a:lnTo>
                        <a:lnTo>
                          <a:pt x="3062" y="318"/>
                        </a:lnTo>
                        <a:lnTo>
                          <a:pt x="3062" y="314"/>
                        </a:lnTo>
                        <a:lnTo>
                          <a:pt x="3062" y="313"/>
                        </a:lnTo>
                        <a:lnTo>
                          <a:pt x="3050" y="319"/>
                        </a:lnTo>
                        <a:lnTo>
                          <a:pt x="3047" y="318"/>
                        </a:lnTo>
                        <a:lnTo>
                          <a:pt x="3042" y="319"/>
                        </a:lnTo>
                        <a:lnTo>
                          <a:pt x="3039" y="319"/>
                        </a:lnTo>
                        <a:lnTo>
                          <a:pt x="3035" y="316"/>
                        </a:lnTo>
                        <a:lnTo>
                          <a:pt x="3030" y="314"/>
                        </a:lnTo>
                        <a:lnTo>
                          <a:pt x="3024" y="308"/>
                        </a:lnTo>
                        <a:lnTo>
                          <a:pt x="3019" y="304"/>
                        </a:lnTo>
                        <a:lnTo>
                          <a:pt x="3012" y="304"/>
                        </a:lnTo>
                        <a:lnTo>
                          <a:pt x="3009" y="301"/>
                        </a:lnTo>
                        <a:lnTo>
                          <a:pt x="3004" y="303"/>
                        </a:lnTo>
                        <a:lnTo>
                          <a:pt x="2999" y="308"/>
                        </a:lnTo>
                        <a:lnTo>
                          <a:pt x="2994" y="308"/>
                        </a:lnTo>
                        <a:lnTo>
                          <a:pt x="2999" y="309"/>
                        </a:lnTo>
                        <a:lnTo>
                          <a:pt x="3005" y="309"/>
                        </a:lnTo>
                        <a:lnTo>
                          <a:pt x="3009" y="306"/>
                        </a:lnTo>
                        <a:lnTo>
                          <a:pt x="3022" y="311"/>
                        </a:lnTo>
                        <a:lnTo>
                          <a:pt x="3025" y="314"/>
                        </a:lnTo>
                        <a:lnTo>
                          <a:pt x="3019" y="318"/>
                        </a:lnTo>
                        <a:lnTo>
                          <a:pt x="3014" y="316"/>
                        </a:lnTo>
                        <a:lnTo>
                          <a:pt x="3009" y="316"/>
                        </a:lnTo>
                        <a:lnTo>
                          <a:pt x="3009" y="321"/>
                        </a:lnTo>
                        <a:lnTo>
                          <a:pt x="3004" y="316"/>
                        </a:lnTo>
                        <a:lnTo>
                          <a:pt x="2999" y="316"/>
                        </a:lnTo>
                        <a:lnTo>
                          <a:pt x="3002" y="316"/>
                        </a:lnTo>
                        <a:lnTo>
                          <a:pt x="3004" y="323"/>
                        </a:lnTo>
                        <a:lnTo>
                          <a:pt x="3010" y="326"/>
                        </a:lnTo>
                        <a:lnTo>
                          <a:pt x="3009" y="333"/>
                        </a:lnTo>
                        <a:lnTo>
                          <a:pt x="3012" y="339"/>
                        </a:lnTo>
                        <a:lnTo>
                          <a:pt x="3017" y="343"/>
                        </a:lnTo>
                        <a:lnTo>
                          <a:pt x="3014" y="339"/>
                        </a:lnTo>
                        <a:lnTo>
                          <a:pt x="3015" y="331"/>
                        </a:lnTo>
                        <a:lnTo>
                          <a:pt x="3019" y="328"/>
                        </a:lnTo>
                        <a:lnTo>
                          <a:pt x="3022" y="329"/>
                        </a:lnTo>
                        <a:lnTo>
                          <a:pt x="3022" y="328"/>
                        </a:lnTo>
                        <a:lnTo>
                          <a:pt x="3030" y="321"/>
                        </a:lnTo>
                        <a:lnTo>
                          <a:pt x="3034" y="319"/>
                        </a:lnTo>
                        <a:lnTo>
                          <a:pt x="3037" y="323"/>
                        </a:lnTo>
                        <a:lnTo>
                          <a:pt x="3037" y="324"/>
                        </a:lnTo>
                        <a:lnTo>
                          <a:pt x="3044" y="333"/>
                        </a:lnTo>
                        <a:lnTo>
                          <a:pt x="3048" y="334"/>
                        </a:lnTo>
                        <a:lnTo>
                          <a:pt x="3055" y="339"/>
                        </a:lnTo>
                        <a:lnTo>
                          <a:pt x="3062" y="339"/>
                        </a:lnTo>
                        <a:lnTo>
                          <a:pt x="3063" y="336"/>
                        </a:lnTo>
                        <a:lnTo>
                          <a:pt x="3062" y="333"/>
                        </a:lnTo>
                        <a:lnTo>
                          <a:pt x="3065" y="333"/>
                        </a:lnTo>
                        <a:lnTo>
                          <a:pt x="3077" y="343"/>
                        </a:lnTo>
                        <a:lnTo>
                          <a:pt x="3078" y="346"/>
                        </a:lnTo>
                        <a:lnTo>
                          <a:pt x="3075" y="346"/>
                        </a:lnTo>
                        <a:lnTo>
                          <a:pt x="3073" y="349"/>
                        </a:lnTo>
                        <a:lnTo>
                          <a:pt x="3083" y="358"/>
                        </a:lnTo>
                        <a:lnTo>
                          <a:pt x="3087" y="358"/>
                        </a:lnTo>
                        <a:lnTo>
                          <a:pt x="3085" y="354"/>
                        </a:lnTo>
                        <a:lnTo>
                          <a:pt x="3087" y="349"/>
                        </a:lnTo>
                        <a:lnTo>
                          <a:pt x="3093" y="353"/>
                        </a:lnTo>
                        <a:lnTo>
                          <a:pt x="3103" y="368"/>
                        </a:lnTo>
                        <a:lnTo>
                          <a:pt x="3098" y="364"/>
                        </a:lnTo>
                        <a:lnTo>
                          <a:pt x="3097" y="364"/>
                        </a:lnTo>
                        <a:lnTo>
                          <a:pt x="3095" y="366"/>
                        </a:lnTo>
                        <a:lnTo>
                          <a:pt x="3098" y="371"/>
                        </a:lnTo>
                        <a:lnTo>
                          <a:pt x="3093" y="372"/>
                        </a:lnTo>
                        <a:lnTo>
                          <a:pt x="3093" y="377"/>
                        </a:lnTo>
                        <a:lnTo>
                          <a:pt x="3095" y="381"/>
                        </a:lnTo>
                        <a:lnTo>
                          <a:pt x="3100" y="379"/>
                        </a:lnTo>
                        <a:lnTo>
                          <a:pt x="3100" y="374"/>
                        </a:lnTo>
                        <a:lnTo>
                          <a:pt x="3103" y="372"/>
                        </a:lnTo>
                        <a:lnTo>
                          <a:pt x="3107" y="374"/>
                        </a:lnTo>
                        <a:lnTo>
                          <a:pt x="3107" y="371"/>
                        </a:lnTo>
                        <a:lnTo>
                          <a:pt x="3112" y="376"/>
                        </a:lnTo>
                        <a:lnTo>
                          <a:pt x="3122" y="382"/>
                        </a:lnTo>
                        <a:lnTo>
                          <a:pt x="3133" y="386"/>
                        </a:lnTo>
                        <a:lnTo>
                          <a:pt x="3140" y="391"/>
                        </a:lnTo>
                        <a:lnTo>
                          <a:pt x="3137" y="394"/>
                        </a:lnTo>
                        <a:lnTo>
                          <a:pt x="3143" y="402"/>
                        </a:lnTo>
                        <a:lnTo>
                          <a:pt x="3148" y="402"/>
                        </a:lnTo>
                        <a:lnTo>
                          <a:pt x="3155" y="412"/>
                        </a:lnTo>
                        <a:lnTo>
                          <a:pt x="3155" y="426"/>
                        </a:lnTo>
                        <a:lnTo>
                          <a:pt x="3151" y="426"/>
                        </a:lnTo>
                        <a:lnTo>
                          <a:pt x="3151" y="429"/>
                        </a:lnTo>
                        <a:lnTo>
                          <a:pt x="3156" y="431"/>
                        </a:lnTo>
                        <a:lnTo>
                          <a:pt x="3158" y="436"/>
                        </a:lnTo>
                        <a:lnTo>
                          <a:pt x="3156" y="437"/>
                        </a:lnTo>
                        <a:lnTo>
                          <a:pt x="3153" y="434"/>
                        </a:lnTo>
                        <a:lnTo>
                          <a:pt x="3135" y="434"/>
                        </a:lnTo>
                        <a:lnTo>
                          <a:pt x="3130" y="432"/>
                        </a:lnTo>
                        <a:lnTo>
                          <a:pt x="3127" y="434"/>
                        </a:lnTo>
                        <a:lnTo>
                          <a:pt x="3122" y="432"/>
                        </a:lnTo>
                        <a:lnTo>
                          <a:pt x="3122" y="429"/>
                        </a:lnTo>
                        <a:lnTo>
                          <a:pt x="3118" y="427"/>
                        </a:lnTo>
                        <a:lnTo>
                          <a:pt x="3117" y="429"/>
                        </a:lnTo>
                        <a:lnTo>
                          <a:pt x="3120" y="432"/>
                        </a:lnTo>
                        <a:lnTo>
                          <a:pt x="3112" y="437"/>
                        </a:lnTo>
                        <a:lnTo>
                          <a:pt x="3105" y="436"/>
                        </a:lnTo>
                        <a:lnTo>
                          <a:pt x="3103" y="439"/>
                        </a:lnTo>
                        <a:lnTo>
                          <a:pt x="3107" y="441"/>
                        </a:lnTo>
                        <a:lnTo>
                          <a:pt x="3098" y="447"/>
                        </a:lnTo>
                        <a:lnTo>
                          <a:pt x="3095" y="447"/>
                        </a:lnTo>
                        <a:lnTo>
                          <a:pt x="3095" y="451"/>
                        </a:lnTo>
                        <a:lnTo>
                          <a:pt x="3098" y="452"/>
                        </a:lnTo>
                        <a:lnTo>
                          <a:pt x="3090" y="461"/>
                        </a:lnTo>
                        <a:lnTo>
                          <a:pt x="3088" y="464"/>
                        </a:lnTo>
                        <a:lnTo>
                          <a:pt x="3087" y="462"/>
                        </a:lnTo>
                        <a:lnTo>
                          <a:pt x="3083" y="462"/>
                        </a:lnTo>
                        <a:lnTo>
                          <a:pt x="3083" y="469"/>
                        </a:lnTo>
                        <a:lnTo>
                          <a:pt x="3087" y="474"/>
                        </a:lnTo>
                        <a:lnTo>
                          <a:pt x="3082" y="479"/>
                        </a:lnTo>
                        <a:lnTo>
                          <a:pt x="3078" y="475"/>
                        </a:lnTo>
                        <a:lnTo>
                          <a:pt x="3077" y="480"/>
                        </a:lnTo>
                        <a:lnTo>
                          <a:pt x="3080" y="484"/>
                        </a:lnTo>
                        <a:lnTo>
                          <a:pt x="3073" y="489"/>
                        </a:lnTo>
                        <a:lnTo>
                          <a:pt x="3070" y="490"/>
                        </a:lnTo>
                        <a:lnTo>
                          <a:pt x="3073" y="492"/>
                        </a:lnTo>
                        <a:lnTo>
                          <a:pt x="3072" y="494"/>
                        </a:lnTo>
                        <a:lnTo>
                          <a:pt x="3070" y="499"/>
                        </a:lnTo>
                        <a:lnTo>
                          <a:pt x="3067" y="497"/>
                        </a:lnTo>
                        <a:lnTo>
                          <a:pt x="3063" y="499"/>
                        </a:lnTo>
                        <a:lnTo>
                          <a:pt x="3065" y="502"/>
                        </a:lnTo>
                        <a:lnTo>
                          <a:pt x="3067" y="505"/>
                        </a:lnTo>
                        <a:lnTo>
                          <a:pt x="3062" y="509"/>
                        </a:lnTo>
                        <a:lnTo>
                          <a:pt x="3063" y="512"/>
                        </a:lnTo>
                        <a:lnTo>
                          <a:pt x="3062" y="515"/>
                        </a:lnTo>
                        <a:lnTo>
                          <a:pt x="3058" y="515"/>
                        </a:lnTo>
                        <a:lnTo>
                          <a:pt x="3057" y="514"/>
                        </a:lnTo>
                        <a:lnTo>
                          <a:pt x="3053" y="514"/>
                        </a:lnTo>
                        <a:lnTo>
                          <a:pt x="3057" y="519"/>
                        </a:lnTo>
                        <a:lnTo>
                          <a:pt x="3063" y="520"/>
                        </a:lnTo>
                        <a:lnTo>
                          <a:pt x="3060" y="525"/>
                        </a:lnTo>
                        <a:lnTo>
                          <a:pt x="3053" y="527"/>
                        </a:lnTo>
                        <a:lnTo>
                          <a:pt x="3053" y="529"/>
                        </a:lnTo>
                        <a:lnTo>
                          <a:pt x="3057" y="530"/>
                        </a:lnTo>
                        <a:lnTo>
                          <a:pt x="3060" y="537"/>
                        </a:lnTo>
                        <a:lnTo>
                          <a:pt x="3058" y="540"/>
                        </a:lnTo>
                        <a:lnTo>
                          <a:pt x="3060" y="542"/>
                        </a:lnTo>
                        <a:lnTo>
                          <a:pt x="3055" y="549"/>
                        </a:lnTo>
                        <a:lnTo>
                          <a:pt x="3055" y="552"/>
                        </a:lnTo>
                        <a:lnTo>
                          <a:pt x="3052" y="560"/>
                        </a:lnTo>
                        <a:lnTo>
                          <a:pt x="3050" y="570"/>
                        </a:lnTo>
                        <a:lnTo>
                          <a:pt x="3048" y="573"/>
                        </a:lnTo>
                        <a:lnTo>
                          <a:pt x="3047" y="578"/>
                        </a:lnTo>
                        <a:lnTo>
                          <a:pt x="3050" y="578"/>
                        </a:lnTo>
                        <a:lnTo>
                          <a:pt x="3052" y="582"/>
                        </a:lnTo>
                        <a:lnTo>
                          <a:pt x="3050" y="585"/>
                        </a:lnTo>
                        <a:lnTo>
                          <a:pt x="3057" y="593"/>
                        </a:lnTo>
                        <a:lnTo>
                          <a:pt x="3057" y="597"/>
                        </a:lnTo>
                        <a:lnTo>
                          <a:pt x="3053" y="595"/>
                        </a:lnTo>
                        <a:lnTo>
                          <a:pt x="3048" y="597"/>
                        </a:lnTo>
                        <a:lnTo>
                          <a:pt x="3044" y="592"/>
                        </a:lnTo>
                        <a:lnTo>
                          <a:pt x="3042" y="595"/>
                        </a:lnTo>
                        <a:lnTo>
                          <a:pt x="3034" y="587"/>
                        </a:lnTo>
                        <a:lnTo>
                          <a:pt x="3037" y="587"/>
                        </a:lnTo>
                        <a:lnTo>
                          <a:pt x="3034" y="585"/>
                        </a:lnTo>
                        <a:lnTo>
                          <a:pt x="3030" y="585"/>
                        </a:lnTo>
                        <a:lnTo>
                          <a:pt x="3027" y="585"/>
                        </a:lnTo>
                        <a:lnTo>
                          <a:pt x="3025" y="582"/>
                        </a:lnTo>
                        <a:lnTo>
                          <a:pt x="3012" y="575"/>
                        </a:lnTo>
                        <a:lnTo>
                          <a:pt x="3005" y="573"/>
                        </a:lnTo>
                        <a:lnTo>
                          <a:pt x="2997" y="578"/>
                        </a:lnTo>
                        <a:lnTo>
                          <a:pt x="2995" y="577"/>
                        </a:lnTo>
                        <a:lnTo>
                          <a:pt x="2990" y="577"/>
                        </a:lnTo>
                        <a:lnTo>
                          <a:pt x="2985" y="583"/>
                        </a:lnTo>
                        <a:lnTo>
                          <a:pt x="2980" y="583"/>
                        </a:lnTo>
                        <a:lnTo>
                          <a:pt x="2977" y="592"/>
                        </a:lnTo>
                        <a:lnTo>
                          <a:pt x="2974" y="595"/>
                        </a:lnTo>
                        <a:lnTo>
                          <a:pt x="2970" y="592"/>
                        </a:lnTo>
                        <a:lnTo>
                          <a:pt x="2974" y="598"/>
                        </a:lnTo>
                        <a:lnTo>
                          <a:pt x="2970" y="602"/>
                        </a:lnTo>
                        <a:lnTo>
                          <a:pt x="2972" y="607"/>
                        </a:lnTo>
                        <a:lnTo>
                          <a:pt x="2970" y="610"/>
                        </a:lnTo>
                        <a:lnTo>
                          <a:pt x="2969" y="622"/>
                        </a:lnTo>
                        <a:lnTo>
                          <a:pt x="2965" y="623"/>
                        </a:lnTo>
                        <a:lnTo>
                          <a:pt x="2962" y="620"/>
                        </a:lnTo>
                        <a:lnTo>
                          <a:pt x="2957" y="607"/>
                        </a:lnTo>
                        <a:lnTo>
                          <a:pt x="2957" y="602"/>
                        </a:lnTo>
                        <a:lnTo>
                          <a:pt x="2952" y="600"/>
                        </a:lnTo>
                        <a:lnTo>
                          <a:pt x="2949" y="595"/>
                        </a:lnTo>
                        <a:lnTo>
                          <a:pt x="2947" y="600"/>
                        </a:lnTo>
                        <a:lnTo>
                          <a:pt x="2942" y="610"/>
                        </a:lnTo>
                        <a:lnTo>
                          <a:pt x="2939" y="612"/>
                        </a:lnTo>
                        <a:lnTo>
                          <a:pt x="2937" y="617"/>
                        </a:lnTo>
                        <a:lnTo>
                          <a:pt x="2942" y="618"/>
                        </a:lnTo>
                        <a:lnTo>
                          <a:pt x="2937" y="628"/>
                        </a:lnTo>
                        <a:lnTo>
                          <a:pt x="2934" y="623"/>
                        </a:lnTo>
                        <a:lnTo>
                          <a:pt x="2931" y="623"/>
                        </a:lnTo>
                        <a:lnTo>
                          <a:pt x="2929" y="620"/>
                        </a:lnTo>
                        <a:lnTo>
                          <a:pt x="2926" y="620"/>
                        </a:lnTo>
                        <a:lnTo>
                          <a:pt x="2924" y="627"/>
                        </a:lnTo>
                        <a:lnTo>
                          <a:pt x="2921" y="627"/>
                        </a:lnTo>
                        <a:lnTo>
                          <a:pt x="2916" y="625"/>
                        </a:lnTo>
                        <a:lnTo>
                          <a:pt x="2912" y="625"/>
                        </a:lnTo>
                        <a:lnTo>
                          <a:pt x="2912" y="628"/>
                        </a:lnTo>
                        <a:lnTo>
                          <a:pt x="2914" y="632"/>
                        </a:lnTo>
                        <a:lnTo>
                          <a:pt x="2912" y="633"/>
                        </a:lnTo>
                        <a:lnTo>
                          <a:pt x="2911" y="637"/>
                        </a:lnTo>
                        <a:lnTo>
                          <a:pt x="2911" y="642"/>
                        </a:lnTo>
                        <a:lnTo>
                          <a:pt x="2914" y="645"/>
                        </a:lnTo>
                        <a:lnTo>
                          <a:pt x="2916" y="650"/>
                        </a:lnTo>
                        <a:lnTo>
                          <a:pt x="2914" y="652"/>
                        </a:lnTo>
                        <a:lnTo>
                          <a:pt x="2914" y="655"/>
                        </a:lnTo>
                        <a:lnTo>
                          <a:pt x="2919" y="657"/>
                        </a:lnTo>
                        <a:lnTo>
                          <a:pt x="2924" y="660"/>
                        </a:lnTo>
                        <a:lnTo>
                          <a:pt x="2924" y="662"/>
                        </a:lnTo>
                        <a:lnTo>
                          <a:pt x="2922" y="662"/>
                        </a:lnTo>
                        <a:lnTo>
                          <a:pt x="2921" y="665"/>
                        </a:lnTo>
                        <a:lnTo>
                          <a:pt x="2924" y="668"/>
                        </a:lnTo>
                        <a:lnTo>
                          <a:pt x="2927" y="671"/>
                        </a:lnTo>
                        <a:lnTo>
                          <a:pt x="2927" y="673"/>
                        </a:lnTo>
                        <a:lnTo>
                          <a:pt x="2924" y="670"/>
                        </a:lnTo>
                        <a:lnTo>
                          <a:pt x="2921" y="671"/>
                        </a:lnTo>
                        <a:lnTo>
                          <a:pt x="2919" y="673"/>
                        </a:lnTo>
                        <a:lnTo>
                          <a:pt x="2924" y="678"/>
                        </a:lnTo>
                        <a:lnTo>
                          <a:pt x="2927" y="676"/>
                        </a:lnTo>
                        <a:lnTo>
                          <a:pt x="2927" y="681"/>
                        </a:lnTo>
                        <a:lnTo>
                          <a:pt x="2926" y="686"/>
                        </a:lnTo>
                        <a:lnTo>
                          <a:pt x="2926" y="690"/>
                        </a:lnTo>
                        <a:lnTo>
                          <a:pt x="2922" y="693"/>
                        </a:lnTo>
                        <a:lnTo>
                          <a:pt x="2926" y="700"/>
                        </a:lnTo>
                        <a:lnTo>
                          <a:pt x="2924" y="703"/>
                        </a:lnTo>
                        <a:lnTo>
                          <a:pt x="2926" y="706"/>
                        </a:lnTo>
                        <a:lnTo>
                          <a:pt x="2926" y="710"/>
                        </a:lnTo>
                        <a:lnTo>
                          <a:pt x="2926" y="715"/>
                        </a:lnTo>
                        <a:lnTo>
                          <a:pt x="2931" y="723"/>
                        </a:lnTo>
                        <a:lnTo>
                          <a:pt x="2927" y="725"/>
                        </a:lnTo>
                        <a:lnTo>
                          <a:pt x="2932" y="726"/>
                        </a:lnTo>
                        <a:lnTo>
                          <a:pt x="2936" y="731"/>
                        </a:lnTo>
                        <a:lnTo>
                          <a:pt x="2942" y="738"/>
                        </a:lnTo>
                        <a:lnTo>
                          <a:pt x="2949" y="741"/>
                        </a:lnTo>
                        <a:lnTo>
                          <a:pt x="2950" y="740"/>
                        </a:lnTo>
                        <a:lnTo>
                          <a:pt x="2950" y="736"/>
                        </a:lnTo>
                        <a:lnTo>
                          <a:pt x="2945" y="730"/>
                        </a:lnTo>
                        <a:lnTo>
                          <a:pt x="2945" y="726"/>
                        </a:lnTo>
                        <a:lnTo>
                          <a:pt x="2949" y="723"/>
                        </a:lnTo>
                        <a:lnTo>
                          <a:pt x="2954" y="725"/>
                        </a:lnTo>
                        <a:lnTo>
                          <a:pt x="2962" y="730"/>
                        </a:lnTo>
                        <a:lnTo>
                          <a:pt x="2965" y="730"/>
                        </a:lnTo>
                        <a:lnTo>
                          <a:pt x="2969" y="731"/>
                        </a:lnTo>
                        <a:lnTo>
                          <a:pt x="2969" y="735"/>
                        </a:lnTo>
                        <a:lnTo>
                          <a:pt x="2969" y="736"/>
                        </a:lnTo>
                        <a:lnTo>
                          <a:pt x="2970" y="740"/>
                        </a:lnTo>
                        <a:lnTo>
                          <a:pt x="2969" y="745"/>
                        </a:lnTo>
                        <a:lnTo>
                          <a:pt x="2969" y="748"/>
                        </a:lnTo>
                        <a:lnTo>
                          <a:pt x="2967" y="750"/>
                        </a:lnTo>
                        <a:lnTo>
                          <a:pt x="2964" y="753"/>
                        </a:lnTo>
                        <a:lnTo>
                          <a:pt x="2969" y="761"/>
                        </a:lnTo>
                        <a:lnTo>
                          <a:pt x="2972" y="766"/>
                        </a:lnTo>
                        <a:lnTo>
                          <a:pt x="2972" y="774"/>
                        </a:lnTo>
                        <a:lnTo>
                          <a:pt x="2977" y="778"/>
                        </a:lnTo>
                        <a:lnTo>
                          <a:pt x="2979" y="776"/>
                        </a:lnTo>
                        <a:lnTo>
                          <a:pt x="2979" y="773"/>
                        </a:lnTo>
                        <a:lnTo>
                          <a:pt x="2984" y="771"/>
                        </a:lnTo>
                        <a:lnTo>
                          <a:pt x="2985" y="769"/>
                        </a:lnTo>
                        <a:lnTo>
                          <a:pt x="2985" y="769"/>
                        </a:lnTo>
                        <a:lnTo>
                          <a:pt x="2990" y="773"/>
                        </a:lnTo>
                        <a:lnTo>
                          <a:pt x="2990" y="783"/>
                        </a:lnTo>
                        <a:lnTo>
                          <a:pt x="3002" y="791"/>
                        </a:lnTo>
                        <a:lnTo>
                          <a:pt x="3005" y="798"/>
                        </a:lnTo>
                        <a:lnTo>
                          <a:pt x="3004" y="801"/>
                        </a:lnTo>
                        <a:lnTo>
                          <a:pt x="3004" y="806"/>
                        </a:lnTo>
                        <a:lnTo>
                          <a:pt x="3000" y="808"/>
                        </a:lnTo>
                        <a:lnTo>
                          <a:pt x="2994" y="804"/>
                        </a:lnTo>
                        <a:lnTo>
                          <a:pt x="2985" y="801"/>
                        </a:lnTo>
                        <a:lnTo>
                          <a:pt x="2985" y="794"/>
                        </a:lnTo>
                        <a:lnTo>
                          <a:pt x="2987" y="791"/>
                        </a:lnTo>
                        <a:lnTo>
                          <a:pt x="2989" y="784"/>
                        </a:lnTo>
                        <a:lnTo>
                          <a:pt x="2987" y="781"/>
                        </a:lnTo>
                        <a:lnTo>
                          <a:pt x="2984" y="783"/>
                        </a:lnTo>
                        <a:lnTo>
                          <a:pt x="2985" y="784"/>
                        </a:lnTo>
                        <a:lnTo>
                          <a:pt x="2985" y="788"/>
                        </a:lnTo>
                        <a:lnTo>
                          <a:pt x="2980" y="789"/>
                        </a:lnTo>
                        <a:lnTo>
                          <a:pt x="2975" y="796"/>
                        </a:lnTo>
                        <a:lnTo>
                          <a:pt x="2977" y="798"/>
                        </a:lnTo>
                        <a:lnTo>
                          <a:pt x="2984" y="796"/>
                        </a:lnTo>
                        <a:lnTo>
                          <a:pt x="2984" y="801"/>
                        </a:lnTo>
                        <a:lnTo>
                          <a:pt x="2980" y="806"/>
                        </a:lnTo>
                        <a:lnTo>
                          <a:pt x="2982" y="813"/>
                        </a:lnTo>
                        <a:lnTo>
                          <a:pt x="2980" y="816"/>
                        </a:lnTo>
                        <a:lnTo>
                          <a:pt x="2980" y="831"/>
                        </a:lnTo>
                        <a:lnTo>
                          <a:pt x="2985" y="834"/>
                        </a:lnTo>
                        <a:lnTo>
                          <a:pt x="2984" y="838"/>
                        </a:lnTo>
                        <a:lnTo>
                          <a:pt x="2997" y="854"/>
                        </a:lnTo>
                        <a:lnTo>
                          <a:pt x="3000" y="854"/>
                        </a:lnTo>
                        <a:lnTo>
                          <a:pt x="3009" y="864"/>
                        </a:lnTo>
                        <a:lnTo>
                          <a:pt x="3014" y="867"/>
                        </a:lnTo>
                        <a:lnTo>
                          <a:pt x="3010" y="871"/>
                        </a:lnTo>
                        <a:lnTo>
                          <a:pt x="3012" y="876"/>
                        </a:lnTo>
                        <a:lnTo>
                          <a:pt x="2997" y="881"/>
                        </a:lnTo>
                        <a:lnTo>
                          <a:pt x="2995" y="879"/>
                        </a:lnTo>
                        <a:lnTo>
                          <a:pt x="2989" y="884"/>
                        </a:lnTo>
                        <a:lnTo>
                          <a:pt x="2984" y="882"/>
                        </a:lnTo>
                        <a:lnTo>
                          <a:pt x="2987" y="884"/>
                        </a:lnTo>
                        <a:lnTo>
                          <a:pt x="2982" y="894"/>
                        </a:lnTo>
                        <a:lnTo>
                          <a:pt x="2980" y="899"/>
                        </a:lnTo>
                        <a:lnTo>
                          <a:pt x="2979" y="902"/>
                        </a:lnTo>
                        <a:lnTo>
                          <a:pt x="2982" y="906"/>
                        </a:lnTo>
                        <a:lnTo>
                          <a:pt x="2979" y="917"/>
                        </a:lnTo>
                        <a:lnTo>
                          <a:pt x="2984" y="929"/>
                        </a:lnTo>
                        <a:lnTo>
                          <a:pt x="2990" y="932"/>
                        </a:lnTo>
                        <a:lnTo>
                          <a:pt x="2990" y="939"/>
                        </a:lnTo>
                        <a:lnTo>
                          <a:pt x="2997" y="941"/>
                        </a:lnTo>
                        <a:lnTo>
                          <a:pt x="3000" y="946"/>
                        </a:lnTo>
                        <a:lnTo>
                          <a:pt x="2995" y="946"/>
                        </a:lnTo>
                        <a:lnTo>
                          <a:pt x="2994" y="944"/>
                        </a:lnTo>
                        <a:lnTo>
                          <a:pt x="2989" y="946"/>
                        </a:lnTo>
                        <a:lnTo>
                          <a:pt x="2985" y="949"/>
                        </a:lnTo>
                        <a:lnTo>
                          <a:pt x="2980" y="949"/>
                        </a:lnTo>
                        <a:lnTo>
                          <a:pt x="2974" y="956"/>
                        </a:lnTo>
                        <a:lnTo>
                          <a:pt x="2969" y="952"/>
                        </a:lnTo>
                        <a:lnTo>
                          <a:pt x="2967" y="956"/>
                        </a:lnTo>
                        <a:lnTo>
                          <a:pt x="2969" y="959"/>
                        </a:lnTo>
                        <a:lnTo>
                          <a:pt x="2975" y="957"/>
                        </a:lnTo>
                        <a:lnTo>
                          <a:pt x="2974" y="962"/>
                        </a:lnTo>
                        <a:lnTo>
                          <a:pt x="2972" y="965"/>
                        </a:lnTo>
                        <a:lnTo>
                          <a:pt x="2977" y="970"/>
                        </a:lnTo>
                        <a:lnTo>
                          <a:pt x="2975" y="972"/>
                        </a:lnTo>
                        <a:lnTo>
                          <a:pt x="2972" y="970"/>
                        </a:lnTo>
                        <a:lnTo>
                          <a:pt x="2975" y="977"/>
                        </a:lnTo>
                        <a:lnTo>
                          <a:pt x="2974" y="980"/>
                        </a:lnTo>
                        <a:lnTo>
                          <a:pt x="2977" y="982"/>
                        </a:lnTo>
                        <a:lnTo>
                          <a:pt x="2980" y="980"/>
                        </a:lnTo>
                        <a:lnTo>
                          <a:pt x="2984" y="984"/>
                        </a:lnTo>
                        <a:lnTo>
                          <a:pt x="2980" y="987"/>
                        </a:lnTo>
                        <a:lnTo>
                          <a:pt x="2980" y="994"/>
                        </a:lnTo>
                        <a:lnTo>
                          <a:pt x="2982" y="997"/>
                        </a:lnTo>
                        <a:lnTo>
                          <a:pt x="2980" y="1007"/>
                        </a:lnTo>
                        <a:lnTo>
                          <a:pt x="2979" y="1010"/>
                        </a:lnTo>
                        <a:lnTo>
                          <a:pt x="2980" y="1014"/>
                        </a:lnTo>
                        <a:lnTo>
                          <a:pt x="2979" y="1017"/>
                        </a:lnTo>
                        <a:lnTo>
                          <a:pt x="2974" y="1022"/>
                        </a:lnTo>
                        <a:lnTo>
                          <a:pt x="2972" y="1025"/>
                        </a:lnTo>
                        <a:lnTo>
                          <a:pt x="2970" y="1027"/>
                        </a:lnTo>
                        <a:lnTo>
                          <a:pt x="2969" y="1037"/>
                        </a:lnTo>
                        <a:lnTo>
                          <a:pt x="2964" y="1047"/>
                        </a:lnTo>
                        <a:lnTo>
                          <a:pt x="2964" y="1042"/>
                        </a:lnTo>
                        <a:lnTo>
                          <a:pt x="2962" y="1039"/>
                        </a:lnTo>
                        <a:lnTo>
                          <a:pt x="2964" y="1034"/>
                        </a:lnTo>
                        <a:lnTo>
                          <a:pt x="2962" y="1032"/>
                        </a:lnTo>
                        <a:lnTo>
                          <a:pt x="2952" y="1030"/>
                        </a:lnTo>
                        <a:lnTo>
                          <a:pt x="2947" y="1024"/>
                        </a:lnTo>
                        <a:lnTo>
                          <a:pt x="2945" y="1015"/>
                        </a:lnTo>
                        <a:lnTo>
                          <a:pt x="2937" y="997"/>
                        </a:lnTo>
                        <a:lnTo>
                          <a:pt x="2931" y="989"/>
                        </a:lnTo>
                        <a:lnTo>
                          <a:pt x="2934" y="989"/>
                        </a:lnTo>
                        <a:lnTo>
                          <a:pt x="2937" y="987"/>
                        </a:lnTo>
                        <a:lnTo>
                          <a:pt x="2939" y="982"/>
                        </a:lnTo>
                        <a:lnTo>
                          <a:pt x="2936" y="984"/>
                        </a:lnTo>
                        <a:lnTo>
                          <a:pt x="2929" y="984"/>
                        </a:lnTo>
                        <a:lnTo>
                          <a:pt x="2921" y="980"/>
                        </a:lnTo>
                        <a:lnTo>
                          <a:pt x="2902" y="949"/>
                        </a:lnTo>
                        <a:lnTo>
                          <a:pt x="2886" y="932"/>
                        </a:lnTo>
                        <a:lnTo>
                          <a:pt x="2884" y="926"/>
                        </a:lnTo>
                        <a:lnTo>
                          <a:pt x="2879" y="919"/>
                        </a:lnTo>
                        <a:lnTo>
                          <a:pt x="2866" y="899"/>
                        </a:lnTo>
                        <a:lnTo>
                          <a:pt x="2852" y="876"/>
                        </a:lnTo>
                        <a:lnTo>
                          <a:pt x="2841" y="854"/>
                        </a:lnTo>
                        <a:lnTo>
                          <a:pt x="2841" y="848"/>
                        </a:lnTo>
                        <a:lnTo>
                          <a:pt x="2834" y="838"/>
                        </a:lnTo>
                        <a:lnTo>
                          <a:pt x="2833" y="823"/>
                        </a:lnTo>
                        <a:lnTo>
                          <a:pt x="2829" y="814"/>
                        </a:lnTo>
                        <a:lnTo>
                          <a:pt x="2829" y="804"/>
                        </a:lnTo>
                        <a:lnTo>
                          <a:pt x="2836" y="799"/>
                        </a:lnTo>
                        <a:lnTo>
                          <a:pt x="2836" y="791"/>
                        </a:lnTo>
                        <a:lnTo>
                          <a:pt x="2841" y="791"/>
                        </a:lnTo>
                        <a:lnTo>
                          <a:pt x="2838" y="788"/>
                        </a:lnTo>
                        <a:lnTo>
                          <a:pt x="2839" y="784"/>
                        </a:lnTo>
                        <a:lnTo>
                          <a:pt x="2841" y="774"/>
                        </a:lnTo>
                        <a:lnTo>
                          <a:pt x="2831" y="763"/>
                        </a:lnTo>
                        <a:lnTo>
                          <a:pt x="2824" y="763"/>
                        </a:lnTo>
                        <a:lnTo>
                          <a:pt x="2824" y="760"/>
                        </a:lnTo>
                        <a:lnTo>
                          <a:pt x="2829" y="756"/>
                        </a:lnTo>
                        <a:lnTo>
                          <a:pt x="2839" y="760"/>
                        </a:lnTo>
                        <a:lnTo>
                          <a:pt x="2844" y="755"/>
                        </a:lnTo>
                        <a:lnTo>
                          <a:pt x="2843" y="751"/>
                        </a:lnTo>
                        <a:lnTo>
                          <a:pt x="2843" y="743"/>
                        </a:lnTo>
                        <a:lnTo>
                          <a:pt x="2851" y="741"/>
                        </a:lnTo>
                        <a:lnTo>
                          <a:pt x="2856" y="743"/>
                        </a:lnTo>
                        <a:lnTo>
                          <a:pt x="2851" y="738"/>
                        </a:lnTo>
                        <a:lnTo>
                          <a:pt x="2859" y="725"/>
                        </a:lnTo>
                        <a:lnTo>
                          <a:pt x="2856" y="716"/>
                        </a:lnTo>
                        <a:lnTo>
                          <a:pt x="2856" y="708"/>
                        </a:lnTo>
                        <a:lnTo>
                          <a:pt x="2852" y="703"/>
                        </a:lnTo>
                        <a:lnTo>
                          <a:pt x="2857" y="700"/>
                        </a:lnTo>
                        <a:lnTo>
                          <a:pt x="2857" y="693"/>
                        </a:lnTo>
                        <a:lnTo>
                          <a:pt x="2856" y="691"/>
                        </a:lnTo>
                        <a:lnTo>
                          <a:pt x="2857" y="683"/>
                        </a:lnTo>
                        <a:lnTo>
                          <a:pt x="2861" y="683"/>
                        </a:lnTo>
                        <a:lnTo>
                          <a:pt x="2856" y="680"/>
                        </a:lnTo>
                        <a:lnTo>
                          <a:pt x="2856" y="676"/>
                        </a:lnTo>
                        <a:lnTo>
                          <a:pt x="2857" y="675"/>
                        </a:lnTo>
                        <a:lnTo>
                          <a:pt x="2857" y="666"/>
                        </a:lnTo>
                        <a:lnTo>
                          <a:pt x="2856" y="665"/>
                        </a:lnTo>
                        <a:lnTo>
                          <a:pt x="2857" y="660"/>
                        </a:lnTo>
                        <a:lnTo>
                          <a:pt x="2862" y="658"/>
                        </a:lnTo>
                        <a:lnTo>
                          <a:pt x="2864" y="655"/>
                        </a:lnTo>
                        <a:lnTo>
                          <a:pt x="2862" y="648"/>
                        </a:lnTo>
                        <a:lnTo>
                          <a:pt x="2864" y="638"/>
                        </a:lnTo>
                        <a:lnTo>
                          <a:pt x="2862" y="637"/>
                        </a:lnTo>
                        <a:lnTo>
                          <a:pt x="2861" y="635"/>
                        </a:lnTo>
                        <a:lnTo>
                          <a:pt x="2866" y="628"/>
                        </a:lnTo>
                        <a:lnTo>
                          <a:pt x="2866" y="622"/>
                        </a:lnTo>
                        <a:lnTo>
                          <a:pt x="2862" y="623"/>
                        </a:lnTo>
                        <a:lnTo>
                          <a:pt x="2861" y="617"/>
                        </a:lnTo>
                        <a:lnTo>
                          <a:pt x="2862" y="613"/>
                        </a:lnTo>
                        <a:lnTo>
                          <a:pt x="2864" y="610"/>
                        </a:lnTo>
                        <a:lnTo>
                          <a:pt x="2867" y="608"/>
                        </a:lnTo>
                        <a:lnTo>
                          <a:pt x="2867" y="607"/>
                        </a:lnTo>
                        <a:lnTo>
                          <a:pt x="2874" y="603"/>
                        </a:lnTo>
                        <a:lnTo>
                          <a:pt x="2874" y="598"/>
                        </a:lnTo>
                        <a:lnTo>
                          <a:pt x="2881" y="593"/>
                        </a:lnTo>
                        <a:lnTo>
                          <a:pt x="2882" y="593"/>
                        </a:lnTo>
                        <a:lnTo>
                          <a:pt x="2886" y="590"/>
                        </a:lnTo>
                        <a:lnTo>
                          <a:pt x="2889" y="590"/>
                        </a:lnTo>
                        <a:lnTo>
                          <a:pt x="2891" y="588"/>
                        </a:lnTo>
                        <a:lnTo>
                          <a:pt x="2889" y="587"/>
                        </a:lnTo>
                        <a:lnTo>
                          <a:pt x="2884" y="585"/>
                        </a:lnTo>
                        <a:lnTo>
                          <a:pt x="2881" y="587"/>
                        </a:lnTo>
                        <a:lnTo>
                          <a:pt x="2877" y="585"/>
                        </a:lnTo>
                        <a:lnTo>
                          <a:pt x="2877" y="577"/>
                        </a:lnTo>
                        <a:lnTo>
                          <a:pt x="2881" y="570"/>
                        </a:lnTo>
                        <a:lnTo>
                          <a:pt x="2879" y="567"/>
                        </a:lnTo>
                        <a:lnTo>
                          <a:pt x="2876" y="562"/>
                        </a:lnTo>
                        <a:lnTo>
                          <a:pt x="2874" y="562"/>
                        </a:lnTo>
                        <a:lnTo>
                          <a:pt x="2872" y="565"/>
                        </a:lnTo>
                        <a:lnTo>
                          <a:pt x="2871" y="565"/>
                        </a:lnTo>
                        <a:lnTo>
                          <a:pt x="2869" y="554"/>
                        </a:lnTo>
                        <a:lnTo>
                          <a:pt x="2872" y="552"/>
                        </a:lnTo>
                        <a:lnTo>
                          <a:pt x="2872" y="550"/>
                        </a:lnTo>
                        <a:lnTo>
                          <a:pt x="2871" y="544"/>
                        </a:lnTo>
                        <a:lnTo>
                          <a:pt x="2866" y="542"/>
                        </a:lnTo>
                        <a:lnTo>
                          <a:pt x="2867" y="540"/>
                        </a:lnTo>
                        <a:lnTo>
                          <a:pt x="2866" y="540"/>
                        </a:lnTo>
                        <a:lnTo>
                          <a:pt x="2866" y="539"/>
                        </a:lnTo>
                        <a:lnTo>
                          <a:pt x="2861" y="532"/>
                        </a:lnTo>
                        <a:lnTo>
                          <a:pt x="2859" y="529"/>
                        </a:lnTo>
                        <a:lnTo>
                          <a:pt x="2857" y="527"/>
                        </a:lnTo>
                        <a:lnTo>
                          <a:pt x="2856" y="522"/>
                        </a:lnTo>
                        <a:lnTo>
                          <a:pt x="2854" y="517"/>
                        </a:lnTo>
                        <a:lnTo>
                          <a:pt x="2854" y="514"/>
                        </a:lnTo>
                        <a:lnTo>
                          <a:pt x="2861" y="507"/>
                        </a:lnTo>
                        <a:lnTo>
                          <a:pt x="2866" y="509"/>
                        </a:lnTo>
                        <a:lnTo>
                          <a:pt x="2871" y="507"/>
                        </a:lnTo>
                        <a:lnTo>
                          <a:pt x="2867" y="504"/>
                        </a:lnTo>
                        <a:lnTo>
                          <a:pt x="2874" y="502"/>
                        </a:lnTo>
                        <a:lnTo>
                          <a:pt x="2871" y="502"/>
                        </a:lnTo>
                        <a:lnTo>
                          <a:pt x="2866" y="502"/>
                        </a:lnTo>
                        <a:lnTo>
                          <a:pt x="2864" y="500"/>
                        </a:lnTo>
                        <a:lnTo>
                          <a:pt x="2857" y="500"/>
                        </a:lnTo>
                        <a:lnTo>
                          <a:pt x="2851" y="495"/>
                        </a:lnTo>
                        <a:lnTo>
                          <a:pt x="2847" y="497"/>
                        </a:lnTo>
                        <a:lnTo>
                          <a:pt x="2843" y="497"/>
                        </a:lnTo>
                        <a:lnTo>
                          <a:pt x="2838" y="502"/>
                        </a:lnTo>
                        <a:lnTo>
                          <a:pt x="2833" y="502"/>
                        </a:lnTo>
                        <a:lnTo>
                          <a:pt x="2826" y="507"/>
                        </a:lnTo>
                        <a:lnTo>
                          <a:pt x="2829" y="509"/>
                        </a:lnTo>
                        <a:lnTo>
                          <a:pt x="2828" y="514"/>
                        </a:lnTo>
                        <a:lnTo>
                          <a:pt x="2833" y="517"/>
                        </a:lnTo>
                        <a:lnTo>
                          <a:pt x="2834" y="522"/>
                        </a:lnTo>
                        <a:lnTo>
                          <a:pt x="2833" y="524"/>
                        </a:lnTo>
                        <a:lnTo>
                          <a:pt x="2834" y="530"/>
                        </a:lnTo>
                        <a:lnTo>
                          <a:pt x="2839" y="532"/>
                        </a:lnTo>
                        <a:lnTo>
                          <a:pt x="2839" y="535"/>
                        </a:lnTo>
                        <a:lnTo>
                          <a:pt x="2843" y="537"/>
                        </a:lnTo>
                        <a:lnTo>
                          <a:pt x="2844" y="545"/>
                        </a:lnTo>
                        <a:lnTo>
                          <a:pt x="2851" y="549"/>
                        </a:lnTo>
                        <a:lnTo>
                          <a:pt x="2851" y="554"/>
                        </a:lnTo>
                        <a:lnTo>
                          <a:pt x="2854" y="557"/>
                        </a:lnTo>
                        <a:lnTo>
                          <a:pt x="2852" y="559"/>
                        </a:lnTo>
                        <a:lnTo>
                          <a:pt x="2847" y="557"/>
                        </a:lnTo>
                        <a:lnTo>
                          <a:pt x="2846" y="554"/>
                        </a:lnTo>
                        <a:lnTo>
                          <a:pt x="2839" y="554"/>
                        </a:lnTo>
                        <a:lnTo>
                          <a:pt x="2836" y="557"/>
                        </a:lnTo>
                        <a:lnTo>
                          <a:pt x="2834" y="564"/>
                        </a:lnTo>
                        <a:lnTo>
                          <a:pt x="2836" y="567"/>
                        </a:lnTo>
                        <a:lnTo>
                          <a:pt x="2836" y="573"/>
                        </a:lnTo>
                        <a:lnTo>
                          <a:pt x="2834" y="573"/>
                        </a:lnTo>
                        <a:lnTo>
                          <a:pt x="2833" y="575"/>
                        </a:lnTo>
                        <a:lnTo>
                          <a:pt x="2836" y="577"/>
                        </a:lnTo>
                        <a:lnTo>
                          <a:pt x="2834" y="580"/>
                        </a:lnTo>
                        <a:lnTo>
                          <a:pt x="2831" y="583"/>
                        </a:lnTo>
                        <a:lnTo>
                          <a:pt x="2834" y="587"/>
                        </a:lnTo>
                        <a:lnTo>
                          <a:pt x="2831" y="590"/>
                        </a:lnTo>
                        <a:lnTo>
                          <a:pt x="2831" y="600"/>
                        </a:lnTo>
                        <a:lnTo>
                          <a:pt x="2829" y="603"/>
                        </a:lnTo>
                        <a:lnTo>
                          <a:pt x="2829" y="605"/>
                        </a:lnTo>
                        <a:lnTo>
                          <a:pt x="2826" y="608"/>
                        </a:lnTo>
                        <a:lnTo>
                          <a:pt x="2823" y="613"/>
                        </a:lnTo>
                        <a:lnTo>
                          <a:pt x="2821" y="610"/>
                        </a:lnTo>
                        <a:lnTo>
                          <a:pt x="2816" y="605"/>
                        </a:lnTo>
                        <a:lnTo>
                          <a:pt x="2821" y="600"/>
                        </a:lnTo>
                        <a:lnTo>
                          <a:pt x="2819" y="597"/>
                        </a:lnTo>
                        <a:lnTo>
                          <a:pt x="2816" y="597"/>
                        </a:lnTo>
                        <a:lnTo>
                          <a:pt x="2811" y="600"/>
                        </a:lnTo>
                        <a:lnTo>
                          <a:pt x="2811" y="603"/>
                        </a:lnTo>
                        <a:lnTo>
                          <a:pt x="2808" y="605"/>
                        </a:lnTo>
                        <a:lnTo>
                          <a:pt x="2808" y="597"/>
                        </a:lnTo>
                        <a:lnTo>
                          <a:pt x="2803" y="597"/>
                        </a:lnTo>
                        <a:lnTo>
                          <a:pt x="2801" y="593"/>
                        </a:lnTo>
                        <a:lnTo>
                          <a:pt x="2796" y="597"/>
                        </a:lnTo>
                        <a:lnTo>
                          <a:pt x="2794" y="595"/>
                        </a:lnTo>
                        <a:lnTo>
                          <a:pt x="2796" y="593"/>
                        </a:lnTo>
                        <a:lnTo>
                          <a:pt x="2799" y="590"/>
                        </a:lnTo>
                        <a:lnTo>
                          <a:pt x="2798" y="588"/>
                        </a:lnTo>
                        <a:lnTo>
                          <a:pt x="2798" y="585"/>
                        </a:lnTo>
                        <a:lnTo>
                          <a:pt x="2799" y="585"/>
                        </a:lnTo>
                        <a:lnTo>
                          <a:pt x="2798" y="580"/>
                        </a:lnTo>
                        <a:lnTo>
                          <a:pt x="2794" y="578"/>
                        </a:lnTo>
                        <a:lnTo>
                          <a:pt x="2798" y="575"/>
                        </a:lnTo>
                        <a:lnTo>
                          <a:pt x="2796" y="572"/>
                        </a:lnTo>
                        <a:lnTo>
                          <a:pt x="2794" y="570"/>
                        </a:lnTo>
                        <a:lnTo>
                          <a:pt x="2796" y="567"/>
                        </a:lnTo>
                        <a:lnTo>
                          <a:pt x="2796" y="562"/>
                        </a:lnTo>
                        <a:lnTo>
                          <a:pt x="2791" y="559"/>
                        </a:lnTo>
                        <a:lnTo>
                          <a:pt x="2789" y="555"/>
                        </a:lnTo>
                        <a:lnTo>
                          <a:pt x="2788" y="555"/>
                        </a:lnTo>
                        <a:lnTo>
                          <a:pt x="2786" y="562"/>
                        </a:lnTo>
                        <a:lnTo>
                          <a:pt x="2783" y="562"/>
                        </a:lnTo>
                        <a:lnTo>
                          <a:pt x="2783" y="567"/>
                        </a:lnTo>
                        <a:lnTo>
                          <a:pt x="2779" y="572"/>
                        </a:lnTo>
                        <a:lnTo>
                          <a:pt x="2778" y="572"/>
                        </a:lnTo>
                        <a:lnTo>
                          <a:pt x="2774" y="567"/>
                        </a:lnTo>
                        <a:lnTo>
                          <a:pt x="2773" y="567"/>
                        </a:lnTo>
                        <a:lnTo>
                          <a:pt x="2771" y="567"/>
                        </a:lnTo>
                        <a:lnTo>
                          <a:pt x="2769" y="564"/>
                        </a:lnTo>
                        <a:lnTo>
                          <a:pt x="2764" y="564"/>
                        </a:lnTo>
                        <a:lnTo>
                          <a:pt x="2763" y="565"/>
                        </a:lnTo>
                        <a:lnTo>
                          <a:pt x="2761" y="565"/>
                        </a:lnTo>
                        <a:lnTo>
                          <a:pt x="2759" y="568"/>
                        </a:lnTo>
                        <a:lnTo>
                          <a:pt x="2756" y="570"/>
                        </a:lnTo>
                        <a:lnTo>
                          <a:pt x="2754" y="572"/>
                        </a:lnTo>
                        <a:lnTo>
                          <a:pt x="2746" y="572"/>
                        </a:lnTo>
                        <a:lnTo>
                          <a:pt x="2743" y="575"/>
                        </a:lnTo>
                        <a:lnTo>
                          <a:pt x="2740" y="575"/>
                        </a:lnTo>
                        <a:lnTo>
                          <a:pt x="2738" y="577"/>
                        </a:lnTo>
                        <a:lnTo>
                          <a:pt x="2731" y="575"/>
                        </a:lnTo>
                        <a:lnTo>
                          <a:pt x="2726" y="583"/>
                        </a:lnTo>
                        <a:lnTo>
                          <a:pt x="2723" y="585"/>
                        </a:lnTo>
                        <a:lnTo>
                          <a:pt x="2725" y="592"/>
                        </a:lnTo>
                        <a:lnTo>
                          <a:pt x="2720" y="593"/>
                        </a:lnTo>
                        <a:lnTo>
                          <a:pt x="2720" y="597"/>
                        </a:lnTo>
                        <a:lnTo>
                          <a:pt x="2723" y="598"/>
                        </a:lnTo>
                        <a:lnTo>
                          <a:pt x="2723" y="603"/>
                        </a:lnTo>
                        <a:lnTo>
                          <a:pt x="2728" y="610"/>
                        </a:lnTo>
                        <a:lnTo>
                          <a:pt x="2725" y="613"/>
                        </a:lnTo>
                        <a:lnTo>
                          <a:pt x="2721" y="628"/>
                        </a:lnTo>
                        <a:lnTo>
                          <a:pt x="2728" y="635"/>
                        </a:lnTo>
                        <a:lnTo>
                          <a:pt x="2723" y="637"/>
                        </a:lnTo>
                        <a:lnTo>
                          <a:pt x="2725" y="637"/>
                        </a:lnTo>
                        <a:lnTo>
                          <a:pt x="2725" y="642"/>
                        </a:lnTo>
                        <a:lnTo>
                          <a:pt x="2720" y="647"/>
                        </a:lnTo>
                        <a:lnTo>
                          <a:pt x="2720" y="653"/>
                        </a:lnTo>
                        <a:lnTo>
                          <a:pt x="2716" y="657"/>
                        </a:lnTo>
                        <a:lnTo>
                          <a:pt x="2716" y="662"/>
                        </a:lnTo>
                        <a:lnTo>
                          <a:pt x="2713" y="670"/>
                        </a:lnTo>
                        <a:lnTo>
                          <a:pt x="2718" y="675"/>
                        </a:lnTo>
                        <a:lnTo>
                          <a:pt x="2715" y="678"/>
                        </a:lnTo>
                        <a:lnTo>
                          <a:pt x="2721" y="686"/>
                        </a:lnTo>
                        <a:lnTo>
                          <a:pt x="2718" y="688"/>
                        </a:lnTo>
                        <a:lnTo>
                          <a:pt x="2716" y="691"/>
                        </a:lnTo>
                        <a:lnTo>
                          <a:pt x="2721" y="693"/>
                        </a:lnTo>
                        <a:lnTo>
                          <a:pt x="2723" y="691"/>
                        </a:lnTo>
                        <a:lnTo>
                          <a:pt x="2728" y="691"/>
                        </a:lnTo>
                        <a:lnTo>
                          <a:pt x="2726" y="690"/>
                        </a:lnTo>
                        <a:lnTo>
                          <a:pt x="2728" y="688"/>
                        </a:lnTo>
                        <a:lnTo>
                          <a:pt x="2733" y="691"/>
                        </a:lnTo>
                        <a:lnTo>
                          <a:pt x="2735" y="691"/>
                        </a:lnTo>
                        <a:lnTo>
                          <a:pt x="2735" y="688"/>
                        </a:lnTo>
                        <a:lnTo>
                          <a:pt x="2735" y="688"/>
                        </a:lnTo>
                        <a:lnTo>
                          <a:pt x="2738" y="690"/>
                        </a:lnTo>
                        <a:lnTo>
                          <a:pt x="2743" y="691"/>
                        </a:lnTo>
                        <a:lnTo>
                          <a:pt x="2743" y="693"/>
                        </a:lnTo>
                        <a:lnTo>
                          <a:pt x="2743" y="695"/>
                        </a:lnTo>
                        <a:lnTo>
                          <a:pt x="2746" y="700"/>
                        </a:lnTo>
                        <a:lnTo>
                          <a:pt x="2746" y="701"/>
                        </a:lnTo>
                        <a:lnTo>
                          <a:pt x="2743" y="701"/>
                        </a:lnTo>
                        <a:lnTo>
                          <a:pt x="2740" y="703"/>
                        </a:lnTo>
                        <a:lnTo>
                          <a:pt x="2736" y="701"/>
                        </a:lnTo>
                        <a:lnTo>
                          <a:pt x="2733" y="703"/>
                        </a:lnTo>
                        <a:lnTo>
                          <a:pt x="2731" y="705"/>
                        </a:lnTo>
                        <a:lnTo>
                          <a:pt x="2735" y="708"/>
                        </a:lnTo>
                        <a:lnTo>
                          <a:pt x="2728" y="713"/>
                        </a:lnTo>
                        <a:lnTo>
                          <a:pt x="2725" y="711"/>
                        </a:lnTo>
                        <a:lnTo>
                          <a:pt x="2725" y="708"/>
                        </a:lnTo>
                        <a:lnTo>
                          <a:pt x="2721" y="706"/>
                        </a:lnTo>
                        <a:lnTo>
                          <a:pt x="2718" y="708"/>
                        </a:lnTo>
                        <a:lnTo>
                          <a:pt x="2716" y="706"/>
                        </a:lnTo>
                        <a:lnTo>
                          <a:pt x="2713" y="708"/>
                        </a:lnTo>
                        <a:lnTo>
                          <a:pt x="2713" y="710"/>
                        </a:lnTo>
                        <a:lnTo>
                          <a:pt x="2713" y="715"/>
                        </a:lnTo>
                        <a:lnTo>
                          <a:pt x="2711" y="715"/>
                        </a:lnTo>
                        <a:lnTo>
                          <a:pt x="2710" y="716"/>
                        </a:lnTo>
                        <a:lnTo>
                          <a:pt x="2706" y="720"/>
                        </a:lnTo>
                        <a:lnTo>
                          <a:pt x="2708" y="721"/>
                        </a:lnTo>
                        <a:lnTo>
                          <a:pt x="2706" y="723"/>
                        </a:lnTo>
                        <a:lnTo>
                          <a:pt x="2703" y="723"/>
                        </a:lnTo>
                        <a:lnTo>
                          <a:pt x="2696" y="718"/>
                        </a:lnTo>
                        <a:lnTo>
                          <a:pt x="2693" y="718"/>
                        </a:lnTo>
                        <a:lnTo>
                          <a:pt x="2698" y="723"/>
                        </a:lnTo>
                        <a:lnTo>
                          <a:pt x="2693" y="725"/>
                        </a:lnTo>
                        <a:lnTo>
                          <a:pt x="2693" y="726"/>
                        </a:lnTo>
                        <a:lnTo>
                          <a:pt x="2690" y="730"/>
                        </a:lnTo>
                        <a:lnTo>
                          <a:pt x="2683" y="731"/>
                        </a:lnTo>
                        <a:lnTo>
                          <a:pt x="2681" y="735"/>
                        </a:lnTo>
                        <a:lnTo>
                          <a:pt x="2675" y="726"/>
                        </a:lnTo>
                        <a:lnTo>
                          <a:pt x="2671" y="726"/>
                        </a:lnTo>
                        <a:lnTo>
                          <a:pt x="2668" y="725"/>
                        </a:lnTo>
                        <a:lnTo>
                          <a:pt x="2670" y="723"/>
                        </a:lnTo>
                        <a:lnTo>
                          <a:pt x="2675" y="723"/>
                        </a:lnTo>
                        <a:lnTo>
                          <a:pt x="2673" y="718"/>
                        </a:lnTo>
                        <a:lnTo>
                          <a:pt x="2675" y="716"/>
                        </a:lnTo>
                        <a:lnTo>
                          <a:pt x="2683" y="716"/>
                        </a:lnTo>
                        <a:lnTo>
                          <a:pt x="2691" y="710"/>
                        </a:lnTo>
                        <a:lnTo>
                          <a:pt x="2690" y="708"/>
                        </a:lnTo>
                        <a:lnTo>
                          <a:pt x="2686" y="706"/>
                        </a:lnTo>
                        <a:lnTo>
                          <a:pt x="2681" y="711"/>
                        </a:lnTo>
                        <a:lnTo>
                          <a:pt x="2676" y="710"/>
                        </a:lnTo>
                        <a:lnTo>
                          <a:pt x="2675" y="708"/>
                        </a:lnTo>
                        <a:lnTo>
                          <a:pt x="2671" y="705"/>
                        </a:lnTo>
                        <a:lnTo>
                          <a:pt x="2666" y="705"/>
                        </a:lnTo>
                        <a:lnTo>
                          <a:pt x="2660" y="703"/>
                        </a:lnTo>
                        <a:lnTo>
                          <a:pt x="2653" y="703"/>
                        </a:lnTo>
                        <a:lnTo>
                          <a:pt x="2655" y="706"/>
                        </a:lnTo>
                        <a:lnTo>
                          <a:pt x="2651" y="706"/>
                        </a:lnTo>
                        <a:lnTo>
                          <a:pt x="2648" y="705"/>
                        </a:lnTo>
                        <a:lnTo>
                          <a:pt x="2648" y="703"/>
                        </a:lnTo>
                        <a:lnTo>
                          <a:pt x="2642" y="703"/>
                        </a:lnTo>
                        <a:lnTo>
                          <a:pt x="2633" y="701"/>
                        </a:lnTo>
                        <a:lnTo>
                          <a:pt x="2630" y="703"/>
                        </a:lnTo>
                        <a:lnTo>
                          <a:pt x="2627" y="701"/>
                        </a:lnTo>
                        <a:lnTo>
                          <a:pt x="2620" y="700"/>
                        </a:lnTo>
                        <a:lnTo>
                          <a:pt x="2613" y="708"/>
                        </a:lnTo>
                        <a:lnTo>
                          <a:pt x="2610" y="708"/>
                        </a:lnTo>
                        <a:lnTo>
                          <a:pt x="2610" y="710"/>
                        </a:lnTo>
                        <a:lnTo>
                          <a:pt x="2617" y="715"/>
                        </a:lnTo>
                        <a:lnTo>
                          <a:pt x="2608" y="716"/>
                        </a:lnTo>
                        <a:lnTo>
                          <a:pt x="2608" y="713"/>
                        </a:lnTo>
                        <a:lnTo>
                          <a:pt x="2605" y="718"/>
                        </a:lnTo>
                        <a:lnTo>
                          <a:pt x="2610" y="721"/>
                        </a:lnTo>
                        <a:lnTo>
                          <a:pt x="2612" y="720"/>
                        </a:lnTo>
                        <a:lnTo>
                          <a:pt x="2615" y="721"/>
                        </a:lnTo>
                        <a:lnTo>
                          <a:pt x="2615" y="725"/>
                        </a:lnTo>
                        <a:lnTo>
                          <a:pt x="2605" y="728"/>
                        </a:lnTo>
                        <a:lnTo>
                          <a:pt x="2602" y="725"/>
                        </a:lnTo>
                        <a:lnTo>
                          <a:pt x="2595" y="725"/>
                        </a:lnTo>
                        <a:lnTo>
                          <a:pt x="2592" y="726"/>
                        </a:lnTo>
                        <a:lnTo>
                          <a:pt x="2593" y="730"/>
                        </a:lnTo>
                        <a:lnTo>
                          <a:pt x="2588" y="730"/>
                        </a:lnTo>
                        <a:lnTo>
                          <a:pt x="2587" y="731"/>
                        </a:lnTo>
                        <a:lnTo>
                          <a:pt x="2583" y="731"/>
                        </a:lnTo>
                        <a:lnTo>
                          <a:pt x="2582" y="728"/>
                        </a:lnTo>
                        <a:lnTo>
                          <a:pt x="2572" y="728"/>
                        </a:lnTo>
                        <a:lnTo>
                          <a:pt x="2568" y="730"/>
                        </a:lnTo>
                        <a:lnTo>
                          <a:pt x="2558" y="730"/>
                        </a:lnTo>
                        <a:lnTo>
                          <a:pt x="2553" y="731"/>
                        </a:lnTo>
                        <a:lnTo>
                          <a:pt x="2553" y="735"/>
                        </a:lnTo>
                        <a:lnTo>
                          <a:pt x="2560" y="738"/>
                        </a:lnTo>
                        <a:lnTo>
                          <a:pt x="2557" y="741"/>
                        </a:lnTo>
                        <a:lnTo>
                          <a:pt x="2555" y="746"/>
                        </a:lnTo>
                        <a:lnTo>
                          <a:pt x="2550" y="743"/>
                        </a:lnTo>
                        <a:lnTo>
                          <a:pt x="2547" y="741"/>
                        </a:lnTo>
                        <a:lnTo>
                          <a:pt x="2548" y="736"/>
                        </a:lnTo>
                        <a:lnTo>
                          <a:pt x="2544" y="733"/>
                        </a:lnTo>
                        <a:lnTo>
                          <a:pt x="2542" y="736"/>
                        </a:lnTo>
                        <a:lnTo>
                          <a:pt x="2539" y="738"/>
                        </a:lnTo>
                        <a:lnTo>
                          <a:pt x="2534" y="738"/>
                        </a:lnTo>
                        <a:lnTo>
                          <a:pt x="2529" y="741"/>
                        </a:lnTo>
                        <a:lnTo>
                          <a:pt x="2524" y="740"/>
                        </a:lnTo>
                        <a:lnTo>
                          <a:pt x="2517" y="745"/>
                        </a:lnTo>
                        <a:lnTo>
                          <a:pt x="2509" y="745"/>
                        </a:lnTo>
                        <a:lnTo>
                          <a:pt x="2500" y="751"/>
                        </a:lnTo>
                        <a:lnTo>
                          <a:pt x="2495" y="751"/>
                        </a:lnTo>
                        <a:lnTo>
                          <a:pt x="2492" y="748"/>
                        </a:lnTo>
                        <a:lnTo>
                          <a:pt x="2489" y="748"/>
                        </a:lnTo>
                        <a:lnTo>
                          <a:pt x="2489" y="753"/>
                        </a:lnTo>
                        <a:lnTo>
                          <a:pt x="2479" y="760"/>
                        </a:lnTo>
                        <a:lnTo>
                          <a:pt x="2479" y="763"/>
                        </a:lnTo>
                        <a:lnTo>
                          <a:pt x="2474" y="768"/>
                        </a:lnTo>
                        <a:lnTo>
                          <a:pt x="2472" y="773"/>
                        </a:lnTo>
                        <a:lnTo>
                          <a:pt x="2479" y="781"/>
                        </a:lnTo>
                        <a:lnTo>
                          <a:pt x="2477" y="789"/>
                        </a:lnTo>
                        <a:lnTo>
                          <a:pt x="2470" y="796"/>
                        </a:lnTo>
                        <a:lnTo>
                          <a:pt x="2467" y="804"/>
                        </a:lnTo>
                        <a:lnTo>
                          <a:pt x="2469" y="809"/>
                        </a:lnTo>
                        <a:lnTo>
                          <a:pt x="2467" y="818"/>
                        </a:lnTo>
                        <a:lnTo>
                          <a:pt x="2470" y="821"/>
                        </a:lnTo>
                        <a:lnTo>
                          <a:pt x="2470" y="826"/>
                        </a:lnTo>
                        <a:lnTo>
                          <a:pt x="2467" y="826"/>
                        </a:lnTo>
                        <a:lnTo>
                          <a:pt x="2465" y="828"/>
                        </a:lnTo>
                        <a:lnTo>
                          <a:pt x="2464" y="833"/>
                        </a:lnTo>
                        <a:lnTo>
                          <a:pt x="2462" y="834"/>
                        </a:lnTo>
                        <a:lnTo>
                          <a:pt x="2465" y="841"/>
                        </a:lnTo>
                        <a:lnTo>
                          <a:pt x="2460" y="844"/>
                        </a:lnTo>
                        <a:lnTo>
                          <a:pt x="2459" y="851"/>
                        </a:lnTo>
                        <a:lnTo>
                          <a:pt x="2452" y="858"/>
                        </a:lnTo>
                        <a:lnTo>
                          <a:pt x="2454" y="863"/>
                        </a:lnTo>
                        <a:lnTo>
                          <a:pt x="2450" y="864"/>
                        </a:lnTo>
                        <a:lnTo>
                          <a:pt x="2449" y="872"/>
                        </a:lnTo>
                        <a:lnTo>
                          <a:pt x="2447" y="872"/>
                        </a:lnTo>
                        <a:lnTo>
                          <a:pt x="2444" y="882"/>
                        </a:lnTo>
                        <a:lnTo>
                          <a:pt x="2444" y="891"/>
                        </a:lnTo>
                        <a:lnTo>
                          <a:pt x="2442" y="894"/>
                        </a:lnTo>
                        <a:lnTo>
                          <a:pt x="2446" y="899"/>
                        </a:lnTo>
                        <a:lnTo>
                          <a:pt x="2442" y="904"/>
                        </a:lnTo>
                        <a:lnTo>
                          <a:pt x="2441" y="909"/>
                        </a:lnTo>
                        <a:lnTo>
                          <a:pt x="2436" y="916"/>
                        </a:lnTo>
                        <a:lnTo>
                          <a:pt x="2436" y="917"/>
                        </a:lnTo>
                        <a:lnTo>
                          <a:pt x="2434" y="917"/>
                        </a:lnTo>
                        <a:lnTo>
                          <a:pt x="2434" y="924"/>
                        </a:lnTo>
                        <a:lnTo>
                          <a:pt x="2427" y="929"/>
                        </a:lnTo>
                        <a:lnTo>
                          <a:pt x="2426" y="937"/>
                        </a:lnTo>
                        <a:lnTo>
                          <a:pt x="2419" y="942"/>
                        </a:lnTo>
                        <a:lnTo>
                          <a:pt x="2419" y="946"/>
                        </a:lnTo>
                        <a:lnTo>
                          <a:pt x="2414" y="952"/>
                        </a:lnTo>
                        <a:lnTo>
                          <a:pt x="2414" y="957"/>
                        </a:lnTo>
                        <a:lnTo>
                          <a:pt x="2411" y="961"/>
                        </a:lnTo>
                        <a:lnTo>
                          <a:pt x="2414" y="964"/>
                        </a:lnTo>
                        <a:lnTo>
                          <a:pt x="2417" y="967"/>
                        </a:lnTo>
                        <a:lnTo>
                          <a:pt x="2422" y="965"/>
                        </a:lnTo>
                        <a:lnTo>
                          <a:pt x="2427" y="969"/>
                        </a:lnTo>
                        <a:lnTo>
                          <a:pt x="2431" y="969"/>
                        </a:lnTo>
                        <a:lnTo>
                          <a:pt x="2437" y="965"/>
                        </a:lnTo>
                        <a:lnTo>
                          <a:pt x="2441" y="964"/>
                        </a:lnTo>
                        <a:lnTo>
                          <a:pt x="2446" y="962"/>
                        </a:lnTo>
                        <a:lnTo>
                          <a:pt x="2447" y="962"/>
                        </a:lnTo>
                        <a:lnTo>
                          <a:pt x="2452" y="961"/>
                        </a:lnTo>
                        <a:lnTo>
                          <a:pt x="2452" y="972"/>
                        </a:lnTo>
                        <a:lnTo>
                          <a:pt x="2459" y="979"/>
                        </a:lnTo>
                        <a:lnTo>
                          <a:pt x="2460" y="985"/>
                        </a:lnTo>
                        <a:lnTo>
                          <a:pt x="2459" y="992"/>
                        </a:lnTo>
                        <a:lnTo>
                          <a:pt x="2465" y="995"/>
                        </a:lnTo>
                        <a:lnTo>
                          <a:pt x="2469" y="992"/>
                        </a:lnTo>
                        <a:lnTo>
                          <a:pt x="2470" y="992"/>
                        </a:lnTo>
                        <a:lnTo>
                          <a:pt x="2474" y="990"/>
                        </a:lnTo>
                        <a:lnTo>
                          <a:pt x="2475" y="987"/>
                        </a:lnTo>
                        <a:lnTo>
                          <a:pt x="2479" y="985"/>
                        </a:lnTo>
                        <a:lnTo>
                          <a:pt x="2480" y="989"/>
                        </a:lnTo>
                        <a:lnTo>
                          <a:pt x="2484" y="985"/>
                        </a:lnTo>
                        <a:lnTo>
                          <a:pt x="2489" y="985"/>
                        </a:lnTo>
                        <a:lnTo>
                          <a:pt x="2487" y="989"/>
                        </a:lnTo>
                        <a:lnTo>
                          <a:pt x="2484" y="992"/>
                        </a:lnTo>
                        <a:lnTo>
                          <a:pt x="2485" y="997"/>
                        </a:lnTo>
                        <a:lnTo>
                          <a:pt x="2482" y="997"/>
                        </a:lnTo>
                        <a:lnTo>
                          <a:pt x="2479" y="1000"/>
                        </a:lnTo>
                        <a:lnTo>
                          <a:pt x="2480" y="1002"/>
                        </a:lnTo>
                        <a:lnTo>
                          <a:pt x="2490" y="1002"/>
                        </a:lnTo>
                        <a:lnTo>
                          <a:pt x="2495" y="999"/>
                        </a:lnTo>
                        <a:lnTo>
                          <a:pt x="2499" y="992"/>
                        </a:lnTo>
                        <a:lnTo>
                          <a:pt x="2497" y="987"/>
                        </a:lnTo>
                        <a:lnTo>
                          <a:pt x="2499" y="984"/>
                        </a:lnTo>
                        <a:lnTo>
                          <a:pt x="2502" y="990"/>
                        </a:lnTo>
                        <a:lnTo>
                          <a:pt x="2500" y="995"/>
                        </a:lnTo>
                        <a:lnTo>
                          <a:pt x="2502" y="1000"/>
                        </a:lnTo>
                        <a:lnTo>
                          <a:pt x="2505" y="999"/>
                        </a:lnTo>
                        <a:lnTo>
                          <a:pt x="2507" y="994"/>
                        </a:lnTo>
                        <a:lnTo>
                          <a:pt x="2504" y="985"/>
                        </a:lnTo>
                        <a:lnTo>
                          <a:pt x="2505" y="982"/>
                        </a:lnTo>
                        <a:lnTo>
                          <a:pt x="2502" y="979"/>
                        </a:lnTo>
                        <a:lnTo>
                          <a:pt x="2499" y="970"/>
                        </a:lnTo>
                        <a:lnTo>
                          <a:pt x="2504" y="970"/>
                        </a:lnTo>
                        <a:lnTo>
                          <a:pt x="2509" y="972"/>
                        </a:lnTo>
                        <a:lnTo>
                          <a:pt x="2509" y="975"/>
                        </a:lnTo>
                        <a:lnTo>
                          <a:pt x="2510" y="977"/>
                        </a:lnTo>
                        <a:lnTo>
                          <a:pt x="2512" y="977"/>
                        </a:lnTo>
                        <a:lnTo>
                          <a:pt x="2515" y="974"/>
                        </a:lnTo>
                        <a:lnTo>
                          <a:pt x="2519" y="974"/>
                        </a:lnTo>
                        <a:lnTo>
                          <a:pt x="2525" y="970"/>
                        </a:lnTo>
                        <a:lnTo>
                          <a:pt x="2530" y="974"/>
                        </a:lnTo>
                        <a:lnTo>
                          <a:pt x="2535" y="974"/>
                        </a:lnTo>
                        <a:lnTo>
                          <a:pt x="2540" y="977"/>
                        </a:lnTo>
                        <a:lnTo>
                          <a:pt x="2542" y="982"/>
                        </a:lnTo>
                        <a:lnTo>
                          <a:pt x="2545" y="984"/>
                        </a:lnTo>
                        <a:lnTo>
                          <a:pt x="2552" y="985"/>
                        </a:lnTo>
                        <a:lnTo>
                          <a:pt x="2555" y="989"/>
                        </a:lnTo>
                        <a:lnTo>
                          <a:pt x="2565" y="992"/>
                        </a:lnTo>
                        <a:lnTo>
                          <a:pt x="2567" y="994"/>
                        </a:lnTo>
                        <a:lnTo>
                          <a:pt x="2570" y="995"/>
                        </a:lnTo>
                        <a:lnTo>
                          <a:pt x="2573" y="999"/>
                        </a:lnTo>
                        <a:lnTo>
                          <a:pt x="2577" y="999"/>
                        </a:lnTo>
                        <a:lnTo>
                          <a:pt x="2580" y="1005"/>
                        </a:lnTo>
                        <a:lnTo>
                          <a:pt x="2578" y="1009"/>
                        </a:lnTo>
                        <a:lnTo>
                          <a:pt x="2577" y="1012"/>
                        </a:lnTo>
                        <a:lnTo>
                          <a:pt x="2573" y="1014"/>
                        </a:lnTo>
                        <a:lnTo>
                          <a:pt x="2578" y="1019"/>
                        </a:lnTo>
                        <a:lnTo>
                          <a:pt x="2582" y="1019"/>
                        </a:lnTo>
                        <a:lnTo>
                          <a:pt x="2588" y="1027"/>
                        </a:lnTo>
                        <a:lnTo>
                          <a:pt x="2588" y="1030"/>
                        </a:lnTo>
                        <a:lnTo>
                          <a:pt x="2587" y="1034"/>
                        </a:lnTo>
                        <a:lnTo>
                          <a:pt x="2587" y="1039"/>
                        </a:lnTo>
                        <a:lnTo>
                          <a:pt x="2592" y="1042"/>
                        </a:lnTo>
                        <a:lnTo>
                          <a:pt x="2595" y="1044"/>
                        </a:lnTo>
                        <a:lnTo>
                          <a:pt x="2598" y="1040"/>
                        </a:lnTo>
                        <a:lnTo>
                          <a:pt x="2598" y="1044"/>
                        </a:lnTo>
                        <a:lnTo>
                          <a:pt x="2597" y="1047"/>
                        </a:lnTo>
                        <a:lnTo>
                          <a:pt x="2598" y="1052"/>
                        </a:lnTo>
                        <a:lnTo>
                          <a:pt x="2602" y="1055"/>
                        </a:lnTo>
                        <a:lnTo>
                          <a:pt x="2598" y="1057"/>
                        </a:lnTo>
                        <a:lnTo>
                          <a:pt x="2598" y="1060"/>
                        </a:lnTo>
                        <a:lnTo>
                          <a:pt x="2600" y="1065"/>
                        </a:lnTo>
                        <a:lnTo>
                          <a:pt x="2598" y="1068"/>
                        </a:lnTo>
                        <a:lnTo>
                          <a:pt x="2600" y="1070"/>
                        </a:lnTo>
                        <a:lnTo>
                          <a:pt x="2600" y="1073"/>
                        </a:lnTo>
                        <a:lnTo>
                          <a:pt x="2598" y="1075"/>
                        </a:lnTo>
                        <a:lnTo>
                          <a:pt x="2600" y="1077"/>
                        </a:lnTo>
                        <a:lnTo>
                          <a:pt x="2598" y="1080"/>
                        </a:lnTo>
                        <a:lnTo>
                          <a:pt x="2602" y="1090"/>
                        </a:lnTo>
                        <a:lnTo>
                          <a:pt x="2600" y="1093"/>
                        </a:lnTo>
                        <a:lnTo>
                          <a:pt x="2602" y="1102"/>
                        </a:lnTo>
                        <a:lnTo>
                          <a:pt x="2602" y="1105"/>
                        </a:lnTo>
                        <a:lnTo>
                          <a:pt x="2602" y="1108"/>
                        </a:lnTo>
                        <a:lnTo>
                          <a:pt x="2607" y="1123"/>
                        </a:lnTo>
                        <a:lnTo>
                          <a:pt x="2610" y="1123"/>
                        </a:lnTo>
                        <a:lnTo>
                          <a:pt x="2615" y="1120"/>
                        </a:lnTo>
                        <a:lnTo>
                          <a:pt x="2615" y="1123"/>
                        </a:lnTo>
                        <a:lnTo>
                          <a:pt x="2612" y="1128"/>
                        </a:lnTo>
                        <a:lnTo>
                          <a:pt x="2610" y="1130"/>
                        </a:lnTo>
                        <a:lnTo>
                          <a:pt x="2612" y="1135"/>
                        </a:lnTo>
                        <a:lnTo>
                          <a:pt x="2613" y="1135"/>
                        </a:lnTo>
                        <a:lnTo>
                          <a:pt x="2622" y="1142"/>
                        </a:lnTo>
                        <a:lnTo>
                          <a:pt x="2620" y="1150"/>
                        </a:lnTo>
                        <a:lnTo>
                          <a:pt x="2622" y="1152"/>
                        </a:lnTo>
                        <a:lnTo>
                          <a:pt x="2622" y="1155"/>
                        </a:lnTo>
                        <a:lnTo>
                          <a:pt x="2623" y="1165"/>
                        </a:lnTo>
                        <a:lnTo>
                          <a:pt x="2627" y="1165"/>
                        </a:lnTo>
                        <a:lnTo>
                          <a:pt x="2627" y="1170"/>
                        </a:lnTo>
                        <a:lnTo>
                          <a:pt x="2625" y="1171"/>
                        </a:lnTo>
                        <a:lnTo>
                          <a:pt x="2625" y="1178"/>
                        </a:lnTo>
                        <a:lnTo>
                          <a:pt x="2628" y="1183"/>
                        </a:lnTo>
                        <a:lnTo>
                          <a:pt x="2628" y="1188"/>
                        </a:lnTo>
                        <a:lnTo>
                          <a:pt x="2622" y="1195"/>
                        </a:lnTo>
                        <a:lnTo>
                          <a:pt x="2620" y="1201"/>
                        </a:lnTo>
                        <a:lnTo>
                          <a:pt x="2617" y="1208"/>
                        </a:lnTo>
                        <a:lnTo>
                          <a:pt x="2618" y="1216"/>
                        </a:lnTo>
                        <a:lnTo>
                          <a:pt x="2620" y="1216"/>
                        </a:lnTo>
                        <a:lnTo>
                          <a:pt x="2618" y="1223"/>
                        </a:lnTo>
                        <a:lnTo>
                          <a:pt x="2615" y="1226"/>
                        </a:lnTo>
                        <a:lnTo>
                          <a:pt x="2615" y="1233"/>
                        </a:lnTo>
                        <a:lnTo>
                          <a:pt x="2612" y="1240"/>
                        </a:lnTo>
                        <a:lnTo>
                          <a:pt x="2613" y="1240"/>
                        </a:lnTo>
                        <a:lnTo>
                          <a:pt x="2613" y="1243"/>
                        </a:lnTo>
                        <a:lnTo>
                          <a:pt x="2610" y="1248"/>
                        </a:lnTo>
                        <a:lnTo>
                          <a:pt x="2612" y="1258"/>
                        </a:lnTo>
                        <a:lnTo>
                          <a:pt x="2607" y="1263"/>
                        </a:lnTo>
                        <a:lnTo>
                          <a:pt x="2608" y="1268"/>
                        </a:lnTo>
                        <a:lnTo>
                          <a:pt x="2610" y="1269"/>
                        </a:lnTo>
                        <a:lnTo>
                          <a:pt x="2610" y="1273"/>
                        </a:lnTo>
                        <a:lnTo>
                          <a:pt x="2605" y="1279"/>
                        </a:lnTo>
                        <a:lnTo>
                          <a:pt x="2603" y="1284"/>
                        </a:lnTo>
                        <a:lnTo>
                          <a:pt x="2598" y="1289"/>
                        </a:lnTo>
                        <a:lnTo>
                          <a:pt x="2598" y="1293"/>
                        </a:lnTo>
                        <a:lnTo>
                          <a:pt x="2593" y="1299"/>
                        </a:lnTo>
                        <a:lnTo>
                          <a:pt x="2588" y="1318"/>
                        </a:lnTo>
                        <a:lnTo>
                          <a:pt x="2585" y="1319"/>
                        </a:lnTo>
                        <a:lnTo>
                          <a:pt x="2585" y="1324"/>
                        </a:lnTo>
                        <a:lnTo>
                          <a:pt x="2587" y="1326"/>
                        </a:lnTo>
                        <a:lnTo>
                          <a:pt x="2587" y="1328"/>
                        </a:lnTo>
                        <a:lnTo>
                          <a:pt x="2580" y="1331"/>
                        </a:lnTo>
                        <a:lnTo>
                          <a:pt x="2580" y="1336"/>
                        </a:lnTo>
                        <a:lnTo>
                          <a:pt x="2575" y="1338"/>
                        </a:lnTo>
                        <a:lnTo>
                          <a:pt x="2575" y="1346"/>
                        </a:lnTo>
                        <a:lnTo>
                          <a:pt x="2573" y="1346"/>
                        </a:lnTo>
                        <a:lnTo>
                          <a:pt x="2575" y="1349"/>
                        </a:lnTo>
                        <a:lnTo>
                          <a:pt x="2570" y="1357"/>
                        </a:lnTo>
                        <a:lnTo>
                          <a:pt x="2568" y="1356"/>
                        </a:lnTo>
                        <a:lnTo>
                          <a:pt x="2565" y="1356"/>
                        </a:lnTo>
                        <a:lnTo>
                          <a:pt x="2567" y="1359"/>
                        </a:lnTo>
                        <a:lnTo>
                          <a:pt x="2567" y="1364"/>
                        </a:lnTo>
                        <a:lnTo>
                          <a:pt x="2562" y="1367"/>
                        </a:lnTo>
                        <a:lnTo>
                          <a:pt x="2563" y="1369"/>
                        </a:lnTo>
                        <a:lnTo>
                          <a:pt x="2555" y="1379"/>
                        </a:lnTo>
                        <a:lnTo>
                          <a:pt x="2552" y="1384"/>
                        </a:lnTo>
                        <a:lnTo>
                          <a:pt x="2548" y="1384"/>
                        </a:lnTo>
                        <a:lnTo>
                          <a:pt x="2547" y="1387"/>
                        </a:lnTo>
                        <a:lnTo>
                          <a:pt x="2540" y="1387"/>
                        </a:lnTo>
                        <a:lnTo>
                          <a:pt x="2535" y="1394"/>
                        </a:lnTo>
                        <a:lnTo>
                          <a:pt x="2532" y="1391"/>
                        </a:lnTo>
                        <a:lnTo>
                          <a:pt x="2529" y="1392"/>
                        </a:lnTo>
                        <a:lnTo>
                          <a:pt x="2522" y="1389"/>
                        </a:lnTo>
                        <a:lnTo>
                          <a:pt x="2514" y="1387"/>
                        </a:lnTo>
                        <a:lnTo>
                          <a:pt x="2514" y="1379"/>
                        </a:lnTo>
                        <a:lnTo>
                          <a:pt x="2510" y="1377"/>
                        </a:lnTo>
                        <a:lnTo>
                          <a:pt x="2505" y="1379"/>
                        </a:lnTo>
                        <a:lnTo>
                          <a:pt x="2500" y="1376"/>
                        </a:lnTo>
                        <a:lnTo>
                          <a:pt x="2499" y="1379"/>
                        </a:lnTo>
                        <a:lnTo>
                          <a:pt x="2499" y="1382"/>
                        </a:lnTo>
                        <a:lnTo>
                          <a:pt x="2494" y="1386"/>
                        </a:lnTo>
                        <a:lnTo>
                          <a:pt x="2494" y="1394"/>
                        </a:lnTo>
                        <a:lnTo>
                          <a:pt x="2490" y="1396"/>
                        </a:lnTo>
                        <a:lnTo>
                          <a:pt x="2489" y="1402"/>
                        </a:lnTo>
                        <a:lnTo>
                          <a:pt x="2487" y="1401"/>
                        </a:lnTo>
                        <a:lnTo>
                          <a:pt x="2480" y="1402"/>
                        </a:lnTo>
                        <a:lnTo>
                          <a:pt x="2479" y="1409"/>
                        </a:lnTo>
                        <a:lnTo>
                          <a:pt x="2477" y="1409"/>
                        </a:lnTo>
                        <a:lnTo>
                          <a:pt x="2477" y="1409"/>
                        </a:lnTo>
                        <a:close/>
                        <a:moveTo>
                          <a:pt x="804" y="1424"/>
                        </a:moveTo>
                        <a:lnTo>
                          <a:pt x="799" y="1419"/>
                        </a:lnTo>
                        <a:lnTo>
                          <a:pt x="769" y="1424"/>
                        </a:lnTo>
                        <a:lnTo>
                          <a:pt x="804" y="1424"/>
                        </a:lnTo>
                        <a:lnTo>
                          <a:pt x="804" y="1424"/>
                        </a:lnTo>
                        <a:close/>
                        <a:moveTo>
                          <a:pt x="2834" y="1331"/>
                        </a:moveTo>
                        <a:lnTo>
                          <a:pt x="2836" y="1331"/>
                        </a:lnTo>
                        <a:lnTo>
                          <a:pt x="2841" y="1329"/>
                        </a:lnTo>
                        <a:lnTo>
                          <a:pt x="2841" y="1326"/>
                        </a:lnTo>
                        <a:lnTo>
                          <a:pt x="2838" y="1328"/>
                        </a:lnTo>
                        <a:lnTo>
                          <a:pt x="2834" y="1331"/>
                        </a:lnTo>
                        <a:lnTo>
                          <a:pt x="2834" y="1331"/>
                        </a:lnTo>
                        <a:close/>
                        <a:moveTo>
                          <a:pt x="2475" y="85"/>
                        </a:moveTo>
                        <a:lnTo>
                          <a:pt x="2477" y="83"/>
                        </a:lnTo>
                        <a:lnTo>
                          <a:pt x="2479" y="82"/>
                        </a:lnTo>
                        <a:lnTo>
                          <a:pt x="2475" y="78"/>
                        </a:lnTo>
                        <a:lnTo>
                          <a:pt x="2474" y="82"/>
                        </a:lnTo>
                        <a:lnTo>
                          <a:pt x="2475" y="85"/>
                        </a:lnTo>
                        <a:lnTo>
                          <a:pt x="2475" y="85"/>
                        </a:lnTo>
                        <a:close/>
                        <a:moveTo>
                          <a:pt x="2457" y="80"/>
                        </a:moveTo>
                        <a:lnTo>
                          <a:pt x="2460" y="80"/>
                        </a:lnTo>
                        <a:lnTo>
                          <a:pt x="2462" y="78"/>
                        </a:lnTo>
                        <a:lnTo>
                          <a:pt x="2455" y="77"/>
                        </a:lnTo>
                        <a:lnTo>
                          <a:pt x="2454" y="78"/>
                        </a:lnTo>
                        <a:lnTo>
                          <a:pt x="2457" y="80"/>
                        </a:lnTo>
                        <a:lnTo>
                          <a:pt x="2457" y="80"/>
                        </a:lnTo>
                        <a:close/>
                        <a:moveTo>
                          <a:pt x="2439" y="87"/>
                        </a:moveTo>
                        <a:lnTo>
                          <a:pt x="2441" y="87"/>
                        </a:lnTo>
                        <a:lnTo>
                          <a:pt x="2442" y="85"/>
                        </a:lnTo>
                        <a:lnTo>
                          <a:pt x="2441" y="82"/>
                        </a:lnTo>
                        <a:lnTo>
                          <a:pt x="2437" y="80"/>
                        </a:lnTo>
                        <a:lnTo>
                          <a:pt x="2436" y="83"/>
                        </a:lnTo>
                        <a:lnTo>
                          <a:pt x="2439" y="87"/>
                        </a:lnTo>
                        <a:lnTo>
                          <a:pt x="2439" y="87"/>
                        </a:lnTo>
                        <a:close/>
                        <a:moveTo>
                          <a:pt x="2859" y="552"/>
                        </a:moveTo>
                        <a:lnTo>
                          <a:pt x="2857" y="552"/>
                        </a:lnTo>
                        <a:lnTo>
                          <a:pt x="2859" y="557"/>
                        </a:lnTo>
                        <a:lnTo>
                          <a:pt x="2861" y="555"/>
                        </a:lnTo>
                        <a:lnTo>
                          <a:pt x="2861" y="552"/>
                        </a:lnTo>
                        <a:lnTo>
                          <a:pt x="2859" y="550"/>
                        </a:lnTo>
                        <a:lnTo>
                          <a:pt x="2859" y="552"/>
                        </a:lnTo>
                        <a:lnTo>
                          <a:pt x="2859" y="552"/>
                        </a:lnTo>
                        <a:close/>
                        <a:moveTo>
                          <a:pt x="2852" y="544"/>
                        </a:moveTo>
                        <a:lnTo>
                          <a:pt x="2857" y="547"/>
                        </a:lnTo>
                        <a:lnTo>
                          <a:pt x="2859" y="547"/>
                        </a:lnTo>
                        <a:lnTo>
                          <a:pt x="2859" y="545"/>
                        </a:lnTo>
                        <a:lnTo>
                          <a:pt x="2856" y="540"/>
                        </a:lnTo>
                        <a:lnTo>
                          <a:pt x="2852" y="540"/>
                        </a:lnTo>
                        <a:lnTo>
                          <a:pt x="2852" y="544"/>
                        </a:lnTo>
                        <a:lnTo>
                          <a:pt x="2852" y="544"/>
                        </a:lnTo>
                        <a:close/>
                        <a:moveTo>
                          <a:pt x="456" y="278"/>
                        </a:moveTo>
                        <a:lnTo>
                          <a:pt x="457" y="276"/>
                        </a:lnTo>
                        <a:lnTo>
                          <a:pt x="459" y="274"/>
                        </a:lnTo>
                        <a:lnTo>
                          <a:pt x="465" y="271"/>
                        </a:lnTo>
                        <a:lnTo>
                          <a:pt x="465" y="268"/>
                        </a:lnTo>
                        <a:lnTo>
                          <a:pt x="464" y="268"/>
                        </a:lnTo>
                        <a:lnTo>
                          <a:pt x="459" y="271"/>
                        </a:lnTo>
                        <a:lnTo>
                          <a:pt x="456" y="271"/>
                        </a:lnTo>
                        <a:lnTo>
                          <a:pt x="454" y="274"/>
                        </a:lnTo>
                        <a:lnTo>
                          <a:pt x="456" y="278"/>
                        </a:lnTo>
                        <a:lnTo>
                          <a:pt x="456" y="278"/>
                        </a:lnTo>
                        <a:close/>
                        <a:moveTo>
                          <a:pt x="426" y="417"/>
                        </a:moveTo>
                        <a:lnTo>
                          <a:pt x="432" y="417"/>
                        </a:lnTo>
                        <a:lnTo>
                          <a:pt x="441" y="414"/>
                        </a:lnTo>
                        <a:lnTo>
                          <a:pt x="446" y="412"/>
                        </a:lnTo>
                        <a:lnTo>
                          <a:pt x="451" y="414"/>
                        </a:lnTo>
                        <a:lnTo>
                          <a:pt x="452" y="416"/>
                        </a:lnTo>
                        <a:lnTo>
                          <a:pt x="457" y="417"/>
                        </a:lnTo>
                        <a:lnTo>
                          <a:pt x="462" y="416"/>
                        </a:lnTo>
                        <a:lnTo>
                          <a:pt x="459" y="412"/>
                        </a:lnTo>
                        <a:lnTo>
                          <a:pt x="459" y="409"/>
                        </a:lnTo>
                        <a:lnTo>
                          <a:pt x="462" y="411"/>
                        </a:lnTo>
                        <a:lnTo>
                          <a:pt x="464" y="414"/>
                        </a:lnTo>
                        <a:lnTo>
                          <a:pt x="469" y="416"/>
                        </a:lnTo>
                        <a:lnTo>
                          <a:pt x="475" y="416"/>
                        </a:lnTo>
                        <a:lnTo>
                          <a:pt x="475" y="414"/>
                        </a:lnTo>
                        <a:lnTo>
                          <a:pt x="480" y="414"/>
                        </a:lnTo>
                        <a:lnTo>
                          <a:pt x="482" y="407"/>
                        </a:lnTo>
                        <a:lnTo>
                          <a:pt x="482" y="402"/>
                        </a:lnTo>
                        <a:lnTo>
                          <a:pt x="485" y="399"/>
                        </a:lnTo>
                        <a:lnTo>
                          <a:pt x="485" y="394"/>
                        </a:lnTo>
                        <a:lnTo>
                          <a:pt x="482" y="392"/>
                        </a:lnTo>
                        <a:lnTo>
                          <a:pt x="480" y="386"/>
                        </a:lnTo>
                        <a:lnTo>
                          <a:pt x="475" y="386"/>
                        </a:lnTo>
                        <a:lnTo>
                          <a:pt x="472" y="386"/>
                        </a:lnTo>
                        <a:lnTo>
                          <a:pt x="470" y="384"/>
                        </a:lnTo>
                        <a:lnTo>
                          <a:pt x="474" y="382"/>
                        </a:lnTo>
                        <a:lnTo>
                          <a:pt x="477" y="382"/>
                        </a:lnTo>
                        <a:lnTo>
                          <a:pt x="480" y="382"/>
                        </a:lnTo>
                        <a:lnTo>
                          <a:pt x="482" y="386"/>
                        </a:lnTo>
                        <a:lnTo>
                          <a:pt x="482" y="389"/>
                        </a:lnTo>
                        <a:lnTo>
                          <a:pt x="485" y="389"/>
                        </a:lnTo>
                        <a:lnTo>
                          <a:pt x="487" y="387"/>
                        </a:lnTo>
                        <a:lnTo>
                          <a:pt x="485" y="381"/>
                        </a:lnTo>
                        <a:lnTo>
                          <a:pt x="480" y="374"/>
                        </a:lnTo>
                        <a:lnTo>
                          <a:pt x="475" y="368"/>
                        </a:lnTo>
                        <a:lnTo>
                          <a:pt x="477" y="366"/>
                        </a:lnTo>
                        <a:lnTo>
                          <a:pt x="480" y="369"/>
                        </a:lnTo>
                        <a:lnTo>
                          <a:pt x="480" y="372"/>
                        </a:lnTo>
                        <a:lnTo>
                          <a:pt x="485" y="374"/>
                        </a:lnTo>
                        <a:lnTo>
                          <a:pt x="490" y="376"/>
                        </a:lnTo>
                        <a:lnTo>
                          <a:pt x="490" y="372"/>
                        </a:lnTo>
                        <a:lnTo>
                          <a:pt x="490" y="369"/>
                        </a:lnTo>
                        <a:lnTo>
                          <a:pt x="489" y="368"/>
                        </a:lnTo>
                        <a:lnTo>
                          <a:pt x="489" y="366"/>
                        </a:lnTo>
                        <a:lnTo>
                          <a:pt x="492" y="361"/>
                        </a:lnTo>
                        <a:lnTo>
                          <a:pt x="492" y="358"/>
                        </a:lnTo>
                        <a:lnTo>
                          <a:pt x="487" y="353"/>
                        </a:lnTo>
                        <a:lnTo>
                          <a:pt x="482" y="348"/>
                        </a:lnTo>
                        <a:lnTo>
                          <a:pt x="485" y="348"/>
                        </a:lnTo>
                        <a:lnTo>
                          <a:pt x="490" y="349"/>
                        </a:lnTo>
                        <a:lnTo>
                          <a:pt x="494" y="349"/>
                        </a:lnTo>
                        <a:lnTo>
                          <a:pt x="495" y="344"/>
                        </a:lnTo>
                        <a:lnTo>
                          <a:pt x="494" y="343"/>
                        </a:lnTo>
                        <a:lnTo>
                          <a:pt x="490" y="343"/>
                        </a:lnTo>
                        <a:lnTo>
                          <a:pt x="490" y="338"/>
                        </a:lnTo>
                        <a:lnTo>
                          <a:pt x="494" y="336"/>
                        </a:lnTo>
                        <a:lnTo>
                          <a:pt x="499" y="339"/>
                        </a:lnTo>
                        <a:lnTo>
                          <a:pt x="504" y="341"/>
                        </a:lnTo>
                        <a:lnTo>
                          <a:pt x="507" y="339"/>
                        </a:lnTo>
                        <a:lnTo>
                          <a:pt x="504" y="338"/>
                        </a:lnTo>
                        <a:lnTo>
                          <a:pt x="502" y="334"/>
                        </a:lnTo>
                        <a:lnTo>
                          <a:pt x="507" y="334"/>
                        </a:lnTo>
                        <a:lnTo>
                          <a:pt x="509" y="336"/>
                        </a:lnTo>
                        <a:lnTo>
                          <a:pt x="512" y="333"/>
                        </a:lnTo>
                        <a:lnTo>
                          <a:pt x="514" y="329"/>
                        </a:lnTo>
                        <a:lnTo>
                          <a:pt x="512" y="328"/>
                        </a:lnTo>
                        <a:lnTo>
                          <a:pt x="512" y="326"/>
                        </a:lnTo>
                        <a:lnTo>
                          <a:pt x="519" y="323"/>
                        </a:lnTo>
                        <a:lnTo>
                          <a:pt x="520" y="319"/>
                        </a:lnTo>
                        <a:lnTo>
                          <a:pt x="515" y="318"/>
                        </a:lnTo>
                        <a:lnTo>
                          <a:pt x="514" y="314"/>
                        </a:lnTo>
                        <a:lnTo>
                          <a:pt x="517" y="311"/>
                        </a:lnTo>
                        <a:lnTo>
                          <a:pt x="519" y="314"/>
                        </a:lnTo>
                        <a:lnTo>
                          <a:pt x="522" y="313"/>
                        </a:lnTo>
                        <a:lnTo>
                          <a:pt x="529" y="304"/>
                        </a:lnTo>
                        <a:lnTo>
                          <a:pt x="530" y="299"/>
                        </a:lnTo>
                        <a:lnTo>
                          <a:pt x="534" y="296"/>
                        </a:lnTo>
                        <a:lnTo>
                          <a:pt x="534" y="291"/>
                        </a:lnTo>
                        <a:lnTo>
                          <a:pt x="540" y="288"/>
                        </a:lnTo>
                        <a:lnTo>
                          <a:pt x="544" y="281"/>
                        </a:lnTo>
                        <a:lnTo>
                          <a:pt x="547" y="273"/>
                        </a:lnTo>
                        <a:lnTo>
                          <a:pt x="550" y="273"/>
                        </a:lnTo>
                        <a:lnTo>
                          <a:pt x="560" y="268"/>
                        </a:lnTo>
                        <a:lnTo>
                          <a:pt x="570" y="256"/>
                        </a:lnTo>
                        <a:lnTo>
                          <a:pt x="577" y="251"/>
                        </a:lnTo>
                        <a:lnTo>
                          <a:pt x="580" y="251"/>
                        </a:lnTo>
                        <a:lnTo>
                          <a:pt x="587" y="246"/>
                        </a:lnTo>
                        <a:lnTo>
                          <a:pt x="595" y="245"/>
                        </a:lnTo>
                        <a:lnTo>
                          <a:pt x="598" y="241"/>
                        </a:lnTo>
                        <a:lnTo>
                          <a:pt x="605" y="233"/>
                        </a:lnTo>
                        <a:lnTo>
                          <a:pt x="610" y="231"/>
                        </a:lnTo>
                        <a:lnTo>
                          <a:pt x="612" y="231"/>
                        </a:lnTo>
                        <a:lnTo>
                          <a:pt x="617" y="230"/>
                        </a:lnTo>
                        <a:lnTo>
                          <a:pt x="617" y="226"/>
                        </a:lnTo>
                        <a:lnTo>
                          <a:pt x="615" y="225"/>
                        </a:lnTo>
                        <a:lnTo>
                          <a:pt x="617" y="221"/>
                        </a:lnTo>
                        <a:lnTo>
                          <a:pt x="617" y="216"/>
                        </a:lnTo>
                        <a:lnTo>
                          <a:pt x="617" y="211"/>
                        </a:lnTo>
                        <a:lnTo>
                          <a:pt x="615" y="210"/>
                        </a:lnTo>
                        <a:lnTo>
                          <a:pt x="612" y="210"/>
                        </a:lnTo>
                        <a:lnTo>
                          <a:pt x="612" y="205"/>
                        </a:lnTo>
                        <a:lnTo>
                          <a:pt x="613" y="198"/>
                        </a:lnTo>
                        <a:lnTo>
                          <a:pt x="612" y="196"/>
                        </a:lnTo>
                        <a:lnTo>
                          <a:pt x="607" y="196"/>
                        </a:lnTo>
                        <a:lnTo>
                          <a:pt x="605" y="193"/>
                        </a:lnTo>
                        <a:lnTo>
                          <a:pt x="600" y="193"/>
                        </a:lnTo>
                        <a:lnTo>
                          <a:pt x="598" y="190"/>
                        </a:lnTo>
                        <a:lnTo>
                          <a:pt x="597" y="186"/>
                        </a:lnTo>
                        <a:lnTo>
                          <a:pt x="595" y="185"/>
                        </a:lnTo>
                        <a:lnTo>
                          <a:pt x="590" y="186"/>
                        </a:lnTo>
                        <a:lnTo>
                          <a:pt x="588" y="190"/>
                        </a:lnTo>
                        <a:lnTo>
                          <a:pt x="587" y="188"/>
                        </a:lnTo>
                        <a:lnTo>
                          <a:pt x="582" y="186"/>
                        </a:lnTo>
                        <a:lnTo>
                          <a:pt x="578" y="188"/>
                        </a:lnTo>
                        <a:lnTo>
                          <a:pt x="572" y="191"/>
                        </a:lnTo>
                        <a:lnTo>
                          <a:pt x="572" y="195"/>
                        </a:lnTo>
                        <a:lnTo>
                          <a:pt x="568" y="198"/>
                        </a:lnTo>
                        <a:lnTo>
                          <a:pt x="565" y="198"/>
                        </a:lnTo>
                        <a:lnTo>
                          <a:pt x="562" y="201"/>
                        </a:lnTo>
                        <a:lnTo>
                          <a:pt x="562" y="203"/>
                        </a:lnTo>
                        <a:lnTo>
                          <a:pt x="559" y="208"/>
                        </a:lnTo>
                        <a:lnTo>
                          <a:pt x="557" y="210"/>
                        </a:lnTo>
                        <a:lnTo>
                          <a:pt x="560" y="215"/>
                        </a:lnTo>
                        <a:lnTo>
                          <a:pt x="560" y="216"/>
                        </a:lnTo>
                        <a:lnTo>
                          <a:pt x="557" y="216"/>
                        </a:lnTo>
                        <a:lnTo>
                          <a:pt x="554" y="220"/>
                        </a:lnTo>
                        <a:lnTo>
                          <a:pt x="554" y="223"/>
                        </a:lnTo>
                        <a:lnTo>
                          <a:pt x="552" y="223"/>
                        </a:lnTo>
                        <a:lnTo>
                          <a:pt x="549" y="226"/>
                        </a:lnTo>
                        <a:lnTo>
                          <a:pt x="540" y="231"/>
                        </a:lnTo>
                        <a:lnTo>
                          <a:pt x="539" y="235"/>
                        </a:lnTo>
                        <a:lnTo>
                          <a:pt x="535" y="233"/>
                        </a:lnTo>
                        <a:lnTo>
                          <a:pt x="532" y="233"/>
                        </a:lnTo>
                        <a:lnTo>
                          <a:pt x="529" y="236"/>
                        </a:lnTo>
                        <a:lnTo>
                          <a:pt x="524" y="241"/>
                        </a:lnTo>
                        <a:lnTo>
                          <a:pt x="520" y="243"/>
                        </a:lnTo>
                        <a:lnTo>
                          <a:pt x="519" y="243"/>
                        </a:lnTo>
                        <a:lnTo>
                          <a:pt x="517" y="240"/>
                        </a:lnTo>
                        <a:lnTo>
                          <a:pt x="515" y="240"/>
                        </a:lnTo>
                        <a:lnTo>
                          <a:pt x="515" y="241"/>
                        </a:lnTo>
                        <a:lnTo>
                          <a:pt x="515" y="246"/>
                        </a:lnTo>
                        <a:lnTo>
                          <a:pt x="514" y="248"/>
                        </a:lnTo>
                        <a:lnTo>
                          <a:pt x="512" y="245"/>
                        </a:lnTo>
                        <a:lnTo>
                          <a:pt x="510" y="241"/>
                        </a:lnTo>
                        <a:lnTo>
                          <a:pt x="502" y="241"/>
                        </a:lnTo>
                        <a:lnTo>
                          <a:pt x="494" y="243"/>
                        </a:lnTo>
                        <a:lnTo>
                          <a:pt x="492" y="245"/>
                        </a:lnTo>
                        <a:lnTo>
                          <a:pt x="489" y="246"/>
                        </a:lnTo>
                        <a:lnTo>
                          <a:pt x="487" y="248"/>
                        </a:lnTo>
                        <a:lnTo>
                          <a:pt x="489" y="253"/>
                        </a:lnTo>
                        <a:lnTo>
                          <a:pt x="492" y="256"/>
                        </a:lnTo>
                        <a:lnTo>
                          <a:pt x="490" y="258"/>
                        </a:lnTo>
                        <a:lnTo>
                          <a:pt x="489" y="258"/>
                        </a:lnTo>
                        <a:lnTo>
                          <a:pt x="485" y="261"/>
                        </a:lnTo>
                        <a:lnTo>
                          <a:pt x="484" y="261"/>
                        </a:lnTo>
                        <a:lnTo>
                          <a:pt x="484" y="260"/>
                        </a:lnTo>
                        <a:lnTo>
                          <a:pt x="485" y="258"/>
                        </a:lnTo>
                        <a:lnTo>
                          <a:pt x="485" y="255"/>
                        </a:lnTo>
                        <a:lnTo>
                          <a:pt x="482" y="255"/>
                        </a:lnTo>
                        <a:lnTo>
                          <a:pt x="479" y="260"/>
                        </a:lnTo>
                        <a:lnTo>
                          <a:pt x="475" y="261"/>
                        </a:lnTo>
                        <a:lnTo>
                          <a:pt x="475" y="265"/>
                        </a:lnTo>
                        <a:lnTo>
                          <a:pt x="479" y="266"/>
                        </a:lnTo>
                        <a:lnTo>
                          <a:pt x="475" y="268"/>
                        </a:lnTo>
                        <a:lnTo>
                          <a:pt x="474" y="271"/>
                        </a:lnTo>
                        <a:lnTo>
                          <a:pt x="469" y="271"/>
                        </a:lnTo>
                        <a:lnTo>
                          <a:pt x="465" y="273"/>
                        </a:lnTo>
                        <a:lnTo>
                          <a:pt x="465" y="276"/>
                        </a:lnTo>
                        <a:lnTo>
                          <a:pt x="461" y="278"/>
                        </a:lnTo>
                        <a:lnTo>
                          <a:pt x="459" y="279"/>
                        </a:lnTo>
                        <a:lnTo>
                          <a:pt x="457" y="286"/>
                        </a:lnTo>
                        <a:lnTo>
                          <a:pt x="459" y="288"/>
                        </a:lnTo>
                        <a:lnTo>
                          <a:pt x="461" y="288"/>
                        </a:lnTo>
                        <a:lnTo>
                          <a:pt x="457" y="291"/>
                        </a:lnTo>
                        <a:lnTo>
                          <a:pt x="451" y="291"/>
                        </a:lnTo>
                        <a:lnTo>
                          <a:pt x="447" y="293"/>
                        </a:lnTo>
                        <a:lnTo>
                          <a:pt x="447" y="298"/>
                        </a:lnTo>
                        <a:lnTo>
                          <a:pt x="447" y="301"/>
                        </a:lnTo>
                        <a:lnTo>
                          <a:pt x="451" y="303"/>
                        </a:lnTo>
                        <a:lnTo>
                          <a:pt x="454" y="301"/>
                        </a:lnTo>
                        <a:lnTo>
                          <a:pt x="456" y="303"/>
                        </a:lnTo>
                        <a:lnTo>
                          <a:pt x="454" y="306"/>
                        </a:lnTo>
                        <a:lnTo>
                          <a:pt x="456" y="309"/>
                        </a:lnTo>
                        <a:lnTo>
                          <a:pt x="452" y="311"/>
                        </a:lnTo>
                        <a:lnTo>
                          <a:pt x="449" y="311"/>
                        </a:lnTo>
                        <a:lnTo>
                          <a:pt x="442" y="309"/>
                        </a:lnTo>
                        <a:lnTo>
                          <a:pt x="437" y="311"/>
                        </a:lnTo>
                        <a:lnTo>
                          <a:pt x="436" y="314"/>
                        </a:lnTo>
                        <a:lnTo>
                          <a:pt x="437" y="318"/>
                        </a:lnTo>
                        <a:lnTo>
                          <a:pt x="434" y="321"/>
                        </a:lnTo>
                        <a:lnTo>
                          <a:pt x="431" y="324"/>
                        </a:lnTo>
                        <a:lnTo>
                          <a:pt x="427" y="323"/>
                        </a:lnTo>
                        <a:lnTo>
                          <a:pt x="424" y="321"/>
                        </a:lnTo>
                        <a:lnTo>
                          <a:pt x="422" y="318"/>
                        </a:lnTo>
                        <a:lnTo>
                          <a:pt x="421" y="318"/>
                        </a:lnTo>
                        <a:lnTo>
                          <a:pt x="419" y="324"/>
                        </a:lnTo>
                        <a:lnTo>
                          <a:pt x="421" y="328"/>
                        </a:lnTo>
                        <a:lnTo>
                          <a:pt x="426" y="331"/>
                        </a:lnTo>
                        <a:lnTo>
                          <a:pt x="427" y="331"/>
                        </a:lnTo>
                        <a:lnTo>
                          <a:pt x="429" y="331"/>
                        </a:lnTo>
                        <a:lnTo>
                          <a:pt x="429" y="334"/>
                        </a:lnTo>
                        <a:lnTo>
                          <a:pt x="427" y="339"/>
                        </a:lnTo>
                        <a:lnTo>
                          <a:pt x="429" y="341"/>
                        </a:lnTo>
                        <a:lnTo>
                          <a:pt x="431" y="343"/>
                        </a:lnTo>
                        <a:lnTo>
                          <a:pt x="434" y="339"/>
                        </a:lnTo>
                        <a:lnTo>
                          <a:pt x="436" y="339"/>
                        </a:lnTo>
                        <a:lnTo>
                          <a:pt x="437" y="341"/>
                        </a:lnTo>
                        <a:lnTo>
                          <a:pt x="442" y="341"/>
                        </a:lnTo>
                        <a:lnTo>
                          <a:pt x="446" y="339"/>
                        </a:lnTo>
                        <a:lnTo>
                          <a:pt x="447" y="341"/>
                        </a:lnTo>
                        <a:lnTo>
                          <a:pt x="446" y="343"/>
                        </a:lnTo>
                        <a:lnTo>
                          <a:pt x="442" y="344"/>
                        </a:lnTo>
                        <a:lnTo>
                          <a:pt x="436" y="344"/>
                        </a:lnTo>
                        <a:lnTo>
                          <a:pt x="434" y="346"/>
                        </a:lnTo>
                        <a:lnTo>
                          <a:pt x="431" y="346"/>
                        </a:lnTo>
                        <a:lnTo>
                          <a:pt x="429" y="348"/>
                        </a:lnTo>
                        <a:lnTo>
                          <a:pt x="431" y="353"/>
                        </a:lnTo>
                        <a:lnTo>
                          <a:pt x="434" y="354"/>
                        </a:lnTo>
                        <a:lnTo>
                          <a:pt x="437" y="356"/>
                        </a:lnTo>
                        <a:lnTo>
                          <a:pt x="441" y="354"/>
                        </a:lnTo>
                        <a:lnTo>
                          <a:pt x="442" y="356"/>
                        </a:lnTo>
                        <a:lnTo>
                          <a:pt x="441" y="358"/>
                        </a:lnTo>
                        <a:lnTo>
                          <a:pt x="436" y="359"/>
                        </a:lnTo>
                        <a:lnTo>
                          <a:pt x="431" y="359"/>
                        </a:lnTo>
                        <a:lnTo>
                          <a:pt x="427" y="361"/>
                        </a:lnTo>
                        <a:lnTo>
                          <a:pt x="427" y="363"/>
                        </a:lnTo>
                        <a:lnTo>
                          <a:pt x="429" y="364"/>
                        </a:lnTo>
                        <a:lnTo>
                          <a:pt x="434" y="364"/>
                        </a:lnTo>
                        <a:lnTo>
                          <a:pt x="437" y="364"/>
                        </a:lnTo>
                        <a:lnTo>
                          <a:pt x="437" y="366"/>
                        </a:lnTo>
                        <a:lnTo>
                          <a:pt x="436" y="368"/>
                        </a:lnTo>
                        <a:lnTo>
                          <a:pt x="431" y="368"/>
                        </a:lnTo>
                        <a:lnTo>
                          <a:pt x="431" y="371"/>
                        </a:lnTo>
                        <a:lnTo>
                          <a:pt x="432" y="371"/>
                        </a:lnTo>
                        <a:lnTo>
                          <a:pt x="437" y="371"/>
                        </a:lnTo>
                        <a:lnTo>
                          <a:pt x="446" y="376"/>
                        </a:lnTo>
                        <a:lnTo>
                          <a:pt x="449" y="377"/>
                        </a:lnTo>
                        <a:lnTo>
                          <a:pt x="449" y="377"/>
                        </a:lnTo>
                        <a:lnTo>
                          <a:pt x="449" y="381"/>
                        </a:lnTo>
                        <a:lnTo>
                          <a:pt x="446" y="377"/>
                        </a:lnTo>
                        <a:lnTo>
                          <a:pt x="441" y="376"/>
                        </a:lnTo>
                        <a:lnTo>
                          <a:pt x="437" y="376"/>
                        </a:lnTo>
                        <a:lnTo>
                          <a:pt x="432" y="372"/>
                        </a:lnTo>
                        <a:lnTo>
                          <a:pt x="429" y="372"/>
                        </a:lnTo>
                        <a:lnTo>
                          <a:pt x="426" y="376"/>
                        </a:lnTo>
                        <a:lnTo>
                          <a:pt x="426" y="379"/>
                        </a:lnTo>
                        <a:lnTo>
                          <a:pt x="422" y="381"/>
                        </a:lnTo>
                        <a:lnTo>
                          <a:pt x="424" y="382"/>
                        </a:lnTo>
                        <a:lnTo>
                          <a:pt x="426" y="384"/>
                        </a:lnTo>
                        <a:lnTo>
                          <a:pt x="424" y="386"/>
                        </a:lnTo>
                        <a:lnTo>
                          <a:pt x="422" y="387"/>
                        </a:lnTo>
                        <a:lnTo>
                          <a:pt x="421" y="387"/>
                        </a:lnTo>
                        <a:lnTo>
                          <a:pt x="417" y="389"/>
                        </a:lnTo>
                        <a:lnTo>
                          <a:pt x="416" y="394"/>
                        </a:lnTo>
                        <a:lnTo>
                          <a:pt x="416" y="396"/>
                        </a:lnTo>
                        <a:lnTo>
                          <a:pt x="416" y="397"/>
                        </a:lnTo>
                        <a:lnTo>
                          <a:pt x="411" y="397"/>
                        </a:lnTo>
                        <a:lnTo>
                          <a:pt x="411" y="399"/>
                        </a:lnTo>
                        <a:lnTo>
                          <a:pt x="416" y="404"/>
                        </a:lnTo>
                        <a:lnTo>
                          <a:pt x="421" y="406"/>
                        </a:lnTo>
                        <a:lnTo>
                          <a:pt x="422" y="404"/>
                        </a:lnTo>
                        <a:lnTo>
                          <a:pt x="424" y="402"/>
                        </a:lnTo>
                        <a:lnTo>
                          <a:pt x="427" y="401"/>
                        </a:lnTo>
                        <a:lnTo>
                          <a:pt x="434" y="396"/>
                        </a:lnTo>
                        <a:lnTo>
                          <a:pt x="439" y="394"/>
                        </a:lnTo>
                        <a:lnTo>
                          <a:pt x="444" y="396"/>
                        </a:lnTo>
                        <a:lnTo>
                          <a:pt x="446" y="397"/>
                        </a:lnTo>
                        <a:lnTo>
                          <a:pt x="446" y="399"/>
                        </a:lnTo>
                        <a:lnTo>
                          <a:pt x="444" y="399"/>
                        </a:lnTo>
                        <a:lnTo>
                          <a:pt x="441" y="397"/>
                        </a:lnTo>
                        <a:lnTo>
                          <a:pt x="437" y="397"/>
                        </a:lnTo>
                        <a:lnTo>
                          <a:pt x="436" y="399"/>
                        </a:lnTo>
                        <a:lnTo>
                          <a:pt x="429" y="402"/>
                        </a:lnTo>
                        <a:lnTo>
                          <a:pt x="427" y="406"/>
                        </a:lnTo>
                        <a:lnTo>
                          <a:pt x="426" y="411"/>
                        </a:lnTo>
                        <a:lnTo>
                          <a:pt x="427" y="414"/>
                        </a:lnTo>
                        <a:lnTo>
                          <a:pt x="426" y="416"/>
                        </a:lnTo>
                        <a:lnTo>
                          <a:pt x="426" y="416"/>
                        </a:lnTo>
                        <a:lnTo>
                          <a:pt x="426" y="417"/>
                        </a:lnTo>
                        <a:lnTo>
                          <a:pt x="426" y="417"/>
                        </a:lnTo>
                        <a:close/>
                        <a:moveTo>
                          <a:pt x="447" y="537"/>
                        </a:moveTo>
                        <a:lnTo>
                          <a:pt x="449" y="537"/>
                        </a:lnTo>
                        <a:lnTo>
                          <a:pt x="451" y="535"/>
                        </a:lnTo>
                        <a:lnTo>
                          <a:pt x="447" y="532"/>
                        </a:lnTo>
                        <a:lnTo>
                          <a:pt x="451" y="529"/>
                        </a:lnTo>
                        <a:lnTo>
                          <a:pt x="449" y="525"/>
                        </a:lnTo>
                        <a:lnTo>
                          <a:pt x="442" y="524"/>
                        </a:lnTo>
                        <a:lnTo>
                          <a:pt x="442" y="520"/>
                        </a:lnTo>
                        <a:lnTo>
                          <a:pt x="439" y="519"/>
                        </a:lnTo>
                        <a:lnTo>
                          <a:pt x="432" y="520"/>
                        </a:lnTo>
                        <a:lnTo>
                          <a:pt x="429" y="522"/>
                        </a:lnTo>
                        <a:lnTo>
                          <a:pt x="431" y="525"/>
                        </a:lnTo>
                        <a:lnTo>
                          <a:pt x="434" y="527"/>
                        </a:lnTo>
                        <a:lnTo>
                          <a:pt x="436" y="525"/>
                        </a:lnTo>
                        <a:lnTo>
                          <a:pt x="439" y="527"/>
                        </a:lnTo>
                        <a:lnTo>
                          <a:pt x="441" y="530"/>
                        </a:lnTo>
                        <a:lnTo>
                          <a:pt x="444" y="532"/>
                        </a:lnTo>
                        <a:lnTo>
                          <a:pt x="447" y="537"/>
                        </a:lnTo>
                        <a:lnTo>
                          <a:pt x="447" y="537"/>
                        </a:lnTo>
                        <a:close/>
                        <a:moveTo>
                          <a:pt x="534" y="535"/>
                        </a:moveTo>
                        <a:lnTo>
                          <a:pt x="529" y="532"/>
                        </a:lnTo>
                        <a:lnTo>
                          <a:pt x="527" y="534"/>
                        </a:lnTo>
                        <a:lnTo>
                          <a:pt x="522" y="532"/>
                        </a:lnTo>
                        <a:lnTo>
                          <a:pt x="519" y="527"/>
                        </a:lnTo>
                        <a:lnTo>
                          <a:pt x="514" y="527"/>
                        </a:lnTo>
                        <a:lnTo>
                          <a:pt x="505" y="522"/>
                        </a:lnTo>
                        <a:lnTo>
                          <a:pt x="504" y="517"/>
                        </a:lnTo>
                        <a:lnTo>
                          <a:pt x="499" y="517"/>
                        </a:lnTo>
                        <a:lnTo>
                          <a:pt x="492" y="507"/>
                        </a:lnTo>
                        <a:lnTo>
                          <a:pt x="484" y="499"/>
                        </a:lnTo>
                        <a:lnTo>
                          <a:pt x="480" y="489"/>
                        </a:lnTo>
                        <a:lnTo>
                          <a:pt x="475" y="482"/>
                        </a:lnTo>
                        <a:lnTo>
                          <a:pt x="475" y="470"/>
                        </a:lnTo>
                        <a:lnTo>
                          <a:pt x="472" y="466"/>
                        </a:lnTo>
                        <a:lnTo>
                          <a:pt x="470" y="452"/>
                        </a:lnTo>
                        <a:lnTo>
                          <a:pt x="469" y="451"/>
                        </a:lnTo>
                        <a:lnTo>
                          <a:pt x="470" y="446"/>
                        </a:lnTo>
                        <a:lnTo>
                          <a:pt x="470" y="444"/>
                        </a:lnTo>
                        <a:lnTo>
                          <a:pt x="467" y="442"/>
                        </a:lnTo>
                        <a:lnTo>
                          <a:pt x="462" y="444"/>
                        </a:lnTo>
                        <a:lnTo>
                          <a:pt x="461" y="442"/>
                        </a:lnTo>
                        <a:lnTo>
                          <a:pt x="461" y="441"/>
                        </a:lnTo>
                        <a:lnTo>
                          <a:pt x="467" y="441"/>
                        </a:lnTo>
                        <a:lnTo>
                          <a:pt x="472" y="439"/>
                        </a:lnTo>
                        <a:lnTo>
                          <a:pt x="474" y="431"/>
                        </a:lnTo>
                        <a:lnTo>
                          <a:pt x="472" y="426"/>
                        </a:lnTo>
                        <a:lnTo>
                          <a:pt x="469" y="427"/>
                        </a:lnTo>
                        <a:lnTo>
                          <a:pt x="464" y="427"/>
                        </a:lnTo>
                        <a:lnTo>
                          <a:pt x="465" y="426"/>
                        </a:lnTo>
                        <a:lnTo>
                          <a:pt x="472" y="424"/>
                        </a:lnTo>
                        <a:lnTo>
                          <a:pt x="474" y="421"/>
                        </a:lnTo>
                        <a:lnTo>
                          <a:pt x="472" y="419"/>
                        </a:lnTo>
                        <a:lnTo>
                          <a:pt x="462" y="419"/>
                        </a:lnTo>
                        <a:lnTo>
                          <a:pt x="451" y="417"/>
                        </a:lnTo>
                        <a:lnTo>
                          <a:pt x="447" y="416"/>
                        </a:lnTo>
                        <a:lnTo>
                          <a:pt x="442" y="416"/>
                        </a:lnTo>
                        <a:lnTo>
                          <a:pt x="434" y="421"/>
                        </a:lnTo>
                        <a:lnTo>
                          <a:pt x="426" y="421"/>
                        </a:lnTo>
                        <a:lnTo>
                          <a:pt x="422" y="422"/>
                        </a:lnTo>
                        <a:lnTo>
                          <a:pt x="417" y="426"/>
                        </a:lnTo>
                        <a:lnTo>
                          <a:pt x="416" y="431"/>
                        </a:lnTo>
                        <a:lnTo>
                          <a:pt x="414" y="434"/>
                        </a:lnTo>
                        <a:lnTo>
                          <a:pt x="416" y="439"/>
                        </a:lnTo>
                        <a:lnTo>
                          <a:pt x="421" y="439"/>
                        </a:lnTo>
                        <a:lnTo>
                          <a:pt x="422" y="441"/>
                        </a:lnTo>
                        <a:lnTo>
                          <a:pt x="421" y="442"/>
                        </a:lnTo>
                        <a:lnTo>
                          <a:pt x="416" y="442"/>
                        </a:lnTo>
                        <a:lnTo>
                          <a:pt x="411" y="444"/>
                        </a:lnTo>
                        <a:lnTo>
                          <a:pt x="407" y="451"/>
                        </a:lnTo>
                        <a:lnTo>
                          <a:pt x="407" y="456"/>
                        </a:lnTo>
                        <a:lnTo>
                          <a:pt x="409" y="457"/>
                        </a:lnTo>
                        <a:lnTo>
                          <a:pt x="412" y="457"/>
                        </a:lnTo>
                        <a:lnTo>
                          <a:pt x="419" y="454"/>
                        </a:lnTo>
                        <a:lnTo>
                          <a:pt x="421" y="456"/>
                        </a:lnTo>
                        <a:lnTo>
                          <a:pt x="416" y="459"/>
                        </a:lnTo>
                        <a:lnTo>
                          <a:pt x="416" y="462"/>
                        </a:lnTo>
                        <a:lnTo>
                          <a:pt x="417" y="462"/>
                        </a:lnTo>
                        <a:lnTo>
                          <a:pt x="421" y="459"/>
                        </a:lnTo>
                        <a:lnTo>
                          <a:pt x="424" y="459"/>
                        </a:lnTo>
                        <a:lnTo>
                          <a:pt x="426" y="461"/>
                        </a:lnTo>
                        <a:lnTo>
                          <a:pt x="421" y="464"/>
                        </a:lnTo>
                        <a:lnTo>
                          <a:pt x="421" y="467"/>
                        </a:lnTo>
                        <a:lnTo>
                          <a:pt x="424" y="470"/>
                        </a:lnTo>
                        <a:lnTo>
                          <a:pt x="429" y="470"/>
                        </a:lnTo>
                        <a:lnTo>
                          <a:pt x="426" y="472"/>
                        </a:lnTo>
                        <a:lnTo>
                          <a:pt x="422" y="472"/>
                        </a:lnTo>
                        <a:lnTo>
                          <a:pt x="419" y="474"/>
                        </a:lnTo>
                        <a:lnTo>
                          <a:pt x="419" y="477"/>
                        </a:lnTo>
                        <a:lnTo>
                          <a:pt x="422" y="482"/>
                        </a:lnTo>
                        <a:lnTo>
                          <a:pt x="421" y="484"/>
                        </a:lnTo>
                        <a:lnTo>
                          <a:pt x="417" y="482"/>
                        </a:lnTo>
                        <a:lnTo>
                          <a:pt x="414" y="484"/>
                        </a:lnTo>
                        <a:lnTo>
                          <a:pt x="409" y="482"/>
                        </a:lnTo>
                        <a:lnTo>
                          <a:pt x="407" y="482"/>
                        </a:lnTo>
                        <a:lnTo>
                          <a:pt x="402" y="487"/>
                        </a:lnTo>
                        <a:lnTo>
                          <a:pt x="402" y="490"/>
                        </a:lnTo>
                        <a:lnTo>
                          <a:pt x="404" y="497"/>
                        </a:lnTo>
                        <a:lnTo>
                          <a:pt x="402" y="502"/>
                        </a:lnTo>
                        <a:lnTo>
                          <a:pt x="404" y="505"/>
                        </a:lnTo>
                        <a:lnTo>
                          <a:pt x="411" y="510"/>
                        </a:lnTo>
                        <a:lnTo>
                          <a:pt x="411" y="514"/>
                        </a:lnTo>
                        <a:lnTo>
                          <a:pt x="417" y="517"/>
                        </a:lnTo>
                        <a:lnTo>
                          <a:pt x="422" y="519"/>
                        </a:lnTo>
                        <a:lnTo>
                          <a:pt x="424" y="517"/>
                        </a:lnTo>
                        <a:lnTo>
                          <a:pt x="427" y="517"/>
                        </a:lnTo>
                        <a:lnTo>
                          <a:pt x="432" y="512"/>
                        </a:lnTo>
                        <a:lnTo>
                          <a:pt x="431" y="505"/>
                        </a:lnTo>
                        <a:lnTo>
                          <a:pt x="431" y="502"/>
                        </a:lnTo>
                        <a:lnTo>
                          <a:pt x="434" y="497"/>
                        </a:lnTo>
                        <a:lnTo>
                          <a:pt x="432" y="502"/>
                        </a:lnTo>
                        <a:lnTo>
                          <a:pt x="432" y="505"/>
                        </a:lnTo>
                        <a:lnTo>
                          <a:pt x="434" y="509"/>
                        </a:lnTo>
                        <a:lnTo>
                          <a:pt x="436" y="514"/>
                        </a:lnTo>
                        <a:lnTo>
                          <a:pt x="439" y="515"/>
                        </a:lnTo>
                        <a:lnTo>
                          <a:pt x="442" y="514"/>
                        </a:lnTo>
                        <a:lnTo>
                          <a:pt x="442" y="510"/>
                        </a:lnTo>
                        <a:lnTo>
                          <a:pt x="444" y="505"/>
                        </a:lnTo>
                        <a:lnTo>
                          <a:pt x="446" y="507"/>
                        </a:lnTo>
                        <a:lnTo>
                          <a:pt x="446" y="510"/>
                        </a:lnTo>
                        <a:lnTo>
                          <a:pt x="446" y="514"/>
                        </a:lnTo>
                        <a:lnTo>
                          <a:pt x="451" y="520"/>
                        </a:lnTo>
                        <a:lnTo>
                          <a:pt x="456" y="524"/>
                        </a:lnTo>
                        <a:lnTo>
                          <a:pt x="459" y="524"/>
                        </a:lnTo>
                        <a:lnTo>
                          <a:pt x="462" y="520"/>
                        </a:lnTo>
                        <a:lnTo>
                          <a:pt x="465" y="522"/>
                        </a:lnTo>
                        <a:lnTo>
                          <a:pt x="464" y="524"/>
                        </a:lnTo>
                        <a:lnTo>
                          <a:pt x="461" y="524"/>
                        </a:lnTo>
                        <a:lnTo>
                          <a:pt x="459" y="527"/>
                        </a:lnTo>
                        <a:lnTo>
                          <a:pt x="456" y="529"/>
                        </a:lnTo>
                        <a:lnTo>
                          <a:pt x="456" y="530"/>
                        </a:lnTo>
                        <a:lnTo>
                          <a:pt x="459" y="534"/>
                        </a:lnTo>
                        <a:lnTo>
                          <a:pt x="461" y="537"/>
                        </a:lnTo>
                        <a:lnTo>
                          <a:pt x="457" y="537"/>
                        </a:lnTo>
                        <a:lnTo>
                          <a:pt x="454" y="537"/>
                        </a:lnTo>
                        <a:lnTo>
                          <a:pt x="454" y="540"/>
                        </a:lnTo>
                        <a:lnTo>
                          <a:pt x="457" y="542"/>
                        </a:lnTo>
                        <a:lnTo>
                          <a:pt x="464" y="542"/>
                        </a:lnTo>
                        <a:lnTo>
                          <a:pt x="469" y="545"/>
                        </a:lnTo>
                        <a:lnTo>
                          <a:pt x="474" y="544"/>
                        </a:lnTo>
                        <a:lnTo>
                          <a:pt x="480" y="545"/>
                        </a:lnTo>
                        <a:lnTo>
                          <a:pt x="480" y="542"/>
                        </a:lnTo>
                        <a:lnTo>
                          <a:pt x="482" y="542"/>
                        </a:lnTo>
                        <a:lnTo>
                          <a:pt x="484" y="545"/>
                        </a:lnTo>
                        <a:lnTo>
                          <a:pt x="485" y="552"/>
                        </a:lnTo>
                        <a:lnTo>
                          <a:pt x="490" y="554"/>
                        </a:lnTo>
                        <a:lnTo>
                          <a:pt x="494" y="554"/>
                        </a:lnTo>
                        <a:lnTo>
                          <a:pt x="497" y="550"/>
                        </a:lnTo>
                        <a:lnTo>
                          <a:pt x="495" y="545"/>
                        </a:lnTo>
                        <a:lnTo>
                          <a:pt x="489" y="544"/>
                        </a:lnTo>
                        <a:lnTo>
                          <a:pt x="487" y="542"/>
                        </a:lnTo>
                        <a:lnTo>
                          <a:pt x="489" y="540"/>
                        </a:lnTo>
                        <a:lnTo>
                          <a:pt x="492" y="542"/>
                        </a:lnTo>
                        <a:lnTo>
                          <a:pt x="497" y="544"/>
                        </a:lnTo>
                        <a:lnTo>
                          <a:pt x="499" y="547"/>
                        </a:lnTo>
                        <a:lnTo>
                          <a:pt x="502" y="552"/>
                        </a:lnTo>
                        <a:lnTo>
                          <a:pt x="504" y="552"/>
                        </a:lnTo>
                        <a:lnTo>
                          <a:pt x="504" y="549"/>
                        </a:lnTo>
                        <a:lnTo>
                          <a:pt x="507" y="547"/>
                        </a:lnTo>
                        <a:lnTo>
                          <a:pt x="509" y="550"/>
                        </a:lnTo>
                        <a:lnTo>
                          <a:pt x="515" y="554"/>
                        </a:lnTo>
                        <a:lnTo>
                          <a:pt x="519" y="552"/>
                        </a:lnTo>
                        <a:lnTo>
                          <a:pt x="519" y="550"/>
                        </a:lnTo>
                        <a:lnTo>
                          <a:pt x="514" y="547"/>
                        </a:lnTo>
                        <a:lnTo>
                          <a:pt x="514" y="545"/>
                        </a:lnTo>
                        <a:lnTo>
                          <a:pt x="515" y="545"/>
                        </a:lnTo>
                        <a:lnTo>
                          <a:pt x="520" y="547"/>
                        </a:lnTo>
                        <a:lnTo>
                          <a:pt x="522" y="549"/>
                        </a:lnTo>
                        <a:lnTo>
                          <a:pt x="524" y="549"/>
                        </a:lnTo>
                        <a:lnTo>
                          <a:pt x="525" y="554"/>
                        </a:lnTo>
                        <a:lnTo>
                          <a:pt x="529" y="555"/>
                        </a:lnTo>
                        <a:lnTo>
                          <a:pt x="530" y="554"/>
                        </a:lnTo>
                        <a:lnTo>
                          <a:pt x="532" y="550"/>
                        </a:lnTo>
                        <a:lnTo>
                          <a:pt x="530" y="547"/>
                        </a:lnTo>
                        <a:lnTo>
                          <a:pt x="527" y="547"/>
                        </a:lnTo>
                        <a:lnTo>
                          <a:pt x="524" y="545"/>
                        </a:lnTo>
                        <a:lnTo>
                          <a:pt x="525" y="544"/>
                        </a:lnTo>
                        <a:lnTo>
                          <a:pt x="527" y="545"/>
                        </a:lnTo>
                        <a:lnTo>
                          <a:pt x="530" y="545"/>
                        </a:lnTo>
                        <a:lnTo>
                          <a:pt x="534" y="540"/>
                        </a:lnTo>
                        <a:lnTo>
                          <a:pt x="535" y="539"/>
                        </a:lnTo>
                        <a:lnTo>
                          <a:pt x="534" y="535"/>
                        </a:lnTo>
                        <a:lnTo>
                          <a:pt x="534" y="535"/>
                        </a:lnTo>
                        <a:close/>
                        <a:moveTo>
                          <a:pt x="170" y="809"/>
                        </a:moveTo>
                        <a:lnTo>
                          <a:pt x="168" y="806"/>
                        </a:lnTo>
                        <a:lnTo>
                          <a:pt x="170" y="804"/>
                        </a:lnTo>
                        <a:lnTo>
                          <a:pt x="170" y="801"/>
                        </a:lnTo>
                        <a:lnTo>
                          <a:pt x="167" y="801"/>
                        </a:lnTo>
                        <a:lnTo>
                          <a:pt x="163" y="804"/>
                        </a:lnTo>
                        <a:lnTo>
                          <a:pt x="163" y="808"/>
                        </a:lnTo>
                        <a:lnTo>
                          <a:pt x="167" y="809"/>
                        </a:lnTo>
                        <a:lnTo>
                          <a:pt x="168" y="811"/>
                        </a:lnTo>
                        <a:lnTo>
                          <a:pt x="170" y="811"/>
                        </a:lnTo>
                        <a:lnTo>
                          <a:pt x="170" y="809"/>
                        </a:lnTo>
                        <a:lnTo>
                          <a:pt x="170" y="809"/>
                        </a:lnTo>
                        <a:close/>
                        <a:moveTo>
                          <a:pt x="296" y="738"/>
                        </a:moveTo>
                        <a:lnTo>
                          <a:pt x="298" y="738"/>
                        </a:lnTo>
                        <a:lnTo>
                          <a:pt x="298" y="735"/>
                        </a:lnTo>
                        <a:lnTo>
                          <a:pt x="294" y="733"/>
                        </a:lnTo>
                        <a:lnTo>
                          <a:pt x="293" y="733"/>
                        </a:lnTo>
                        <a:lnTo>
                          <a:pt x="293" y="735"/>
                        </a:lnTo>
                        <a:lnTo>
                          <a:pt x="296" y="738"/>
                        </a:lnTo>
                        <a:lnTo>
                          <a:pt x="296" y="738"/>
                        </a:lnTo>
                        <a:close/>
                        <a:moveTo>
                          <a:pt x="392" y="643"/>
                        </a:moveTo>
                        <a:lnTo>
                          <a:pt x="399" y="642"/>
                        </a:lnTo>
                        <a:lnTo>
                          <a:pt x="404" y="637"/>
                        </a:lnTo>
                        <a:lnTo>
                          <a:pt x="409" y="633"/>
                        </a:lnTo>
                        <a:lnTo>
                          <a:pt x="409" y="625"/>
                        </a:lnTo>
                        <a:lnTo>
                          <a:pt x="412" y="622"/>
                        </a:lnTo>
                        <a:lnTo>
                          <a:pt x="414" y="627"/>
                        </a:lnTo>
                        <a:lnTo>
                          <a:pt x="412" y="632"/>
                        </a:lnTo>
                        <a:lnTo>
                          <a:pt x="416" y="627"/>
                        </a:lnTo>
                        <a:lnTo>
                          <a:pt x="416" y="622"/>
                        </a:lnTo>
                        <a:lnTo>
                          <a:pt x="411" y="617"/>
                        </a:lnTo>
                        <a:lnTo>
                          <a:pt x="394" y="610"/>
                        </a:lnTo>
                        <a:lnTo>
                          <a:pt x="386" y="608"/>
                        </a:lnTo>
                        <a:lnTo>
                          <a:pt x="381" y="612"/>
                        </a:lnTo>
                        <a:lnTo>
                          <a:pt x="377" y="620"/>
                        </a:lnTo>
                        <a:lnTo>
                          <a:pt x="377" y="632"/>
                        </a:lnTo>
                        <a:lnTo>
                          <a:pt x="381" y="637"/>
                        </a:lnTo>
                        <a:lnTo>
                          <a:pt x="382" y="642"/>
                        </a:lnTo>
                        <a:lnTo>
                          <a:pt x="384" y="640"/>
                        </a:lnTo>
                        <a:lnTo>
                          <a:pt x="387" y="643"/>
                        </a:lnTo>
                        <a:lnTo>
                          <a:pt x="386" y="645"/>
                        </a:lnTo>
                        <a:lnTo>
                          <a:pt x="389" y="645"/>
                        </a:lnTo>
                        <a:lnTo>
                          <a:pt x="392" y="643"/>
                        </a:lnTo>
                        <a:lnTo>
                          <a:pt x="392" y="643"/>
                        </a:lnTo>
                        <a:close/>
                        <a:moveTo>
                          <a:pt x="437" y="652"/>
                        </a:moveTo>
                        <a:lnTo>
                          <a:pt x="439" y="652"/>
                        </a:lnTo>
                        <a:lnTo>
                          <a:pt x="439" y="650"/>
                        </a:lnTo>
                        <a:lnTo>
                          <a:pt x="446" y="648"/>
                        </a:lnTo>
                        <a:lnTo>
                          <a:pt x="447" y="647"/>
                        </a:lnTo>
                        <a:lnTo>
                          <a:pt x="442" y="647"/>
                        </a:lnTo>
                        <a:lnTo>
                          <a:pt x="437" y="648"/>
                        </a:lnTo>
                        <a:lnTo>
                          <a:pt x="437" y="652"/>
                        </a:lnTo>
                        <a:lnTo>
                          <a:pt x="437" y="652"/>
                        </a:lnTo>
                        <a:close/>
                        <a:moveTo>
                          <a:pt x="507" y="650"/>
                        </a:moveTo>
                        <a:lnTo>
                          <a:pt x="509" y="652"/>
                        </a:lnTo>
                        <a:lnTo>
                          <a:pt x="512" y="647"/>
                        </a:lnTo>
                        <a:lnTo>
                          <a:pt x="512" y="643"/>
                        </a:lnTo>
                        <a:lnTo>
                          <a:pt x="509" y="645"/>
                        </a:lnTo>
                        <a:lnTo>
                          <a:pt x="507" y="647"/>
                        </a:lnTo>
                        <a:lnTo>
                          <a:pt x="507" y="650"/>
                        </a:lnTo>
                        <a:lnTo>
                          <a:pt x="507" y="650"/>
                        </a:lnTo>
                        <a:close/>
                        <a:moveTo>
                          <a:pt x="497" y="650"/>
                        </a:moveTo>
                        <a:lnTo>
                          <a:pt x="500" y="652"/>
                        </a:lnTo>
                        <a:lnTo>
                          <a:pt x="502" y="648"/>
                        </a:lnTo>
                        <a:lnTo>
                          <a:pt x="500" y="647"/>
                        </a:lnTo>
                        <a:lnTo>
                          <a:pt x="499" y="647"/>
                        </a:lnTo>
                        <a:lnTo>
                          <a:pt x="497" y="650"/>
                        </a:lnTo>
                        <a:lnTo>
                          <a:pt x="497" y="650"/>
                        </a:lnTo>
                        <a:close/>
                        <a:moveTo>
                          <a:pt x="555" y="628"/>
                        </a:moveTo>
                        <a:lnTo>
                          <a:pt x="557" y="628"/>
                        </a:lnTo>
                        <a:lnTo>
                          <a:pt x="560" y="627"/>
                        </a:lnTo>
                        <a:lnTo>
                          <a:pt x="567" y="625"/>
                        </a:lnTo>
                        <a:lnTo>
                          <a:pt x="568" y="623"/>
                        </a:lnTo>
                        <a:lnTo>
                          <a:pt x="564" y="622"/>
                        </a:lnTo>
                        <a:lnTo>
                          <a:pt x="557" y="625"/>
                        </a:lnTo>
                        <a:lnTo>
                          <a:pt x="555" y="628"/>
                        </a:lnTo>
                        <a:lnTo>
                          <a:pt x="555" y="628"/>
                        </a:lnTo>
                        <a:close/>
                        <a:moveTo>
                          <a:pt x="532" y="623"/>
                        </a:moveTo>
                        <a:lnTo>
                          <a:pt x="534" y="627"/>
                        </a:lnTo>
                        <a:lnTo>
                          <a:pt x="537" y="627"/>
                        </a:lnTo>
                        <a:lnTo>
                          <a:pt x="537" y="623"/>
                        </a:lnTo>
                        <a:lnTo>
                          <a:pt x="534" y="622"/>
                        </a:lnTo>
                        <a:lnTo>
                          <a:pt x="532" y="623"/>
                        </a:lnTo>
                        <a:lnTo>
                          <a:pt x="532" y="623"/>
                        </a:lnTo>
                        <a:close/>
                        <a:moveTo>
                          <a:pt x="517" y="623"/>
                        </a:moveTo>
                        <a:lnTo>
                          <a:pt x="520" y="623"/>
                        </a:lnTo>
                        <a:lnTo>
                          <a:pt x="522" y="625"/>
                        </a:lnTo>
                        <a:lnTo>
                          <a:pt x="527" y="627"/>
                        </a:lnTo>
                        <a:lnTo>
                          <a:pt x="525" y="622"/>
                        </a:lnTo>
                        <a:lnTo>
                          <a:pt x="520" y="620"/>
                        </a:lnTo>
                        <a:lnTo>
                          <a:pt x="517" y="623"/>
                        </a:lnTo>
                        <a:lnTo>
                          <a:pt x="517" y="623"/>
                        </a:lnTo>
                        <a:close/>
                        <a:moveTo>
                          <a:pt x="510" y="623"/>
                        </a:moveTo>
                        <a:lnTo>
                          <a:pt x="510" y="625"/>
                        </a:lnTo>
                        <a:lnTo>
                          <a:pt x="514" y="625"/>
                        </a:lnTo>
                        <a:lnTo>
                          <a:pt x="515" y="622"/>
                        </a:lnTo>
                        <a:lnTo>
                          <a:pt x="514" y="622"/>
                        </a:lnTo>
                        <a:lnTo>
                          <a:pt x="510" y="623"/>
                        </a:lnTo>
                        <a:lnTo>
                          <a:pt x="510" y="623"/>
                        </a:lnTo>
                        <a:close/>
                        <a:moveTo>
                          <a:pt x="1027" y="480"/>
                        </a:moveTo>
                        <a:lnTo>
                          <a:pt x="1027" y="485"/>
                        </a:lnTo>
                        <a:lnTo>
                          <a:pt x="1030" y="489"/>
                        </a:lnTo>
                        <a:lnTo>
                          <a:pt x="1030" y="484"/>
                        </a:lnTo>
                        <a:lnTo>
                          <a:pt x="1029" y="480"/>
                        </a:lnTo>
                        <a:lnTo>
                          <a:pt x="1027" y="480"/>
                        </a:lnTo>
                        <a:lnTo>
                          <a:pt x="1027" y="480"/>
                        </a:lnTo>
                        <a:close/>
                        <a:moveTo>
                          <a:pt x="1019" y="467"/>
                        </a:moveTo>
                        <a:lnTo>
                          <a:pt x="1019" y="475"/>
                        </a:lnTo>
                        <a:lnTo>
                          <a:pt x="1020" y="480"/>
                        </a:lnTo>
                        <a:lnTo>
                          <a:pt x="1020" y="487"/>
                        </a:lnTo>
                        <a:lnTo>
                          <a:pt x="1022" y="489"/>
                        </a:lnTo>
                        <a:lnTo>
                          <a:pt x="1024" y="485"/>
                        </a:lnTo>
                        <a:lnTo>
                          <a:pt x="1022" y="472"/>
                        </a:lnTo>
                        <a:lnTo>
                          <a:pt x="1020" y="467"/>
                        </a:lnTo>
                        <a:lnTo>
                          <a:pt x="1019" y="467"/>
                        </a:lnTo>
                        <a:lnTo>
                          <a:pt x="1019" y="467"/>
                        </a:lnTo>
                        <a:close/>
                        <a:moveTo>
                          <a:pt x="1012" y="459"/>
                        </a:moveTo>
                        <a:lnTo>
                          <a:pt x="1014" y="464"/>
                        </a:lnTo>
                        <a:lnTo>
                          <a:pt x="1017" y="466"/>
                        </a:lnTo>
                        <a:lnTo>
                          <a:pt x="1017" y="462"/>
                        </a:lnTo>
                        <a:lnTo>
                          <a:pt x="1014" y="459"/>
                        </a:lnTo>
                        <a:lnTo>
                          <a:pt x="1012" y="459"/>
                        </a:lnTo>
                        <a:lnTo>
                          <a:pt x="1012" y="459"/>
                        </a:lnTo>
                        <a:close/>
                        <a:moveTo>
                          <a:pt x="570" y="592"/>
                        </a:moveTo>
                        <a:lnTo>
                          <a:pt x="572" y="590"/>
                        </a:lnTo>
                        <a:lnTo>
                          <a:pt x="573" y="587"/>
                        </a:lnTo>
                        <a:lnTo>
                          <a:pt x="570" y="585"/>
                        </a:lnTo>
                        <a:lnTo>
                          <a:pt x="570" y="592"/>
                        </a:lnTo>
                        <a:lnTo>
                          <a:pt x="570" y="592"/>
                        </a:lnTo>
                        <a:close/>
                        <a:moveTo>
                          <a:pt x="593" y="608"/>
                        </a:moveTo>
                        <a:lnTo>
                          <a:pt x="593" y="608"/>
                        </a:lnTo>
                        <a:lnTo>
                          <a:pt x="597" y="605"/>
                        </a:lnTo>
                        <a:lnTo>
                          <a:pt x="593" y="607"/>
                        </a:lnTo>
                        <a:lnTo>
                          <a:pt x="593" y="608"/>
                        </a:lnTo>
                        <a:lnTo>
                          <a:pt x="593" y="608"/>
                        </a:lnTo>
                        <a:close/>
                        <a:moveTo>
                          <a:pt x="590" y="602"/>
                        </a:moveTo>
                        <a:lnTo>
                          <a:pt x="588" y="597"/>
                        </a:lnTo>
                        <a:lnTo>
                          <a:pt x="582" y="593"/>
                        </a:lnTo>
                        <a:lnTo>
                          <a:pt x="578" y="590"/>
                        </a:lnTo>
                        <a:lnTo>
                          <a:pt x="577" y="593"/>
                        </a:lnTo>
                        <a:lnTo>
                          <a:pt x="582" y="597"/>
                        </a:lnTo>
                        <a:lnTo>
                          <a:pt x="590" y="602"/>
                        </a:lnTo>
                        <a:lnTo>
                          <a:pt x="590" y="602"/>
                        </a:lnTo>
                        <a:close/>
                        <a:moveTo>
                          <a:pt x="602" y="582"/>
                        </a:moveTo>
                        <a:lnTo>
                          <a:pt x="605" y="577"/>
                        </a:lnTo>
                        <a:lnTo>
                          <a:pt x="603" y="570"/>
                        </a:lnTo>
                        <a:lnTo>
                          <a:pt x="595" y="565"/>
                        </a:lnTo>
                        <a:lnTo>
                          <a:pt x="588" y="559"/>
                        </a:lnTo>
                        <a:lnTo>
                          <a:pt x="583" y="559"/>
                        </a:lnTo>
                        <a:lnTo>
                          <a:pt x="578" y="554"/>
                        </a:lnTo>
                        <a:lnTo>
                          <a:pt x="573" y="552"/>
                        </a:lnTo>
                        <a:lnTo>
                          <a:pt x="572" y="549"/>
                        </a:lnTo>
                        <a:lnTo>
                          <a:pt x="567" y="544"/>
                        </a:lnTo>
                        <a:lnTo>
                          <a:pt x="564" y="544"/>
                        </a:lnTo>
                        <a:lnTo>
                          <a:pt x="560" y="545"/>
                        </a:lnTo>
                        <a:lnTo>
                          <a:pt x="560" y="549"/>
                        </a:lnTo>
                        <a:lnTo>
                          <a:pt x="557" y="550"/>
                        </a:lnTo>
                        <a:lnTo>
                          <a:pt x="560" y="555"/>
                        </a:lnTo>
                        <a:lnTo>
                          <a:pt x="564" y="555"/>
                        </a:lnTo>
                        <a:lnTo>
                          <a:pt x="564" y="557"/>
                        </a:lnTo>
                        <a:lnTo>
                          <a:pt x="560" y="559"/>
                        </a:lnTo>
                        <a:lnTo>
                          <a:pt x="557" y="555"/>
                        </a:lnTo>
                        <a:lnTo>
                          <a:pt x="555" y="555"/>
                        </a:lnTo>
                        <a:lnTo>
                          <a:pt x="557" y="559"/>
                        </a:lnTo>
                        <a:lnTo>
                          <a:pt x="565" y="568"/>
                        </a:lnTo>
                        <a:lnTo>
                          <a:pt x="570" y="570"/>
                        </a:lnTo>
                        <a:lnTo>
                          <a:pt x="573" y="573"/>
                        </a:lnTo>
                        <a:lnTo>
                          <a:pt x="575" y="575"/>
                        </a:lnTo>
                        <a:lnTo>
                          <a:pt x="575" y="570"/>
                        </a:lnTo>
                        <a:lnTo>
                          <a:pt x="580" y="572"/>
                        </a:lnTo>
                        <a:lnTo>
                          <a:pt x="583" y="570"/>
                        </a:lnTo>
                        <a:lnTo>
                          <a:pt x="585" y="572"/>
                        </a:lnTo>
                        <a:lnTo>
                          <a:pt x="587" y="577"/>
                        </a:lnTo>
                        <a:lnTo>
                          <a:pt x="585" y="580"/>
                        </a:lnTo>
                        <a:lnTo>
                          <a:pt x="588" y="582"/>
                        </a:lnTo>
                        <a:lnTo>
                          <a:pt x="595" y="583"/>
                        </a:lnTo>
                        <a:lnTo>
                          <a:pt x="597" y="580"/>
                        </a:lnTo>
                        <a:lnTo>
                          <a:pt x="602" y="582"/>
                        </a:lnTo>
                        <a:lnTo>
                          <a:pt x="602" y="582"/>
                        </a:lnTo>
                        <a:close/>
                        <a:moveTo>
                          <a:pt x="718" y="396"/>
                        </a:moveTo>
                        <a:lnTo>
                          <a:pt x="720" y="396"/>
                        </a:lnTo>
                        <a:lnTo>
                          <a:pt x="718" y="392"/>
                        </a:lnTo>
                        <a:lnTo>
                          <a:pt x="718" y="391"/>
                        </a:lnTo>
                        <a:lnTo>
                          <a:pt x="721" y="391"/>
                        </a:lnTo>
                        <a:lnTo>
                          <a:pt x="723" y="394"/>
                        </a:lnTo>
                        <a:lnTo>
                          <a:pt x="726" y="394"/>
                        </a:lnTo>
                        <a:lnTo>
                          <a:pt x="728" y="394"/>
                        </a:lnTo>
                        <a:lnTo>
                          <a:pt x="731" y="394"/>
                        </a:lnTo>
                        <a:lnTo>
                          <a:pt x="733" y="389"/>
                        </a:lnTo>
                        <a:lnTo>
                          <a:pt x="738" y="386"/>
                        </a:lnTo>
                        <a:lnTo>
                          <a:pt x="743" y="384"/>
                        </a:lnTo>
                        <a:lnTo>
                          <a:pt x="743" y="382"/>
                        </a:lnTo>
                        <a:lnTo>
                          <a:pt x="741" y="377"/>
                        </a:lnTo>
                        <a:lnTo>
                          <a:pt x="735" y="374"/>
                        </a:lnTo>
                        <a:lnTo>
                          <a:pt x="733" y="371"/>
                        </a:lnTo>
                        <a:lnTo>
                          <a:pt x="730" y="368"/>
                        </a:lnTo>
                        <a:lnTo>
                          <a:pt x="726" y="366"/>
                        </a:lnTo>
                        <a:lnTo>
                          <a:pt x="723" y="366"/>
                        </a:lnTo>
                        <a:lnTo>
                          <a:pt x="718" y="371"/>
                        </a:lnTo>
                        <a:lnTo>
                          <a:pt x="715" y="371"/>
                        </a:lnTo>
                        <a:lnTo>
                          <a:pt x="710" y="374"/>
                        </a:lnTo>
                        <a:lnTo>
                          <a:pt x="710" y="377"/>
                        </a:lnTo>
                        <a:lnTo>
                          <a:pt x="713" y="382"/>
                        </a:lnTo>
                        <a:lnTo>
                          <a:pt x="715" y="386"/>
                        </a:lnTo>
                        <a:lnTo>
                          <a:pt x="713" y="392"/>
                        </a:lnTo>
                        <a:lnTo>
                          <a:pt x="718" y="396"/>
                        </a:lnTo>
                        <a:lnTo>
                          <a:pt x="718" y="396"/>
                        </a:lnTo>
                        <a:close/>
                        <a:moveTo>
                          <a:pt x="731" y="580"/>
                        </a:moveTo>
                        <a:lnTo>
                          <a:pt x="731" y="580"/>
                        </a:lnTo>
                        <a:lnTo>
                          <a:pt x="733" y="582"/>
                        </a:lnTo>
                        <a:lnTo>
                          <a:pt x="736" y="582"/>
                        </a:lnTo>
                        <a:lnTo>
                          <a:pt x="740" y="580"/>
                        </a:lnTo>
                        <a:lnTo>
                          <a:pt x="738" y="577"/>
                        </a:lnTo>
                        <a:lnTo>
                          <a:pt x="736" y="573"/>
                        </a:lnTo>
                        <a:lnTo>
                          <a:pt x="733" y="575"/>
                        </a:lnTo>
                        <a:lnTo>
                          <a:pt x="733" y="577"/>
                        </a:lnTo>
                        <a:lnTo>
                          <a:pt x="731" y="580"/>
                        </a:lnTo>
                        <a:lnTo>
                          <a:pt x="731" y="580"/>
                        </a:lnTo>
                        <a:close/>
                        <a:moveTo>
                          <a:pt x="823" y="683"/>
                        </a:moveTo>
                        <a:lnTo>
                          <a:pt x="823" y="685"/>
                        </a:lnTo>
                        <a:lnTo>
                          <a:pt x="826" y="686"/>
                        </a:lnTo>
                        <a:lnTo>
                          <a:pt x="826" y="690"/>
                        </a:lnTo>
                        <a:lnTo>
                          <a:pt x="833" y="691"/>
                        </a:lnTo>
                        <a:lnTo>
                          <a:pt x="838" y="691"/>
                        </a:lnTo>
                        <a:lnTo>
                          <a:pt x="839" y="688"/>
                        </a:lnTo>
                        <a:lnTo>
                          <a:pt x="838" y="685"/>
                        </a:lnTo>
                        <a:lnTo>
                          <a:pt x="833" y="683"/>
                        </a:lnTo>
                        <a:lnTo>
                          <a:pt x="829" y="685"/>
                        </a:lnTo>
                        <a:lnTo>
                          <a:pt x="826" y="683"/>
                        </a:lnTo>
                        <a:lnTo>
                          <a:pt x="823" y="683"/>
                        </a:lnTo>
                        <a:lnTo>
                          <a:pt x="823" y="683"/>
                        </a:lnTo>
                        <a:close/>
                        <a:moveTo>
                          <a:pt x="806" y="392"/>
                        </a:moveTo>
                        <a:lnTo>
                          <a:pt x="806" y="389"/>
                        </a:lnTo>
                        <a:lnTo>
                          <a:pt x="803" y="386"/>
                        </a:lnTo>
                        <a:lnTo>
                          <a:pt x="803" y="382"/>
                        </a:lnTo>
                        <a:lnTo>
                          <a:pt x="806" y="381"/>
                        </a:lnTo>
                        <a:lnTo>
                          <a:pt x="804" y="377"/>
                        </a:lnTo>
                        <a:lnTo>
                          <a:pt x="799" y="377"/>
                        </a:lnTo>
                        <a:lnTo>
                          <a:pt x="796" y="379"/>
                        </a:lnTo>
                        <a:lnTo>
                          <a:pt x="794" y="386"/>
                        </a:lnTo>
                        <a:lnTo>
                          <a:pt x="796" y="389"/>
                        </a:lnTo>
                        <a:lnTo>
                          <a:pt x="799" y="389"/>
                        </a:lnTo>
                        <a:lnTo>
                          <a:pt x="803" y="392"/>
                        </a:lnTo>
                        <a:lnTo>
                          <a:pt x="806" y="392"/>
                        </a:lnTo>
                        <a:lnTo>
                          <a:pt x="806" y="392"/>
                        </a:lnTo>
                        <a:close/>
                        <a:moveTo>
                          <a:pt x="798" y="361"/>
                        </a:moveTo>
                        <a:lnTo>
                          <a:pt x="803" y="358"/>
                        </a:lnTo>
                        <a:lnTo>
                          <a:pt x="806" y="358"/>
                        </a:lnTo>
                        <a:lnTo>
                          <a:pt x="809" y="356"/>
                        </a:lnTo>
                        <a:lnTo>
                          <a:pt x="809" y="353"/>
                        </a:lnTo>
                        <a:lnTo>
                          <a:pt x="809" y="351"/>
                        </a:lnTo>
                        <a:lnTo>
                          <a:pt x="813" y="349"/>
                        </a:lnTo>
                        <a:lnTo>
                          <a:pt x="811" y="348"/>
                        </a:lnTo>
                        <a:lnTo>
                          <a:pt x="808" y="348"/>
                        </a:lnTo>
                        <a:lnTo>
                          <a:pt x="801" y="353"/>
                        </a:lnTo>
                        <a:lnTo>
                          <a:pt x="798" y="358"/>
                        </a:lnTo>
                        <a:lnTo>
                          <a:pt x="798" y="361"/>
                        </a:lnTo>
                        <a:lnTo>
                          <a:pt x="798" y="361"/>
                        </a:lnTo>
                        <a:close/>
                        <a:moveTo>
                          <a:pt x="819" y="366"/>
                        </a:moveTo>
                        <a:lnTo>
                          <a:pt x="824" y="369"/>
                        </a:lnTo>
                        <a:lnTo>
                          <a:pt x="831" y="371"/>
                        </a:lnTo>
                        <a:lnTo>
                          <a:pt x="834" y="371"/>
                        </a:lnTo>
                        <a:lnTo>
                          <a:pt x="834" y="368"/>
                        </a:lnTo>
                        <a:lnTo>
                          <a:pt x="826" y="366"/>
                        </a:lnTo>
                        <a:lnTo>
                          <a:pt x="823" y="364"/>
                        </a:lnTo>
                        <a:lnTo>
                          <a:pt x="819" y="366"/>
                        </a:lnTo>
                        <a:lnTo>
                          <a:pt x="819" y="366"/>
                        </a:lnTo>
                        <a:close/>
                        <a:moveTo>
                          <a:pt x="866" y="397"/>
                        </a:moveTo>
                        <a:lnTo>
                          <a:pt x="866" y="401"/>
                        </a:lnTo>
                        <a:lnTo>
                          <a:pt x="864" y="406"/>
                        </a:lnTo>
                        <a:lnTo>
                          <a:pt x="861" y="407"/>
                        </a:lnTo>
                        <a:lnTo>
                          <a:pt x="859" y="411"/>
                        </a:lnTo>
                        <a:lnTo>
                          <a:pt x="862" y="414"/>
                        </a:lnTo>
                        <a:lnTo>
                          <a:pt x="864" y="414"/>
                        </a:lnTo>
                        <a:lnTo>
                          <a:pt x="869" y="411"/>
                        </a:lnTo>
                        <a:lnTo>
                          <a:pt x="872" y="409"/>
                        </a:lnTo>
                        <a:lnTo>
                          <a:pt x="876" y="404"/>
                        </a:lnTo>
                        <a:lnTo>
                          <a:pt x="879" y="402"/>
                        </a:lnTo>
                        <a:lnTo>
                          <a:pt x="884" y="397"/>
                        </a:lnTo>
                        <a:lnTo>
                          <a:pt x="884" y="394"/>
                        </a:lnTo>
                        <a:lnTo>
                          <a:pt x="881" y="392"/>
                        </a:lnTo>
                        <a:lnTo>
                          <a:pt x="876" y="392"/>
                        </a:lnTo>
                        <a:lnTo>
                          <a:pt x="869" y="394"/>
                        </a:lnTo>
                        <a:lnTo>
                          <a:pt x="866" y="397"/>
                        </a:lnTo>
                        <a:lnTo>
                          <a:pt x="866" y="397"/>
                        </a:lnTo>
                        <a:close/>
                        <a:moveTo>
                          <a:pt x="884" y="358"/>
                        </a:moveTo>
                        <a:lnTo>
                          <a:pt x="879" y="363"/>
                        </a:lnTo>
                        <a:lnTo>
                          <a:pt x="877" y="369"/>
                        </a:lnTo>
                        <a:lnTo>
                          <a:pt x="876" y="374"/>
                        </a:lnTo>
                        <a:lnTo>
                          <a:pt x="876" y="377"/>
                        </a:lnTo>
                        <a:lnTo>
                          <a:pt x="881" y="379"/>
                        </a:lnTo>
                        <a:lnTo>
                          <a:pt x="882" y="381"/>
                        </a:lnTo>
                        <a:lnTo>
                          <a:pt x="887" y="381"/>
                        </a:lnTo>
                        <a:lnTo>
                          <a:pt x="892" y="382"/>
                        </a:lnTo>
                        <a:lnTo>
                          <a:pt x="896" y="382"/>
                        </a:lnTo>
                        <a:lnTo>
                          <a:pt x="896" y="379"/>
                        </a:lnTo>
                        <a:lnTo>
                          <a:pt x="892" y="372"/>
                        </a:lnTo>
                        <a:lnTo>
                          <a:pt x="891" y="366"/>
                        </a:lnTo>
                        <a:lnTo>
                          <a:pt x="886" y="363"/>
                        </a:lnTo>
                        <a:lnTo>
                          <a:pt x="884" y="358"/>
                        </a:lnTo>
                        <a:lnTo>
                          <a:pt x="884" y="358"/>
                        </a:lnTo>
                        <a:close/>
                        <a:moveTo>
                          <a:pt x="912" y="304"/>
                        </a:moveTo>
                        <a:lnTo>
                          <a:pt x="917" y="299"/>
                        </a:lnTo>
                        <a:lnTo>
                          <a:pt x="914" y="298"/>
                        </a:lnTo>
                        <a:lnTo>
                          <a:pt x="911" y="298"/>
                        </a:lnTo>
                        <a:lnTo>
                          <a:pt x="907" y="301"/>
                        </a:lnTo>
                        <a:lnTo>
                          <a:pt x="909" y="304"/>
                        </a:lnTo>
                        <a:lnTo>
                          <a:pt x="912" y="304"/>
                        </a:lnTo>
                        <a:lnTo>
                          <a:pt x="912" y="304"/>
                        </a:lnTo>
                        <a:close/>
                        <a:moveTo>
                          <a:pt x="927" y="301"/>
                        </a:moveTo>
                        <a:lnTo>
                          <a:pt x="931" y="298"/>
                        </a:lnTo>
                        <a:lnTo>
                          <a:pt x="931" y="296"/>
                        </a:lnTo>
                        <a:lnTo>
                          <a:pt x="926" y="294"/>
                        </a:lnTo>
                        <a:lnTo>
                          <a:pt x="924" y="296"/>
                        </a:lnTo>
                        <a:lnTo>
                          <a:pt x="921" y="298"/>
                        </a:lnTo>
                        <a:lnTo>
                          <a:pt x="922" y="299"/>
                        </a:lnTo>
                        <a:lnTo>
                          <a:pt x="927" y="301"/>
                        </a:lnTo>
                        <a:lnTo>
                          <a:pt x="927" y="301"/>
                        </a:lnTo>
                        <a:close/>
                        <a:moveTo>
                          <a:pt x="949" y="304"/>
                        </a:moveTo>
                        <a:lnTo>
                          <a:pt x="951" y="303"/>
                        </a:lnTo>
                        <a:lnTo>
                          <a:pt x="946" y="299"/>
                        </a:lnTo>
                        <a:lnTo>
                          <a:pt x="941" y="303"/>
                        </a:lnTo>
                        <a:lnTo>
                          <a:pt x="942" y="303"/>
                        </a:lnTo>
                        <a:lnTo>
                          <a:pt x="949" y="304"/>
                        </a:lnTo>
                        <a:lnTo>
                          <a:pt x="949" y="304"/>
                        </a:lnTo>
                        <a:close/>
                        <a:moveTo>
                          <a:pt x="984" y="294"/>
                        </a:moveTo>
                        <a:lnTo>
                          <a:pt x="985" y="299"/>
                        </a:lnTo>
                        <a:lnTo>
                          <a:pt x="989" y="301"/>
                        </a:lnTo>
                        <a:lnTo>
                          <a:pt x="990" y="298"/>
                        </a:lnTo>
                        <a:lnTo>
                          <a:pt x="987" y="294"/>
                        </a:lnTo>
                        <a:lnTo>
                          <a:pt x="984" y="294"/>
                        </a:lnTo>
                        <a:lnTo>
                          <a:pt x="984" y="294"/>
                        </a:lnTo>
                        <a:close/>
                        <a:moveTo>
                          <a:pt x="964" y="291"/>
                        </a:moveTo>
                        <a:lnTo>
                          <a:pt x="969" y="291"/>
                        </a:lnTo>
                        <a:lnTo>
                          <a:pt x="970" y="288"/>
                        </a:lnTo>
                        <a:lnTo>
                          <a:pt x="967" y="286"/>
                        </a:lnTo>
                        <a:lnTo>
                          <a:pt x="964" y="286"/>
                        </a:lnTo>
                        <a:lnTo>
                          <a:pt x="964" y="288"/>
                        </a:lnTo>
                        <a:lnTo>
                          <a:pt x="964" y="291"/>
                        </a:lnTo>
                        <a:lnTo>
                          <a:pt x="964" y="291"/>
                        </a:lnTo>
                        <a:close/>
                        <a:moveTo>
                          <a:pt x="947" y="273"/>
                        </a:moveTo>
                        <a:lnTo>
                          <a:pt x="947" y="270"/>
                        </a:lnTo>
                        <a:lnTo>
                          <a:pt x="946" y="270"/>
                        </a:lnTo>
                        <a:lnTo>
                          <a:pt x="939" y="274"/>
                        </a:lnTo>
                        <a:lnTo>
                          <a:pt x="939" y="276"/>
                        </a:lnTo>
                        <a:lnTo>
                          <a:pt x="944" y="278"/>
                        </a:lnTo>
                        <a:lnTo>
                          <a:pt x="946" y="276"/>
                        </a:lnTo>
                        <a:lnTo>
                          <a:pt x="944" y="274"/>
                        </a:lnTo>
                        <a:lnTo>
                          <a:pt x="944" y="274"/>
                        </a:lnTo>
                        <a:lnTo>
                          <a:pt x="947" y="273"/>
                        </a:lnTo>
                        <a:lnTo>
                          <a:pt x="947" y="273"/>
                        </a:lnTo>
                        <a:close/>
                        <a:moveTo>
                          <a:pt x="961" y="270"/>
                        </a:moveTo>
                        <a:lnTo>
                          <a:pt x="959" y="266"/>
                        </a:lnTo>
                        <a:lnTo>
                          <a:pt x="954" y="266"/>
                        </a:lnTo>
                        <a:lnTo>
                          <a:pt x="952" y="268"/>
                        </a:lnTo>
                        <a:lnTo>
                          <a:pt x="954" y="271"/>
                        </a:lnTo>
                        <a:lnTo>
                          <a:pt x="957" y="271"/>
                        </a:lnTo>
                        <a:lnTo>
                          <a:pt x="961" y="271"/>
                        </a:lnTo>
                        <a:lnTo>
                          <a:pt x="961" y="270"/>
                        </a:lnTo>
                        <a:lnTo>
                          <a:pt x="961" y="270"/>
                        </a:lnTo>
                        <a:close/>
                        <a:moveTo>
                          <a:pt x="962" y="271"/>
                        </a:moveTo>
                        <a:lnTo>
                          <a:pt x="964" y="273"/>
                        </a:lnTo>
                        <a:lnTo>
                          <a:pt x="965" y="271"/>
                        </a:lnTo>
                        <a:lnTo>
                          <a:pt x="970" y="268"/>
                        </a:lnTo>
                        <a:lnTo>
                          <a:pt x="970" y="265"/>
                        </a:lnTo>
                        <a:lnTo>
                          <a:pt x="967" y="263"/>
                        </a:lnTo>
                        <a:lnTo>
                          <a:pt x="964" y="263"/>
                        </a:lnTo>
                        <a:lnTo>
                          <a:pt x="962" y="266"/>
                        </a:lnTo>
                        <a:lnTo>
                          <a:pt x="964" y="268"/>
                        </a:lnTo>
                        <a:lnTo>
                          <a:pt x="962" y="271"/>
                        </a:lnTo>
                        <a:lnTo>
                          <a:pt x="962" y="271"/>
                        </a:lnTo>
                        <a:close/>
                        <a:moveTo>
                          <a:pt x="947" y="258"/>
                        </a:moveTo>
                        <a:lnTo>
                          <a:pt x="951" y="255"/>
                        </a:lnTo>
                        <a:lnTo>
                          <a:pt x="951" y="251"/>
                        </a:lnTo>
                        <a:lnTo>
                          <a:pt x="947" y="251"/>
                        </a:lnTo>
                        <a:lnTo>
                          <a:pt x="944" y="253"/>
                        </a:lnTo>
                        <a:lnTo>
                          <a:pt x="939" y="253"/>
                        </a:lnTo>
                        <a:lnTo>
                          <a:pt x="939" y="255"/>
                        </a:lnTo>
                        <a:lnTo>
                          <a:pt x="946" y="256"/>
                        </a:lnTo>
                        <a:lnTo>
                          <a:pt x="947" y="258"/>
                        </a:lnTo>
                        <a:lnTo>
                          <a:pt x="947" y="258"/>
                        </a:lnTo>
                        <a:close/>
                        <a:moveTo>
                          <a:pt x="970" y="248"/>
                        </a:moveTo>
                        <a:lnTo>
                          <a:pt x="972" y="246"/>
                        </a:lnTo>
                        <a:lnTo>
                          <a:pt x="972" y="245"/>
                        </a:lnTo>
                        <a:lnTo>
                          <a:pt x="970" y="243"/>
                        </a:lnTo>
                        <a:lnTo>
                          <a:pt x="974" y="243"/>
                        </a:lnTo>
                        <a:lnTo>
                          <a:pt x="974" y="240"/>
                        </a:lnTo>
                        <a:lnTo>
                          <a:pt x="970" y="238"/>
                        </a:lnTo>
                        <a:lnTo>
                          <a:pt x="965" y="236"/>
                        </a:lnTo>
                        <a:lnTo>
                          <a:pt x="962" y="238"/>
                        </a:lnTo>
                        <a:lnTo>
                          <a:pt x="964" y="241"/>
                        </a:lnTo>
                        <a:lnTo>
                          <a:pt x="962" y="241"/>
                        </a:lnTo>
                        <a:lnTo>
                          <a:pt x="959" y="240"/>
                        </a:lnTo>
                        <a:lnTo>
                          <a:pt x="957" y="240"/>
                        </a:lnTo>
                        <a:lnTo>
                          <a:pt x="959" y="245"/>
                        </a:lnTo>
                        <a:lnTo>
                          <a:pt x="962" y="245"/>
                        </a:lnTo>
                        <a:lnTo>
                          <a:pt x="967" y="246"/>
                        </a:lnTo>
                        <a:lnTo>
                          <a:pt x="970" y="248"/>
                        </a:lnTo>
                        <a:lnTo>
                          <a:pt x="970" y="248"/>
                        </a:lnTo>
                        <a:close/>
                        <a:moveTo>
                          <a:pt x="1072" y="135"/>
                        </a:moveTo>
                        <a:lnTo>
                          <a:pt x="1077" y="135"/>
                        </a:lnTo>
                        <a:lnTo>
                          <a:pt x="1078" y="137"/>
                        </a:lnTo>
                        <a:lnTo>
                          <a:pt x="1083" y="137"/>
                        </a:lnTo>
                        <a:lnTo>
                          <a:pt x="1087" y="137"/>
                        </a:lnTo>
                        <a:lnTo>
                          <a:pt x="1092" y="137"/>
                        </a:lnTo>
                        <a:lnTo>
                          <a:pt x="1095" y="137"/>
                        </a:lnTo>
                        <a:lnTo>
                          <a:pt x="1097" y="133"/>
                        </a:lnTo>
                        <a:lnTo>
                          <a:pt x="1097" y="132"/>
                        </a:lnTo>
                        <a:lnTo>
                          <a:pt x="1095" y="132"/>
                        </a:lnTo>
                        <a:lnTo>
                          <a:pt x="1097" y="128"/>
                        </a:lnTo>
                        <a:lnTo>
                          <a:pt x="1095" y="125"/>
                        </a:lnTo>
                        <a:lnTo>
                          <a:pt x="1090" y="125"/>
                        </a:lnTo>
                        <a:lnTo>
                          <a:pt x="1088" y="127"/>
                        </a:lnTo>
                        <a:lnTo>
                          <a:pt x="1088" y="130"/>
                        </a:lnTo>
                        <a:lnTo>
                          <a:pt x="1087" y="130"/>
                        </a:lnTo>
                        <a:lnTo>
                          <a:pt x="1085" y="130"/>
                        </a:lnTo>
                        <a:lnTo>
                          <a:pt x="1083" y="128"/>
                        </a:lnTo>
                        <a:lnTo>
                          <a:pt x="1082" y="128"/>
                        </a:lnTo>
                        <a:lnTo>
                          <a:pt x="1080" y="130"/>
                        </a:lnTo>
                        <a:lnTo>
                          <a:pt x="1077" y="132"/>
                        </a:lnTo>
                        <a:lnTo>
                          <a:pt x="1073" y="132"/>
                        </a:lnTo>
                        <a:lnTo>
                          <a:pt x="1072" y="133"/>
                        </a:lnTo>
                        <a:lnTo>
                          <a:pt x="1072" y="135"/>
                        </a:lnTo>
                        <a:lnTo>
                          <a:pt x="1072" y="135"/>
                        </a:lnTo>
                        <a:close/>
                        <a:moveTo>
                          <a:pt x="1218" y="7"/>
                        </a:moveTo>
                        <a:lnTo>
                          <a:pt x="1218" y="10"/>
                        </a:lnTo>
                        <a:lnTo>
                          <a:pt x="1223" y="15"/>
                        </a:lnTo>
                        <a:lnTo>
                          <a:pt x="1221" y="17"/>
                        </a:lnTo>
                        <a:lnTo>
                          <a:pt x="1221" y="20"/>
                        </a:lnTo>
                        <a:lnTo>
                          <a:pt x="1226" y="19"/>
                        </a:lnTo>
                        <a:lnTo>
                          <a:pt x="1228" y="14"/>
                        </a:lnTo>
                        <a:lnTo>
                          <a:pt x="1225" y="7"/>
                        </a:lnTo>
                        <a:lnTo>
                          <a:pt x="1220" y="7"/>
                        </a:lnTo>
                        <a:lnTo>
                          <a:pt x="1218" y="7"/>
                        </a:lnTo>
                        <a:lnTo>
                          <a:pt x="1218" y="7"/>
                        </a:lnTo>
                        <a:close/>
                        <a:moveTo>
                          <a:pt x="1670" y="140"/>
                        </a:moveTo>
                        <a:lnTo>
                          <a:pt x="1671" y="138"/>
                        </a:lnTo>
                        <a:lnTo>
                          <a:pt x="1673" y="133"/>
                        </a:lnTo>
                        <a:lnTo>
                          <a:pt x="1671" y="130"/>
                        </a:lnTo>
                        <a:lnTo>
                          <a:pt x="1666" y="133"/>
                        </a:lnTo>
                        <a:lnTo>
                          <a:pt x="1665" y="135"/>
                        </a:lnTo>
                        <a:lnTo>
                          <a:pt x="1665" y="138"/>
                        </a:lnTo>
                        <a:lnTo>
                          <a:pt x="1668" y="138"/>
                        </a:lnTo>
                        <a:lnTo>
                          <a:pt x="1670" y="140"/>
                        </a:lnTo>
                        <a:lnTo>
                          <a:pt x="1670" y="140"/>
                        </a:lnTo>
                        <a:close/>
                        <a:moveTo>
                          <a:pt x="1608" y="201"/>
                        </a:moveTo>
                        <a:lnTo>
                          <a:pt x="1615" y="201"/>
                        </a:lnTo>
                        <a:lnTo>
                          <a:pt x="1617" y="200"/>
                        </a:lnTo>
                        <a:lnTo>
                          <a:pt x="1620" y="200"/>
                        </a:lnTo>
                        <a:lnTo>
                          <a:pt x="1620" y="198"/>
                        </a:lnTo>
                        <a:lnTo>
                          <a:pt x="1617" y="195"/>
                        </a:lnTo>
                        <a:lnTo>
                          <a:pt x="1612" y="191"/>
                        </a:lnTo>
                        <a:lnTo>
                          <a:pt x="1608" y="191"/>
                        </a:lnTo>
                        <a:lnTo>
                          <a:pt x="1605" y="193"/>
                        </a:lnTo>
                        <a:lnTo>
                          <a:pt x="1605" y="195"/>
                        </a:lnTo>
                        <a:lnTo>
                          <a:pt x="1608" y="198"/>
                        </a:lnTo>
                        <a:lnTo>
                          <a:pt x="1608" y="198"/>
                        </a:lnTo>
                        <a:lnTo>
                          <a:pt x="1608" y="201"/>
                        </a:lnTo>
                        <a:lnTo>
                          <a:pt x="1608" y="201"/>
                        </a:lnTo>
                        <a:close/>
                        <a:moveTo>
                          <a:pt x="1441" y="173"/>
                        </a:moveTo>
                        <a:lnTo>
                          <a:pt x="1446" y="175"/>
                        </a:lnTo>
                        <a:lnTo>
                          <a:pt x="1449" y="176"/>
                        </a:lnTo>
                        <a:lnTo>
                          <a:pt x="1452" y="175"/>
                        </a:lnTo>
                        <a:lnTo>
                          <a:pt x="1454" y="172"/>
                        </a:lnTo>
                        <a:lnTo>
                          <a:pt x="1456" y="168"/>
                        </a:lnTo>
                        <a:lnTo>
                          <a:pt x="1456" y="167"/>
                        </a:lnTo>
                        <a:lnTo>
                          <a:pt x="1454" y="163"/>
                        </a:lnTo>
                        <a:lnTo>
                          <a:pt x="1452" y="157"/>
                        </a:lnTo>
                        <a:lnTo>
                          <a:pt x="1451" y="153"/>
                        </a:lnTo>
                        <a:lnTo>
                          <a:pt x="1447" y="148"/>
                        </a:lnTo>
                        <a:lnTo>
                          <a:pt x="1447" y="147"/>
                        </a:lnTo>
                        <a:lnTo>
                          <a:pt x="1444" y="145"/>
                        </a:lnTo>
                        <a:lnTo>
                          <a:pt x="1436" y="148"/>
                        </a:lnTo>
                        <a:lnTo>
                          <a:pt x="1426" y="153"/>
                        </a:lnTo>
                        <a:lnTo>
                          <a:pt x="1422" y="153"/>
                        </a:lnTo>
                        <a:lnTo>
                          <a:pt x="1421" y="155"/>
                        </a:lnTo>
                        <a:lnTo>
                          <a:pt x="1422" y="160"/>
                        </a:lnTo>
                        <a:lnTo>
                          <a:pt x="1426" y="162"/>
                        </a:lnTo>
                        <a:lnTo>
                          <a:pt x="1427" y="165"/>
                        </a:lnTo>
                        <a:lnTo>
                          <a:pt x="1426" y="167"/>
                        </a:lnTo>
                        <a:lnTo>
                          <a:pt x="1421" y="167"/>
                        </a:lnTo>
                        <a:lnTo>
                          <a:pt x="1419" y="168"/>
                        </a:lnTo>
                        <a:lnTo>
                          <a:pt x="1422" y="172"/>
                        </a:lnTo>
                        <a:lnTo>
                          <a:pt x="1429" y="172"/>
                        </a:lnTo>
                        <a:lnTo>
                          <a:pt x="1441" y="173"/>
                        </a:lnTo>
                        <a:lnTo>
                          <a:pt x="1441" y="173"/>
                        </a:lnTo>
                        <a:close/>
                        <a:moveTo>
                          <a:pt x="1987" y="190"/>
                        </a:moveTo>
                        <a:lnTo>
                          <a:pt x="1990" y="195"/>
                        </a:lnTo>
                        <a:lnTo>
                          <a:pt x="1995" y="196"/>
                        </a:lnTo>
                        <a:lnTo>
                          <a:pt x="1995" y="195"/>
                        </a:lnTo>
                        <a:lnTo>
                          <a:pt x="2002" y="193"/>
                        </a:lnTo>
                        <a:lnTo>
                          <a:pt x="2004" y="191"/>
                        </a:lnTo>
                        <a:lnTo>
                          <a:pt x="2002" y="188"/>
                        </a:lnTo>
                        <a:lnTo>
                          <a:pt x="2000" y="183"/>
                        </a:lnTo>
                        <a:lnTo>
                          <a:pt x="1997" y="183"/>
                        </a:lnTo>
                        <a:lnTo>
                          <a:pt x="1997" y="186"/>
                        </a:lnTo>
                        <a:lnTo>
                          <a:pt x="1992" y="190"/>
                        </a:lnTo>
                        <a:lnTo>
                          <a:pt x="1992" y="190"/>
                        </a:lnTo>
                        <a:lnTo>
                          <a:pt x="1987" y="190"/>
                        </a:lnTo>
                        <a:lnTo>
                          <a:pt x="1987" y="190"/>
                        </a:lnTo>
                        <a:close/>
                        <a:moveTo>
                          <a:pt x="2527" y="152"/>
                        </a:moveTo>
                        <a:lnTo>
                          <a:pt x="2530" y="152"/>
                        </a:lnTo>
                        <a:lnTo>
                          <a:pt x="2530" y="148"/>
                        </a:lnTo>
                        <a:lnTo>
                          <a:pt x="2529" y="145"/>
                        </a:lnTo>
                        <a:lnTo>
                          <a:pt x="2527" y="145"/>
                        </a:lnTo>
                        <a:lnTo>
                          <a:pt x="2525" y="147"/>
                        </a:lnTo>
                        <a:lnTo>
                          <a:pt x="2527" y="152"/>
                        </a:lnTo>
                        <a:lnTo>
                          <a:pt x="2527" y="152"/>
                        </a:lnTo>
                        <a:close/>
                        <a:moveTo>
                          <a:pt x="2524" y="157"/>
                        </a:moveTo>
                        <a:lnTo>
                          <a:pt x="2527" y="157"/>
                        </a:lnTo>
                        <a:lnTo>
                          <a:pt x="2527" y="153"/>
                        </a:lnTo>
                        <a:lnTo>
                          <a:pt x="2524" y="150"/>
                        </a:lnTo>
                        <a:lnTo>
                          <a:pt x="2520" y="150"/>
                        </a:lnTo>
                        <a:lnTo>
                          <a:pt x="2520" y="152"/>
                        </a:lnTo>
                        <a:lnTo>
                          <a:pt x="2524" y="157"/>
                        </a:lnTo>
                        <a:lnTo>
                          <a:pt x="2524" y="157"/>
                        </a:lnTo>
                        <a:close/>
                        <a:moveTo>
                          <a:pt x="2520" y="158"/>
                        </a:moveTo>
                        <a:lnTo>
                          <a:pt x="2524" y="163"/>
                        </a:lnTo>
                        <a:lnTo>
                          <a:pt x="2527" y="167"/>
                        </a:lnTo>
                        <a:lnTo>
                          <a:pt x="2527" y="165"/>
                        </a:lnTo>
                        <a:lnTo>
                          <a:pt x="2525" y="160"/>
                        </a:lnTo>
                        <a:lnTo>
                          <a:pt x="2522" y="157"/>
                        </a:lnTo>
                        <a:lnTo>
                          <a:pt x="2520" y="157"/>
                        </a:lnTo>
                        <a:lnTo>
                          <a:pt x="2520" y="158"/>
                        </a:lnTo>
                        <a:lnTo>
                          <a:pt x="2520" y="158"/>
                        </a:lnTo>
                        <a:close/>
                        <a:moveTo>
                          <a:pt x="2507" y="155"/>
                        </a:moveTo>
                        <a:lnTo>
                          <a:pt x="2510" y="160"/>
                        </a:lnTo>
                        <a:lnTo>
                          <a:pt x="2514" y="162"/>
                        </a:lnTo>
                        <a:lnTo>
                          <a:pt x="2515" y="160"/>
                        </a:lnTo>
                        <a:lnTo>
                          <a:pt x="2517" y="158"/>
                        </a:lnTo>
                        <a:lnTo>
                          <a:pt x="2515" y="155"/>
                        </a:lnTo>
                        <a:lnTo>
                          <a:pt x="2512" y="153"/>
                        </a:lnTo>
                        <a:lnTo>
                          <a:pt x="2512" y="155"/>
                        </a:lnTo>
                        <a:lnTo>
                          <a:pt x="2507" y="155"/>
                        </a:lnTo>
                        <a:lnTo>
                          <a:pt x="2507" y="155"/>
                        </a:lnTo>
                        <a:close/>
                        <a:moveTo>
                          <a:pt x="2643" y="105"/>
                        </a:moveTo>
                        <a:lnTo>
                          <a:pt x="2648" y="108"/>
                        </a:lnTo>
                        <a:lnTo>
                          <a:pt x="2653" y="107"/>
                        </a:lnTo>
                        <a:lnTo>
                          <a:pt x="2656" y="102"/>
                        </a:lnTo>
                        <a:lnTo>
                          <a:pt x="2655" y="97"/>
                        </a:lnTo>
                        <a:lnTo>
                          <a:pt x="2651" y="93"/>
                        </a:lnTo>
                        <a:lnTo>
                          <a:pt x="2653" y="92"/>
                        </a:lnTo>
                        <a:lnTo>
                          <a:pt x="2651" y="88"/>
                        </a:lnTo>
                        <a:lnTo>
                          <a:pt x="2647" y="85"/>
                        </a:lnTo>
                        <a:lnTo>
                          <a:pt x="2645" y="87"/>
                        </a:lnTo>
                        <a:lnTo>
                          <a:pt x="2642" y="87"/>
                        </a:lnTo>
                        <a:lnTo>
                          <a:pt x="2637" y="83"/>
                        </a:lnTo>
                        <a:lnTo>
                          <a:pt x="2632" y="83"/>
                        </a:lnTo>
                        <a:lnTo>
                          <a:pt x="2632" y="85"/>
                        </a:lnTo>
                        <a:lnTo>
                          <a:pt x="2628" y="87"/>
                        </a:lnTo>
                        <a:lnTo>
                          <a:pt x="2628" y="88"/>
                        </a:lnTo>
                        <a:lnTo>
                          <a:pt x="2625" y="88"/>
                        </a:lnTo>
                        <a:lnTo>
                          <a:pt x="2623" y="92"/>
                        </a:lnTo>
                        <a:lnTo>
                          <a:pt x="2623" y="100"/>
                        </a:lnTo>
                        <a:lnTo>
                          <a:pt x="2627" y="100"/>
                        </a:lnTo>
                        <a:lnTo>
                          <a:pt x="2630" y="100"/>
                        </a:lnTo>
                        <a:lnTo>
                          <a:pt x="2637" y="102"/>
                        </a:lnTo>
                        <a:lnTo>
                          <a:pt x="2643" y="105"/>
                        </a:lnTo>
                        <a:lnTo>
                          <a:pt x="2643" y="105"/>
                        </a:lnTo>
                        <a:close/>
                        <a:moveTo>
                          <a:pt x="2673" y="95"/>
                        </a:moveTo>
                        <a:lnTo>
                          <a:pt x="2675" y="92"/>
                        </a:lnTo>
                        <a:lnTo>
                          <a:pt x="2676" y="90"/>
                        </a:lnTo>
                        <a:lnTo>
                          <a:pt x="2671" y="90"/>
                        </a:lnTo>
                        <a:lnTo>
                          <a:pt x="2670" y="92"/>
                        </a:lnTo>
                        <a:lnTo>
                          <a:pt x="2673" y="95"/>
                        </a:lnTo>
                        <a:lnTo>
                          <a:pt x="2673" y="95"/>
                        </a:lnTo>
                        <a:close/>
                        <a:moveTo>
                          <a:pt x="2706" y="1269"/>
                        </a:moveTo>
                        <a:lnTo>
                          <a:pt x="2705" y="1264"/>
                        </a:lnTo>
                        <a:lnTo>
                          <a:pt x="2706" y="1259"/>
                        </a:lnTo>
                        <a:lnTo>
                          <a:pt x="2705" y="1256"/>
                        </a:lnTo>
                        <a:lnTo>
                          <a:pt x="2703" y="1251"/>
                        </a:lnTo>
                        <a:lnTo>
                          <a:pt x="2703" y="1245"/>
                        </a:lnTo>
                        <a:lnTo>
                          <a:pt x="2708" y="1240"/>
                        </a:lnTo>
                        <a:lnTo>
                          <a:pt x="2710" y="1241"/>
                        </a:lnTo>
                        <a:lnTo>
                          <a:pt x="2710" y="1245"/>
                        </a:lnTo>
                        <a:lnTo>
                          <a:pt x="2713" y="1246"/>
                        </a:lnTo>
                        <a:lnTo>
                          <a:pt x="2723" y="1245"/>
                        </a:lnTo>
                        <a:lnTo>
                          <a:pt x="2723" y="1243"/>
                        </a:lnTo>
                        <a:lnTo>
                          <a:pt x="2726" y="1243"/>
                        </a:lnTo>
                        <a:lnTo>
                          <a:pt x="2728" y="1245"/>
                        </a:lnTo>
                        <a:lnTo>
                          <a:pt x="2726" y="1246"/>
                        </a:lnTo>
                        <a:lnTo>
                          <a:pt x="2726" y="1250"/>
                        </a:lnTo>
                        <a:lnTo>
                          <a:pt x="2731" y="1255"/>
                        </a:lnTo>
                        <a:lnTo>
                          <a:pt x="2731" y="1259"/>
                        </a:lnTo>
                        <a:lnTo>
                          <a:pt x="2735" y="1261"/>
                        </a:lnTo>
                        <a:lnTo>
                          <a:pt x="2735" y="1258"/>
                        </a:lnTo>
                        <a:lnTo>
                          <a:pt x="2735" y="1256"/>
                        </a:lnTo>
                        <a:lnTo>
                          <a:pt x="2735" y="1251"/>
                        </a:lnTo>
                        <a:lnTo>
                          <a:pt x="2735" y="1246"/>
                        </a:lnTo>
                        <a:lnTo>
                          <a:pt x="2730" y="1243"/>
                        </a:lnTo>
                        <a:lnTo>
                          <a:pt x="2728" y="1238"/>
                        </a:lnTo>
                        <a:lnTo>
                          <a:pt x="2726" y="1233"/>
                        </a:lnTo>
                        <a:lnTo>
                          <a:pt x="2723" y="1235"/>
                        </a:lnTo>
                        <a:lnTo>
                          <a:pt x="2720" y="1235"/>
                        </a:lnTo>
                        <a:lnTo>
                          <a:pt x="2713" y="1231"/>
                        </a:lnTo>
                        <a:lnTo>
                          <a:pt x="2713" y="1225"/>
                        </a:lnTo>
                        <a:lnTo>
                          <a:pt x="2710" y="1220"/>
                        </a:lnTo>
                        <a:lnTo>
                          <a:pt x="2703" y="1215"/>
                        </a:lnTo>
                        <a:lnTo>
                          <a:pt x="2700" y="1215"/>
                        </a:lnTo>
                        <a:lnTo>
                          <a:pt x="2696" y="1210"/>
                        </a:lnTo>
                        <a:lnTo>
                          <a:pt x="2693" y="1203"/>
                        </a:lnTo>
                        <a:lnTo>
                          <a:pt x="2690" y="1196"/>
                        </a:lnTo>
                        <a:lnTo>
                          <a:pt x="2688" y="1191"/>
                        </a:lnTo>
                        <a:lnTo>
                          <a:pt x="2688" y="1185"/>
                        </a:lnTo>
                        <a:lnTo>
                          <a:pt x="2688" y="1176"/>
                        </a:lnTo>
                        <a:lnTo>
                          <a:pt x="2685" y="1171"/>
                        </a:lnTo>
                        <a:lnTo>
                          <a:pt x="2686" y="1163"/>
                        </a:lnTo>
                        <a:lnTo>
                          <a:pt x="2685" y="1160"/>
                        </a:lnTo>
                        <a:lnTo>
                          <a:pt x="2681" y="1155"/>
                        </a:lnTo>
                        <a:lnTo>
                          <a:pt x="2685" y="1152"/>
                        </a:lnTo>
                        <a:lnTo>
                          <a:pt x="2685" y="1148"/>
                        </a:lnTo>
                        <a:lnTo>
                          <a:pt x="2685" y="1145"/>
                        </a:lnTo>
                        <a:lnTo>
                          <a:pt x="2688" y="1145"/>
                        </a:lnTo>
                        <a:lnTo>
                          <a:pt x="2690" y="1145"/>
                        </a:lnTo>
                        <a:lnTo>
                          <a:pt x="2696" y="1145"/>
                        </a:lnTo>
                        <a:lnTo>
                          <a:pt x="2701" y="1145"/>
                        </a:lnTo>
                        <a:lnTo>
                          <a:pt x="2706" y="1148"/>
                        </a:lnTo>
                        <a:lnTo>
                          <a:pt x="2710" y="1155"/>
                        </a:lnTo>
                        <a:lnTo>
                          <a:pt x="2715" y="1157"/>
                        </a:lnTo>
                        <a:lnTo>
                          <a:pt x="2720" y="1158"/>
                        </a:lnTo>
                        <a:lnTo>
                          <a:pt x="2725" y="1165"/>
                        </a:lnTo>
                        <a:lnTo>
                          <a:pt x="2726" y="1166"/>
                        </a:lnTo>
                        <a:lnTo>
                          <a:pt x="2725" y="1160"/>
                        </a:lnTo>
                        <a:lnTo>
                          <a:pt x="2720" y="1155"/>
                        </a:lnTo>
                        <a:lnTo>
                          <a:pt x="2713" y="1150"/>
                        </a:lnTo>
                        <a:lnTo>
                          <a:pt x="2708" y="1145"/>
                        </a:lnTo>
                        <a:lnTo>
                          <a:pt x="2705" y="1138"/>
                        </a:lnTo>
                        <a:lnTo>
                          <a:pt x="2705" y="1137"/>
                        </a:lnTo>
                        <a:lnTo>
                          <a:pt x="2701" y="1133"/>
                        </a:lnTo>
                        <a:lnTo>
                          <a:pt x="2696" y="1127"/>
                        </a:lnTo>
                        <a:lnTo>
                          <a:pt x="2695" y="1122"/>
                        </a:lnTo>
                        <a:lnTo>
                          <a:pt x="2691" y="1120"/>
                        </a:lnTo>
                        <a:lnTo>
                          <a:pt x="2691" y="1115"/>
                        </a:lnTo>
                        <a:lnTo>
                          <a:pt x="2683" y="1108"/>
                        </a:lnTo>
                        <a:lnTo>
                          <a:pt x="2676" y="1097"/>
                        </a:lnTo>
                        <a:lnTo>
                          <a:pt x="2675" y="1092"/>
                        </a:lnTo>
                        <a:lnTo>
                          <a:pt x="2666" y="1082"/>
                        </a:lnTo>
                        <a:lnTo>
                          <a:pt x="2663" y="1073"/>
                        </a:lnTo>
                        <a:lnTo>
                          <a:pt x="2660" y="1072"/>
                        </a:lnTo>
                        <a:lnTo>
                          <a:pt x="2660" y="1067"/>
                        </a:lnTo>
                        <a:lnTo>
                          <a:pt x="2656" y="1063"/>
                        </a:lnTo>
                        <a:lnTo>
                          <a:pt x="2653" y="1062"/>
                        </a:lnTo>
                        <a:lnTo>
                          <a:pt x="2653" y="1063"/>
                        </a:lnTo>
                        <a:lnTo>
                          <a:pt x="2650" y="1063"/>
                        </a:lnTo>
                        <a:lnTo>
                          <a:pt x="2648" y="1062"/>
                        </a:lnTo>
                        <a:lnTo>
                          <a:pt x="2650" y="1059"/>
                        </a:lnTo>
                        <a:lnTo>
                          <a:pt x="2648" y="1055"/>
                        </a:lnTo>
                        <a:lnTo>
                          <a:pt x="2645" y="1052"/>
                        </a:lnTo>
                        <a:lnTo>
                          <a:pt x="2640" y="1047"/>
                        </a:lnTo>
                        <a:lnTo>
                          <a:pt x="2637" y="1042"/>
                        </a:lnTo>
                        <a:lnTo>
                          <a:pt x="2635" y="1039"/>
                        </a:lnTo>
                        <a:lnTo>
                          <a:pt x="2635" y="1034"/>
                        </a:lnTo>
                        <a:lnTo>
                          <a:pt x="2635" y="1030"/>
                        </a:lnTo>
                        <a:lnTo>
                          <a:pt x="2637" y="1030"/>
                        </a:lnTo>
                        <a:lnTo>
                          <a:pt x="2635" y="1024"/>
                        </a:lnTo>
                        <a:lnTo>
                          <a:pt x="2635" y="1017"/>
                        </a:lnTo>
                        <a:lnTo>
                          <a:pt x="2633" y="1012"/>
                        </a:lnTo>
                        <a:lnTo>
                          <a:pt x="2628" y="1010"/>
                        </a:lnTo>
                        <a:lnTo>
                          <a:pt x="2623" y="1005"/>
                        </a:lnTo>
                        <a:lnTo>
                          <a:pt x="2623" y="1002"/>
                        </a:lnTo>
                        <a:lnTo>
                          <a:pt x="2620" y="1000"/>
                        </a:lnTo>
                        <a:lnTo>
                          <a:pt x="2620" y="999"/>
                        </a:lnTo>
                        <a:lnTo>
                          <a:pt x="2622" y="997"/>
                        </a:lnTo>
                        <a:lnTo>
                          <a:pt x="2627" y="1002"/>
                        </a:lnTo>
                        <a:lnTo>
                          <a:pt x="2632" y="1007"/>
                        </a:lnTo>
                        <a:lnTo>
                          <a:pt x="2628" y="1002"/>
                        </a:lnTo>
                        <a:lnTo>
                          <a:pt x="2623" y="995"/>
                        </a:lnTo>
                        <a:lnTo>
                          <a:pt x="2618" y="989"/>
                        </a:lnTo>
                        <a:lnTo>
                          <a:pt x="2615" y="989"/>
                        </a:lnTo>
                        <a:lnTo>
                          <a:pt x="2615" y="985"/>
                        </a:lnTo>
                        <a:lnTo>
                          <a:pt x="2605" y="979"/>
                        </a:lnTo>
                        <a:lnTo>
                          <a:pt x="2602" y="974"/>
                        </a:lnTo>
                        <a:lnTo>
                          <a:pt x="2602" y="965"/>
                        </a:lnTo>
                        <a:lnTo>
                          <a:pt x="2598" y="964"/>
                        </a:lnTo>
                        <a:lnTo>
                          <a:pt x="2592" y="961"/>
                        </a:lnTo>
                        <a:lnTo>
                          <a:pt x="2588" y="956"/>
                        </a:lnTo>
                        <a:lnTo>
                          <a:pt x="2587" y="952"/>
                        </a:lnTo>
                        <a:lnTo>
                          <a:pt x="2585" y="956"/>
                        </a:lnTo>
                        <a:lnTo>
                          <a:pt x="2587" y="957"/>
                        </a:lnTo>
                        <a:lnTo>
                          <a:pt x="2587" y="961"/>
                        </a:lnTo>
                        <a:lnTo>
                          <a:pt x="2583" y="961"/>
                        </a:lnTo>
                        <a:lnTo>
                          <a:pt x="2580" y="959"/>
                        </a:lnTo>
                        <a:lnTo>
                          <a:pt x="2577" y="959"/>
                        </a:lnTo>
                        <a:lnTo>
                          <a:pt x="2582" y="965"/>
                        </a:lnTo>
                        <a:lnTo>
                          <a:pt x="2590" y="969"/>
                        </a:lnTo>
                        <a:lnTo>
                          <a:pt x="2593" y="974"/>
                        </a:lnTo>
                        <a:lnTo>
                          <a:pt x="2593" y="977"/>
                        </a:lnTo>
                        <a:lnTo>
                          <a:pt x="2595" y="975"/>
                        </a:lnTo>
                        <a:lnTo>
                          <a:pt x="2598" y="975"/>
                        </a:lnTo>
                        <a:lnTo>
                          <a:pt x="2598" y="979"/>
                        </a:lnTo>
                        <a:lnTo>
                          <a:pt x="2597" y="980"/>
                        </a:lnTo>
                        <a:lnTo>
                          <a:pt x="2593" y="982"/>
                        </a:lnTo>
                        <a:lnTo>
                          <a:pt x="2595" y="985"/>
                        </a:lnTo>
                        <a:lnTo>
                          <a:pt x="2598" y="985"/>
                        </a:lnTo>
                        <a:lnTo>
                          <a:pt x="2600" y="989"/>
                        </a:lnTo>
                        <a:lnTo>
                          <a:pt x="2595" y="992"/>
                        </a:lnTo>
                        <a:lnTo>
                          <a:pt x="2592" y="990"/>
                        </a:lnTo>
                        <a:lnTo>
                          <a:pt x="2588" y="987"/>
                        </a:lnTo>
                        <a:lnTo>
                          <a:pt x="2585" y="990"/>
                        </a:lnTo>
                        <a:lnTo>
                          <a:pt x="2583" y="995"/>
                        </a:lnTo>
                        <a:lnTo>
                          <a:pt x="2587" y="1000"/>
                        </a:lnTo>
                        <a:lnTo>
                          <a:pt x="2588" y="1005"/>
                        </a:lnTo>
                        <a:lnTo>
                          <a:pt x="2593" y="1010"/>
                        </a:lnTo>
                        <a:lnTo>
                          <a:pt x="2598" y="1017"/>
                        </a:lnTo>
                        <a:lnTo>
                          <a:pt x="2598" y="1027"/>
                        </a:lnTo>
                        <a:lnTo>
                          <a:pt x="2600" y="1029"/>
                        </a:lnTo>
                        <a:lnTo>
                          <a:pt x="2602" y="1035"/>
                        </a:lnTo>
                        <a:lnTo>
                          <a:pt x="2605" y="1047"/>
                        </a:lnTo>
                        <a:lnTo>
                          <a:pt x="2608" y="1054"/>
                        </a:lnTo>
                        <a:lnTo>
                          <a:pt x="2613" y="1055"/>
                        </a:lnTo>
                        <a:lnTo>
                          <a:pt x="2613" y="1059"/>
                        </a:lnTo>
                        <a:lnTo>
                          <a:pt x="2612" y="1059"/>
                        </a:lnTo>
                        <a:lnTo>
                          <a:pt x="2623" y="1070"/>
                        </a:lnTo>
                        <a:lnTo>
                          <a:pt x="2628" y="1072"/>
                        </a:lnTo>
                        <a:lnTo>
                          <a:pt x="2633" y="1078"/>
                        </a:lnTo>
                        <a:lnTo>
                          <a:pt x="2635" y="1085"/>
                        </a:lnTo>
                        <a:lnTo>
                          <a:pt x="2635" y="1092"/>
                        </a:lnTo>
                        <a:lnTo>
                          <a:pt x="2638" y="1097"/>
                        </a:lnTo>
                        <a:lnTo>
                          <a:pt x="2638" y="1102"/>
                        </a:lnTo>
                        <a:lnTo>
                          <a:pt x="2642" y="1105"/>
                        </a:lnTo>
                        <a:lnTo>
                          <a:pt x="2647" y="1108"/>
                        </a:lnTo>
                        <a:lnTo>
                          <a:pt x="2645" y="1110"/>
                        </a:lnTo>
                        <a:lnTo>
                          <a:pt x="2647" y="1113"/>
                        </a:lnTo>
                        <a:lnTo>
                          <a:pt x="2651" y="1122"/>
                        </a:lnTo>
                        <a:lnTo>
                          <a:pt x="2653" y="1127"/>
                        </a:lnTo>
                        <a:lnTo>
                          <a:pt x="2655" y="1132"/>
                        </a:lnTo>
                        <a:lnTo>
                          <a:pt x="2655" y="1140"/>
                        </a:lnTo>
                        <a:lnTo>
                          <a:pt x="2658" y="1143"/>
                        </a:lnTo>
                        <a:lnTo>
                          <a:pt x="2656" y="1147"/>
                        </a:lnTo>
                        <a:lnTo>
                          <a:pt x="2658" y="1155"/>
                        </a:lnTo>
                        <a:lnTo>
                          <a:pt x="2661" y="1163"/>
                        </a:lnTo>
                        <a:lnTo>
                          <a:pt x="2660" y="1166"/>
                        </a:lnTo>
                        <a:lnTo>
                          <a:pt x="2661" y="1171"/>
                        </a:lnTo>
                        <a:lnTo>
                          <a:pt x="2666" y="1176"/>
                        </a:lnTo>
                        <a:lnTo>
                          <a:pt x="2675" y="1186"/>
                        </a:lnTo>
                        <a:lnTo>
                          <a:pt x="2675" y="1190"/>
                        </a:lnTo>
                        <a:lnTo>
                          <a:pt x="2678" y="1196"/>
                        </a:lnTo>
                        <a:lnTo>
                          <a:pt x="2678" y="1205"/>
                        </a:lnTo>
                        <a:lnTo>
                          <a:pt x="2678" y="1213"/>
                        </a:lnTo>
                        <a:lnTo>
                          <a:pt x="2683" y="1220"/>
                        </a:lnTo>
                        <a:lnTo>
                          <a:pt x="2685" y="1225"/>
                        </a:lnTo>
                        <a:lnTo>
                          <a:pt x="2690" y="1231"/>
                        </a:lnTo>
                        <a:lnTo>
                          <a:pt x="2691" y="1235"/>
                        </a:lnTo>
                        <a:lnTo>
                          <a:pt x="2690" y="1241"/>
                        </a:lnTo>
                        <a:lnTo>
                          <a:pt x="2690" y="1251"/>
                        </a:lnTo>
                        <a:lnTo>
                          <a:pt x="2691" y="1256"/>
                        </a:lnTo>
                        <a:lnTo>
                          <a:pt x="2696" y="1259"/>
                        </a:lnTo>
                        <a:lnTo>
                          <a:pt x="2700" y="1266"/>
                        </a:lnTo>
                        <a:lnTo>
                          <a:pt x="2706" y="1269"/>
                        </a:lnTo>
                        <a:lnTo>
                          <a:pt x="2706" y="1269"/>
                        </a:lnTo>
                        <a:close/>
                        <a:moveTo>
                          <a:pt x="2459" y="959"/>
                        </a:moveTo>
                        <a:lnTo>
                          <a:pt x="2460" y="959"/>
                        </a:lnTo>
                        <a:lnTo>
                          <a:pt x="2460" y="957"/>
                        </a:lnTo>
                        <a:lnTo>
                          <a:pt x="2462" y="956"/>
                        </a:lnTo>
                        <a:lnTo>
                          <a:pt x="2464" y="956"/>
                        </a:lnTo>
                        <a:lnTo>
                          <a:pt x="2467" y="959"/>
                        </a:lnTo>
                        <a:lnTo>
                          <a:pt x="2472" y="961"/>
                        </a:lnTo>
                        <a:lnTo>
                          <a:pt x="2474" y="957"/>
                        </a:lnTo>
                        <a:lnTo>
                          <a:pt x="2475" y="956"/>
                        </a:lnTo>
                        <a:lnTo>
                          <a:pt x="2474" y="952"/>
                        </a:lnTo>
                        <a:lnTo>
                          <a:pt x="2474" y="951"/>
                        </a:lnTo>
                        <a:lnTo>
                          <a:pt x="2477" y="947"/>
                        </a:lnTo>
                        <a:lnTo>
                          <a:pt x="2477" y="946"/>
                        </a:lnTo>
                        <a:lnTo>
                          <a:pt x="2474" y="946"/>
                        </a:lnTo>
                        <a:lnTo>
                          <a:pt x="2474" y="947"/>
                        </a:lnTo>
                        <a:lnTo>
                          <a:pt x="2470" y="949"/>
                        </a:lnTo>
                        <a:lnTo>
                          <a:pt x="2469" y="947"/>
                        </a:lnTo>
                        <a:lnTo>
                          <a:pt x="2472" y="946"/>
                        </a:lnTo>
                        <a:lnTo>
                          <a:pt x="2472" y="944"/>
                        </a:lnTo>
                        <a:lnTo>
                          <a:pt x="2470" y="942"/>
                        </a:lnTo>
                        <a:lnTo>
                          <a:pt x="2465" y="944"/>
                        </a:lnTo>
                        <a:lnTo>
                          <a:pt x="2462" y="942"/>
                        </a:lnTo>
                        <a:lnTo>
                          <a:pt x="2459" y="944"/>
                        </a:lnTo>
                        <a:lnTo>
                          <a:pt x="2457" y="949"/>
                        </a:lnTo>
                        <a:lnTo>
                          <a:pt x="2455" y="951"/>
                        </a:lnTo>
                        <a:lnTo>
                          <a:pt x="2455" y="954"/>
                        </a:lnTo>
                        <a:lnTo>
                          <a:pt x="2459" y="959"/>
                        </a:lnTo>
                        <a:lnTo>
                          <a:pt x="2459" y="959"/>
                        </a:lnTo>
                        <a:close/>
                        <a:moveTo>
                          <a:pt x="2442" y="956"/>
                        </a:moveTo>
                        <a:lnTo>
                          <a:pt x="2444" y="956"/>
                        </a:lnTo>
                        <a:lnTo>
                          <a:pt x="2444" y="954"/>
                        </a:lnTo>
                        <a:lnTo>
                          <a:pt x="2446" y="952"/>
                        </a:lnTo>
                        <a:lnTo>
                          <a:pt x="2449" y="954"/>
                        </a:lnTo>
                        <a:lnTo>
                          <a:pt x="2450" y="954"/>
                        </a:lnTo>
                        <a:lnTo>
                          <a:pt x="2449" y="951"/>
                        </a:lnTo>
                        <a:lnTo>
                          <a:pt x="2450" y="947"/>
                        </a:lnTo>
                        <a:lnTo>
                          <a:pt x="2450" y="946"/>
                        </a:lnTo>
                        <a:lnTo>
                          <a:pt x="2449" y="946"/>
                        </a:lnTo>
                        <a:lnTo>
                          <a:pt x="2446" y="949"/>
                        </a:lnTo>
                        <a:lnTo>
                          <a:pt x="2441" y="951"/>
                        </a:lnTo>
                        <a:lnTo>
                          <a:pt x="2441" y="954"/>
                        </a:lnTo>
                        <a:lnTo>
                          <a:pt x="2442" y="956"/>
                        </a:lnTo>
                        <a:lnTo>
                          <a:pt x="2442" y="956"/>
                        </a:lnTo>
                        <a:close/>
                        <a:moveTo>
                          <a:pt x="2475" y="970"/>
                        </a:moveTo>
                        <a:lnTo>
                          <a:pt x="2477" y="972"/>
                        </a:lnTo>
                        <a:lnTo>
                          <a:pt x="2480" y="970"/>
                        </a:lnTo>
                        <a:lnTo>
                          <a:pt x="2480" y="967"/>
                        </a:lnTo>
                        <a:lnTo>
                          <a:pt x="2479" y="965"/>
                        </a:lnTo>
                        <a:lnTo>
                          <a:pt x="2477" y="967"/>
                        </a:lnTo>
                        <a:lnTo>
                          <a:pt x="2477" y="967"/>
                        </a:lnTo>
                        <a:lnTo>
                          <a:pt x="2475" y="970"/>
                        </a:lnTo>
                        <a:lnTo>
                          <a:pt x="2475" y="970"/>
                        </a:lnTo>
                        <a:close/>
                        <a:moveTo>
                          <a:pt x="2470" y="965"/>
                        </a:moveTo>
                        <a:lnTo>
                          <a:pt x="2470" y="969"/>
                        </a:lnTo>
                        <a:lnTo>
                          <a:pt x="2472" y="970"/>
                        </a:lnTo>
                        <a:lnTo>
                          <a:pt x="2474" y="969"/>
                        </a:lnTo>
                        <a:lnTo>
                          <a:pt x="2474" y="965"/>
                        </a:lnTo>
                        <a:lnTo>
                          <a:pt x="2472" y="964"/>
                        </a:lnTo>
                        <a:lnTo>
                          <a:pt x="2470" y="965"/>
                        </a:lnTo>
                        <a:lnTo>
                          <a:pt x="2470" y="965"/>
                        </a:lnTo>
                        <a:close/>
                        <a:moveTo>
                          <a:pt x="2472" y="985"/>
                        </a:moveTo>
                        <a:lnTo>
                          <a:pt x="2475" y="982"/>
                        </a:lnTo>
                        <a:lnTo>
                          <a:pt x="2477" y="980"/>
                        </a:lnTo>
                        <a:lnTo>
                          <a:pt x="2479" y="977"/>
                        </a:lnTo>
                        <a:lnTo>
                          <a:pt x="2479" y="977"/>
                        </a:lnTo>
                        <a:lnTo>
                          <a:pt x="2479" y="974"/>
                        </a:lnTo>
                        <a:lnTo>
                          <a:pt x="2472" y="975"/>
                        </a:lnTo>
                        <a:lnTo>
                          <a:pt x="2469" y="980"/>
                        </a:lnTo>
                        <a:lnTo>
                          <a:pt x="2469" y="984"/>
                        </a:lnTo>
                        <a:lnTo>
                          <a:pt x="2472" y="985"/>
                        </a:lnTo>
                        <a:lnTo>
                          <a:pt x="2472" y="985"/>
                        </a:lnTo>
                        <a:close/>
                        <a:moveTo>
                          <a:pt x="2658" y="730"/>
                        </a:moveTo>
                        <a:lnTo>
                          <a:pt x="2660" y="730"/>
                        </a:lnTo>
                        <a:lnTo>
                          <a:pt x="2663" y="726"/>
                        </a:lnTo>
                        <a:lnTo>
                          <a:pt x="2663" y="723"/>
                        </a:lnTo>
                        <a:lnTo>
                          <a:pt x="2660" y="723"/>
                        </a:lnTo>
                        <a:lnTo>
                          <a:pt x="2658" y="726"/>
                        </a:lnTo>
                        <a:lnTo>
                          <a:pt x="2658" y="730"/>
                        </a:lnTo>
                        <a:lnTo>
                          <a:pt x="2658" y="730"/>
                        </a:lnTo>
                        <a:close/>
                        <a:moveTo>
                          <a:pt x="2954" y="701"/>
                        </a:moveTo>
                        <a:lnTo>
                          <a:pt x="2955" y="703"/>
                        </a:lnTo>
                        <a:lnTo>
                          <a:pt x="2955" y="698"/>
                        </a:lnTo>
                        <a:lnTo>
                          <a:pt x="2952" y="693"/>
                        </a:lnTo>
                        <a:lnTo>
                          <a:pt x="2954" y="691"/>
                        </a:lnTo>
                        <a:lnTo>
                          <a:pt x="2954" y="688"/>
                        </a:lnTo>
                        <a:lnTo>
                          <a:pt x="2957" y="683"/>
                        </a:lnTo>
                        <a:lnTo>
                          <a:pt x="2960" y="680"/>
                        </a:lnTo>
                        <a:lnTo>
                          <a:pt x="2965" y="675"/>
                        </a:lnTo>
                        <a:lnTo>
                          <a:pt x="2969" y="675"/>
                        </a:lnTo>
                        <a:lnTo>
                          <a:pt x="2967" y="670"/>
                        </a:lnTo>
                        <a:lnTo>
                          <a:pt x="2965" y="663"/>
                        </a:lnTo>
                        <a:lnTo>
                          <a:pt x="2959" y="658"/>
                        </a:lnTo>
                        <a:lnTo>
                          <a:pt x="2957" y="658"/>
                        </a:lnTo>
                        <a:lnTo>
                          <a:pt x="2954" y="660"/>
                        </a:lnTo>
                        <a:lnTo>
                          <a:pt x="2954" y="662"/>
                        </a:lnTo>
                        <a:lnTo>
                          <a:pt x="2950" y="663"/>
                        </a:lnTo>
                        <a:lnTo>
                          <a:pt x="2945" y="670"/>
                        </a:lnTo>
                        <a:lnTo>
                          <a:pt x="2942" y="670"/>
                        </a:lnTo>
                        <a:lnTo>
                          <a:pt x="2941" y="675"/>
                        </a:lnTo>
                        <a:lnTo>
                          <a:pt x="2942" y="675"/>
                        </a:lnTo>
                        <a:lnTo>
                          <a:pt x="2947" y="673"/>
                        </a:lnTo>
                        <a:lnTo>
                          <a:pt x="2947" y="673"/>
                        </a:lnTo>
                        <a:lnTo>
                          <a:pt x="2945" y="678"/>
                        </a:lnTo>
                        <a:lnTo>
                          <a:pt x="2947" y="685"/>
                        </a:lnTo>
                        <a:lnTo>
                          <a:pt x="2950" y="688"/>
                        </a:lnTo>
                        <a:lnTo>
                          <a:pt x="2950" y="693"/>
                        </a:lnTo>
                        <a:lnTo>
                          <a:pt x="2949" y="695"/>
                        </a:lnTo>
                        <a:lnTo>
                          <a:pt x="2949" y="698"/>
                        </a:lnTo>
                        <a:lnTo>
                          <a:pt x="2954" y="701"/>
                        </a:lnTo>
                        <a:lnTo>
                          <a:pt x="2954" y="701"/>
                        </a:lnTo>
                        <a:close/>
                        <a:moveTo>
                          <a:pt x="2959" y="1055"/>
                        </a:moveTo>
                        <a:lnTo>
                          <a:pt x="2960" y="1055"/>
                        </a:lnTo>
                        <a:lnTo>
                          <a:pt x="2962" y="1054"/>
                        </a:lnTo>
                        <a:lnTo>
                          <a:pt x="2962" y="1050"/>
                        </a:lnTo>
                        <a:lnTo>
                          <a:pt x="2959" y="1047"/>
                        </a:lnTo>
                        <a:lnTo>
                          <a:pt x="2955" y="1050"/>
                        </a:lnTo>
                        <a:lnTo>
                          <a:pt x="2955" y="1052"/>
                        </a:lnTo>
                        <a:lnTo>
                          <a:pt x="2959" y="1055"/>
                        </a:lnTo>
                        <a:lnTo>
                          <a:pt x="2959" y="1055"/>
                        </a:lnTo>
                        <a:close/>
                        <a:moveTo>
                          <a:pt x="2934" y="1050"/>
                        </a:moveTo>
                        <a:lnTo>
                          <a:pt x="2932" y="1054"/>
                        </a:lnTo>
                        <a:lnTo>
                          <a:pt x="2936" y="1055"/>
                        </a:lnTo>
                        <a:lnTo>
                          <a:pt x="2941" y="1055"/>
                        </a:lnTo>
                        <a:lnTo>
                          <a:pt x="2941" y="1052"/>
                        </a:lnTo>
                        <a:lnTo>
                          <a:pt x="2936" y="1049"/>
                        </a:lnTo>
                        <a:lnTo>
                          <a:pt x="2934" y="1050"/>
                        </a:lnTo>
                        <a:lnTo>
                          <a:pt x="2934" y="1050"/>
                        </a:lnTo>
                        <a:close/>
                        <a:moveTo>
                          <a:pt x="2947" y="1087"/>
                        </a:moveTo>
                        <a:lnTo>
                          <a:pt x="2949" y="1087"/>
                        </a:lnTo>
                        <a:lnTo>
                          <a:pt x="2949" y="1082"/>
                        </a:lnTo>
                        <a:lnTo>
                          <a:pt x="2949" y="1078"/>
                        </a:lnTo>
                        <a:lnTo>
                          <a:pt x="2954" y="1077"/>
                        </a:lnTo>
                        <a:lnTo>
                          <a:pt x="2955" y="1072"/>
                        </a:lnTo>
                        <a:lnTo>
                          <a:pt x="2955" y="1068"/>
                        </a:lnTo>
                        <a:lnTo>
                          <a:pt x="2957" y="1065"/>
                        </a:lnTo>
                        <a:lnTo>
                          <a:pt x="2959" y="1062"/>
                        </a:lnTo>
                        <a:lnTo>
                          <a:pt x="2957" y="1059"/>
                        </a:lnTo>
                        <a:lnTo>
                          <a:pt x="2950" y="1052"/>
                        </a:lnTo>
                        <a:lnTo>
                          <a:pt x="2949" y="1055"/>
                        </a:lnTo>
                        <a:lnTo>
                          <a:pt x="2949" y="1063"/>
                        </a:lnTo>
                        <a:lnTo>
                          <a:pt x="2949" y="1067"/>
                        </a:lnTo>
                        <a:lnTo>
                          <a:pt x="2945" y="1068"/>
                        </a:lnTo>
                        <a:lnTo>
                          <a:pt x="2942" y="1073"/>
                        </a:lnTo>
                        <a:lnTo>
                          <a:pt x="2939" y="1073"/>
                        </a:lnTo>
                        <a:lnTo>
                          <a:pt x="2939" y="1075"/>
                        </a:lnTo>
                        <a:lnTo>
                          <a:pt x="2942" y="1078"/>
                        </a:lnTo>
                        <a:lnTo>
                          <a:pt x="2942" y="1082"/>
                        </a:lnTo>
                        <a:lnTo>
                          <a:pt x="2939" y="1083"/>
                        </a:lnTo>
                        <a:lnTo>
                          <a:pt x="2941" y="1085"/>
                        </a:lnTo>
                        <a:lnTo>
                          <a:pt x="2945" y="1083"/>
                        </a:lnTo>
                        <a:lnTo>
                          <a:pt x="2947" y="1087"/>
                        </a:lnTo>
                        <a:lnTo>
                          <a:pt x="2947" y="1087"/>
                        </a:lnTo>
                        <a:close/>
                        <a:moveTo>
                          <a:pt x="2942" y="1113"/>
                        </a:moveTo>
                        <a:lnTo>
                          <a:pt x="2942" y="1113"/>
                        </a:lnTo>
                        <a:lnTo>
                          <a:pt x="2944" y="1110"/>
                        </a:lnTo>
                        <a:lnTo>
                          <a:pt x="2942" y="1107"/>
                        </a:lnTo>
                        <a:lnTo>
                          <a:pt x="2942" y="1103"/>
                        </a:lnTo>
                        <a:lnTo>
                          <a:pt x="2941" y="1102"/>
                        </a:lnTo>
                        <a:lnTo>
                          <a:pt x="2941" y="1107"/>
                        </a:lnTo>
                        <a:lnTo>
                          <a:pt x="2939" y="1110"/>
                        </a:lnTo>
                        <a:lnTo>
                          <a:pt x="2942" y="1113"/>
                        </a:lnTo>
                        <a:lnTo>
                          <a:pt x="2942" y="1113"/>
                        </a:lnTo>
                        <a:close/>
                        <a:moveTo>
                          <a:pt x="2944" y="1122"/>
                        </a:moveTo>
                        <a:lnTo>
                          <a:pt x="2945" y="1122"/>
                        </a:lnTo>
                        <a:lnTo>
                          <a:pt x="2945" y="1118"/>
                        </a:lnTo>
                        <a:lnTo>
                          <a:pt x="2941" y="1117"/>
                        </a:lnTo>
                        <a:lnTo>
                          <a:pt x="2941" y="1118"/>
                        </a:lnTo>
                        <a:lnTo>
                          <a:pt x="2941" y="1120"/>
                        </a:lnTo>
                        <a:lnTo>
                          <a:pt x="2944" y="1122"/>
                        </a:lnTo>
                        <a:lnTo>
                          <a:pt x="2944" y="1122"/>
                        </a:lnTo>
                        <a:close/>
                        <a:moveTo>
                          <a:pt x="2934" y="1128"/>
                        </a:moveTo>
                        <a:lnTo>
                          <a:pt x="2936" y="1128"/>
                        </a:lnTo>
                        <a:lnTo>
                          <a:pt x="2936" y="1127"/>
                        </a:lnTo>
                        <a:lnTo>
                          <a:pt x="2934" y="1125"/>
                        </a:lnTo>
                        <a:lnTo>
                          <a:pt x="2932" y="1127"/>
                        </a:lnTo>
                        <a:lnTo>
                          <a:pt x="2934" y="1128"/>
                        </a:lnTo>
                        <a:lnTo>
                          <a:pt x="2934" y="1128"/>
                        </a:lnTo>
                        <a:close/>
                        <a:moveTo>
                          <a:pt x="2937" y="1138"/>
                        </a:moveTo>
                        <a:lnTo>
                          <a:pt x="2939" y="1137"/>
                        </a:lnTo>
                        <a:lnTo>
                          <a:pt x="2942" y="1135"/>
                        </a:lnTo>
                        <a:lnTo>
                          <a:pt x="2942" y="1132"/>
                        </a:lnTo>
                        <a:lnTo>
                          <a:pt x="2941" y="1130"/>
                        </a:lnTo>
                        <a:lnTo>
                          <a:pt x="2939" y="1133"/>
                        </a:lnTo>
                        <a:lnTo>
                          <a:pt x="2937" y="1138"/>
                        </a:lnTo>
                        <a:lnTo>
                          <a:pt x="2937" y="1138"/>
                        </a:lnTo>
                        <a:close/>
                        <a:moveTo>
                          <a:pt x="2932" y="1165"/>
                        </a:moveTo>
                        <a:lnTo>
                          <a:pt x="2934" y="1163"/>
                        </a:lnTo>
                        <a:lnTo>
                          <a:pt x="2931" y="1163"/>
                        </a:lnTo>
                        <a:lnTo>
                          <a:pt x="2929" y="1163"/>
                        </a:lnTo>
                        <a:lnTo>
                          <a:pt x="2932" y="1165"/>
                        </a:lnTo>
                        <a:lnTo>
                          <a:pt x="2932" y="1165"/>
                        </a:lnTo>
                        <a:close/>
                        <a:moveTo>
                          <a:pt x="2931" y="1180"/>
                        </a:moveTo>
                        <a:lnTo>
                          <a:pt x="2932" y="1176"/>
                        </a:lnTo>
                        <a:lnTo>
                          <a:pt x="2931" y="1175"/>
                        </a:lnTo>
                        <a:lnTo>
                          <a:pt x="2929" y="1176"/>
                        </a:lnTo>
                        <a:lnTo>
                          <a:pt x="2931" y="1180"/>
                        </a:lnTo>
                        <a:lnTo>
                          <a:pt x="2931" y="1180"/>
                        </a:lnTo>
                        <a:close/>
                        <a:moveTo>
                          <a:pt x="2929" y="1183"/>
                        </a:moveTo>
                        <a:lnTo>
                          <a:pt x="2931" y="1186"/>
                        </a:lnTo>
                        <a:lnTo>
                          <a:pt x="2931" y="1185"/>
                        </a:lnTo>
                        <a:lnTo>
                          <a:pt x="2929" y="1183"/>
                        </a:lnTo>
                        <a:lnTo>
                          <a:pt x="2929" y="1183"/>
                        </a:lnTo>
                        <a:close/>
                        <a:moveTo>
                          <a:pt x="2924" y="1191"/>
                        </a:moveTo>
                        <a:lnTo>
                          <a:pt x="2926" y="1193"/>
                        </a:lnTo>
                        <a:lnTo>
                          <a:pt x="2927" y="1193"/>
                        </a:lnTo>
                        <a:lnTo>
                          <a:pt x="2927" y="1191"/>
                        </a:lnTo>
                        <a:lnTo>
                          <a:pt x="2926" y="1190"/>
                        </a:lnTo>
                        <a:lnTo>
                          <a:pt x="2924" y="1191"/>
                        </a:lnTo>
                        <a:lnTo>
                          <a:pt x="2924" y="1191"/>
                        </a:lnTo>
                        <a:close/>
                        <a:moveTo>
                          <a:pt x="2921" y="1210"/>
                        </a:moveTo>
                        <a:lnTo>
                          <a:pt x="2922" y="1208"/>
                        </a:lnTo>
                        <a:lnTo>
                          <a:pt x="2924" y="1200"/>
                        </a:lnTo>
                        <a:lnTo>
                          <a:pt x="2921" y="1200"/>
                        </a:lnTo>
                        <a:lnTo>
                          <a:pt x="2921" y="1203"/>
                        </a:lnTo>
                        <a:lnTo>
                          <a:pt x="2919" y="1210"/>
                        </a:lnTo>
                        <a:lnTo>
                          <a:pt x="2921" y="1210"/>
                        </a:lnTo>
                        <a:lnTo>
                          <a:pt x="2921" y="1210"/>
                        </a:lnTo>
                        <a:close/>
                        <a:moveTo>
                          <a:pt x="2879" y="1259"/>
                        </a:moveTo>
                        <a:lnTo>
                          <a:pt x="2881" y="1261"/>
                        </a:lnTo>
                        <a:lnTo>
                          <a:pt x="2886" y="1256"/>
                        </a:lnTo>
                        <a:lnTo>
                          <a:pt x="2889" y="1251"/>
                        </a:lnTo>
                        <a:lnTo>
                          <a:pt x="2892" y="1248"/>
                        </a:lnTo>
                        <a:lnTo>
                          <a:pt x="2892" y="1245"/>
                        </a:lnTo>
                        <a:lnTo>
                          <a:pt x="2894" y="1240"/>
                        </a:lnTo>
                        <a:lnTo>
                          <a:pt x="2899" y="1233"/>
                        </a:lnTo>
                        <a:lnTo>
                          <a:pt x="2897" y="1235"/>
                        </a:lnTo>
                        <a:lnTo>
                          <a:pt x="2892" y="1235"/>
                        </a:lnTo>
                        <a:lnTo>
                          <a:pt x="2889" y="1240"/>
                        </a:lnTo>
                        <a:lnTo>
                          <a:pt x="2887" y="1241"/>
                        </a:lnTo>
                        <a:lnTo>
                          <a:pt x="2886" y="1245"/>
                        </a:lnTo>
                        <a:lnTo>
                          <a:pt x="2884" y="1248"/>
                        </a:lnTo>
                        <a:lnTo>
                          <a:pt x="2884" y="1250"/>
                        </a:lnTo>
                        <a:lnTo>
                          <a:pt x="2881" y="1253"/>
                        </a:lnTo>
                        <a:lnTo>
                          <a:pt x="2879" y="1259"/>
                        </a:lnTo>
                        <a:lnTo>
                          <a:pt x="2879" y="1259"/>
                        </a:lnTo>
                        <a:close/>
                        <a:moveTo>
                          <a:pt x="2834" y="1308"/>
                        </a:moveTo>
                        <a:lnTo>
                          <a:pt x="2836" y="1308"/>
                        </a:lnTo>
                        <a:lnTo>
                          <a:pt x="2838" y="1303"/>
                        </a:lnTo>
                        <a:lnTo>
                          <a:pt x="2841" y="1299"/>
                        </a:lnTo>
                        <a:lnTo>
                          <a:pt x="2839" y="1294"/>
                        </a:lnTo>
                        <a:lnTo>
                          <a:pt x="2843" y="1293"/>
                        </a:lnTo>
                        <a:lnTo>
                          <a:pt x="2843" y="1289"/>
                        </a:lnTo>
                        <a:lnTo>
                          <a:pt x="2844" y="1288"/>
                        </a:lnTo>
                        <a:lnTo>
                          <a:pt x="2847" y="1289"/>
                        </a:lnTo>
                        <a:lnTo>
                          <a:pt x="2851" y="1286"/>
                        </a:lnTo>
                        <a:lnTo>
                          <a:pt x="2854" y="1279"/>
                        </a:lnTo>
                        <a:lnTo>
                          <a:pt x="2859" y="1274"/>
                        </a:lnTo>
                        <a:lnTo>
                          <a:pt x="2864" y="1274"/>
                        </a:lnTo>
                        <a:lnTo>
                          <a:pt x="2867" y="1271"/>
                        </a:lnTo>
                        <a:lnTo>
                          <a:pt x="2867" y="1268"/>
                        </a:lnTo>
                        <a:lnTo>
                          <a:pt x="2866" y="1263"/>
                        </a:lnTo>
                        <a:lnTo>
                          <a:pt x="2862" y="1264"/>
                        </a:lnTo>
                        <a:lnTo>
                          <a:pt x="2857" y="1269"/>
                        </a:lnTo>
                        <a:lnTo>
                          <a:pt x="2857" y="1273"/>
                        </a:lnTo>
                        <a:lnTo>
                          <a:pt x="2854" y="1273"/>
                        </a:lnTo>
                        <a:lnTo>
                          <a:pt x="2851" y="1274"/>
                        </a:lnTo>
                        <a:lnTo>
                          <a:pt x="2847" y="1274"/>
                        </a:lnTo>
                        <a:lnTo>
                          <a:pt x="2846" y="1271"/>
                        </a:lnTo>
                        <a:lnTo>
                          <a:pt x="2844" y="1271"/>
                        </a:lnTo>
                        <a:lnTo>
                          <a:pt x="2843" y="1274"/>
                        </a:lnTo>
                        <a:lnTo>
                          <a:pt x="2844" y="1278"/>
                        </a:lnTo>
                        <a:lnTo>
                          <a:pt x="2843" y="1281"/>
                        </a:lnTo>
                        <a:lnTo>
                          <a:pt x="2841" y="1284"/>
                        </a:lnTo>
                        <a:lnTo>
                          <a:pt x="2838" y="1284"/>
                        </a:lnTo>
                        <a:lnTo>
                          <a:pt x="2838" y="1288"/>
                        </a:lnTo>
                        <a:lnTo>
                          <a:pt x="2838" y="1291"/>
                        </a:lnTo>
                        <a:lnTo>
                          <a:pt x="2833" y="1293"/>
                        </a:lnTo>
                        <a:lnTo>
                          <a:pt x="2833" y="1296"/>
                        </a:lnTo>
                        <a:lnTo>
                          <a:pt x="2834" y="1298"/>
                        </a:lnTo>
                        <a:lnTo>
                          <a:pt x="2833" y="1299"/>
                        </a:lnTo>
                        <a:lnTo>
                          <a:pt x="2833" y="1303"/>
                        </a:lnTo>
                        <a:lnTo>
                          <a:pt x="2834" y="1308"/>
                        </a:lnTo>
                        <a:lnTo>
                          <a:pt x="2834" y="1308"/>
                        </a:lnTo>
                        <a:close/>
                        <a:moveTo>
                          <a:pt x="2813" y="1338"/>
                        </a:moveTo>
                        <a:lnTo>
                          <a:pt x="2813" y="1338"/>
                        </a:lnTo>
                        <a:lnTo>
                          <a:pt x="2814" y="1331"/>
                        </a:lnTo>
                        <a:lnTo>
                          <a:pt x="2816" y="1321"/>
                        </a:lnTo>
                        <a:lnTo>
                          <a:pt x="2818" y="1319"/>
                        </a:lnTo>
                        <a:lnTo>
                          <a:pt x="2824" y="1314"/>
                        </a:lnTo>
                        <a:lnTo>
                          <a:pt x="2824" y="1309"/>
                        </a:lnTo>
                        <a:lnTo>
                          <a:pt x="2823" y="1309"/>
                        </a:lnTo>
                        <a:lnTo>
                          <a:pt x="2819" y="1311"/>
                        </a:lnTo>
                        <a:lnTo>
                          <a:pt x="2818" y="1309"/>
                        </a:lnTo>
                        <a:lnTo>
                          <a:pt x="2814" y="1308"/>
                        </a:lnTo>
                        <a:lnTo>
                          <a:pt x="2813" y="1309"/>
                        </a:lnTo>
                        <a:lnTo>
                          <a:pt x="2813" y="1314"/>
                        </a:lnTo>
                        <a:lnTo>
                          <a:pt x="2811" y="1319"/>
                        </a:lnTo>
                        <a:lnTo>
                          <a:pt x="2811" y="1326"/>
                        </a:lnTo>
                        <a:lnTo>
                          <a:pt x="2808" y="1329"/>
                        </a:lnTo>
                        <a:lnTo>
                          <a:pt x="2809" y="1333"/>
                        </a:lnTo>
                        <a:lnTo>
                          <a:pt x="2813" y="1338"/>
                        </a:lnTo>
                        <a:lnTo>
                          <a:pt x="2813" y="1338"/>
                        </a:lnTo>
                        <a:close/>
                        <a:moveTo>
                          <a:pt x="50" y="985"/>
                        </a:moveTo>
                        <a:lnTo>
                          <a:pt x="50" y="985"/>
                        </a:lnTo>
                        <a:lnTo>
                          <a:pt x="49" y="989"/>
                        </a:lnTo>
                        <a:lnTo>
                          <a:pt x="54" y="992"/>
                        </a:lnTo>
                        <a:lnTo>
                          <a:pt x="55" y="989"/>
                        </a:lnTo>
                        <a:lnTo>
                          <a:pt x="50" y="985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16" name="Google Shape;3063;p98">
                    <a:extLst>
                      <a:ext uri="{FF2B5EF4-FFF2-40B4-BE49-F238E27FC236}">
                        <a16:creationId xmlns:a16="http://schemas.microsoft.com/office/drawing/2014/main" id="{45B9C709-C861-9531-95BA-084D65CF4581}"/>
                      </a:ext>
                    </a:extLst>
                  </p:cNvPr>
                  <p:cNvSpPr/>
                  <p:nvPr/>
                </p:nvSpPr>
                <p:spPr>
                  <a:xfrm>
                    <a:off x="6501704" y="2523688"/>
                    <a:ext cx="82409" cy="5603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3" h="108" extrusionOk="0">
                        <a:moveTo>
                          <a:pt x="110" y="106"/>
                        </a:moveTo>
                        <a:lnTo>
                          <a:pt x="111" y="106"/>
                        </a:lnTo>
                        <a:lnTo>
                          <a:pt x="116" y="108"/>
                        </a:lnTo>
                        <a:lnTo>
                          <a:pt x="120" y="104"/>
                        </a:lnTo>
                        <a:lnTo>
                          <a:pt x="123" y="106"/>
                        </a:lnTo>
                        <a:lnTo>
                          <a:pt x="123" y="103"/>
                        </a:lnTo>
                        <a:lnTo>
                          <a:pt x="121" y="99"/>
                        </a:lnTo>
                        <a:lnTo>
                          <a:pt x="121" y="96"/>
                        </a:lnTo>
                        <a:lnTo>
                          <a:pt x="118" y="96"/>
                        </a:lnTo>
                        <a:lnTo>
                          <a:pt x="116" y="96"/>
                        </a:lnTo>
                        <a:lnTo>
                          <a:pt x="115" y="96"/>
                        </a:lnTo>
                        <a:lnTo>
                          <a:pt x="111" y="96"/>
                        </a:lnTo>
                        <a:lnTo>
                          <a:pt x="111" y="99"/>
                        </a:lnTo>
                        <a:lnTo>
                          <a:pt x="115" y="99"/>
                        </a:lnTo>
                        <a:lnTo>
                          <a:pt x="115" y="101"/>
                        </a:lnTo>
                        <a:lnTo>
                          <a:pt x="111" y="103"/>
                        </a:lnTo>
                        <a:lnTo>
                          <a:pt x="110" y="106"/>
                        </a:lnTo>
                        <a:lnTo>
                          <a:pt x="110" y="106"/>
                        </a:lnTo>
                        <a:close/>
                        <a:moveTo>
                          <a:pt x="144" y="75"/>
                        </a:moveTo>
                        <a:lnTo>
                          <a:pt x="144" y="81"/>
                        </a:lnTo>
                        <a:lnTo>
                          <a:pt x="144" y="84"/>
                        </a:lnTo>
                        <a:lnTo>
                          <a:pt x="153" y="88"/>
                        </a:lnTo>
                        <a:lnTo>
                          <a:pt x="153" y="83"/>
                        </a:lnTo>
                        <a:lnTo>
                          <a:pt x="149" y="78"/>
                        </a:lnTo>
                        <a:lnTo>
                          <a:pt x="144" y="75"/>
                        </a:lnTo>
                        <a:lnTo>
                          <a:pt x="144" y="75"/>
                        </a:lnTo>
                        <a:close/>
                        <a:moveTo>
                          <a:pt x="98" y="65"/>
                        </a:moveTo>
                        <a:lnTo>
                          <a:pt x="96" y="70"/>
                        </a:lnTo>
                        <a:lnTo>
                          <a:pt x="100" y="71"/>
                        </a:lnTo>
                        <a:lnTo>
                          <a:pt x="98" y="65"/>
                        </a:lnTo>
                        <a:lnTo>
                          <a:pt x="98" y="65"/>
                        </a:lnTo>
                        <a:close/>
                        <a:moveTo>
                          <a:pt x="86" y="86"/>
                        </a:moveTo>
                        <a:lnTo>
                          <a:pt x="81" y="86"/>
                        </a:lnTo>
                        <a:lnTo>
                          <a:pt x="80" y="84"/>
                        </a:lnTo>
                        <a:lnTo>
                          <a:pt x="81" y="83"/>
                        </a:lnTo>
                        <a:lnTo>
                          <a:pt x="81" y="79"/>
                        </a:lnTo>
                        <a:lnTo>
                          <a:pt x="76" y="79"/>
                        </a:lnTo>
                        <a:lnTo>
                          <a:pt x="73" y="79"/>
                        </a:lnTo>
                        <a:lnTo>
                          <a:pt x="70" y="76"/>
                        </a:lnTo>
                        <a:lnTo>
                          <a:pt x="70" y="71"/>
                        </a:lnTo>
                        <a:lnTo>
                          <a:pt x="68" y="68"/>
                        </a:lnTo>
                        <a:lnTo>
                          <a:pt x="68" y="66"/>
                        </a:lnTo>
                        <a:lnTo>
                          <a:pt x="70" y="65"/>
                        </a:lnTo>
                        <a:lnTo>
                          <a:pt x="73" y="61"/>
                        </a:lnTo>
                        <a:lnTo>
                          <a:pt x="75" y="60"/>
                        </a:lnTo>
                        <a:lnTo>
                          <a:pt x="76" y="63"/>
                        </a:lnTo>
                        <a:lnTo>
                          <a:pt x="76" y="65"/>
                        </a:lnTo>
                        <a:lnTo>
                          <a:pt x="81" y="68"/>
                        </a:lnTo>
                        <a:lnTo>
                          <a:pt x="83" y="66"/>
                        </a:lnTo>
                        <a:lnTo>
                          <a:pt x="85" y="66"/>
                        </a:lnTo>
                        <a:lnTo>
                          <a:pt x="85" y="65"/>
                        </a:lnTo>
                        <a:lnTo>
                          <a:pt x="81" y="63"/>
                        </a:lnTo>
                        <a:lnTo>
                          <a:pt x="80" y="60"/>
                        </a:lnTo>
                        <a:lnTo>
                          <a:pt x="83" y="56"/>
                        </a:lnTo>
                        <a:lnTo>
                          <a:pt x="88" y="55"/>
                        </a:lnTo>
                        <a:lnTo>
                          <a:pt x="95" y="55"/>
                        </a:lnTo>
                        <a:lnTo>
                          <a:pt x="96" y="58"/>
                        </a:lnTo>
                        <a:lnTo>
                          <a:pt x="96" y="63"/>
                        </a:lnTo>
                        <a:lnTo>
                          <a:pt x="95" y="68"/>
                        </a:lnTo>
                        <a:lnTo>
                          <a:pt x="90" y="71"/>
                        </a:lnTo>
                        <a:lnTo>
                          <a:pt x="90" y="73"/>
                        </a:lnTo>
                        <a:lnTo>
                          <a:pt x="95" y="75"/>
                        </a:lnTo>
                        <a:lnTo>
                          <a:pt x="95" y="78"/>
                        </a:lnTo>
                        <a:lnTo>
                          <a:pt x="93" y="79"/>
                        </a:lnTo>
                        <a:lnTo>
                          <a:pt x="88" y="81"/>
                        </a:lnTo>
                        <a:lnTo>
                          <a:pt x="88" y="84"/>
                        </a:lnTo>
                        <a:lnTo>
                          <a:pt x="86" y="86"/>
                        </a:lnTo>
                        <a:lnTo>
                          <a:pt x="86" y="86"/>
                        </a:lnTo>
                        <a:close/>
                        <a:moveTo>
                          <a:pt x="88" y="88"/>
                        </a:moveTo>
                        <a:lnTo>
                          <a:pt x="90" y="89"/>
                        </a:lnTo>
                        <a:lnTo>
                          <a:pt x="91" y="86"/>
                        </a:lnTo>
                        <a:lnTo>
                          <a:pt x="95" y="86"/>
                        </a:lnTo>
                        <a:lnTo>
                          <a:pt x="95" y="84"/>
                        </a:lnTo>
                        <a:lnTo>
                          <a:pt x="90" y="84"/>
                        </a:lnTo>
                        <a:lnTo>
                          <a:pt x="88" y="88"/>
                        </a:lnTo>
                        <a:lnTo>
                          <a:pt x="88" y="88"/>
                        </a:lnTo>
                        <a:close/>
                        <a:moveTo>
                          <a:pt x="70" y="88"/>
                        </a:moveTo>
                        <a:lnTo>
                          <a:pt x="75" y="93"/>
                        </a:lnTo>
                        <a:lnTo>
                          <a:pt x="78" y="93"/>
                        </a:lnTo>
                        <a:lnTo>
                          <a:pt x="80" y="93"/>
                        </a:lnTo>
                        <a:lnTo>
                          <a:pt x="81" y="89"/>
                        </a:lnTo>
                        <a:lnTo>
                          <a:pt x="86" y="89"/>
                        </a:lnTo>
                        <a:lnTo>
                          <a:pt x="86" y="88"/>
                        </a:lnTo>
                        <a:lnTo>
                          <a:pt x="88" y="91"/>
                        </a:lnTo>
                        <a:lnTo>
                          <a:pt x="85" y="94"/>
                        </a:lnTo>
                        <a:lnTo>
                          <a:pt x="85" y="99"/>
                        </a:lnTo>
                        <a:lnTo>
                          <a:pt x="85" y="98"/>
                        </a:lnTo>
                        <a:lnTo>
                          <a:pt x="83" y="94"/>
                        </a:lnTo>
                        <a:lnTo>
                          <a:pt x="81" y="98"/>
                        </a:lnTo>
                        <a:lnTo>
                          <a:pt x="73" y="98"/>
                        </a:lnTo>
                        <a:lnTo>
                          <a:pt x="66" y="96"/>
                        </a:lnTo>
                        <a:lnTo>
                          <a:pt x="65" y="93"/>
                        </a:lnTo>
                        <a:lnTo>
                          <a:pt x="68" y="93"/>
                        </a:lnTo>
                        <a:lnTo>
                          <a:pt x="66" y="91"/>
                        </a:lnTo>
                        <a:lnTo>
                          <a:pt x="68" y="88"/>
                        </a:lnTo>
                        <a:lnTo>
                          <a:pt x="70" y="88"/>
                        </a:lnTo>
                        <a:lnTo>
                          <a:pt x="70" y="88"/>
                        </a:lnTo>
                        <a:close/>
                        <a:moveTo>
                          <a:pt x="53" y="66"/>
                        </a:moveTo>
                        <a:lnTo>
                          <a:pt x="55" y="61"/>
                        </a:lnTo>
                        <a:lnTo>
                          <a:pt x="55" y="56"/>
                        </a:lnTo>
                        <a:lnTo>
                          <a:pt x="56" y="61"/>
                        </a:lnTo>
                        <a:lnTo>
                          <a:pt x="56" y="65"/>
                        </a:lnTo>
                        <a:lnTo>
                          <a:pt x="53" y="66"/>
                        </a:lnTo>
                        <a:lnTo>
                          <a:pt x="53" y="66"/>
                        </a:lnTo>
                        <a:close/>
                        <a:moveTo>
                          <a:pt x="50" y="89"/>
                        </a:moveTo>
                        <a:lnTo>
                          <a:pt x="55" y="93"/>
                        </a:lnTo>
                        <a:lnTo>
                          <a:pt x="56" y="91"/>
                        </a:lnTo>
                        <a:lnTo>
                          <a:pt x="50" y="89"/>
                        </a:lnTo>
                        <a:lnTo>
                          <a:pt x="50" y="89"/>
                        </a:lnTo>
                        <a:close/>
                        <a:moveTo>
                          <a:pt x="61" y="81"/>
                        </a:moveTo>
                        <a:lnTo>
                          <a:pt x="60" y="88"/>
                        </a:lnTo>
                        <a:lnTo>
                          <a:pt x="58" y="91"/>
                        </a:lnTo>
                        <a:lnTo>
                          <a:pt x="60" y="93"/>
                        </a:lnTo>
                        <a:lnTo>
                          <a:pt x="61" y="89"/>
                        </a:lnTo>
                        <a:lnTo>
                          <a:pt x="65" y="84"/>
                        </a:lnTo>
                        <a:lnTo>
                          <a:pt x="65" y="84"/>
                        </a:lnTo>
                        <a:lnTo>
                          <a:pt x="61" y="81"/>
                        </a:lnTo>
                        <a:lnTo>
                          <a:pt x="61" y="81"/>
                        </a:lnTo>
                        <a:close/>
                        <a:moveTo>
                          <a:pt x="40" y="71"/>
                        </a:moveTo>
                        <a:lnTo>
                          <a:pt x="46" y="70"/>
                        </a:lnTo>
                        <a:lnTo>
                          <a:pt x="51" y="71"/>
                        </a:lnTo>
                        <a:lnTo>
                          <a:pt x="55" y="71"/>
                        </a:lnTo>
                        <a:lnTo>
                          <a:pt x="58" y="78"/>
                        </a:lnTo>
                        <a:lnTo>
                          <a:pt x="60" y="81"/>
                        </a:lnTo>
                        <a:lnTo>
                          <a:pt x="56" y="86"/>
                        </a:lnTo>
                        <a:lnTo>
                          <a:pt x="51" y="88"/>
                        </a:lnTo>
                        <a:lnTo>
                          <a:pt x="50" y="86"/>
                        </a:lnTo>
                        <a:lnTo>
                          <a:pt x="45" y="84"/>
                        </a:lnTo>
                        <a:lnTo>
                          <a:pt x="41" y="81"/>
                        </a:lnTo>
                        <a:lnTo>
                          <a:pt x="38" y="76"/>
                        </a:lnTo>
                        <a:lnTo>
                          <a:pt x="40" y="71"/>
                        </a:lnTo>
                        <a:lnTo>
                          <a:pt x="40" y="71"/>
                        </a:lnTo>
                        <a:close/>
                        <a:moveTo>
                          <a:pt x="58" y="16"/>
                        </a:moveTo>
                        <a:lnTo>
                          <a:pt x="61" y="13"/>
                        </a:lnTo>
                        <a:lnTo>
                          <a:pt x="66" y="13"/>
                        </a:lnTo>
                        <a:lnTo>
                          <a:pt x="63" y="16"/>
                        </a:lnTo>
                        <a:lnTo>
                          <a:pt x="58" y="16"/>
                        </a:lnTo>
                        <a:lnTo>
                          <a:pt x="58" y="16"/>
                        </a:lnTo>
                        <a:close/>
                        <a:moveTo>
                          <a:pt x="15" y="36"/>
                        </a:moveTo>
                        <a:lnTo>
                          <a:pt x="15" y="31"/>
                        </a:lnTo>
                        <a:lnTo>
                          <a:pt x="18" y="28"/>
                        </a:lnTo>
                        <a:lnTo>
                          <a:pt x="23" y="28"/>
                        </a:lnTo>
                        <a:lnTo>
                          <a:pt x="22" y="31"/>
                        </a:lnTo>
                        <a:lnTo>
                          <a:pt x="18" y="35"/>
                        </a:lnTo>
                        <a:lnTo>
                          <a:pt x="15" y="36"/>
                        </a:lnTo>
                        <a:lnTo>
                          <a:pt x="15" y="36"/>
                        </a:lnTo>
                        <a:close/>
                        <a:moveTo>
                          <a:pt x="15" y="38"/>
                        </a:moveTo>
                        <a:lnTo>
                          <a:pt x="13" y="33"/>
                        </a:lnTo>
                        <a:lnTo>
                          <a:pt x="15" y="30"/>
                        </a:lnTo>
                        <a:lnTo>
                          <a:pt x="22" y="25"/>
                        </a:lnTo>
                        <a:lnTo>
                          <a:pt x="23" y="26"/>
                        </a:lnTo>
                        <a:lnTo>
                          <a:pt x="27" y="25"/>
                        </a:lnTo>
                        <a:lnTo>
                          <a:pt x="33" y="26"/>
                        </a:lnTo>
                        <a:lnTo>
                          <a:pt x="37" y="25"/>
                        </a:lnTo>
                        <a:lnTo>
                          <a:pt x="41" y="25"/>
                        </a:lnTo>
                        <a:lnTo>
                          <a:pt x="45" y="26"/>
                        </a:lnTo>
                        <a:lnTo>
                          <a:pt x="48" y="26"/>
                        </a:lnTo>
                        <a:lnTo>
                          <a:pt x="51" y="18"/>
                        </a:lnTo>
                        <a:lnTo>
                          <a:pt x="51" y="13"/>
                        </a:lnTo>
                        <a:lnTo>
                          <a:pt x="51" y="11"/>
                        </a:lnTo>
                        <a:lnTo>
                          <a:pt x="51" y="8"/>
                        </a:lnTo>
                        <a:lnTo>
                          <a:pt x="55" y="1"/>
                        </a:lnTo>
                        <a:lnTo>
                          <a:pt x="53" y="0"/>
                        </a:lnTo>
                        <a:lnTo>
                          <a:pt x="46" y="6"/>
                        </a:lnTo>
                        <a:lnTo>
                          <a:pt x="41" y="8"/>
                        </a:lnTo>
                        <a:lnTo>
                          <a:pt x="37" y="10"/>
                        </a:lnTo>
                        <a:lnTo>
                          <a:pt x="33" y="13"/>
                        </a:lnTo>
                        <a:lnTo>
                          <a:pt x="32" y="18"/>
                        </a:lnTo>
                        <a:lnTo>
                          <a:pt x="27" y="21"/>
                        </a:lnTo>
                        <a:lnTo>
                          <a:pt x="22" y="21"/>
                        </a:lnTo>
                        <a:lnTo>
                          <a:pt x="15" y="26"/>
                        </a:lnTo>
                        <a:lnTo>
                          <a:pt x="13" y="25"/>
                        </a:lnTo>
                        <a:lnTo>
                          <a:pt x="10" y="25"/>
                        </a:lnTo>
                        <a:lnTo>
                          <a:pt x="8" y="30"/>
                        </a:lnTo>
                        <a:lnTo>
                          <a:pt x="5" y="33"/>
                        </a:lnTo>
                        <a:lnTo>
                          <a:pt x="7" y="35"/>
                        </a:lnTo>
                        <a:lnTo>
                          <a:pt x="8" y="33"/>
                        </a:lnTo>
                        <a:lnTo>
                          <a:pt x="15" y="38"/>
                        </a:lnTo>
                        <a:lnTo>
                          <a:pt x="15" y="38"/>
                        </a:lnTo>
                        <a:close/>
                        <a:moveTo>
                          <a:pt x="35" y="91"/>
                        </a:moveTo>
                        <a:lnTo>
                          <a:pt x="35" y="89"/>
                        </a:lnTo>
                        <a:lnTo>
                          <a:pt x="37" y="88"/>
                        </a:lnTo>
                        <a:lnTo>
                          <a:pt x="33" y="84"/>
                        </a:lnTo>
                        <a:lnTo>
                          <a:pt x="32" y="84"/>
                        </a:lnTo>
                        <a:lnTo>
                          <a:pt x="32" y="81"/>
                        </a:lnTo>
                        <a:lnTo>
                          <a:pt x="33" y="79"/>
                        </a:lnTo>
                        <a:lnTo>
                          <a:pt x="35" y="76"/>
                        </a:lnTo>
                        <a:lnTo>
                          <a:pt x="32" y="75"/>
                        </a:lnTo>
                        <a:lnTo>
                          <a:pt x="32" y="73"/>
                        </a:lnTo>
                        <a:lnTo>
                          <a:pt x="41" y="68"/>
                        </a:lnTo>
                        <a:lnTo>
                          <a:pt x="40" y="66"/>
                        </a:lnTo>
                        <a:lnTo>
                          <a:pt x="43" y="63"/>
                        </a:lnTo>
                        <a:lnTo>
                          <a:pt x="45" y="65"/>
                        </a:lnTo>
                        <a:lnTo>
                          <a:pt x="50" y="63"/>
                        </a:lnTo>
                        <a:lnTo>
                          <a:pt x="50" y="56"/>
                        </a:lnTo>
                        <a:lnTo>
                          <a:pt x="48" y="53"/>
                        </a:lnTo>
                        <a:lnTo>
                          <a:pt x="50" y="50"/>
                        </a:lnTo>
                        <a:lnTo>
                          <a:pt x="55" y="50"/>
                        </a:lnTo>
                        <a:lnTo>
                          <a:pt x="58" y="53"/>
                        </a:lnTo>
                        <a:lnTo>
                          <a:pt x="60" y="51"/>
                        </a:lnTo>
                        <a:lnTo>
                          <a:pt x="61" y="51"/>
                        </a:lnTo>
                        <a:lnTo>
                          <a:pt x="63" y="50"/>
                        </a:lnTo>
                        <a:lnTo>
                          <a:pt x="65" y="46"/>
                        </a:lnTo>
                        <a:lnTo>
                          <a:pt x="60" y="41"/>
                        </a:lnTo>
                        <a:lnTo>
                          <a:pt x="58" y="43"/>
                        </a:lnTo>
                        <a:lnTo>
                          <a:pt x="51" y="43"/>
                        </a:lnTo>
                        <a:lnTo>
                          <a:pt x="50" y="41"/>
                        </a:lnTo>
                        <a:lnTo>
                          <a:pt x="46" y="36"/>
                        </a:lnTo>
                        <a:lnTo>
                          <a:pt x="45" y="36"/>
                        </a:lnTo>
                        <a:lnTo>
                          <a:pt x="46" y="35"/>
                        </a:lnTo>
                        <a:lnTo>
                          <a:pt x="46" y="30"/>
                        </a:lnTo>
                        <a:lnTo>
                          <a:pt x="41" y="26"/>
                        </a:lnTo>
                        <a:lnTo>
                          <a:pt x="35" y="28"/>
                        </a:lnTo>
                        <a:lnTo>
                          <a:pt x="32" y="30"/>
                        </a:lnTo>
                        <a:lnTo>
                          <a:pt x="27" y="28"/>
                        </a:lnTo>
                        <a:lnTo>
                          <a:pt x="25" y="30"/>
                        </a:lnTo>
                        <a:lnTo>
                          <a:pt x="30" y="35"/>
                        </a:lnTo>
                        <a:lnTo>
                          <a:pt x="28" y="36"/>
                        </a:lnTo>
                        <a:lnTo>
                          <a:pt x="32" y="41"/>
                        </a:lnTo>
                        <a:lnTo>
                          <a:pt x="32" y="43"/>
                        </a:lnTo>
                        <a:lnTo>
                          <a:pt x="28" y="41"/>
                        </a:lnTo>
                        <a:lnTo>
                          <a:pt x="23" y="41"/>
                        </a:lnTo>
                        <a:lnTo>
                          <a:pt x="23" y="40"/>
                        </a:lnTo>
                        <a:lnTo>
                          <a:pt x="27" y="38"/>
                        </a:lnTo>
                        <a:lnTo>
                          <a:pt x="23" y="33"/>
                        </a:lnTo>
                        <a:lnTo>
                          <a:pt x="22" y="33"/>
                        </a:lnTo>
                        <a:lnTo>
                          <a:pt x="18" y="38"/>
                        </a:lnTo>
                        <a:lnTo>
                          <a:pt x="20" y="41"/>
                        </a:lnTo>
                        <a:lnTo>
                          <a:pt x="15" y="43"/>
                        </a:lnTo>
                        <a:lnTo>
                          <a:pt x="13" y="41"/>
                        </a:lnTo>
                        <a:lnTo>
                          <a:pt x="8" y="41"/>
                        </a:lnTo>
                        <a:lnTo>
                          <a:pt x="7" y="40"/>
                        </a:lnTo>
                        <a:lnTo>
                          <a:pt x="3" y="43"/>
                        </a:lnTo>
                        <a:lnTo>
                          <a:pt x="8" y="46"/>
                        </a:lnTo>
                        <a:lnTo>
                          <a:pt x="8" y="50"/>
                        </a:lnTo>
                        <a:lnTo>
                          <a:pt x="5" y="48"/>
                        </a:lnTo>
                        <a:lnTo>
                          <a:pt x="3" y="48"/>
                        </a:lnTo>
                        <a:lnTo>
                          <a:pt x="3" y="55"/>
                        </a:lnTo>
                        <a:lnTo>
                          <a:pt x="7" y="56"/>
                        </a:lnTo>
                        <a:lnTo>
                          <a:pt x="7" y="61"/>
                        </a:lnTo>
                        <a:lnTo>
                          <a:pt x="10" y="63"/>
                        </a:lnTo>
                        <a:lnTo>
                          <a:pt x="3" y="66"/>
                        </a:lnTo>
                        <a:lnTo>
                          <a:pt x="0" y="73"/>
                        </a:lnTo>
                        <a:lnTo>
                          <a:pt x="3" y="75"/>
                        </a:lnTo>
                        <a:lnTo>
                          <a:pt x="7" y="73"/>
                        </a:lnTo>
                        <a:lnTo>
                          <a:pt x="13" y="76"/>
                        </a:lnTo>
                        <a:lnTo>
                          <a:pt x="13" y="83"/>
                        </a:lnTo>
                        <a:lnTo>
                          <a:pt x="12" y="84"/>
                        </a:lnTo>
                        <a:lnTo>
                          <a:pt x="13" y="88"/>
                        </a:lnTo>
                        <a:lnTo>
                          <a:pt x="20" y="88"/>
                        </a:lnTo>
                        <a:lnTo>
                          <a:pt x="28" y="89"/>
                        </a:lnTo>
                        <a:lnTo>
                          <a:pt x="32" y="91"/>
                        </a:lnTo>
                        <a:lnTo>
                          <a:pt x="35" y="91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17" name="Google Shape;3064;p98">
                    <a:extLst>
                      <a:ext uri="{FF2B5EF4-FFF2-40B4-BE49-F238E27FC236}">
                        <a16:creationId xmlns:a16="http://schemas.microsoft.com/office/drawing/2014/main" id="{09B4A6D7-8FF1-E9B5-3DC1-2A09D65C2583}"/>
                      </a:ext>
                    </a:extLst>
                  </p:cNvPr>
                  <p:cNvSpPr/>
                  <p:nvPr/>
                </p:nvSpPr>
                <p:spPr>
                  <a:xfrm>
                    <a:off x="6461035" y="2255991"/>
                    <a:ext cx="264351" cy="26666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3" h="513" extrusionOk="0">
                        <a:moveTo>
                          <a:pt x="456" y="92"/>
                        </a:moveTo>
                        <a:lnTo>
                          <a:pt x="460" y="92"/>
                        </a:lnTo>
                        <a:lnTo>
                          <a:pt x="460" y="83"/>
                        </a:lnTo>
                        <a:lnTo>
                          <a:pt x="466" y="78"/>
                        </a:lnTo>
                        <a:lnTo>
                          <a:pt x="473" y="78"/>
                        </a:lnTo>
                        <a:lnTo>
                          <a:pt x="476" y="73"/>
                        </a:lnTo>
                        <a:lnTo>
                          <a:pt x="476" y="67"/>
                        </a:lnTo>
                        <a:lnTo>
                          <a:pt x="480" y="67"/>
                        </a:lnTo>
                        <a:lnTo>
                          <a:pt x="485" y="68"/>
                        </a:lnTo>
                        <a:lnTo>
                          <a:pt x="488" y="65"/>
                        </a:lnTo>
                        <a:lnTo>
                          <a:pt x="488" y="60"/>
                        </a:lnTo>
                        <a:lnTo>
                          <a:pt x="486" y="60"/>
                        </a:lnTo>
                        <a:lnTo>
                          <a:pt x="483" y="58"/>
                        </a:lnTo>
                        <a:lnTo>
                          <a:pt x="481" y="58"/>
                        </a:lnTo>
                        <a:lnTo>
                          <a:pt x="480" y="58"/>
                        </a:lnTo>
                        <a:lnTo>
                          <a:pt x="478" y="62"/>
                        </a:lnTo>
                        <a:lnTo>
                          <a:pt x="476" y="60"/>
                        </a:lnTo>
                        <a:lnTo>
                          <a:pt x="476" y="57"/>
                        </a:lnTo>
                        <a:lnTo>
                          <a:pt x="473" y="57"/>
                        </a:lnTo>
                        <a:lnTo>
                          <a:pt x="473" y="60"/>
                        </a:lnTo>
                        <a:lnTo>
                          <a:pt x="473" y="63"/>
                        </a:lnTo>
                        <a:lnTo>
                          <a:pt x="471" y="63"/>
                        </a:lnTo>
                        <a:lnTo>
                          <a:pt x="470" y="60"/>
                        </a:lnTo>
                        <a:lnTo>
                          <a:pt x="465" y="62"/>
                        </a:lnTo>
                        <a:lnTo>
                          <a:pt x="465" y="65"/>
                        </a:lnTo>
                        <a:lnTo>
                          <a:pt x="463" y="60"/>
                        </a:lnTo>
                        <a:lnTo>
                          <a:pt x="461" y="57"/>
                        </a:lnTo>
                        <a:lnTo>
                          <a:pt x="460" y="57"/>
                        </a:lnTo>
                        <a:lnTo>
                          <a:pt x="458" y="52"/>
                        </a:lnTo>
                        <a:lnTo>
                          <a:pt x="456" y="50"/>
                        </a:lnTo>
                        <a:lnTo>
                          <a:pt x="451" y="50"/>
                        </a:lnTo>
                        <a:lnTo>
                          <a:pt x="448" y="50"/>
                        </a:lnTo>
                        <a:lnTo>
                          <a:pt x="443" y="48"/>
                        </a:lnTo>
                        <a:lnTo>
                          <a:pt x="440" y="45"/>
                        </a:lnTo>
                        <a:lnTo>
                          <a:pt x="441" y="45"/>
                        </a:lnTo>
                        <a:lnTo>
                          <a:pt x="448" y="47"/>
                        </a:lnTo>
                        <a:lnTo>
                          <a:pt x="455" y="45"/>
                        </a:lnTo>
                        <a:lnTo>
                          <a:pt x="460" y="47"/>
                        </a:lnTo>
                        <a:lnTo>
                          <a:pt x="468" y="47"/>
                        </a:lnTo>
                        <a:lnTo>
                          <a:pt x="475" y="45"/>
                        </a:lnTo>
                        <a:lnTo>
                          <a:pt x="480" y="38"/>
                        </a:lnTo>
                        <a:lnTo>
                          <a:pt x="488" y="35"/>
                        </a:lnTo>
                        <a:lnTo>
                          <a:pt x="493" y="32"/>
                        </a:lnTo>
                        <a:lnTo>
                          <a:pt x="493" y="32"/>
                        </a:lnTo>
                        <a:lnTo>
                          <a:pt x="490" y="30"/>
                        </a:lnTo>
                        <a:lnTo>
                          <a:pt x="490" y="28"/>
                        </a:lnTo>
                        <a:lnTo>
                          <a:pt x="486" y="28"/>
                        </a:lnTo>
                        <a:lnTo>
                          <a:pt x="481" y="28"/>
                        </a:lnTo>
                        <a:lnTo>
                          <a:pt x="475" y="23"/>
                        </a:lnTo>
                        <a:lnTo>
                          <a:pt x="471" y="23"/>
                        </a:lnTo>
                        <a:lnTo>
                          <a:pt x="468" y="28"/>
                        </a:lnTo>
                        <a:lnTo>
                          <a:pt x="466" y="28"/>
                        </a:lnTo>
                        <a:lnTo>
                          <a:pt x="465" y="27"/>
                        </a:lnTo>
                        <a:lnTo>
                          <a:pt x="470" y="23"/>
                        </a:lnTo>
                        <a:lnTo>
                          <a:pt x="470" y="22"/>
                        </a:lnTo>
                        <a:lnTo>
                          <a:pt x="465" y="20"/>
                        </a:lnTo>
                        <a:lnTo>
                          <a:pt x="465" y="18"/>
                        </a:lnTo>
                        <a:lnTo>
                          <a:pt x="461" y="18"/>
                        </a:lnTo>
                        <a:lnTo>
                          <a:pt x="458" y="23"/>
                        </a:lnTo>
                        <a:lnTo>
                          <a:pt x="456" y="23"/>
                        </a:lnTo>
                        <a:lnTo>
                          <a:pt x="456" y="20"/>
                        </a:lnTo>
                        <a:lnTo>
                          <a:pt x="455" y="20"/>
                        </a:lnTo>
                        <a:lnTo>
                          <a:pt x="451" y="23"/>
                        </a:lnTo>
                        <a:lnTo>
                          <a:pt x="450" y="22"/>
                        </a:lnTo>
                        <a:lnTo>
                          <a:pt x="450" y="20"/>
                        </a:lnTo>
                        <a:lnTo>
                          <a:pt x="453" y="18"/>
                        </a:lnTo>
                        <a:lnTo>
                          <a:pt x="453" y="15"/>
                        </a:lnTo>
                        <a:lnTo>
                          <a:pt x="448" y="13"/>
                        </a:lnTo>
                        <a:lnTo>
                          <a:pt x="443" y="13"/>
                        </a:lnTo>
                        <a:lnTo>
                          <a:pt x="440" y="15"/>
                        </a:lnTo>
                        <a:lnTo>
                          <a:pt x="440" y="20"/>
                        </a:lnTo>
                        <a:lnTo>
                          <a:pt x="436" y="22"/>
                        </a:lnTo>
                        <a:lnTo>
                          <a:pt x="436" y="23"/>
                        </a:lnTo>
                        <a:lnTo>
                          <a:pt x="438" y="30"/>
                        </a:lnTo>
                        <a:lnTo>
                          <a:pt x="438" y="33"/>
                        </a:lnTo>
                        <a:lnTo>
                          <a:pt x="436" y="35"/>
                        </a:lnTo>
                        <a:lnTo>
                          <a:pt x="435" y="32"/>
                        </a:lnTo>
                        <a:lnTo>
                          <a:pt x="431" y="32"/>
                        </a:lnTo>
                        <a:lnTo>
                          <a:pt x="430" y="32"/>
                        </a:lnTo>
                        <a:lnTo>
                          <a:pt x="426" y="32"/>
                        </a:lnTo>
                        <a:lnTo>
                          <a:pt x="420" y="33"/>
                        </a:lnTo>
                        <a:lnTo>
                          <a:pt x="425" y="28"/>
                        </a:lnTo>
                        <a:lnTo>
                          <a:pt x="428" y="27"/>
                        </a:lnTo>
                        <a:lnTo>
                          <a:pt x="431" y="23"/>
                        </a:lnTo>
                        <a:lnTo>
                          <a:pt x="430" y="22"/>
                        </a:lnTo>
                        <a:lnTo>
                          <a:pt x="428" y="22"/>
                        </a:lnTo>
                        <a:lnTo>
                          <a:pt x="423" y="25"/>
                        </a:lnTo>
                        <a:lnTo>
                          <a:pt x="421" y="23"/>
                        </a:lnTo>
                        <a:lnTo>
                          <a:pt x="421" y="22"/>
                        </a:lnTo>
                        <a:lnTo>
                          <a:pt x="425" y="20"/>
                        </a:lnTo>
                        <a:lnTo>
                          <a:pt x="425" y="18"/>
                        </a:lnTo>
                        <a:lnTo>
                          <a:pt x="421" y="17"/>
                        </a:lnTo>
                        <a:lnTo>
                          <a:pt x="420" y="15"/>
                        </a:lnTo>
                        <a:lnTo>
                          <a:pt x="423" y="15"/>
                        </a:lnTo>
                        <a:lnTo>
                          <a:pt x="425" y="15"/>
                        </a:lnTo>
                        <a:lnTo>
                          <a:pt x="430" y="15"/>
                        </a:lnTo>
                        <a:lnTo>
                          <a:pt x="433" y="8"/>
                        </a:lnTo>
                        <a:lnTo>
                          <a:pt x="431" y="7"/>
                        </a:lnTo>
                        <a:lnTo>
                          <a:pt x="428" y="7"/>
                        </a:lnTo>
                        <a:lnTo>
                          <a:pt x="425" y="5"/>
                        </a:lnTo>
                        <a:lnTo>
                          <a:pt x="426" y="3"/>
                        </a:lnTo>
                        <a:lnTo>
                          <a:pt x="425" y="0"/>
                        </a:lnTo>
                        <a:lnTo>
                          <a:pt x="421" y="2"/>
                        </a:lnTo>
                        <a:lnTo>
                          <a:pt x="420" y="2"/>
                        </a:lnTo>
                        <a:lnTo>
                          <a:pt x="416" y="0"/>
                        </a:lnTo>
                        <a:lnTo>
                          <a:pt x="413" y="3"/>
                        </a:lnTo>
                        <a:lnTo>
                          <a:pt x="413" y="5"/>
                        </a:lnTo>
                        <a:lnTo>
                          <a:pt x="416" y="8"/>
                        </a:lnTo>
                        <a:lnTo>
                          <a:pt x="415" y="10"/>
                        </a:lnTo>
                        <a:lnTo>
                          <a:pt x="412" y="10"/>
                        </a:lnTo>
                        <a:lnTo>
                          <a:pt x="408" y="7"/>
                        </a:lnTo>
                        <a:lnTo>
                          <a:pt x="407" y="8"/>
                        </a:lnTo>
                        <a:lnTo>
                          <a:pt x="405" y="12"/>
                        </a:lnTo>
                        <a:lnTo>
                          <a:pt x="407" y="13"/>
                        </a:lnTo>
                        <a:lnTo>
                          <a:pt x="410" y="13"/>
                        </a:lnTo>
                        <a:lnTo>
                          <a:pt x="412" y="15"/>
                        </a:lnTo>
                        <a:lnTo>
                          <a:pt x="412" y="17"/>
                        </a:lnTo>
                        <a:lnTo>
                          <a:pt x="408" y="18"/>
                        </a:lnTo>
                        <a:lnTo>
                          <a:pt x="408" y="22"/>
                        </a:lnTo>
                        <a:lnTo>
                          <a:pt x="405" y="22"/>
                        </a:lnTo>
                        <a:lnTo>
                          <a:pt x="405" y="25"/>
                        </a:lnTo>
                        <a:lnTo>
                          <a:pt x="407" y="27"/>
                        </a:lnTo>
                        <a:lnTo>
                          <a:pt x="403" y="28"/>
                        </a:lnTo>
                        <a:lnTo>
                          <a:pt x="405" y="32"/>
                        </a:lnTo>
                        <a:lnTo>
                          <a:pt x="403" y="33"/>
                        </a:lnTo>
                        <a:lnTo>
                          <a:pt x="400" y="32"/>
                        </a:lnTo>
                        <a:lnTo>
                          <a:pt x="398" y="33"/>
                        </a:lnTo>
                        <a:lnTo>
                          <a:pt x="397" y="35"/>
                        </a:lnTo>
                        <a:lnTo>
                          <a:pt x="393" y="38"/>
                        </a:lnTo>
                        <a:lnTo>
                          <a:pt x="393" y="33"/>
                        </a:lnTo>
                        <a:lnTo>
                          <a:pt x="398" y="25"/>
                        </a:lnTo>
                        <a:lnTo>
                          <a:pt x="393" y="25"/>
                        </a:lnTo>
                        <a:lnTo>
                          <a:pt x="395" y="22"/>
                        </a:lnTo>
                        <a:lnTo>
                          <a:pt x="397" y="20"/>
                        </a:lnTo>
                        <a:lnTo>
                          <a:pt x="397" y="13"/>
                        </a:lnTo>
                        <a:lnTo>
                          <a:pt x="395" y="12"/>
                        </a:lnTo>
                        <a:lnTo>
                          <a:pt x="393" y="12"/>
                        </a:lnTo>
                        <a:lnTo>
                          <a:pt x="387" y="20"/>
                        </a:lnTo>
                        <a:lnTo>
                          <a:pt x="387" y="25"/>
                        </a:lnTo>
                        <a:lnTo>
                          <a:pt x="382" y="33"/>
                        </a:lnTo>
                        <a:lnTo>
                          <a:pt x="380" y="38"/>
                        </a:lnTo>
                        <a:lnTo>
                          <a:pt x="380" y="40"/>
                        </a:lnTo>
                        <a:lnTo>
                          <a:pt x="380" y="45"/>
                        </a:lnTo>
                        <a:lnTo>
                          <a:pt x="373" y="52"/>
                        </a:lnTo>
                        <a:lnTo>
                          <a:pt x="370" y="53"/>
                        </a:lnTo>
                        <a:lnTo>
                          <a:pt x="370" y="48"/>
                        </a:lnTo>
                        <a:lnTo>
                          <a:pt x="370" y="47"/>
                        </a:lnTo>
                        <a:lnTo>
                          <a:pt x="373" y="40"/>
                        </a:lnTo>
                        <a:lnTo>
                          <a:pt x="372" y="37"/>
                        </a:lnTo>
                        <a:lnTo>
                          <a:pt x="373" y="33"/>
                        </a:lnTo>
                        <a:lnTo>
                          <a:pt x="372" y="30"/>
                        </a:lnTo>
                        <a:lnTo>
                          <a:pt x="380" y="23"/>
                        </a:lnTo>
                        <a:lnTo>
                          <a:pt x="380" y="18"/>
                        </a:lnTo>
                        <a:lnTo>
                          <a:pt x="382" y="18"/>
                        </a:lnTo>
                        <a:lnTo>
                          <a:pt x="382" y="15"/>
                        </a:lnTo>
                        <a:lnTo>
                          <a:pt x="377" y="15"/>
                        </a:lnTo>
                        <a:lnTo>
                          <a:pt x="373" y="12"/>
                        </a:lnTo>
                        <a:lnTo>
                          <a:pt x="372" y="12"/>
                        </a:lnTo>
                        <a:lnTo>
                          <a:pt x="372" y="17"/>
                        </a:lnTo>
                        <a:lnTo>
                          <a:pt x="370" y="18"/>
                        </a:lnTo>
                        <a:lnTo>
                          <a:pt x="370" y="15"/>
                        </a:lnTo>
                        <a:lnTo>
                          <a:pt x="367" y="12"/>
                        </a:lnTo>
                        <a:lnTo>
                          <a:pt x="362" y="12"/>
                        </a:lnTo>
                        <a:lnTo>
                          <a:pt x="358" y="13"/>
                        </a:lnTo>
                        <a:lnTo>
                          <a:pt x="360" y="18"/>
                        </a:lnTo>
                        <a:lnTo>
                          <a:pt x="358" y="20"/>
                        </a:lnTo>
                        <a:lnTo>
                          <a:pt x="357" y="18"/>
                        </a:lnTo>
                        <a:lnTo>
                          <a:pt x="353" y="17"/>
                        </a:lnTo>
                        <a:lnTo>
                          <a:pt x="352" y="18"/>
                        </a:lnTo>
                        <a:lnTo>
                          <a:pt x="352" y="20"/>
                        </a:lnTo>
                        <a:lnTo>
                          <a:pt x="358" y="23"/>
                        </a:lnTo>
                        <a:lnTo>
                          <a:pt x="358" y="28"/>
                        </a:lnTo>
                        <a:lnTo>
                          <a:pt x="358" y="28"/>
                        </a:lnTo>
                        <a:lnTo>
                          <a:pt x="355" y="27"/>
                        </a:lnTo>
                        <a:lnTo>
                          <a:pt x="352" y="28"/>
                        </a:lnTo>
                        <a:lnTo>
                          <a:pt x="352" y="32"/>
                        </a:lnTo>
                        <a:lnTo>
                          <a:pt x="353" y="33"/>
                        </a:lnTo>
                        <a:lnTo>
                          <a:pt x="352" y="35"/>
                        </a:lnTo>
                        <a:lnTo>
                          <a:pt x="348" y="32"/>
                        </a:lnTo>
                        <a:lnTo>
                          <a:pt x="345" y="32"/>
                        </a:lnTo>
                        <a:lnTo>
                          <a:pt x="343" y="37"/>
                        </a:lnTo>
                        <a:lnTo>
                          <a:pt x="340" y="38"/>
                        </a:lnTo>
                        <a:lnTo>
                          <a:pt x="340" y="40"/>
                        </a:lnTo>
                        <a:lnTo>
                          <a:pt x="342" y="40"/>
                        </a:lnTo>
                        <a:lnTo>
                          <a:pt x="337" y="43"/>
                        </a:lnTo>
                        <a:lnTo>
                          <a:pt x="337" y="47"/>
                        </a:lnTo>
                        <a:lnTo>
                          <a:pt x="340" y="50"/>
                        </a:lnTo>
                        <a:lnTo>
                          <a:pt x="337" y="53"/>
                        </a:lnTo>
                        <a:lnTo>
                          <a:pt x="340" y="53"/>
                        </a:lnTo>
                        <a:lnTo>
                          <a:pt x="342" y="55"/>
                        </a:lnTo>
                        <a:lnTo>
                          <a:pt x="340" y="58"/>
                        </a:lnTo>
                        <a:lnTo>
                          <a:pt x="335" y="57"/>
                        </a:lnTo>
                        <a:lnTo>
                          <a:pt x="333" y="52"/>
                        </a:lnTo>
                        <a:lnTo>
                          <a:pt x="330" y="50"/>
                        </a:lnTo>
                        <a:lnTo>
                          <a:pt x="333" y="48"/>
                        </a:lnTo>
                        <a:lnTo>
                          <a:pt x="328" y="47"/>
                        </a:lnTo>
                        <a:lnTo>
                          <a:pt x="325" y="47"/>
                        </a:lnTo>
                        <a:lnTo>
                          <a:pt x="320" y="47"/>
                        </a:lnTo>
                        <a:lnTo>
                          <a:pt x="312" y="42"/>
                        </a:lnTo>
                        <a:lnTo>
                          <a:pt x="310" y="42"/>
                        </a:lnTo>
                        <a:lnTo>
                          <a:pt x="307" y="43"/>
                        </a:lnTo>
                        <a:lnTo>
                          <a:pt x="305" y="40"/>
                        </a:lnTo>
                        <a:lnTo>
                          <a:pt x="302" y="43"/>
                        </a:lnTo>
                        <a:lnTo>
                          <a:pt x="299" y="45"/>
                        </a:lnTo>
                        <a:lnTo>
                          <a:pt x="297" y="47"/>
                        </a:lnTo>
                        <a:lnTo>
                          <a:pt x="304" y="52"/>
                        </a:lnTo>
                        <a:lnTo>
                          <a:pt x="307" y="52"/>
                        </a:lnTo>
                        <a:lnTo>
                          <a:pt x="309" y="55"/>
                        </a:lnTo>
                        <a:lnTo>
                          <a:pt x="314" y="55"/>
                        </a:lnTo>
                        <a:lnTo>
                          <a:pt x="312" y="58"/>
                        </a:lnTo>
                        <a:lnTo>
                          <a:pt x="312" y="62"/>
                        </a:lnTo>
                        <a:lnTo>
                          <a:pt x="315" y="67"/>
                        </a:lnTo>
                        <a:lnTo>
                          <a:pt x="315" y="70"/>
                        </a:lnTo>
                        <a:lnTo>
                          <a:pt x="312" y="68"/>
                        </a:lnTo>
                        <a:lnTo>
                          <a:pt x="309" y="63"/>
                        </a:lnTo>
                        <a:lnTo>
                          <a:pt x="305" y="62"/>
                        </a:lnTo>
                        <a:lnTo>
                          <a:pt x="302" y="58"/>
                        </a:lnTo>
                        <a:lnTo>
                          <a:pt x="300" y="62"/>
                        </a:lnTo>
                        <a:lnTo>
                          <a:pt x="297" y="65"/>
                        </a:lnTo>
                        <a:lnTo>
                          <a:pt x="297" y="60"/>
                        </a:lnTo>
                        <a:lnTo>
                          <a:pt x="294" y="63"/>
                        </a:lnTo>
                        <a:lnTo>
                          <a:pt x="294" y="65"/>
                        </a:lnTo>
                        <a:lnTo>
                          <a:pt x="289" y="68"/>
                        </a:lnTo>
                        <a:lnTo>
                          <a:pt x="289" y="72"/>
                        </a:lnTo>
                        <a:lnTo>
                          <a:pt x="294" y="73"/>
                        </a:lnTo>
                        <a:lnTo>
                          <a:pt x="295" y="78"/>
                        </a:lnTo>
                        <a:lnTo>
                          <a:pt x="292" y="77"/>
                        </a:lnTo>
                        <a:lnTo>
                          <a:pt x="290" y="75"/>
                        </a:lnTo>
                        <a:lnTo>
                          <a:pt x="287" y="80"/>
                        </a:lnTo>
                        <a:lnTo>
                          <a:pt x="285" y="83"/>
                        </a:lnTo>
                        <a:lnTo>
                          <a:pt x="280" y="87"/>
                        </a:lnTo>
                        <a:lnTo>
                          <a:pt x="280" y="85"/>
                        </a:lnTo>
                        <a:lnTo>
                          <a:pt x="284" y="82"/>
                        </a:lnTo>
                        <a:lnTo>
                          <a:pt x="282" y="80"/>
                        </a:lnTo>
                        <a:lnTo>
                          <a:pt x="285" y="73"/>
                        </a:lnTo>
                        <a:lnTo>
                          <a:pt x="284" y="60"/>
                        </a:lnTo>
                        <a:lnTo>
                          <a:pt x="280" y="63"/>
                        </a:lnTo>
                        <a:lnTo>
                          <a:pt x="274" y="70"/>
                        </a:lnTo>
                        <a:lnTo>
                          <a:pt x="274" y="77"/>
                        </a:lnTo>
                        <a:lnTo>
                          <a:pt x="275" y="78"/>
                        </a:lnTo>
                        <a:lnTo>
                          <a:pt x="272" y="82"/>
                        </a:lnTo>
                        <a:lnTo>
                          <a:pt x="270" y="78"/>
                        </a:lnTo>
                        <a:lnTo>
                          <a:pt x="274" y="73"/>
                        </a:lnTo>
                        <a:lnTo>
                          <a:pt x="272" y="68"/>
                        </a:lnTo>
                        <a:lnTo>
                          <a:pt x="269" y="67"/>
                        </a:lnTo>
                        <a:lnTo>
                          <a:pt x="264" y="70"/>
                        </a:lnTo>
                        <a:lnTo>
                          <a:pt x="262" y="75"/>
                        </a:lnTo>
                        <a:lnTo>
                          <a:pt x="264" y="80"/>
                        </a:lnTo>
                        <a:lnTo>
                          <a:pt x="264" y="83"/>
                        </a:lnTo>
                        <a:lnTo>
                          <a:pt x="270" y="88"/>
                        </a:lnTo>
                        <a:lnTo>
                          <a:pt x="272" y="90"/>
                        </a:lnTo>
                        <a:lnTo>
                          <a:pt x="269" y="95"/>
                        </a:lnTo>
                        <a:lnTo>
                          <a:pt x="267" y="90"/>
                        </a:lnTo>
                        <a:lnTo>
                          <a:pt x="262" y="88"/>
                        </a:lnTo>
                        <a:lnTo>
                          <a:pt x="259" y="80"/>
                        </a:lnTo>
                        <a:lnTo>
                          <a:pt x="257" y="78"/>
                        </a:lnTo>
                        <a:lnTo>
                          <a:pt x="250" y="82"/>
                        </a:lnTo>
                        <a:lnTo>
                          <a:pt x="250" y="83"/>
                        </a:lnTo>
                        <a:lnTo>
                          <a:pt x="257" y="88"/>
                        </a:lnTo>
                        <a:lnTo>
                          <a:pt x="259" y="88"/>
                        </a:lnTo>
                        <a:lnTo>
                          <a:pt x="260" y="90"/>
                        </a:lnTo>
                        <a:lnTo>
                          <a:pt x="257" y="90"/>
                        </a:lnTo>
                        <a:lnTo>
                          <a:pt x="252" y="90"/>
                        </a:lnTo>
                        <a:lnTo>
                          <a:pt x="255" y="95"/>
                        </a:lnTo>
                        <a:lnTo>
                          <a:pt x="250" y="92"/>
                        </a:lnTo>
                        <a:lnTo>
                          <a:pt x="250" y="87"/>
                        </a:lnTo>
                        <a:lnTo>
                          <a:pt x="249" y="87"/>
                        </a:lnTo>
                        <a:lnTo>
                          <a:pt x="247" y="82"/>
                        </a:lnTo>
                        <a:lnTo>
                          <a:pt x="245" y="85"/>
                        </a:lnTo>
                        <a:lnTo>
                          <a:pt x="244" y="90"/>
                        </a:lnTo>
                        <a:lnTo>
                          <a:pt x="245" y="92"/>
                        </a:lnTo>
                        <a:lnTo>
                          <a:pt x="245" y="97"/>
                        </a:lnTo>
                        <a:lnTo>
                          <a:pt x="240" y="95"/>
                        </a:lnTo>
                        <a:lnTo>
                          <a:pt x="237" y="97"/>
                        </a:lnTo>
                        <a:lnTo>
                          <a:pt x="234" y="101"/>
                        </a:lnTo>
                        <a:lnTo>
                          <a:pt x="234" y="101"/>
                        </a:lnTo>
                        <a:lnTo>
                          <a:pt x="237" y="101"/>
                        </a:lnTo>
                        <a:lnTo>
                          <a:pt x="240" y="105"/>
                        </a:lnTo>
                        <a:lnTo>
                          <a:pt x="237" y="105"/>
                        </a:lnTo>
                        <a:lnTo>
                          <a:pt x="234" y="106"/>
                        </a:lnTo>
                        <a:lnTo>
                          <a:pt x="235" y="108"/>
                        </a:lnTo>
                        <a:lnTo>
                          <a:pt x="234" y="110"/>
                        </a:lnTo>
                        <a:lnTo>
                          <a:pt x="230" y="110"/>
                        </a:lnTo>
                        <a:lnTo>
                          <a:pt x="230" y="113"/>
                        </a:lnTo>
                        <a:lnTo>
                          <a:pt x="232" y="113"/>
                        </a:lnTo>
                        <a:lnTo>
                          <a:pt x="229" y="115"/>
                        </a:lnTo>
                        <a:lnTo>
                          <a:pt x="227" y="111"/>
                        </a:lnTo>
                        <a:lnTo>
                          <a:pt x="224" y="113"/>
                        </a:lnTo>
                        <a:lnTo>
                          <a:pt x="220" y="116"/>
                        </a:lnTo>
                        <a:lnTo>
                          <a:pt x="222" y="118"/>
                        </a:lnTo>
                        <a:lnTo>
                          <a:pt x="220" y="120"/>
                        </a:lnTo>
                        <a:lnTo>
                          <a:pt x="216" y="120"/>
                        </a:lnTo>
                        <a:lnTo>
                          <a:pt x="214" y="125"/>
                        </a:lnTo>
                        <a:lnTo>
                          <a:pt x="217" y="125"/>
                        </a:lnTo>
                        <a:lnTo>
                          <a:pt x="227" y="123"/>
                        </a:lnTo>
                        <a:lnTo>
                          <a:pt x="230" y="125"/>
                        </a:lnTo>
                        <a:lnTo>
                          <a:pt x="235" y="121"/>
                        </a:lnTo>
                        <a:lnTo>
                          <a:pt x="237" y="121"/>
                        </a:lnTo>
                        <a:lnTo>
                          <a:pt x="237" y="125"/>
                        </a:lnTo>
                        <a:lnTo>
                          <a:pt x="234" y="128"/>
                        </a:lnTo>
                        <a:lnTo>
                          <a:pt x="234" y="133"/>
                        </a:lnTo>
                        <a:lnTo>
                          <a:pt x="232" y="135"/>
                        </a:lnTo>
                        <a:lnTo>
                          <a:pt x="230" y="133"/>
                        </a:lnTo>
                        <a:lnTo>
                          <a:pt x="230" y="130"/>
                        </a:lnTo>
                        <a:lnTo>
                          <a:pt x="225" y="131"/>
                        </a:lnTo>
                        <a:lnTo>
                          <a:pt x="224" y="130"/>
                        </a:lnTo>
                        <a:lnTo>
                          <a:pt x="219" y="130"/>
                        </a:lnTo>
                        <a:lnTo>
                          <a:pt x="220" y="130"/>
                        </a:lnTo>
                        <a:lnTo>
                          <a:pt x="219" y="133"/>
                        </a:lnTo>
                        <a:lnTo>
                          <a:pt x="216" y="131"/>
                        </a:lnTo>
                        <a:lnTo>
                          <a:pt x="214" y="131"/>
                        </a:lnTo>
                        <a:lnTo>
                          <a:pt x="217" y="133"/>
                        </a:lnTo>
                        <a:lnTo>
                          <a:pt x="219" y="136"/>
                        </a:lnTo>
                        <a:lnTo>
                          <a:pt x="216" y="138"/>
                        </a:lnTo>
                        <a:lnTo>
                          <a:pt x="214" y="140"/>
                        </a:lnTo>
                        <a:lnTo>
                          <a:pt x="216" y="143"/>
                        </a:lnTo>
                        <a:lnTo>
                          <a:pt x="214" y="145"/>
                        </a:lnTo>
                        <a:lnTo>
                          <a:pt x="212" y="141"/>
                        </a:lnTo>
                        <a:lnTo>
                          <a:pt x="212" y="138"/>
                        </a:lnTo>
                        <a:lnTo>
                          <a:pt x="209" y="135"/>
                        </a:lnTo>
                        <a:lnTo>
                          <a:pt x="206" y="138"/>
                        </a:lnTo>
                        <a:lnTo>
                          <a:pt x="202" y="138"/>
                        </a:lnTo>
                        <a:lnTo>
                          <a:pt x="201" y="136"/>
                        </a:lnTo>
                        <a:lnTo>
                          <a:pt x="202" y="135"/>
                        </a:lnTo>
                        <a:lnTo>
                          <a:pt x="199" y="133"/>
                        </a:lnTo>
                        <a:lnTo>
                          <a:pt x="196" y="138"/>
                        </a:lnTo>
                        <a:lnTo>
                          <a:pt x="199" y="141"/>
                        </a:lnTo>
                        <a:lnTo>
                          <a:pt x="204" y="140"/>
                        </a:lnTo>
                        <a:lnTo>
                          <a:pt x="209" y="143"/>
                        </a:lnTo>
                        <a:lnTo>
                          <a:pt x="206" y="146"/>
                        </a:lnTo>
                        <a:lnTo>
                          <a:pt x="197" y="148"/>
                        </a:lnTo>
                        <a:lnTo>
                          <a:pt x="196" y="146"/>
                        </a:lnTo>
                        <a:lnTo>
                          <a:pt x="192" y="146"/>
                        </a:lnTo>
                        <a:lnTo>
                          <a:pt x="191" y="150"/>
                        </a:lnTo>
                        <a:lnTo>
                          <a:pt x="192" y="153"/>
                        </a:lnTo>
                        <a:lnTo>
                          <a:pt x="191" y="156"/>
                        </a:lnTo>
                        <a:lnTo>
                          <a:pt x="194" y="155"/>
                        </a:lnTo>
                        <a:lnTo>
                          <a:pt x="197" y="151"/>
                        </a:lnTo>
                        <a:lnTo>
                          <a:pt x="202" y="151"/>
                        </a:lnTo>
                        <a:lnTo>
                          <a:pt x="204" y="153"/>
                        </a:lnTo>
                        <a:lnTo>
                          <a:pt x="197" y="155"/>
                        </a:lnTo>
                        <a:lnTo>
                          <a:pt x="197" y="158"/>
                        </a:lnTo>
                        <a:lnTo>
                          <a:pt x="199" y="161"/>
                        </a:lnTo>
                        <a:lnTo>
                          <a:pt x="204" y="165"/>
                        </a:lnTo>
                        <a:lnTo>
                          <a:pt x="204" y="168"/>
                        </a:lnTo>
                        <a:lnTo>
                          <a:pt x="201" y="165"/>
                        </a:lnTo>
                        <a:lnTo>
                          <a:pt x="197" y="166"/>
                        </a:lnTo>
                        <a:lnTo>
                          <a:pt x="194" y="161"/>
                        </a:lnTo>
                        <a:lnTo>
                          <a:pt x="192" y="161"/>
                        </a:lnTo>
                        <a:lnTo>
                          <a:pt x="189" y="165"/>
                        </a:lnTo>
                        <a:lnTo>
                          <a:pt x="192" y="166"/>
                        </a:lnTo>
                        <a:lnTo>
                          <a:pt x="187" y="168"/>
                        </a:lnTo>
                        <a:lnTo>
                          <a:pt x="184" y="170"/>
                        </a:lnTo>
                        <a:lnTo>
                          <a:pt x="184" y="173"/>
                        </a:lnTo>
                        <a:lnTo>
                          <a:pt x="187" y="175"/>
                        </a:lnTo>
                        <a:lnTo>
                          <a:pt x="192" y="173"/>
                        </a:lnTo>
                        <a:lnTo>
                          <a:pt x="194" y="175"/>
                        </a:lnTo>
                        <a:lnTo>
                          <a:pt x="199" y="173"/>
                        </a:lnTo>
                        <a:lnTo>
                          <a:pt x="199" y="176"/>
                        </a:lnTo>
                        <a:lnTo>
                          <a:pt x="202" y="178"/>
                        </a:lnTo>
                        <a:lnTo>
                          <a:pt x="202" y="181"/>
                        </a:lnTo>
                        <a:lnTo>
                          <a:pt x="196" y="178"/>
                        </a:lnTo>
                        <a:lnTo>
                          <a:pt x="191" y="178"/>
                        </a:lnTo>
                        <a:lnTo>
                          <a:pt x="189" y="178"/>
                        </a:lnTo>
                        <a:lnTo>
                          <a:pt x="182" y="180"/>
                        </a:lnTo>
                        <a:lnTo>
                          <a:pt x="182" y="183"/>
                        </a:lnTo>
                        <a:lnTo>
                          <a:pt x="179" y="185"/>
                        </a:lnTo>
                        <a:lnTo>
                          <a:pt x="177" y="183"/>
                        </a:lnTo>
                        <a:lnTo>
                          <a:pt x="171" y="186"/>
                        </a:lnTo>
                        <a:lnTo>
                          <a:pt x="167" y="186"/>
                        </a:lnTo>
                        <a:lnTo>
                          <a:pt x="167" y="188"/>
                        </a:lnTo>
                        <a:lnTo>
                          <a:pt x="171" y="190"/>
                        </a:lnTo>
                        <a:lnTo>
                          <a:pt x="174" y="193"/>
                        </a:lnTo>
                        <a:lnTo>
                          <a:pt x="171" y="195"/>
                        </a:lnTo>
                        <a:lnTo>
                          <a:pt x="169" y="193"/>
                        </a:lnTo>
                        <a:lnTo>
                          <a:pt x="167" y="195"/>
                        </a:lnTo>
                        <a:lnTo>
                          <a:pt x="171" y="196"/>
                        </a:lnTo>
                        <a:lnTo>
                          <a:pt x="169" y="198"/>
                        </a:lnTo>
                        <a:lnTo>
                          <a:pt x="164" y="198"/>
                        </a:lnTo>
                        <a:lnTo>
                          <a:pt x="164" y="196"/>
                        </a:lnTo>
                        <a:lnTo>
                          <a:pt x="162" y="198"/>
                        </a:lnTo>
                        <a:lnTo>
                          <a:pt x="166" y="199"/>
                        </a:lnTo>
                        <a:lnTo>
                          <a:pt x="164" y="201"/>
                        </a:lnTo>
                        <a:lnTo>
                          <a:pt x="164" y="204"/>
                        </a:lnTo>
                        <a:lnTo>
                          <a:pt x="167" y="204"/>
                        </a:lnTo>
                        <a:lnTo>
                          <a:pt x="164" y="206"/>
                        </a:lnTo>
                        <a:lnTo>
                          <a:pt x="161" y="206"/>
                        </a:lnTo>
                        <a:lnTo>
                          <a:pt x="159" y="204"/>
                        </a:lnTo>
                        <a:lnTo>
                          <a:pt x="159" y="208"/>
                        </a:lnTo>
                        <a:lnTo>
                          <a:pt x="157" y="209"/>
                        </a:lnTo>
                        <a:lnTo>
                          <a:pt x="161" y="209"/>
                        </a:lnTo>
                        <a:lnTo>
                          <a:pt x="167" y="213"/>
                        </a:lnTo>
                        <a:lnTo>
                          <a:pt x="167" y="214"/>
                        </a:lnTo>
                        <a:lnTo>
                          <a:pt x="171" y="216"/>
                        </a:lnTo>
                        <a:lnTo>
                          <a:pt x="174" y="214"/>
                        </a:lnTo>
                        <a:lnTo>
                          <a:pt x="171" y="216"/>
                        </a:lnTo>
                        <a:lnTo>
                          <a:pt x="171" y="218"/>
                        </a:lnTo>
                        <a:lnTo>
                          <a:pt x="167" y="218"/>
                        </a:lnTo>
                        <a:lnTo>
                          <a:pt x="166" y="218"/>
                        </a:lnTo>
                        <a:lnTo>
                          <a:pt x="159" y="218"/>
                        </a:lnTo>
                        <a:lnTo>
                          <a:pt x="154" y="221"/>
                        </a:lnTo>
                        <a:lnTo>
                          <a:pt x="156" y="223"/>
                        </a:lnTo>
                        <a:lnTo>
                          <a:pt x="161" y="223"/>
                        </a:lnTo>
                        <a:lnTo>
                          <a:pt x="161" y="224"/>
                        </a:lnTo>
                        <a:lnTo>
                          <a:pt x="164" y="228"/>
                        </a:lnTo>
                        <a:lnTo>
                          <a:pt x="162" y="231"/>
                        </a:lnTo>
                        <a:lnTo>
                          <a:pt x="161" y="228"/>
                        </a:lnTo>
                        <a:lnTo>
                          <a:pt x="157" y="228"/>
                        </a:lnTo>
                        <a:lnTo>
                          <a:pt x="156" y="231"/>
                        </a:lnTo>
                        <a:lnTo>
                          <a:pt x="156" y="233"/>
                        </a:lnTo>
                        <a:lnTo>
                          <a:pt x="154" y="234"/>
                        </a:lnTo>
                        <a:lnTo>
                          <a:pt x="157" y="236"/>
                        </a:lnTo>
                        <a:lnTo>
                          <a:pt x="157" y="239"/>
                        </a:lnTo>
                        <a:lnTo>
                          <a:pt x="156" y="239"/>
                        </a:lnTo>
                        <a:lnTo>
                          <a:pt x="152" y="236"/>
                        </a:lnTo>
                        <a:lnTo>
                          <a:pt x="151" y="238"/>
                        </a:lnTo>
                        <a:lnTo>
                          <a:pt x="151" y="241"/>
                        </a:lnTo>
                        <a:lnTo>
                          <a:pt x="156" y="243"/>
                        </a:lnTo>
                        <a:lnTo>
                          <a:pt x="156" y="244"/>
                        </a:lnTo>
                        <a:lnTo>
                          <a:pt x="156" y="246"/>
                        </a:lnTo>
                        <a:lnTo>
                          <a:pt x="151" y="243"/>
                        </a:lnTo>
                        <a:lnTo>
                          <a:pt x="149" y="244"/>
                        </a:lnTo>
                        <a:lnTo>
                          <a:pt x="147" y="248"/>
                        </a:lnTo>
                        <a:lnTo>
                          <a:pt x="149" y="248"/>
                        </a:lnTo>
                        <a:lnTo>
                          <a:pt x="149" y="253"/>
                        </a:lnTo>
                        <a:lnTo>
                          <a:pt x="151" y="256"/>
                        </a:lnTo>
                        <a:lnTo>
                          <a:pt x="154" y="256"/>
                        </a:lnTo>
                        <a:lnTo>
                          <a:pt x="156" y="253"/>
                        </a:lnTo>
                        <a:lnTo>
                          <a:pt x="159" y="253"/>
                        </a:lnTo>
                        <a:lnTo>
                          <a:pt x="156" y="258"/>
                        </a:lnTo>
                        <a:lnTo>
                          <a:pt x="154" y="258"/>
                        </a:lnTo>
                        <a:lnTo>
                          <a:pt x="149" y="263"/>
                        </a:lnTo>
                        <a:lnTo>
                          <a:pt x="146" y="263"/>
                        </a:lnTo>
                        <a:lnTo>
                          <a:pt x="142" y="263"/>
                        </a:lnTo>
                        <a:lnTo>
                          <a:pt x="142" y="264"/>
                        </a:lnTo>
                        <a:lnTo>
                          <a:pt x="139" y="266"/>
                        </a:lnTo>
                        <a:lnTo>
                          <a:pt x="136" y="269"/>
                        </a:lnTo>
                        <a:lnTo>
                          <a:pt x="139" y="271"/>
                        </a:lnTo>
                        <a:lnTo>
                          <a:pt x="137" y="273"/>
                        </a:lnTo>
                        <a:lnTo>
                          <a:pt x="132" y="273"/>
                        </a:lnTo>
                        <a:lnTo>
                          <a:pt x="129" y="276"/>
                        </a:lnTo>
                        <a:lnTo>
                          <a:pt x="129" y="278"/>
                        </a:lnTo>
                        <a:lnTo>
                          <a:pt x="134" y="279"/>
                        </a:lnTo>
                        <a:lnTo>
                          <a:pt x="131" y="281"/>
                        </a:lnTo>
                        <a:lnTo>
                          <a:pt x="129" y="284"/>
                        </a:lnTo>
                        <a:lnTo>
                          <a:pt x="126" y="284"/>
                        </a:lnTo>
                        <a:lnTo>
                          <a:pt x="124" y="281"/>
                        </a:lnTo>
                        <a:lnTo>
                          <a:pt x="122" y="279"/>
                        </a:lnTo>
                        <a:lnTo>
                          <a:pt x="121" y="283"/>
                        </a:lnTo>
                        <a:lnTo>
                          <a:pt x="117" y="283"/>
                        </a:lnTo>
                        <a:lnTo>
                          <a:pt x="119" y="284"/>
                        </a:lnTo>
                        <a:lnTo>
                          <a:pt x="116" y="286"/>
                        </a:lnTo>
                        <a:lnTo>
                          <a:pt x="116" y="289"/>
                        </a:lnTo>
                        <a:lnTo>
                          <a:pt x="117" y="291"/>
                        </a:lnTo>
                        <a:lnTo>
                          <a:pt x="111" y="291"/>
                        </a:lnTo>
                        <a:lnTo>
                          <a:pt x="109" y="293"/>
                        </a:lnTo>
                        <a:lnTo>
                          <a:pt x="109" y="296"/>
                        </a:lnTo>
                        <a:lnTo>
                          <a:pt x="106" y="299"/>
                        </a:lnTo>
                        <a:lnTo>
                          <a:pt x="106" y="301"/>
                        </a:lnTo>
                        <a:lnTo>
                          <a:pt x="106" y="306"/>
                        </a:lnTo>
                        <a:lnTo>
                          <a:pt x="103" y="307"/>
                        </a:lnTo>
                        <a:lnTo>
                          <a:pt x="98" y="311"/>
                        </a:lnTo>
                        <a:lnTo>
                          <a:pt x="99" y="312"/>
                        </a:lnTo>
                        <a:lnTo>
                          <a:pt x="104" y="309"/>
                        </a:lnTo>
                        <a:lnTo>
                          <a:pt x="106" y="311"/>
                        </a:lnTo>
                        <a:lnTo>
                          <a:pt x="106" y="312"/>
                        </a:lnTo>
                        <a:lnTo>
                          <a:pt x="103" y="314"/>
                        </a:lnTo>
                        <a:lnTo>
                          <a:pt x="103" y="317"/>
                        </a:lnTo>
                        <a:lnTo>
                          <a:pt x="106" y="321"/>
                        </a:lnTo>
                        <a:lnTo>
                          <a:pt x="111" y="319"/>
                        </a:lnTo>
                        <a:lnTo>
                          <a:pt x="116" y="317"/>
                        </a:lnTo>
                        <a:lnTo>
                          <a:pt x="122" y="311"/>
                        </a:lnTo>
                        <a:lnTo>
                          <a:pt x="122" y="309"/>
                        </a:lnTo>
                        <a:lnTo>
                          <a:pt x="119" y="309"/>
                        </a:lnTo>
                        <a:lnTo>
                          <a:pt x="122" y="306"/>
                        </a:lnTo>
                        <a:lnTo>
                          <a:pt x="124" y="301"/>
                        </a:lnTo>
                        <a:lnTo>
                          <a:pt x="126" y="301"/>
                        </a:lnTo>
                        <a:lnTo>
                          <a:pt x="127" y="299"/>
                        </a:lnTo>
                        <a:lnTo>
                          <a:pt x="132" y="299"/>
                        </a:lnTo>
                        <a:lnTo>
                          <a:pt x="134" y="299"/>
                        </a:lnTo>
                        <a:lnTo>
                          <a:pt x="127" y="302"/>
                        </a:lnTo>
                        <a:lnTo>
                          <a:pt x="127" y="306"/>
                        </a:lnTo>
                        <a:lnTo>
                          <a:pt x="134" y="307"/>
                        </a:lnTo>
                        <a:lnTo>
                          <a:pt x="132" y="311"/>
                        </a:lnTo>
                        <a:lnTo>
                          <a:pt x="127" y="311"/>
                        </a:lnTo>
                        <a:lnTo>
                          <a:pt x="121" y="317"/>
                        </a:lnTo>
                        <a:lnTo>
                          <a:pt x="126" y="319"/>
                        </a:lnTo>
                        <a:lnTo>
                          <a:pt x="122" y="322"/>
                        </a:lnTo>
                        <a:lnTo>
                          <a:pt x="124" y="326"/>
                        </a:lnTo>
                        <a:lnTo>
                          <a:pt x="119" y="326"/>
                        </a:lnTo>
                        <a:lnTo>
                          <a:pt x="116" y="322"/>
                        </a:lnTo>
                        <a:lnTo>
                          <a:pt x="111" y="322"/>
                        </a:lnTo>
                        <a:lnTo>
                          <a:pt x="108" y="324"/>
                        </a:lnTo>
                        <a:lnTo>
                          <a:pt x="108" y="329"/>
                        </a:lnTo>
                        <a:lnTo>
                          <a:pt x="104" y="331"/>
                        </a:lnTo>
                        <a:lnTo>
                          <a:pt x="101" y="332"/>
                        </a:lnTo>
                        <a:lnTo>
                          <a:pt x="103" y="329"/>
                        </a:lnTo>
                        <a:lnTo>
                          <a:pt x="104" y="327"/>
                        </a:lnTo>
                        <a:lnTo>
                          <a:pt x="103" y="324"/>
                        </a:lnTo>
                        <a:lnTo>
                          <a:pt x="103" y="321"/>
                        </a:lnTo>
                        <a:lnTo>
                          <a:pt x="99" y="316"/>
                        </a:lnTo>
                        <a:lnTo>
                          <a:pt x="96" y="316"/>
                        </a:lnTo>
                        <a:lnTo>
                          <a:pt x="94" y="319"/>
                        </a:lnTo>
                        <a:lnTo>
                          <a:pt x="89" y="321"/>
                        </a:lnTo>
                        <a:lnTo>
                          <a:pt x="89" y="322"/>
                        </a:lnTo>
                        <a:lnTo>
                          <a:pt x="94" y="322"/>
                        </a:lnTo>
                        <a:lnTo>
                          <a:pt x="89" y="327"/>
                        </a:lnTo>
                        <a:lnTo>
                          <a:pt x="84" y="326"/>
                        </a:lnTo>
                        <a:lnTo>
                          <a:pt x="81" y="326"/>
                        </a:lnTo>
                        <a:lnTo>
                          <a:pt x="76" y="329"/>
                        </a:lnTo>
                        <a:lnTo>
                          <a:pt x="79" y="331"/>
                        </a:lnTo>
                        <a:lnTo>
                          <a:pt x="81" y="329"/>
                        </a:lnTo>
                        <a:lnTo>
                          <a:pt x="83" y="331"/>
                        </a:lnTo>
                        <a:lnTo>
                          <a:pt x="78" y="332"/>
                        </a:lnTo>
                        <a:lnTo>
                          <a:pt x="76" y="336"/>
                        </a:lnTo>
                        <a:lnTo>
                          <a:pt x="74" y="334"/>
                        </a:lnTo>
                        <a:lnTo>
                          <a:pt x="71" y="334"/>
                        </a:lnTo>
                        <a:lnTo>
                          <a:pt x="69" y="336"/>
                        </a:lnTo>
                        <a:lnTo>
                          <a:pt x="74" y="339"/>
                        </a:lnTo>
                        <a:lnTo>
                          <a:pt x="81" y="339"/>
                        </a:lnTo>
                        <a:lnTo>
                          <a:pt x="79" y="341"/>
                        </a:lnTo>
                        <a:lnTo>
                          <a:pt x="83" y="342"/>
                        </a:lnTo>
                        <a:lnTo>
                          <a:pt x="83" y="346"/>
                        </a:lnTo>
                        <a:lnTo>
                          <a:pt x="78" y="344"/>
                        </a:lnTo>
                        <a:lnTo>
                          <a:pt x="76" y="341"/>
                        </a:lnTo>
                        <a:lnTo>
                          <a:pt x="73" y="341"/>
                        </a:lnTo>
                        <a:lnTo>
                          <a:pt x="68" y="337"/>
                        </a:lnTo>
                        <a:lnTo>
                          <a:pt x="68" y="334"/>
                        </a:lnTo>
                        <a:lnTo>
                          <a:pt x="64" y="334"/>
                        </a:lnTo>
                        <a:lnTo>
                          <a:pt x="64" y="337"/>
                        </a:lnTo>
                        <a:lnTo>
                          <a:pt x="69" y="342"/>
                        </a:lnTo>
                        <a:lnTo>
                          <a:pt x="73" y="346"/>
                        </a:lnTo>
                        <a:lnTo>
                          <a:pt x="78" y="347"/>
                        </a:lnTo>
                        <a:lnTo>
                          <a:pt x="79" y="349"/>
                        </a:lnTo>
                        <a:lnTo>
                          <a:pt x="74" y="349"/>
                        </a:lnTo>
                        <a:lnTo>
                          <a:pt x="68" y="346"/>
                        </a:lnTo>
                        <a:lnTo>
                          <a:pt x="63" y="341"/>
                        </a:lnTo>
                        <a:lnTo>
                          <a:pt x="59" y="342"/>
                        </a:lnTo>
                        <a:lnTo>
                          <a:pt x="56" y="339"/>
                        </a:lnTo>
                        <a:lnTo>
                          <a:pt x="51" y="339"/>
                        </a:lnTo>
                        <a:lnTo>
                          <a:pt x="48" y="337"/>
                        </a:lnTo>
                        <a:lnTo>
                          <a:pt x="46" y="339"/>
                        </a:lnTo>
                        <a:lnTo>
                          <a:pt x="48" y="342"/>
                        </a:lnTo>
                        <a:lnTo>
                          <a:pt x="44" y="344"/>
                        </a:lnTo>
                        <a:lnTo>
                          <a:pt x="48" y="349"/>
                        </a:lnTo>
                        <a:lnTo>
                          <a:pt x="56" y="346"/>
                        </a:lnTo>
                        <a:lnTo>
                          <a:pt x="58" y="347"/>
                        </a:lnTo>
                        <a:lnTo>
                          <a:pt x="54" y="349"/>
                        </a:lnTo>
                        <a:lnTo>
                          <a:pt x="56" y="351"/>
                        </a:lnTo>
                        <a:lnTo>
                          <a:pt x="61" y="347"/>
                        </a:lnTo>
                        <a:lnTo>
                          <a:pt x="64" y="347"/>
                        </a:lnTo>
                        <a:lnTo>
                          <a:pt x="63" y="351"/>
                        </a:lnTo>
                        <a:lnTo>
                          <a:pt x="56" y="352"/>
                        </a:lnTo>
                        <a:lnTo>
                          <a:pt x="53" y="357"/>
                        </a:lnTo>
                        <a:lnTo>
                          <a:pt x="48" y="356"/>
                        </a:lnTo>
                        <a:lnTo>
                          <a:pt x="44" y="351"/>
                        </a:lnTo>
                        <a:lnTo>
                          <a:pt x="43" y="351"/>
                        </a:lnTo>
                        <a:lnTo>
                          <a:pt x="39" y="352"/>
                        </a:lnTo>
                        <a:lnTo>
                          <a:pt x="36" y="349"/>
                        </a:lnTo>
                        <a:lnTo>
                          <a:pt x="34" y="351"/>
                        </a:lnTo>
                        <a:lnTo>
                          <a:pt x="31" y="351"/>
                        </a:lnTo>
                        <a:lnTo>
                          <a:pt x="28" y="352"/>
                        </a:lnTo>
                        <a:lnTo>
                          <a:pt x="29" y="354"/>
                        </a:lnTo>
                        <a:lnTo>
                          <a:pt x="36" y="356"/>
                        </a:lnTo>
                        <a:lnTo>
                          <a:pt x="41" y="357"/>
                        </a:lnTo>
                        <a:lnTo>
                          <a:pt x="48" y="361"/>
                        </a:lnTo>
                        <a:lnTo>
                          <a:pt x="46" y="364"/>
                        </a:lnTo>
                        <a:lnTo>
                          <a:pt x="48" y="367"/>
                        </a:lnTo>
                        <a:lnTo>
                          <a:pt x="44" y="369"/>
                        </a:lnTo>
                        <a:lnTo>
                          <a:pt x="43" y="367"/>
                        </a:lnTo>
                        <a:lnTo>
                          <a:pt x="43" y="361"/>
                        </a:lnTo>
                        <a:lnTo>
                          <a:pt x="38" y="361"/>
                        </a:lnTo>
                        <a:lnTo>
                          <a:pt x="34" y="361"/>
                        </a:lnTo>
                        <a:lnTo>
                          <a:pt x="36" y="364"/>
                        </a:lnTo>
                        <a:lnTo>
                          <a:pt x="34" y="366"/>
                        </a:lnTo>
                        <a:lnTo>
                          <a:pt x="29" y="362"/>
                        </a:lnTo>
                        <a:lnTo>
                          <a:pt x="24" y="367"/>
                        </a:lnTo>
                        <a:lnTo>
                          <a:pt x="29" y="369"/>
                        </a:lnTo>
                        <a:lnTo>
                          <a:pt x="26" y="371"/>
                        </a:lnTo>
                        <a:lnTo>
                          <a:pt x="23" y="371"/>
                        </a:lnTo>
                        <a:lnTo>
                          <a:pt x="23" y="367"/>
                        </a:lnTo>
                        <a:lnTo>
                          <a:pt x="15" y="367"/>
                        </a:lnTo>
                        <a:lnTo>
                          <a:pt x="18" y="371"/>
                        </a:lnTo>
                        <a:lnTo>
                          <a:pt x="15" y="372"/>
                        </a:lnTo>
                        <a:lnTo>
                          <a:pt x="13" y="369"/>
                        </a:lnTo>
                        <a:lnTo>
                          <a:pt x="10" y="366"/>
                        </a:lnTo>
                        <a:lnTo>
                          <a:pt x="6" y="366"/>
                        </a:lnTo>
                        <a:lnTo>
                          <a:pt x="8" y="369"/>
                        </a:lnTo>
                        <a:lnTo>
                          <a:pt x="13" y="372"/>
                        </a:lnTo>
                        <a:lnTo>
                          <a:pt x="10" y="374"/>
                        </a:lnTo>
                        <a:lnTo>
                          <a:pt x="13" y="377"/>
                        </a:lnTo>
                        <a:lnTo>
                          <a:pt x="18" y="376"/>
                        </a:lnTo>
                        <a:lnTo>
                          <a:pt x="24" y="376"/>
                        </a:lnTo>
                        <a:lnTo>
                          <a:pt x="29" y="379"/>
                        </a:lnTo>
                        <a:lnTo>
                          <a:pt x="36" y="379"/>
                        </a:lnTo>
                        <a:lnTo>
                          <a:pt x="38" y="377"/>
                        </a:lnTo>
                        <a:lnTo>
                          <a:pt x="41" y="377"/>
                        </a:lnTo>
                        <a:lnTo>
                          <a:pt x="38" y="382"/>
                        </a:lnTo>
                        <a:lnTo>
                          <a:pt x="31" y="381"/>
                        </a:lnTo>
                        <a:lnTo>
                          <a:pt x="28" y="382"/>
                        </a:lnTo>
                        <a:lnTo>
                          <a:pt x="21" y="379"/>
                        </a:lnTo>
                        <a:lnTo>
                          <a:pt x="16" y="379"/>
                        </a:lnTo>
                        <a:lnTo>
                          <a:pt x="15" y="379"/>
                        </a:lnTo>
                        <a:lnTo>
                          <a:pt x="11" y="382"/>
                        </a:lnTo>
                        <a:lnTo>
                          <a:pt x="5" y="382"/>
                        </a:lnTo>
                        <a:lnTo>
                          <a:pt x="5" y="384"/>
                        </a:lnTo>
                        <a:lnTo>
                          <a:pt x="13" y="387"/>
                        </a:lnTo>
                        <a:lnTo>
                          <a:pt x="10" y="391"/>
                        </a:lnTo>
                        <a:lnTo>
                          <a:pt x="15" y="391"/>
                        </a:lnTo>
                        <a:lnTo>
                          <a:pt x="16" y="389"/>
                        </a:lnTo>
                        <a:lnTo>
                          <a:pt x="23" y="389"/>
                        </a:lnTo>
                        <a:lnTo>
                          <a:pt x="18" y="392"/>
                        </a:lnTo>
                        <a:lnTo>
                          <a:pt x="11" y="392"/>
                        </a:lnTo>
                        <a:lnTo>
                          <a:pt x="10" y="394"/>
                        </a:lnTo>
                        <a:lnTo>
                          <a:pt x="8" y="392"/>
                        </a:lnTo>
                        <a:lnTo>
                          <a:pt x="8" y="394"/>
                        </a:lnTo>
                        <a:lnTo>
                          <a:pt x="11" y="396"/>
                        </a:lnTo>
                        <a:lnTo>
                          <a:pt x="13" y="396"/>
                        </a:lnTo>
                        <a:lnTo>
                          <a:pt x="10" y="397"/>
                        </a:lnTo>
                        <a:lnTo>
                          <a:pt x="8" y="397"/>
                        </a:lnTo>
                        <a:lnTo>
                          <a:pt x="8" y="400"/>
                        </a:lnTo>
                        <a:lnTo>
                          <a:pt x="10" y="400"/>
                        </a:lnTo>
                        <a:lnTo>
                          <a:pt x="11" y="404"/>
                        </a:lnTo>
                        <a:lnTo>
                          <a:pt x="18" y="404"/>
                        </a:lnTo>
                        <a:lnTo>
                          <a:pt x="19" y="402"/>
                        </a:lnTo>
                        <a:lnTo>
                          <a:pt x="28" y="400"/>
                        </a:lnTo>
                        <a:lnTo>
                          <a:pt x="33" y="402"/>
                        </a:lnTo>
                        <a:lnTo>
                          <a:pt x="34" y="404"/>
                        </a:lnTo>
                        <a:lnTo>
                          <a:pt x="38" y="400"/>
                        </a:lnTo>
                        <a:lnTo>
                          <a:pt x="38" y="399"/>
                        </a:lnTo>
                        <a:lnTo>
                          <a:pt x="41" y="397"/>
                        </a:lnTo>
                        <a:lnTo>
                          <a:pt x="41" y="400"/>
                        </a:lnTo>
                        <a:lnTo>
                          <a:pt x="46" y="400"/>
                        </a:lnTo>
                        <a:lnTo>
                          <a:pt x="51" y="397"/>
                        </a:lnTo>
                        <a:lnTo>
                          <a:pt x="53" y="397"/>
                        </a:lnTo>
                        <a:lnTo>
                          <a:pt x="53" y="399"/>
                        </a:lnTo>
                        <a:lnTo>
                          <a:pt x="49" y="400"/>
                        </a:lnTo>
                        <a:lnTo>
                          <a:pt x="54" y="402"/>
                        </a:lnTo>
                        <a:lnTo>
                          <a:pt x="56" y="399"/>
                        </a:lnTo>
                        <a:lnTo>
                          <a:pt x="56" y="397"/>
                        </a:lnTo>
                        <a:lnTo>
                          <a:pt x="59" y="392"/>
                        </a:lnTo>
                        <a:lnTo>
                          <a:pt x="58" y="396"/>
                        </a:lnTo>
                        <a:lnTo>
                          <a:pt x="61" y="400"/>
                        </a:lnTo>
                        <a:lnTo>
                          <a:pt x="59" y="404"/>
                        </a:lnTo>
                        <a:lnTo>
                          <a:pt x="53" y="405"/>
                        </a:lnTo>
                        <a:lnTo>
                          <a:pt x="49" y="407"/>
                        </a:lnTo>
                        <a:lnTo>
                          <a:pt x="51" y="409"/>
                        </a:lnTo>
                        <a:lnTo>
                          <a:pt x="49" y="412"/>
                        </a:lnTo>
                        <a:lnTo>
                          <a:pt x="43" y="412"/>
                        </a:lnTo>
                        <a:lnTo>
                          <a:pt x="43" y="410"/>
                        </a:lnTo>
                        <a:lnTo>
                          <a:pt x="46" y="407"/>
                        </a:lnTo>
                        <a:lnTo>
                          <a:pt x="46" y="404"/>
                        </a:lnTo>
                        <a:lnTo>
                          <a:pt x="41" y="404"/>
                        </a:lnTo>
                        <a:lnTo>
                          <a:pt x="36" y="407"/>
                        </a:lnTo>
                        <a:lnTo>
                          <a:pt x="34" y="410"/>
                        </a:lnTo>
                        <a:lnTo>
                          <a:pt x="31" y="405"/>
                        </a:lnTo>
                        <a:lnTo>
                          <a:pt x="28" y="405"/>
                        </a:lnTo>
                        <a:lnTo>
                          <a:pt x="23" y="405"/>
                        </a:lnTo>
                        <a:lnTo>
                          <a:pt x="19" y="405"/>
                        </a:lnTo>
                        <a:lnTo>
                          <a:pt x="13" y="407"/>
                        </a:lnTo>
                        <a:lnTo>
                          <a:pt x="11" y="407"/>
                        </a:lnTo>
                        <a:lnTo>
                          <a:pt x="8" y="405"/>
                        </a:lnTo>
                        <a:lnTo>
                          <a:pt x="6" y="405"/>
                        </a:lnTo>
                        <a:lnTo>
                          <a:pt x="8" y="410"/>
                        </a:lnTo>
                        <a:lnTo>
                          <a:pt x="6" y="412"/>
                        </a:lnTo>
                        <a:lnTo>
                          <a:pt x="10" y="414"/>
                        </a:lnTo>
                        <a:lnTo>
                          <a:pt x="13" y="414"/>
                        </a:lnTo>
                        <a:lnTo>
                          <a:pt x="15" y="410"/>
                        </a:lnTo>
                        <a:lnTo>
                          <a:pt x="16" y="412"/>
                        </a:lnTo>
                        <a:lnTo>
                          <a:pt x="15" y="414"/>
                        </a:lnTo>
                        <a:lnTo>
                          <a:pt x="15" y="417"/>
                        </a:lnTo>
                        <a:lnTo>
                          <a:pt x="13" y="419"/>
                        </a:lnTo>
                        <a:lnTo>
                          <a:pt x="10" y="417"/>
                        </a:lnTo>
                        <a:lnTo>
                          <a:pt x="11" y="422"/>
                        </a:lnTo>
                        <a:lnTo>
                          <a:pt x="13" y="425"/>
                        </a:lnTo>
                        <a:lnTo>
                          <a:pt x="19" y="417"/>
                        </a:lnTo>
                        <a:lnTo>
                          <a:pt x="24" y="420"/>
                        </a:lnTo>
                        <a:lnTo>
                          <a:pt x="23" y="422"/>
                        </a:lnTo>
                        <a:lnTo>
                          <a:pt x="23" y="425"/>
                        </a:lnTo>
                        <a:lnTo>
                          <a:pt x="18" y="427"/>
                        </a:lnTo>
                        <a:lnTo>
                          <a:pt x="18" y="429"/>
                        </a:lnTo>
                        <a:lnTo>
                          <a:pt x="21" y="430"/>
                        </a:lnTo>
                        <a:lnTo>
                          <a:pt x="19" y="432"/>
                        </a:lnTo>
                        <a:lnTo>
                          <a:pt x="23" y="435"/>
                        </a:lnTo>
                        <a:lnTo>
                          <a:pt x="21" y="440"/>
                        </a:lnTo>
                        <a:lnTo>
                          <a:pt x="23" y="440"/>
                        </a:lnTo>
                        <a:lnTo>
                          <a:pt x="26" y="435"/>
                        </a:lnTo>
                        <a:lnTo>
                          <a:pt x="29" y="434"/>
                        </a:lnTo>
                        <a:lnTo>
                          <a:pt x="29" y="429"/>
                        </a:lnTo>
                        <a:lnTo>
                          <a:pt x="39" y="425"/>
                        </a:lnTo>
                        <a:lnTo>
                          <a:pt x="43" y="425"/>
                        </a:lnTo>
                        <a:lnTo>
                          <a:pt x="48" y="425"/>
                        </a:lnTo>
                        <a:lnTo>
                          <a:pt x="44" y="427"/>
                        </a:lnTo>
                        <a:lnTo>
                          <a:pt x="39" y="430"/>
                        </a:lnTo>
                        <a:lnTo>
                          <a:pt x="39" y="435"/>
                        </a:lnTo>
                        <a:lnTo>
                          <a:pt x="41" y="439"/>
                        </a:lnTo>
                        <a:lnTo>
                          <a:pt x="38" y="435"/>
                        </a:lnTo>
                        <a:lnTo>
                          <a:pt x="38" y="430"/>
                        </a:lnTo>
                        <a:lnTo>
                          <a:pt x="34" y="430"/>
                        </a:lnTo>
                        <a:lnTo>
                          <a:pt x="31" y="435"/>
                        </a:lnTo>
                        <a:lnTo>
                          <a:pt x="29" y="437"/>
                        </a:lnTo>
                        <a:lnTo>
                          <a:pt x="33" y="439"/>
                        </a:lnTo>
                        <a:lnTo>
                          <a:pt x="29" y="442"/>
                        </a:lnTo>
                        <a:lnTo>
                          <a:pt x="26" y="442"/>
                        </a:lnTo>
                        <a:lnTo>
                          <a:pt x="24" y="445"/>
                        </a:lnTo>
                        <a:lnTo>
                          <a:pt x="28" y="447"/>
                        </a:lnTo>
                        <a:lnTo>
                          <a:pt x="34" y="447"/>
                        </a:lnTo>
                        <a:lnTo>
                          <a:pt x="36" y="449"/>
                        </a:lnTo>
                        <a:lnTo>
                          <a:pt x="31" y="449"/>
                        </a:lnTo>
                        <a:lnTo>
                          <a:pt x="29" y="452"/>
                        </a:lnTo>
                        <a:lnTo>
                          <a:pt x="29" y="455"/>
                        </a:lnTo>
                        <a:lnTo>
                          <a:pt x="23" y="452"/>
                        </a:lnTo>
                        <a:lnTo>
                          <a:pt x="21" y="452"/>
                        </a:lnTo>
                        <a:lnTo>
                          <a:pt x="19" y="457"/>
                        </a:lnTo>
                        <a:lnTo>
                          <a:pt x="19" y="452"/>
                        </a:lnTo>
                        <a:lnTo>
                          <a:pt x="16" y="454"/>
                        </a:lnTo>
                        <a:lnTo>
                          <a:pt x="11" y="459"/>
                        </a:lnTo>
                        <a:lnTo>
                          <a:pt x="13" y="464"/>
                        </a:lnTo>
                        <a:lnTo>
                          <a:pt x="19" y="469"/>
                        </a:lnTo>
                        <a:lnTo>
                          <a:pt x="21" y="465"/>
                        </a:lnTo>
                        <a:lnTo>
                          <a:pt x="23" y="467"/>
                        </a:lnTo>
                        <a:lnTo>
                          <a:pt x="26" y="465"/>
                        </a:lnTo>
                        <a:lnTo>
                          <a:pt x="26" y="464"/>
                        </a:lnTo>
                        <a:lnTo>
                          <a:pt x="28" y="460"/>
                        </a:lnTo>
                        <a:lnTo>
                          <a:pt x="33" y="464"/>
                        </a:lnTo>
                        <a:lnTo>
                          <a:pt x="29" y="464"/>
                        </a:lnTo>
                        <a:lnTo>
                          <a:pt x="33" y="467"/>
                        </a:lnTo>
                        <a:lnTo>
                          <a:pt x="33" y="470"/>
                        </a:lnTo>
                        <a:lnTo>
                          <a:pt x="29" y="474"/>
                        </a:lnTo>
                        <a:lnTo>
                          <a:pt x="31" y="479"/>
                        </a:lnTo>
                        <a:lnTo>
                          <a:pt x="34" y="477"/>
                        </a:lnTo>
                        <a:lnTo>
                          <a:pt x="39" y="475"/>
                        </a:lnTo>
                        <a:lnTo>
                          <a:pt x="43" y="479"/>
                        </a:lnTo>
                        <a:lnTo>
                          <a:pt x="38" y="479"/>
                        </a:lnTo>
                        <a:lnTo>
                          <a:pt x="34" y="480"/>
                        </a:lnTo>
                        <a:lnTo>
                          <a:pt x="38" y="484"/>
                        </a:lnTo>
                        <a:lnTo>
                          <a:pt x="36" y="485"/>
                        </a:lnTo>
                        <a:lnTo>
                          <a:pt x="28" y="480"/>
                        </a:lnTo>
                        <a:lnTo>
                          <a:pt x="24" y="480"/>
                        </a:lnTo>
                        <a:lnTo>
                          <a:pt x="23" y="479"/>
                        </a:lnTo>
                        <a:lnTo>
                          <a:pt x="19" y="479"/>
                        </a:lnTo>
                        <a:lnTo>
                          <a:pt x="19" y="482"/>
                        </a:lnTo>
                        <a:lnTo>
                          <a:pt x="16" y="485"/>
                        </a:lnTo>
                        <a:lnTo>
                          <a:pt x="23" y="494"/>
                        </a:lnTo>
                        <a:lnTo>
                          <a:pt x="28" y="495"/>
                        </a:lnTo>
                        <a:lnTo>
                          <a:pt x="34" y="500"/>
                        </a:lnTo>
                        <a:lnTo>
                          <a:pt x="43" y="503"/>
                        </a:lnTo>
                        <a:lnTo>
                          <a:pt x="44" y="505"/>
                        </a:lnTo>
                        <a:lnTo>
                          <a:pt x="41" y="507"/>
                        </a:lnTo>
                        <a:lnTo>
                          <a:pt x="46" y="510"/>
                        </a:lnTo>
                        <a:lnTo>
                          <a:pt x="49" y="508"/>
                        </a:lnTo>
                        <a:lnTo>
                          <a:pt x="48" y="503"/>
                        </a:lnTo>
                        <a:lnTo>
                          <a:pt x="49" y="503"/>
                        </a:lnTo>
                        <a:lnTo>
                          <a:pt x="53" y="507"/>
                        </a:lnTo>
                        <a:lnTo>
                          <a:pt x="53" y="507"/>
                        </a:lnTo>
                        <a:lnTo>
                          <a:pt x="58" y="513"/>
                        </a:lnTo>
                        <a:lnTo>
                          <a:pt x="59" y="510"/>
                        </a:lnTo>
                        <a:lnTo>
                          <a:pt x="61" y="512"/>
                        </a:lnTo>
                        <a:lnTo>
                          <a:pt x="66" y="510"/>
                        </a:lnTo>
                        <a:lnTo>
                          <a:pt x="71" y="505"/>
                        </a:lnTo>
                        <a:lnTo>
                          <a:pt x="73" y="505"/>
                        </a:lnTo>
                        <a:lnTo>
                          <a:pt x="74" y="503"/>
                        </a:lnTo>
                        <a:lnTo>
                          <a:pt x="76" y="503"/>
                        </a:lnTo>
                        <a:lnTo>
                          <a:pt x="78" y="507"/>
                        </a:lnTo>
                        <a:lnTo>
                          <a:pt x="79" y="507"/>
                        </a:lnTo>
                        <a:lnTo>
                          <a:pt x="88" y="498"/>
                        </a:lnTo>
                        <a:lnTo>
                          <a:pt x="88" y="497"/>
                        </a:lnTo>
                        <a:lnTo>
                          <a:pt x="84" y="492"/>
                        </a:lnTo>
                        <a:lnTo>
                          <a:pt x="91" y="495"/>
                        </a:lnTo>
                        <a:lnTo>
                          <a:pt x="96" y="490"/>
                        </a:lnTo>
                        <a:lnTo>
                          <a:pt x="94" y="489"/>
                        </a:lnTo>
                        <a:lnTo>
                          <a:pt x="98" y="487"/>
                        </a:lnTo>
                        <a:lnTo>
                          <a:pt x="98" y="485"/>
                        </a:lnTo>
                        <a:lnTo>
                          <a:pt x="101" y="482"/>
                        </a:lnTo>
                        <a:lnTo>
                          <a:pt x="104" y="482"/>
                        </a:lnTo>
                        <a:lnTo>
                          <a:pt x="106" y="479"/>
                        </a:lnTo>
                        <a:lnTo>
                          <a:pt x="103" y="475"/>
                        </a:lnTo>
                        <a:lnTo>
                          <a:pt x="103" y="472"/>
                        </a:lnTo>
                        <a:lnTo>
                          <a:pt x="99" y="467"/>
                        </a:lnTo>
                        <a:lnTo>
                          <a:pt x="96" y="465"/>
                        </a:lnTo>
                        <a:lnTo>
                          <a:pt x="96" y="462"/>
                        </a:lnTo>
                        <a:lnTo>
                          <a:pt x="98" y="462"/>
                        </a:lnTo>
                        <a:lnTo>
                          <a:pt x="103" y="467"/>
                        </a:lnTo>
                        <a:lnTo>
                          <a:pt x="104" y="474"/>
                        </a:lnTo>
                        <a:lnTo>
                          <a:pt x="106" y="475"/>
                        </a:lnTo>
                        <a:lnTo>
                          <a:pt x="109" y="475"/>
                        </a:lnTo>
                        <a:lnTo>
                          <a:pt x="109" y="477"/>
                        </a:lnTo>
                        <a:lnTo>
                          <a:pt x="111" y="480"/>
                        </a:lnTo>
                        <a:lnTo>
                          <a:pt x="116" y="479"/>
                        </a:lnTo>
                        <a:lnTo>
                          <a:pt x="114" y="475"/>
                        </a:lnTo>
                        <a:lnTo>
                          <a:pt x="113" y="475"/>
                        </a:lnTo>
                        <a:lnTo>
                          <a:pt x="114" y="472"/>
                        </a:lnTo>
                        <a:lnTo>
                          <a:pt x="117" y="475"/>
                        </a:lnTo>
                        <a:lnTo>
                          <a:pt x="117" y="477"/>
                        </a:lnTo>
                        <a:lnTo>
                          <a:pt x="124" y="472"/>
                        </a:lnTo>
                        <a:lnTo>
                          <a:pt x="126" y="467"/>
                        </a:lnTo>
                        <a:lnTo>
                          <a:pt x="124" y="462"/>
                        </a:lnTo>
                        <a:lnTo>
                          <a:pt x="121" y="462"/>
                        </a:lnTo>
                        <a:lnTo>
                          <a:pt x="119" y="459"/>
                        </a:lnTo>
                        <a:lnTo>
                          <a:pt x="121" y="457"/>
                        </a:lnTo>
                        <a:lnTo>
                          <a:pt x="122" y="455"/>
                        </a:lnTo>
                        <a:lnTo>
                          <a:pt x="124" y="455"/>
                        </a:lnTo>
                        <a:lnTo>
                          <a:pt x="126" y="454"/>
                        </a:lnTo>
                        <a:lnTo>
                          <a:pt x="124" y="450"/>
                        </a:lnTo>
                        <a:lnTo>
                          <a:pt x="124" y="447"/>
                        </a:lnTo>
                        <a:lnTo>
                          <a:pt x="127" y="444"/>
                        </a:lnTo>
                        <a:lnTo>
                          <a:pt x="131" y="447"/>
                        </a:lnTo>
                        <a:lnTo>
                          <a:pt x="127" y="452"/>
                        </a:lnTo>
                        <a:lnTo>
                          <a:pt x="129" y="457"/>
                        </a:lnTo>
                        <a:lnTo>
                          <a:pt x="127" y="460"/>
                        </a:lnTo>
                        <a:lnTo>
                          <a:pt x="131" y="464"/>
                        </a:lnTo>
                        <a:lnTo>
                          <a:pt x="131" y="467"/>
                        </a:lnTo>
                        <a:lnTo>
                          <a:pt x="136" y="472"/>
                        </a:lnTo>
                        <a:lnTo>
                          <a:pt x="142" y="470"/>
                        </a:lnTo>
                        <a:lnTo>
                          <a:pt x="144" y="474"/>
                        </a:lnTo>
                        <a:lnTo>
                          <a:pt x="142" y="475"/>
                        </a:lnTo>
                        <a:lnTo>
                          <a:pt x="146" y="477"/>
                        </a:lnTo>
                        <a:lnTo>
                          <a:pt x="149" y="480"/>
                        </a:lnTo>
                        <a:lnTo>
                          <a:pt x="151" y="477"/>
                        </a:lnTo>
                        <a:lnTo>
                          <a:pt x="151" y="464"/>
                        </a:lnTo>
                        <a:lnTo>
                          <a:pt x="147" y="457"/>
                        </a:lnTo>
                        <a:lnTo>
                          <a:pt x="149" y="454"/>
                        </a:lnTo>
                        <a:lnTo>
                          <a:pt x="152" y="452"/>
                        </a:lnTo>
                        <a:lnTo>
                          <a:pt x="149" y="447"/>
                        </a:lnTo>
                        <a:lnTo>
                          <a:pt x="151" y="445"/>
                        </a:lnTo>
                        <a:lnTo>
                          <a:pt x="159" y="444"/>
                        </a:lnTo>
                        <a:lnTo>
                          <a:pt x="161" y="440"/>
                        </a:lnTo>
                        <a:lnTo>
                          <a:pt x="161" y="437"/>
                        </a:lnTo>
                        <a:lnTo>
                          <a:pt x="164" y="429"/>
                        </a:lnTo>
                        <a:lnTo>
                          <a:pt x="161" y="425"/>
                        </a:lnTo>
                        <a:lnTo>
                          <a:pt x="159" y="415"/>
                        </a:lnTo>
                        <a:lnTo>
                          <a:pt x="154" y="407"/>
                        </a:lnTo>
                        <a:lnTo>
                          <a:pt x="154" y="404"/>
                        </a:lnTo>
                        <a:lnTo>
                          <a:pt x="166" y="400"/>
                        </a:lnTo>
                        <a:lnTo>
                          <a:pt x="166" y="392"/>
                        </a:lnTo>
                        <a:lnTo>
                          <a:pt x="167" y="389"/>
                        </a:lnTo>
                        <a:lnTo>
                          <a:pt x="159" y="379"/>
                        </a:lnTo>
                        <a:lnTo>
                          <a:pt x="152" y="377"/>
                        </a:lnTo>
                        <a:lnTo>
                          <a:pt x="152" y="369"/>
                        </a:lnTo>
                        <a:lnTo>
                          <a:pt x="154" y="361"/>
                        </a:lnTo>
                        <a:lnTo>
                          <a:pt x="152" y="351"/>
                        </a:lnTo>
                        <a:lnTo>
                          <a:pt x="149" y="346"/>
                        </a:lnTo>
                        <a:lnTo>
                          <a:pt x="152" y="339"/>
                        </a:lnTo>
                        <a:lnTo>
                          <a:pt x="151" y="327"/>
                        </a:lnTo>
                        <a:lnTo>
                          <a:pt x="149" y="316"/>
                        </a:lnTo>
                        <a:lnTo>
                          <a:pt x="151" y="306"/>
                        </a:lnTo>
                        <a:lnTo>
                          <a:pt x="156" y="298"/>
                        </a:lnTo>
                        <a:lnTo>
                          <a:pt x="161" y="294"/>
                        </a:lnTo>
                        <a:lnTo>
                          <a:pt x="167" y="296"/>
                        </a:lnTo>
                        <a:lnTo>
                          <a:pt x="176" y="296"/>
                        </a:lnTo>
                        <a:lnTo>
                          <a:pt x="179" y="291"/>
                        </a:lnTo>
                        <a:lnTo>
                          <a:pt x="179" y="283"/>
                        </a:lnTo>
                        <a:lnTo>
                          <a:pt x="177" y="279"/>
                        </a:lnTo>
                        <a:lnTo>
                          <a:pt x="177" y="274"/>
                        </a:lnTo>
                        <a:lnTo>
                          <a:pt x="186" y="256"/>
                        </a:lnTo>
                        <a:lnTo>
                          <a:pt x="186" y="246"/>
                        </a:lnTo>
                        <a:lnTo>
                          <a:pt x="187" y="236"/>
                        </a:lnTo>
                        <a:lnTo>
                          <a:pt x="191" y="231"/>
                        </a:lnTo>
                        <a:lnTo>
                          <a:pt x="191" y="224"/>
                        </a:lnTo>
                        <a:lnTo>
                          <a:pt x="187" y="221"/>
                        </a:lnTo>
                        <a:lnTo>
                          <a:pt x="187" y="216"/>
                        </a:lnTo>
                        <a:lnTo>
                          <a:pt x="194" y="213"/>
                        </a:lnTo>
                        <a:lnTo>
                          <a:pt x="202" y="211"/>
                        </a:lnTo>
                        <a:lnTo>
                          <a:pt x="207" y="208"/>
                        </a:lnTo>
                        <a:lnTo>
                          <a:pt x="207" y="203"/>
                        </a:lnTo>
                        <a:lnTo>
                          <a:pt x="214" y="193"/>
                        </a:lnTo>
                        <a:lnTo>
                          <a:pt x="220" y="185"/>
                        </a:lnTo>
                        <a:lnTo>
                          <a:pt x="222" y="180"/>
                        </a:lnTo>
                        <a:lnTo>
                          <a:pt x="220" y="173"/>
                        </a:lnTo>
                        <a:lnTo>
                          <a:pt x="217" y="170"/>
                        </a:lnTo>
                        <a:lnTo>
                          <a:pt x="217" y="160"/>
                        </a:lnTo>
                        <a:lnTo>
                          <a:pt x="220" y="158"/>
                        </a:lnTo>
                        <a:lnTo>
                          <a:pt x="224" y="155"/>
                        </a:lnTo>
                        <a:lnTo>
                          <a:pt x="224" y="150"/>
                        </a:lnTo>
                        <a:lnTo>
                          <a:pt x="227" y="148"/>
                        </a:lnTo>
                        <a:lnTo>
                          <a:pt x="232" y="141"/>
                        </a:lnTo>
                        <a:lnTo>
                          <a:pt x="237" y="136"/>
                        </a:lnTo>
                        <a:lnTo>
                          <a:pt x="242" y="140"/>
                        </a:lnTo>
                        <a:lnTo>
                          <a:pt x="244" y="141"/>
                        </a:lnTo>
                        <a:lnTo>
                          <a:pt x="247" y="141"/>
                        </a:lnTo>
                        <a:lnTo>
                          <a:pt x="250" y="138"/>
                        </a:lnTo>
                        <a:lnTo>
                          <a:pt x="249" y="133"/>
                        </a:lnTo>
                        <a:lnTo>
                          <a:pt x="250" y="131"/>
                        </a:lnTo>
                        <a:lnTo>
                          <a:pt x="250" y="128"/>
                        </a:lnTo>
                        <a:lnTo>
                          <a:pt x="252" y="126"/>
                        </a:lnTo>
                        <a:lnTo>
                          <a:pt x="249" y="121"/>
                        </a:lnTo>
                        <a:lnTo>
                          <a:pt x="250" y="120"/>
                        </a:lnTo>
                        <a:lnTo>
                          <a:pt x="257" y="120"/>
                        </a:lnTo>
                        <a:lnTo>
                          <a:pt x="264" y="116"/>
                        </a:lnTo>
                        <a:lnTo>
                          <a:pt x="270" y="120"/>
                        </a:lnTo>
                        <a:lnTo>
                          <a:pt x="275" y="121"/>
                        </a:lnTo>
                        <a:lnTo>
                          <a:pt x="282" y="123"/>
                        </a:lnTo>
                        <a:lnTo>
                          <a:pt x="285" y="125"/>
                        </a:lnTo>
                        <a:lnTo>
                          <a:pt x="287" y="125"/>
                        </a:lnTo>
                        <a:lnTo>
                          <a:pt x="289" y="125"/>
                        </a:lnTo>
                        <a:lnTo>
                          <a:pt x="289" y="120"/>
                        </a:lnTo>
                        <a:lnTo>
                          <a:pt x="287" y="116"/>
                        </a:lnTo>
                        <a:lnTo>
                          <a:pt x="287" y="110"/>
                        </a:lnTo>
                        <a:lnTo>
                          <a:pt x="292" y="108"/>
                        </a:lnTo>
                        <a:lnTo>
                          <a:pt x="290" y="103"/>
                        </a:lnTo>
                        <a:lnTo>
                          <a:pt x="287" y="101"/>
                        </a:lnTo>
                        <a:lnTo>
                          <a:pt x="285" y="97"/>
                        </a:lnTo>
                        <a:lnTo>
                          <a:pt x="292" y="98"/>
                        </a:lnTo>
                        <a:lnTo>
                          <a:pt x="297" y="98"/>
                        </a:lnTo>
                        <a:lnTo>
                          <a:pt x="299" y="97"/>
                        </a:lnTo>
                        <a:lnTo>
                          <a:pt x="299" y="97"/>
                        </a:lnTo>
                        <a:lnTo>
                          <a:pt x="300" y="95"/>
                        </a:lnTo>
                        <a:lnTo>
                          <a:pt x="302" y="97"/>
                        </a:lnTo>
                        <a:lnTo>
                          <a:pt x="304" y="95"/>
                        </a:lnTo>
                        <a:lnTo>
                          <a:pt x="302" y="92"/>
                        </a:lnTo>
                        <a:lnTo>
                          <a:pt x="304" y="88"/>
                        </a:lnTo>
                        <a:lnTo>
                          <a:pt x="307" y="87"/>
                        </a:lnTo>
                        <a:lnTo>
                          <a:pt x="310" y="87"/>
                        </a:lnTo>
                        <a:lnTo>
                          <a:pt x="314" y="92"/>
                        </a:lnTo>
                        <a:lnTo>
                          <a:pt x="325" y="98"/>
                        </a:lnTo>
                        <a:lnTo>
                          <a:pt x="327" y="103"/>
                        </a:lnTo>
                        <a:lnTo>
                          <a:pt x="330" y="108"/>
                        </a:lnTo>
                        <a:lnTo>
                          <a:pt x="337" y="111"/>
                        </a:lnTo>
                        <a:lnTo>
                          <a:pt x="348" y="111"/>
                        </a:lnTo>
                        <a:lnTo>
                          <a:pt x="355" y="106"/>
                        </a:lnTo>
                        <a:lnTo>
                          <a:pt x="358" y="103"/>
                        </a:lnTo>
                        <a:lnTo>
                          <a:pt x="363" y="103"/>
                        </a:lnTo>
                        <a:lnTo>
                          <a:pt x="372" y="108"/>
                        </a:lnTo>
                        <a:lnTo>
                          <a:pt x="377" y="108"/>
                        </a:lnTo>
                        <a:lnTo>
                          <a:pt x="378" y="103"/>
                        </a:lnTo>
                        <a:lnTo>
                          <a:pt x="382" y="103"/>
                        </a:lnTo>
                        <a:lnTo>
                          <a:pt x="387" y="100"/>
                        </a:lnTo>
                        <a:lnTo>
                          <a:pt x="390" y="100"/>
                        </a:lnTo>
                        <a:lnTo>
                          <a:pt x="395" y="97"/>
                        </a:lnTo>
                        <a:lnTo>
                          <a:pt x="397" y="93"/>
                        </a:lnTo>
                        <a:lnTo>
                          <a:pt x="395" y="90"/>
                        </a:lnTo>
                        <a:lnTo>
                          <a:pt x="392" y="83"/>
                        </a:lnTo>
                        <a:lnTo>
                          <a:pt x="393" y="72"/>
                        </a:lnTo>
                        <a:lnTo>
                          <a:pt x="395" y="68"/>
                        </a:lnTo>
                        <a:lnTo>
                          <a:pt x="393" y="65"/>
                        </a:lnTo>
                        <a:lnTo>
                          <a:pt x="395" y="63"/>
                        </a:lnTo>
                        <a:lnTo>
                          <a:pt x="400" y="60"/>
                        </a:lnTo>
                        <a:lnTo>
                          <a:pt x="398" y="57"/>
                        </a:lnTo>
                        <a:lnTo>
                          <a:pt x="403" y="55"/>
                        </a:lnTo>
                        <a:lnTo>
                          <a:pt x="410" y="55"/>
                        </a:lnTo>
                        <a:lnTo>
                          <a:pt x="413" y="55"/>
                        </a:lnTo>
                        <a:lnTo>
                          <a:pt x="413" y="53"/>
                        </a:lnTo>
                        <a:lnTo>
                          <a:pt x="418" y="50"/>
                        </a:lnTo>
                        <a:lnTo>
                          <a:pt x="428" y="48"/>
                        </a:lnTo>
                        <a:lnTo>
                          <a:pt x="433" y="52"/>
                        </a:lnTo>
                        <a:lnTo>
                          <a:pt x="438" y="58"/>
                        </a:lnTo>
                        <a:lnTo>
                          <a:pt x="441" y="62"/>
                        </a:lnTo>
                        <a:lnTo>
                          <a:pt x="446" y="63"/>
                        </a:lnTo>
                        <a:lnTo>
                          <a:pt x="455" y="65"/>
                        </a:lnTo>
                        <a:lnTo>
                          <a:pt x="456" y="68"/>
                        </a:lnTo>
                        <a:lnTo>
                          <a:pt x="461" y="73"/>
                        </a:lnTo>
                        <a:lnTo>
                          <a:pt x="460" y="77"/>
                        </a:lnTo>
                        <a:lnTo>
                          <a:pt x="456" y="83"/>
                        </a:lnTo>
                        <a:lnTo>
                          <a:pt x="456" y="92"/>
                        </a:lnTo>
                        <a:lnTo>
                          <a:pt x="456" y="92"/>
                        </a:lnTo>
                        <a:close/>
                        <a:moveTo>
                          <a:pt x="21" y="472"/>
                        </a:moveTo>
                        <a:lnTo>
                          <a:pt x="24" y="475"/>
                        </a:lnTo>
                        <a:lnTo>
                          <a:pt x="21" y="475"/>
                        </a:lnTo>
                        <a:lnTo>
                          <a:pt x="21" y="472"/>
                        </a:lnTo>
                        <a:lnTo>
                          <a:pt x="21" y="472"/>
                        </a:lnTo>
                        <a:close/>
                        <a:moveTo>
                          <a:pt x="11" y="447"/>
                        </a:moveTo>
                        <a:lnTo>
                          <a:pt x="11" y="447"/>
                        </a:lnTo>
                        <a:lnTo>
                          <a:pt x="13" y="447"/>
                        </a:lnTo>
                        <a:lnTo>
                          <a:pt x="16" y="449"/>
                        </a:lnTo>
                        <a:lnTo>
                          <a:pt x="15" y="452"/>
                        </a:lnTo>
                        <a:lnTo>
                          <a:pt x="11" y="447"/>
                        </a:lnTo>
                        <a:lnTo>
                          <a:pt x="11" y="447"/>
                        </a:lnTo>
                        <a:close/>
                        <a:moveTo>
                          <a:pt x="19" y="439"/>
                        </a:moveTo>
                        <a:lnTo>
                          <a:pt x="18" y="442"/>
                        </a:lnTo>
                        <a:lnTo>
                          <a:pt x="16" y="442"/>
                        </a:lnTo>
                        <a:lnTo>
                          <a:pt x="19" y="439"/>
                        </a:lnTo>
                        <a:lnTo>
                          <a:pt x="19" y="439"/>
                        </a:lnTo>
                        <a:close/>
                        <a:moveTo>
                          <a:pt x="15" y="437"/>
                        </a:moveTo>
                        <a:lnTo>
                          <a:pt x="15" y="440"/>
                        </a:lnTo>
                        <a:lnTo>
                          <a:pt x="10" y="440"/>
                        </a:lnTo>
                        <a:lnTo>
                          <a:pt x="15" y="437"/>
                        </a:lnTo>
                        <a:lnTo>
                          <a:pt x="15" y="437"/>
                        </a:lnTo>
                        <a:close/>
                        <a:moveTo>
                          <a:pt x="6" y="420"/>
                        </a:moveTo>
                        <a:lnTo>
                          <a:pt x="3" y="419"/>
                        </a:lnTo>
                        <a:lnTo>
                          <a:pt x="6" y="415"/>
                        </a:lnTo>
                        <a:lnTo>
                          <a:pt x="6" y="415"/>
                        </a:lnTo>
                        <a:lnTo>
                          <a:pt x="6" y="420"/>
                        </a:lnTo>
                        <a:lnTo>
                          <a:pt x="6" y="420"/>
                        </a:lnTo>
                        <a:close/>
                        <a:moveTo>
                          <a:pt x="5" y="424"/>
                        </a:moveTo>
                        <a:lnTo>
                          <a:pt x="8" y="424"/>
                        </a:lnTo>
                        <a:lnTo>
                          <a:pt x="6" y="425"/>
                        </a:lnTo>
                        <a:lnTo>
                          <a:pt x="5" y="424"/>
                        </a:lnTo>
                        <a:lnTo>
                          <a:pt x="5" y="424"/>
                        </a:lnTo>
                        <a:close/>
                        <a:moveTo>
                          <a:pt x="13" y="427"/>
                        </a:moveTo>
                        <a:lnTo>
                          <a:pt x="13" y="427"/>
                        </a:lnTo>
                        <a:lnTo>
                          <a:pt x="18" y="432"/>
                        </a:lnTo>
                        <a:lnTo>
                          <a:pt x="16" y="435"/>
                        </a:lnTo>
                        <a:lnTo>
                          <a:pt x="13" y="427"/>
                        </a:lnTo>
                        <a:lnTo>
                          <a:pt x="13" y="427"/>
                        </a:lnTo>
                        <a:close/>
                        <a:moveTo>
                          <a:pt x="6" y="434"/>
                        </a:moveTo>
                        <a:lnTo>
                          <a:pt x="3" y="430"/>
                        </a:lnTo>
                        <a:lnTo>
                          <a:pt x="8" y="429"/>
                        </a:lnTo>
                        <a:lnTo>
                          <a:pt x="6" y="434"/>
                        </a:lnTo>
                        <a:lnTo>
                          <a:pt x="6" y="434"/>
                        </a:lnTo>
                        <a:close/>
                        <a:moveTo>
                          <a:pt x="3" y="407"/>
                        </a:moveTo>
                        <a:lnTo>
                          <a:pt x="0" y="410"/>
                        </a:lnTo>
                        <a:lnTo>
                          <a:pt x="1" y="412"/>
                        </a:lnTo>
                        <a:lnTo>
                          <a:pt x="5" y="410"/>
                        </a:lnTo>
                        <a:lnTo>
                          <a:pt x="3" y="407"/>
                        </a:lnTo>
                        <a:lnTo>
                          <a:pt x="3" y="407"/>
                        </a:lnTo>
                        <a:close/>
                        <a:moveTo>
                          <a:pt x="1" y="377"/>
                        </a:moveTo>
                        <a:lnTo>
                          <a:pt x="8" y="379"/>
                        </a:lnTo>
                        <a:lnTo>
                          <a:pt x="3" y="381"/>
                        </a:lnTo>
                        <a:lnTo>
                          <a:pt x="1" y="377"/>
                        </a:lnTo>
                        <a:lnTo>
                          <a:pt x="1" y="377"/>
                        </a:lnTo>
                        <a:close/>
                        <a:moveTo>
                          <a:pt x="3" y="369"/>
                        </a:moveTo>
                        <a:lnTo>
                          <a:pt x="8" y="372"/>
                        </a:lnTo>
                        <a:lnTo>
                          <a:pt x="6" y="376"/>
                        </a:lnTo>
                        <a:lnTo>
                          <a:pt x="3" y="369"/>
                        </a:lnTo>
                        <a:lnTo>
                          <a:pt x="3" y="369"/>
                        </a:lnTo>
                        <a:close/>
                        <a:moveTo>
                          <a:pt x="18" y="361"/>
                        </a:moveTo>
                        <a:lnTo>
                          <a:pt x="18" y="364"/>
                        </a:lnTo>
                        <a:lnTo>
                          <a:pt x="15" y="364"/>
                        </a:lnTo>
                        <a:lnTo>
                          <a:pt x="18" y="361"/>
                        </a:lnTo>
                        <a:lnTo>
                          <a:pt x="18" y="361"/>
                        </a:lnTo>
                        <a:close/>
                        <a:moveTo>
                          <a:pt x="21" y="357"/>
                        </a:moveTo>
                        <a:lnTo>
                          <a:pt x="24" y="359"/>
                        </a:lnTo>
                        <a:lnTo>
                          <a:pt x="26" y="362"/>
                        </a:lnTo>
                        <a:lnTo>
                          <a:pt x="21" y="364"/>
                        </a:lnTo>
                        <a:lnTo>
                          <a:pt x="21" y="357"/>
                        </a:lnTo>
                        <a:lnTo>
                          <a:pt x="21" y="357"/>
                        </a:lnTo>
                        <a:close/>
                        <a:moveTo>
                          <a:pt x="64" y="331"/>
                        </a:moveTo>
                        <a:lnTo>
                          <a:pt x="64" y="331"/>
                        </a:lnTo>
                        <a:lnTo>
                          <a:pt x="69" y="326"/>
                        </a:lnTo>
                        <a:lnTo>
                          <a:pt x="69" y="331"/>
                        </a:lnTo>
                        <a:lnTo>
                          <a:pt x="68" y="334"/>
                        </a:lnTo>
                        <a:lnTo>
                          <a:pt x="64" y="331"/>
                        </a:lnTo>
                        <a:lnTo>
                          <a:pt x="64" y="331"/>
                        </a:lnTo>
                        <a:close/>
                        <a:moveTo>
                          <a:pt x="66" y="324"/>
                        </a:moveTo>
                        <a:lnTo>
                          <a:pt x="66" y="324"/>
                        </a:lnTo>
                        <a:lnTo>
                          <a:pt x="64" y="326"/>
                        </a:lnTo>
                        <a:lnTo>
                          <a:pt x="59" y="321"/>
                        </a:lnTo>
                        <a:lnTo>
                          <a:pt x="64" y="321"/>
                        </a:lnTo>
                        <a:lnTo>
                          <a:pt x="66" y="324"/>
                        </a:lnTo>
                        <a:lnTo>
                          <a:pt x="66" y="324"/>
                        </a:lnTo>
                        <a:close/>
                        <a:moveTo>
                          <a:pt x="71" y="314"/>
                        </a:moveTo>
                        <a:lnTo>
                          <a:pt x="78" y="309"/>
                        </a:lnTo>
                        <a:lnTo>
                          <a:pt x="81" y="311"/>
                        </a:lnTo>
                        <a:lnTo>
                          <a:pt x="76" y="314"/>
                        </a:lnTo>
                        <a:lnTo>
                          <a:pt x="71" y="314"/>
                        </a:lnTo>
                        <a:lnTo>
                          <a:pt x="71" y="314"/>
                        </a:lnTo>
                        <a:close/>
                        <a:moveTo>
                          <a:pt x="71" y="322"/>
                        </a:moveTo>
                        <a:lnTo>
                          <a:pt x="74" y="317"/>
                        </a:lnTo>
                        <a:lnTo>
                          <a:pt x="79" y="317"/>
                        </a:lnTo>
                        <a:lnTo>
                          <a:pt x="81" y="316"/>
                        </a:lnTo>
                        <a:lnTo>
                          <a:pt x="84" y="316"/>
                        </a:lnTo>
                        <a:lnTo>
                          <a:pt x="88" y="317"/>
                        </a:lnTo>
                        <a:lnTo>
                          <a:pt x="84" y="322"/>
                        </a:lnTo>
                        <a:lnTo>
                          <a:pt x="78" y="321"/>
                        </a:lnTo>
                        <a:lnTo>
                          <a:pt x="74" y="322"/>
                        </a:lnTo>
                        <a:lnTo>
                          <a:pt x="71" y="322"/>
                        </a:lnTo>
                        <a:lnTo>
                          <a:pt x="71" y="322"/>
                        </a:lnTo>
                        <a:close/>
                        <a:moveTo>
                          <a:pt x="134" y="261"/>
                        </a:moveTo>
                        <a:lnTo>
                          <a:pt x="136" y="258"/>
                        </a:lnTo>
                        <a:lnTo>
                          <a:pt x="142" y="256"/>
                        </a:lnTo>
                        <a:lnTo>
                          <a:pt x="137" y="263"/>
                        </a:lnTo>
                        <a:lnTo>
                          <a:pt x="134" y="261"/>
                        </a:lnTo>
                        <a:lnTo>
                          <a:pt x="134" y="261"/>
                        </a:lnTo>
                        <a:close/>
                        <a:moveTo>
                          <a:pt x="129" y="271"/>
                        </a:moveTo>
                        <a:lnTo>
                          <a:pt x="127" y="268"/>
                        </a:lnTo>
                        <a:lnTo>
                          <a:pt x="124" y="269"/>
                        </a:lnTo>
                        <a:lnTo>
                          <a:pt x="127" y="264"/>
                        </a:lnTo>
                        <a:lnTo>
                          <a:pt x="134" y="264"/>
                        </a:lnTo>
                        <a:lnTo>
                          <a:pt x="137" y="263"/>
                        </a:lnTo>
                        <a:lnTo>
                          <a:pt x="132" y="269"/>
                        </a:lnTo>
                        <a:lnTo>
                          <a:pt x="129" y="271"/>
                        </a:lnTo>
                        <a:lnTo>
                          <a:pt x="129" y="271"/>
                        </a:lnTo>
                        <a:close/>
                        <a:moveTo>
                          <a:pt x="141" y="234"/>
                        </a:moveTo>
                        <a:lnTo>
                          <a:pt x="142" y="236"/>
                        </a:lnTo>
                        <a:lnTo>
                          <a:pt x="144" y="238"/>
                        </a:lnTo>
                        <a:lnTo>
                          <a:pt x="141" y="239"/>
                        </a:lnTo>
                        <a:lnTo>
                          <a:pt x="139" y="238"/>
                        </a:lnTo>
                        <a:lnTo>
                          <a:pt x="141" y="234"/>
                        </a:lnTo>
                        <a:lnTo>
                          <a:pt x="141" y="234"/>
                        </a:lnTo>
                        <a:close/>
                        <a:moveTo>
                          <a:pt x="151" y="226"/>
                        </a:moveTo>
                        <a:lnTo>
                          <a:pt x="152" y="224"/>
                        </a:lnTo>
                        <a:lnTo>
                          <a:pt x="157" y="224"/>
                        </a:lnTo>
                        <a:lnTo>
                          <a:pt x="151" y="229"/>
                        </a:lnTo>
                        <a:lnTo>
                          <a:pt x="151" y="226"/>
                        </a:lnTo>
                        <a:lnTo>
                          <a:pt x="151" y="226"/>
                        </a:lnTo>
                        <a:close/>
                        <a:moveTo>
                          <a:pt x="147" y="218"/>
                        </a:moveTo>
                        <a:lnTo>
                          <a:pt x="152" y="214"/>
                        </a:lnTo>
                        <a:lnTo>
                          <a:pt x="152" y="218"/>
                        </a:lnTo>
                        <a:lnTo>
                          <a:pt x="149" y="224"/>
                        </a:lnTo>
                        <a:lnTo>
                          <a:pt x="147" y="218"/>
                        </a:lnTo>
                        <a:lnTo>
                          <a:pt x="147" y="218"/>
                        </a:lnTo>
                        <a:close/>
                        <a:moveTo>
                          <a:pt x="177" y="178"/>
                        </a:moveTo>
                        <a:lnTo>
                          <a:pt x="179" y="176"/>
                        </a:lnTo>
                        <a:lnTo>
                          <a:pt x="182" y="176"/>
                        </a:lnTo>
                        <a:lnTo>
                          <a:pt x="179" y="181"/>
                        </a:lnTo>
                        <a:lnTo>
                          <a:pt x="177" y="178"/>
                        </a:lnTo>
                        <a:lnTo>
                          <a:pt x="177" y="178"/>
                        </a:lnTo>
                        <a:close/>
                        <a:moveTo>
                          <a:pt x="147" y="156"/>
                        </a:moveTo>
                        <a:lnTo>
                          <a:pt x="151" y="158"/>
                        </a:lnTo>
                        <a:lnTo>
                          <a:pt x="149" y="161"/>
                        </a:lnTo>
                        <a:lnTo>
                          <a:pt x="146" y="160"/>
                        </a:lnTo>
                        <a:lnTo>
                          <a:pt x="147" y="156"/>
                        </a:lnTo>
                        <a:lnTo>
                          <a:pt x="147" y="156"/>
                        </a:lnTo>
                        <a:close/>
                        <a:moveTo>
                          <a:pt x="156" y="145"/>
                        </a:moveTo>
                        <a:lnTo>
                          <a:pt x="151" y="150"/>
                        </a:lnTo>
                        <a:lnTo>
                          <a:pt x="151" y="146"/>
                        </a:lnTo>
                        <a:lnTo>
                          <a:pt x="156" y="140"/>
                        </a:lnTo>
                        <a:lnTo>
                          <a:pt x="156" y="145"/>
                        </a:lnTo>
                        <a:lnTo>
                          <a:pt x="156" y="145"/>
                        </a:lnTo>
                        <a:close/>
                        <a:moveTo>
                          <a:pt x="159" y="141"/>
                        </a:moveTo>
                        <a:lnTo>
                          <a:pt x="157" y="140"/>
                        </a:lnTo>
                        <a:lnTo>
                          <a:pt x="159" y="136"/>
                        </a:lnTo>
                        <a:lnTo>
                          <a:pt x="162" y="138"/>
                        </a:lnTo>
                        <a:lnTo>
                          <a:pt x="159" y="141"/>
                        </a:lnTo>
                        <a:lnTo>
                          <a:pt x="159" y="141"/>
                        </a:lnTo>
                        <a:close/>
                        <a:moveTo>
                          <a:pt x="174" y="131"/>
                        </a:moveTo>
                        <a:lnTo>
                          <a:pt x="174" y="136"/>
                        </a:lnTo>
                        <a:lnTo>
                          <a:pt x="164" y="141"/>
                        </a:lnTo>
                        <a:lnTo>
                          <a:pt x="166" y="135"/>
                        </a:lnTo>
                        <a:lnTo>
                          <a:pt x="174" y="131"/>
                        </a:lnTo>
                        <a:lnTo>
                          <a:pt x="174" y="131"/>
                        </a:lnTo>
                        <a:close/>
                        <a:moveTo>
                          <a:pt x="182" y="123"/>
                        </a:moveTo>
                        <a:lnTo>
                          <a:pt x="184" y="118"/>
                        </a:lnTo>
                        <a:lnTo>
                          <a:pt x="189" y="121"/>
                        </a:lnTo>
                        <a:lnTo>
                          <a:pt x="182" y="123"/>
                        </a:lnTo>
                        <a:lnTo>
                          <a:pt x="182" y="123"/>
                        </a:lnTo>
                        <a:close/>
                        <a:moveTo>
                          <a:pt x="187" y="125"/>
                        </a:moveTo>
                        <a:lnTo>
                          <a:pt x="187" y="133"/>
                        </a:lnTo>
                        <a:lnTo>
                          <a:pt x="182" y="131"/>
                        </a:lnTo>
                        <a:lnTo>
                          <a:pt x="176" y="135"/>
                        </a:lnTo>
                        <a:lnTo>
                          <a:pt x="177" y="130"/>
                        </a:lnTo>
                        <a:lnTo>
                          <a:pt x="187" y="125"/>
                        </a:lnTo>
                        <a:lnTo>
                          <a:pt x="187" y="125"/>
                        </a:lnTo>
                        <a:close/>
                        <a:moveTo>
                          <a:pt x="191" y="103"/>
                        </a:moveTo>
                        <a:lnTo>
                          <a:pt x="192" y="108"/>
                        </a:lnTo>
                        <a:lnTo>
                          <a:pt x="192" y="116"/>
                        </a:lnTo>
                        <a:lnTo>
                          <a:pt x="186" y="118"/>
                        </a:lnTo>
                        <a:lnTo>
                          <a:pt x="184" y="116"/>
                        </a:lnTo>
                        <a:lnTo>
                          <a:pt x="189" y="111"/>
                        </a:lnTo>
                        <a:lnTo>
                          <a:pt x="186" y="111"/>
                        </a:lnTo>
                        <a:lnTo>
                          <a:pt x="181" y="116"/>
                        </a:lnTo>
                        <a:lnTo>
                          <a:pt x="179" y="113"/>
                        </a:lnTo>
                        <a:lnTo>
                          <a:pt x="181" y="110"/>
                        </a:lnTo>
                        <a:lnTo>
                          <a:pt x="184" y="110"/>
                        </a:lnTo>
                        <a:lnTo>
                          <a:pt x="189" y="105"/>
                        </a:lnTo>
                        <a:lnTo>
                          <a:pt x="187" y="103"/>
                        </a:lnTo>
                        <a:lnTo>
                          <a:pt x="191" y="103"/>
                        </a:lnTo>
                        <a:lnTo>
                          <a:pt x="191" y="103"/>
                        </a:lnTo>
                        <a:close/>
                        <a:moveTo>
                          <a:pt x="196" y="105"/>
                        </a:moveTo>
                        <a:lnTo>
                          <a:pt x="194" y="103"/>
                        </a:lnTo>
                        <a:lnTo>
                          <a:pt x="194" y="98"/>
                        </a:lnTo>
                        <a:lnTo>
                          <a:pt x="201" y="93"/>
                        </a:lnTo>
                        <a:lnTo>
                          <a:pt x="201" y="88"/>
                        </a:lnTo>
                        <a:lnTo>
                          <a:pt x="207" y="87"/>
                        </a:lnTo>
                        <a:lnTo>
                          <a:pt x="209" y="92"/>
                        </a:lnTo>
                        <a:lnTo>
                          <a:pt x="204" y="95"/>
                        </a:lnTo>
                        <a:lnTo>
                          <a:pt x="202" y="98"/>
                        </a:lnTo>
                        <a:lnTo>
                          <a:pt x="196" y="105"/>
                        </a:lnTo>
                        <a:lnTo>
                          <a:pt x="196" y="105"/>
                        </a:lnTo>
                        <a:close/>
                        <a:moveTo>
                          <a:pt x="212" y="108"/>
                        </a:moveTo>
                        <a:lnTo>
                          <a:pt x="219" y="113"/>
                        </a:lnTo>
                        <a:lnTo>
                          <a:pt x="211" y="121"/>
                        </a:lnTo>
                        <a:lnTo>
                          <a:pt x="204" y="125"/>
                        </a:lnTo>
                        <a:lnTo>
                          <a:pt x="202" y="128"/>
                        </a:lnTo>
                        <a:lnTo>
                          <a:pt x="199" y="126"/>
                        </a:lnTo>
                        <a:lnTo>
                          <a:pt x="199" y="123"/>
                        </a:lnTo>
                        <a:lnTo>
                          <a:pt x="194" y="130"/>
                        </a:lnTo>
                        <a:lnTo>
                          <a:pt x="191" y="130"/>
                        </a:lnTo>
                        <a:lnTo>
                          <a:pt x="192" y="125"/>
                        </a:lnTo>
                        <a:lnTo>
                          <a:pt x="194" y="123"/>
                        </a:lnTo>
                        <a:lnTo>
                          <a:pt x="194" y="118"/>
                        </a:lnTo>
                        <a:lnTo>
                          <a:pt x="197" y="115"/>
                        </a:lnTo>
                        <a:lnTo>
                          <a:pt x="197" y="111"/>
                        </a:lnTo>
                        <a:lnTo>
                          <a:pt x="202" y="103"/>
                        </a:lnTo>
                        <a:lnTo>
                          <a:pt x="201" y="115"/>
                        </a:lnTo>
                        <a:lnTo>
                          <a:pt x="201" y="118"/>
                        </a:lnTo>
                        <a:lnTo>
                          <a:pt x="204" y="113"/>
                        </a:lnTo>
                        <a:lnTo>
                          <a:pt x="212" y="113"/>
                        </a:lnTo>
                        <a:lnTo>
                          <a:pt x="209" y="110"/>
                        </a:lnTo>
                        <a:lnTo>
                          <a:pt x="209" y="106"/>
                        </a:lnTo>
                        <a:lnTo>
                          <a:pt x="212" y="108"/>
                        </a:lnTo>
                        <a:lnTo>
                          <a:pt x="212" y="108"/>
                        </a:lnTo>
                        <a:close/>
                        <a:moveTo>
                          <a:pt x="212" y="103"/>
                        </a:moveTo>
                        <a:lnTo>
                          <a:pt x="211" y="101"/>
                        </a:lnTo>
                        <a:lnTo>
                          <a:pt x="214" y="100"/>
                        </a:lnTo>
                        <a:lnTo>
                          <a:pt x="219" y="103"/>
                        </a:lnTo>
                        <a:lnTo>
                          <a:pt x="219" y="106"/>
                        </a:lnTo>
                        <a:lnTo>
                          <a:pt x="212" y="103"/>
                        </a:lnTo>
                        <a:lnTo>
                          <a:pt x="212" y="103"/>
                        </a:lnTo>
                        <a:close/>
                        <a:moveTo>
                          <a:pt x="225" y="110"/>
                        </a:moveTo>
                        <a:lnTo>
                          <a:pt x="225" y="105"/>
                        </a:lnTo>
                        <a:lnTo>
                          <a:pt x="229" y="108"/>
                        </a:lnTo>
                        <a:lnTo>
                          <a:pt x="225" y="110"/>
                        </a:lnTo>
                        <a:lnTo>
                          <a:pt x="225" y="110"/>
                        </a:lnTo>
                        <a:close/>
                        <a:moveTo>
                          <a:pt x="240" y="87"/>
                        </a:moveTo>
                        <a:lnTo>
                          <a:pt x="240" y="88"/>
                        </a:lnTo>
                        <a:lnTo>
                          <a:pt x="242" y="92"/>
                        </a:lnTo>
                        <a:lnTo>
                          <a:pt x="235" y="93"/>
                        </a:lnTo>
                        <a:lnTo>
                          <a:pt x="234" y="95"/>
                        </a:lnTo>
                        <a:lnTo>
                          <a:pt x="229" y="95"/>
                        </a:lnTo>
                        <a:lnTo>
                          <a:pt x="227" y="100"/>
                        </a:lnTo>
                        <a:lnTo>
                          <a:pt x="225" y="100"/>
                        </a:lnTo>
                        <a:lnTo>
                          <a:pt x="225" y="97"/>
                        </a:lnTo>
                        <a:lnTo>
                          <a:pt x="220" y="97"/>
                        </a:lnTo>
                        <a:lnTo>
                          <a:pt x="225" y="92"/>
                        </a:lnTo>
                        <a:lnTo>
                          <a:pt x="220" y="92"/>
                        </a:lnTo>
                        <a:lnTo>
                          <a:pt x="222" y="87"/>
                        </a:lnTo>
                        <a:lnTo>
                          <a:pt x="229" y="85"/>
                        </a:lnTo>
                        <a:lnTo>
                          <a:pt x="222" y="83"/>
                        </a:lnTo>
                        <a:lnTo>
                          <a:pt x="225" y="78"/>
                        </a:lnTo>
                        <a:lnTo>
                          <a:pt x="229" y="80"/>
                        </a:lnTo>
                        <a:lnTo>
                          <a:pt x="229" y="77"/>
                        </a:lnTo>
                        <a:lnTo>
                          <a:pt x="235" y="77"/>
                        </a:lnTo>
                        <a:lnTo>
                          <a:pt x="237" y="80"/>
                        </a:lnTo>
                        <a:lnTo>
                          <a:pt x="240" y="82"/>
                        </a:lnTo>
                        <a:lnTo>
                          <a:pt x="240" y="87"/>
                        </a:lnTo>
                        <a:lnTo>
                          <a:pt x="240" y="87"/>
                        </a:lnTo>
                        <a:close/>
                        <a:moveTo>
                          <a:pt x="242" y="73"/>
                        </a:moveTo>
                        <a:lnTo>
                          <a:pt x="247" y="73"/>
                        </a:lnTo>
                        <a:lnTo>
                          <a:pt x="249" y="70"/>
                        </a:lnTo>
                        <a:lnTo>
                          <a:pt x="254" y="70"/>
                        </a:lnTo>
                        <a:lnTo>
                          <a:pt x="257" y="67"/>
                        </a:lnTo>
                        <a:lnTo>
                          <a:pt x="260" y="70"/>
                        </a:lnTo>
                        <a:lnTo>
                          <a:pt x="257" y="75"/>
                        </a:lnTo>
                        <a:lnTo>
                          <a:pt x="257" y="77"/>
                        </a:lnTo>
                        <a:lnTo>
                          <a:pt x="250" y="77"/>
                        </a:lnTo>
                        <a:lnTo>
                          <a:pt x="245" y="78"/>
                        </a:lnTo>
                        <a:lnTo>
                          <a:pt x="242" y="73"/>
                        </a:lnTo>
                        <a:lnTo>
                          <a:pt x="242" y="73"/>
                        </a:lnTo>
                        <a:close/>
                        <a:moveTo>
                          <a:pt x="260" y="48"/>
                        </a:moveTo>
                        <a:lnTo>
                          <a:pt x="260" y="47"/>
                        </a:lnTo>
                        <a:lnTo>
                          <a:pt x="264" y="45"/>
                        </a:lnTo>
                        <a:lnTo>
                          <a:pt x="260" y="48"/>
                        </a:lnTo>
                        <a:lnTo>
                          <a:pt x="260" y="48"/>
                        </a:lnTo>
                        <a:close/>
                        <a:moveTo>
                          <a:pt x="252" y="58"/>
                        </a:moveTo>
                        <a:lnTo>
                          <a:pt x="252" y="52"/>
                        </a:lnTo>
                        <a:lnTo>
                          <a:pt x="259" y="52"/>
                        </a:lnTo>
                        <a:lnTo>
                          <a:pt x="259" y="53"/>
                        </a:lnTo>
                        <a:lnTo>
                          <a:pt x="259" y="53"/>
                        </a:lnTo>
                        <a:lnTo>
                          <a:pt x="252" y="58"/>
                        </a:lnTo>
                        <a:lnTo>
                          <a:pt x="252" y="58"/>
                        </a:lnTo>
                        <a:close/>
                        <a:moveTo>
                          <a:pt x="269" y="65"/>
                        </a:moveTo>
                        <a:lnTo>
                          <a:pt x="270" y="60"/>
                        </a:lnTo>
                        <a:lnTo>
                          <a:pt x="272" y="63"/>
                        </a:lnTo>
                        <a:lnTo>
                          <a:pt x="269" y="65"/>
                        </a:lnTo>
                        <a:lnTo>
                          <a:pt x="269" y="65"/>
                        </a:lnTo>
                        <a:close/>
                        <a:moveTo>
                          <a:pt x="265" y="65"/>
                        </a:moveTo>
                        <a:lnTo>
                          <a:pt x="264" y="67"/>
                        </a:lnTo>
                        <a:lnTo>
                          <a:pt x="260" y="67"/>
                        </a:lnTo>
                        <a:lnTo>
                          <a:pt x="255" y="60"/>
                        </a:lnTo>
                        <a:lnTo>
                          <a:pt x="262" y="55"/>
                        </a:lnTo>
                        <a:lnTo>
                          <a:pt x="264" y="57"/>
                        </a:lnTo>
                        <a:lnTo>
                          <a:pt x="269" y="57"/>
                        </a:lnTo>
                        <a:lnTo>
                          <a:pt x="269" y="58"/>
                        </a:lnTo>
                        <a:lnTo>
                          <a:pt x="265" y="60"/>
                        </a:lnTo>
                        <a:lnTo>
                          <a:pt x="265" y="65"/>
                        </a:lnTo>
                        <a:lnTo>
                          <a:pt x="265" y="65"/>
                        </a:lnTo>
                        <a:close/>
                        <a:moveTo>
                          <a:pt x="279" y="53"/>
                        </a:moveTo>
                        <a:lnTo>
                          <a:pt x="277" y="55"/>
                        </a:lnTo>
                        <a:lnTo>
                          <a:pt x="270" y="53"/>
                        </a:lnTo>
                        <a:lnTo>
                          <a:pt x="270" y="50"/>
                        </a:lnTo>
                        <a:lnTo>
                          <a:pt x="269" y="43"/>
                        </a:lnTo>
                        <a:lnTo>
                          <a:pt x="272" y="42"/>
                        </a:lnTo>
                        <a:lnTo>
                          <a:pt x="272" y="48"/>
                        </a:lnTo>
                        <a:lnTo>
                          <a:pt x="277" y="52"/>
                        </a:lnTo>
                        <a:lnTo>
                          <a:pt x="279" y="53"/>
                        </a:lnTo>
                        <a:lnTo>
                          <a:pt x="279" y="53"/>
                        </a:lnTo>
                        <a:close/>
                        <a:moveTo>
                          <a:pt x="292" y="60"/>
                        </a:moveTo>
                        <a:lnTo>
                          <a:pt x="289" y="57"/>
                        </a:lnTo>
                        <a:lnTo>
                          <a:pt x="285" y="55"/>
                        </a:lnTo>
                        <a:lnTo>
                          <a:pt x="285" y="48"/>
                        </a:lnTo>
                        <a:lnTo>
                          <a:pt x="289" y="45"/>
                        </a:lnTo>
                        <a:lnTo>
                          <a:pt x="294" y="48"/>
                        </a:lnTo>
                        <a:lnTo>
                          <a:pt x="292" y="53"/>
                        </a:lnTo>
                        <a:lnTo>
                          <a:pt x="294" y="57"/>
                        </a:lnTo>
                        <a:lnTo>
                          <a:pt x="292" y="60"/>
                        </a:lnTo>
                        <a:lnTo>
                          <a:pt x="292" y="60"/>
                        </a:lnTo>
                        <a:close/>
                        <a:moveTo>
                          <a:pt x="328" y="43"/>
                        </a:moveTo>
                        <a:lnTo>
                          <a:pt x="323" y="42"/>
                        </a:lnTo>
                        <a:lnTo>
                          <a:pt x="318" y="40"/>
                        </a:lnTo>
                        <a:lnTo>
                          <a:pt x="322" y="37"/>
                        </a:lnTo>
                        <a:lnTo>
                          <a:pt x="327" y="37"/>
                        </a:lnTo>
                        <a:lnTo>
                          <a:pt x="328" y="40"/>
                        </a:lnTo>
                        <a:lnTo>
                          <a:pt x="328" y="43"/>
                        </a:lnTo>
                        <a:lnTo>
                          <a:pt x="328" y="43"/>
                        </a:lnTo>
                        <a:close/>
                        <a:moveTo>
                          <a:pt x="335" y="40"/>
                        </a:moveTo>
                        <a:lnTo>
                          <a:pt x="328" y="33"/>
                        </a:lnTo>
                        <a:lnTo>
                          <a:pt x="338" y="27"/>
                        </a:lnTo>
                        <a:lnTo>
                          <a:pt x="338" y="32"/>
                        </a:lnTo>
                        <a:lnTo>
                          <a:pt x="335" y="37"/>
                        </a:lnTo>
                        <a:lnTo>
                          <a:pt x="335" y="40"/>
                        </a:lnTo>
                        <a:lnTo>
                          <a:pt x="335" y="40"/>
                        </a:lnTo>
                        <a:close/>
                        <a:moveTo>
                          <a:pt x="323" y="32"/>
                        </a:moveTo>
                        <a:lnTo>
                          <a:pt x="320" y="33"/>
                        </a:lnTo>
                        <a:lnTo>
                          <a:pt x="314" y="30"/>
                        </a:lnTo>
                        <a:lnTo>
                          <a:pt x="312" y="27"/>
                        </a:lnTo>
                        <a:lnTo>
                          <a:pt x="315" y="27"/>
                        </a:lnTo>
                        <a:lnTo>
                          <a:pt x="320" y="23"/>
                        </a:lnTo>
                        <a:lnTo>
                          <a:pt x="322" y="27"/>
                        </a:lnTo>
                        <a:lnTo>
                          <a:pt x="325" y="23"/>
                        </a:lnTo>
                        <a:lnTo>
                          <a:pt x="328" y="23"/>
                        </a:lnTo>
                        <a:lnTo>
                          <a:pt x="335" y="18"/>
                        </a:lnTo>
                        <a:lnTo>
                          <a:pt x="337" y="20"/>
                        </a:lnTo>
                        <a:lnTo>
                          <a:pt x="323" y="32"/>
                        </a:lnTo>
                        <a:lnTo>
                          <a:pt x="323" y="32"/>
                        </a:lnTo>
                        <a:close/>
                        <a:moveTo>
                          <a:pt x="338" y="23"/>
                        </a:moveTo>
                        <a:lnTo>
                          <a:pt x="338" y="23"/>
                        </a:lnTo>
                        <a:lnTo>
                          <a:pt x="345" y="20"/>
                        </a:lnTo>
                        <a:lnTo>
                          <a:pt x="352" y="25"/>
                        </a:lnTo>
                        <a:lnTo>
                          <a:pt x="350" y="28"/>
                        </a:lnTo>
                        <a:lnTo>
                          <a:pt x="343" y="30"/>
                        </a:lnTo>
                        <a:lnTo>
                          <a:pt x="343" y="27"/>
                        </a:lnTo>
                        <a:lnTo>
                          <a:pt x="338" y="23"/>
                        </a:lnTo>
                        <a:lnTo>
                          <a:pt x="338" y="23"/>
                        </a:lnTo>
                        <a:close/>
                        <a:moveTo>
                          <a:pt x="352" y="12"/>
                        </a:moveTo>
                        <a:lnTo>
                          <a:pt x="350" y="15"/>
                        </a:lnTo>
                        <a:lnTo>
                          <a:pt x="348" y="15"/>
                        </a:lnTo>
                        <a:lnTo>
                          <a:pt x="345" y="10"/>
                        </a:lnTo>
                        <a:lnTo>
                          <a:pt x="350" y="10"/>
                        </a:lnTo>
                        <a:lnTo>
                          <a:pt x="352" y="12"/>
                        </a:lnTo>
                        <a:lnTo>
                          <a:pt x="352" y="12"/>
                        </a:lnTo>
                        <a:close/>
                        <a:moveTo>
                          <a:pt x="363" y="5"/>
                        </a:moveTo>
                        <a:lnTo>
                          <a:pt x="360" y="5"/>
                        </a:lnTo>
                        <a:lnTo>
                          <a:pt x="362" y="2"/>
                        </a:lnTo>
                        <a:lnTo>
                          <a:pt x="365" y="2"/>
                        </a:lnTo>
                        <a:lnTo>
                          <a:pt x="363" y="5"/>
                        </a:lnTo>
                        <a:lnTo>
                          <a:pt x="363" y="5"/>
                        </a:lnTo>
                        <a:close/>
                        <a:moveTo>
                          <a:pt x="370" y="8"/>
                        </a:moveTo>
                        <a:lnTo>
                          <a:pt x="370" y="5"/>
                        </a:lnTo>
                        <a:lnTo>
                          <a:pt x="372" y="3"/>
                        </a:lnTo>
                        <a:lnTo>
                          <a:pt x="375" y="5"/>
                        </a:lnTo>
                        <a:lnTo>
                          <a:pt x="377" y="3"/>
                        </a:lnTo>
                        <a:lnTo>
                          <a:pt x="377" y="0"/>
                        </a:lnTo>
                        <a:lnTo>
                          <a:pt x="380" y="2"/>
                        </a:lnTo>
                        <a:lnTo>
                          <a:pt x="385" y="3"/>
                        </a:lnTo>
                        <a:lnTo>
                          <a:pt x="382" y="7"/>
                        </a:lnTo>
                        <a:lnTo>
                          <a:pt x="387" y="7"/>
                        </a:lnTo>
                        <a:lnTo>
                          <a:pt x="385" y="12"/>
                        </a:lnTo>
                        <a:lnTo>
                          <a:pt x="380" y="12"/>
                        </a:lnTo>
                        <a:lnTo>
                          <a:pt x="375" y="8"/>
                        </a:lnTo>
                        <a:lnTo>
                          <a:pt x="370" y="8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18" name="Google Shape;3065;p98">
                    <a:extLst>
                      <a:ext uri="{FF2B5EF4-FFF2-40B4-BE49-F238E27FC236}">
                        <a16:creationId xmlns:a16="http://schemas.microsoft.com/office/drawing/2014/main" id="{19A4D1D0-7BA2-409F-C15A-327CE9749EC2}"/>
                      </a:ext>
                    </a:extLst>
                  </p:cNvPr>
                  <p:cNvSpPr/>
                  <p:nvPr/>
                </p:nvSpPr>
                <p:spPr>
                  <a:xfrm>
                    <a:off x="6535952" y="2305795"/>
                    <a:ext cx="129500" cy="25732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3" h="495" extrusionOk="0">
                        <a:moveTo>
                          <a:pt x="3" y="378"/>
                        </a:moveTo>
                        <a:lnTo>
                          <a:pt x="7" y="380"/>
                        </a:lnTo>
                        <a:lnTo>
                          <a:pt x="10" y="383"/>
                        </a:lnTo>
                        <a:lnTo>
                          <a:pt x="12" y="380"/>
                        </a:lnTo>
                        <a:lnTo>
                          <a:pt x="12" y="367"/>
                        </a:lnTo>
                        <a:lnTo>
                          <a:pt x="8" y="360"/>
                        </a:lnTo>
                        <a:lnTo>
                          <a:pt x="10" y="357"/>
                        </a:lnTo>
                        <a:lnTo>
                          <a:pt x="13" y="355"/>
                        </a:lnTo>
                        <a:lnTo>
                          <a:pt x="10" y="350"/>
                        </a:lnTo>
                        <a:lnTo>
                          <a:pt x="12" y="348"/>
                        </a:lnTo>
                        <a:lnTo>
                          <a:pt x="20" y="347"/>
                        </a:lnTo>
                        <a:lnTo>
                          <a:pt x="22" y="343"/>
                        </a:lnTo>
                        <a:lnTo>
                          <a:pt x="22" y="340"/>
                        </a:lnTo>
                        <a:lnTo>
                          <a:pt x="25" y="332"/>
                        </a:lnTo>
                        <a:lnTo>
                          <a:pt x="22" y="328"/>
                        </a:lnTo>
                        <a:lnTo>
                          <a:pt x="20" y="318"/>
                        </a:lnTo>
                        <a:lnTo>
                          <a:pt x="15" y="310"/>
                        </a:lnTo>
                        <a:lnTo>
                          <a:pt x="15" y="307"/>
                        </a:lnTo>
                        <a:lnTo>
                          <a:pt x="27" y="303"/>
                        </a:lnTo>
                        <a:lnTo>
                          <a:pt x="27" y="295"/>
                        </a:lnTo>
                        <a:lnTo>
                          <a:pt x="28" y="292"/>
                        </a:lnTo>
                        <a:lnTo>
                          <a:pt x="20" y="282"/>
                        </a:lnTo>
                        <a:lnTo>
                          <a:pt x="13" y="280"/>
                        </a:lnTo>
                        <a:lnTo>
                          <a:pt x="13" y="272"/>
                        </a:lnTo>
                        <a:lnTo>
                          <a:pt x="15" y="264"/>
                        </a:lnTo>
                        <a:lnTo>
                          <a:pt x="13" y="254"/>
                        </a:lnTo>
                        <a:lnTo>
                          <a:pt x="10" y="249"/>
                        </a:lnTo>
                        <a:lnTo>
                          <a:pt x="13" y="242"/>
                        </a:lnTo>
                        <a:lnTo>
                          <a:pt x="12" y="230"/>
                        </a:lnTo>
                        <a:lnTo>
                          <a:pt x="10" y="219"/>
                        </a:lnTo>
                        <a:lnTo>
                          <a:pt x="12" y="209"/>
                        </a:lnTo>
                        <a:lnTo>
                          <a:pt x="17" y="201"/>
                        </a:lnTo>
                        <a:lnTo>
                          <a:pt x="22" y="197"/>
                        </a:lnTo>
                        <a:lnTo>
                          <a:pt x="28" y="199"/>
                        </a:lnTo>
                        <a:lnTo>
                          <a:pt x="37" y="199"/>
                        </a:lnTo>
                        <a:lnTo>
                          <a:pt x="40" y="194"/>
                        </a:lnTo>
                        <a:lnTo>
                          <a:pt x="40" y="186"/>
                        </a:lnTo>
                        <a:lnTo>
                          <a:pt x="38" y="182"/>
                        </a:lnTo>
                        <a:lnTo>
                          <a:pt x="38" y="177"/>
                        </a:lnTo>
                        <a:lnTo>
                          <a:pt x="47" y="159"/>
                        </a:lnTo>
                        <a:lnTo>
                          <a:pt x="47" y="149"/>
                        </a:lnTo>
                        <a:lnTo>
                          <a:pt x="48" y="139"/>
                        </a:lnTo>
                        <a:lnTo>
                          <a:pt x="52" y="134"/>
                        </a:lnTo>
                        <a:lnTo>
                          <a:pt x="52" y="127"/>
                        </a:lnTo>
                        <a:lnTo>
                          <a:pt x="48" y="124"/>
                        </a:lnTo>
                        <a:lnTo>
                          <a:pt x="48" y="119"/>
                        </a:lnTo>
                        <a:lnTo>
                          <a:pt x="55" y="116"/>
                        </a:lnTo>
                        <a:lnTo>
                          <a:pt x="63" y="114"/>
                        </a:lnTo>
                        <a:lnTo>
                          <a:pt x="68" y="111"/>
                        </a:lnTo>
                        <a:lnTo>
                          <a:pt x="68" y="106"/>
                        </a:lnTo>
                        <a:lnTo>
                          <a:pt x="75" y="96"/>
                        </a:lnTo>
                        <a:lnTo>
                          <a:pt x="81" y="88"/>
                        </a:lnTo>
                        <a:lnTo>
                          <a:pt x="83" y="83"/>
                        </a:lnTo>
                        <a:lnTo>
                          <a:pt x="81" y="76"/>
                        </a:lnTo>
                        <a:lnTo>
                          <a:pt x="78" y="73"/>
                        </a:lnTo>
                        <a:lnTo>
                          <a:pt x="78" y="63"/>
                        </a:lnTo>
                        <a:lnTo>
                          <a:pt x="81" y="61"/>
                        </a:lnTo>
                        <a:lnTo>
                          <a:pt x="85" y="58"/>
                        </a:lnTo>
                        <a:lnTo>
                          <a:pt x="85" y="53"/>
                        </a:lnTo>
                        <a:lnTo>
                          <a:pt x="88" y="51"/>
                        </a:lnTo>
                        <a:lnTo>
                          <a:pt x="93" y="44"/>
                        </a:lnTo>
                        <a:lnTo>
                          <a:pt x="98" y="39"/>
                        </a:lnTo>
                        <a:lnTo>
                          <a:pt x="103" y="43"/>
                        </a:lnTo>
                        <a:lnTo>
                          <a:pt x="105" y="44"/>
                        </a:lnTo>
                        <a:lnTo>
                          <a:pt x="108" y="44"/>
                        </a:lnTo>
                        <a:lnTo>
                          <a:pt x="111" y="41"/>
                        </a:lnTo>
                        <a:lnTo>
                          <a:pt x="110" y="36"/>
                        </a:lnTo>
                        <a:lnTo>
                          <a:pt x="111" y="34"/>
                        </a:lnTo>
                        <a:lnTo>
                          <a:pt x="111" y="31"/>
                        </a:lnTo>
                        <a:lnTo>
                          <a:pt x="113" y="29"/>
                        </a:lnTo>
                        <a:lnTo>
                          <a:pt x="110" y="24"/>
                        </a:lnTo>
                        <a:lnTo>
                          <a:pt x="111" y="23"/>
                        </a:lnTo>
                        <a:lnTo>
                          <a:pt x="118" y="23"/>
                        </a:lnTo>
                        <a:lnTo>
                          <a:pt x="125" y="19"/>
                        </a:lnTo>
                        <a:lnTo>
                          <a:pt x="131" y="23"/>
                        </a:lnTo>
                        <a:lnTo>
                          <a:pt x="136" y="24"/>
                        </a:lnTo>
                        <a:lnTo>
                          <a:pt x="143" y="26"/>
                        </a:lnTo>
                        <a:lnTo>
                          <a:pt x="146" y="28"/>
                        </a:lnTo>
                        <a:lnTo>
                          <a:pt x="148" y="28"/>
                        </a:lnTo>
                        <a:lnTo>
                          <a:pt x="150" y="28"/>
                        </a:lnTo>
                        <a:lnTo>
                          <a:pt x="150" y="23"/>
                        </a:lnTo>
                        <a:lnTo>
                          <a:pt x="148" y="19"/>
                        </a:lnTo>
                        <a:lnTo>
                          <a:pt x="148" y="13"/>
                        </a:lnTo>
                        <a:lnTo>
                          <a:pt x="153" y="11"/>
                        </a:lnTo>
                        <a:lnTo>
                          <a:pt x="151" y="6"/>
                        </a:lnTo>
                        <a:lnTo>
                          <a:pt x="148" y="4"/>
                        </a:lnTo>
                        <a:lnTo>
                          <a:pt x="146" y="0"/>
                        </a:lnTo>
                        <a:lnTo>
                          <a:pt x="153" y="1"/>
                        </a:lnTo>
                        <a:lnTo>
                          <a:pt x="158" y="1"/>
                        </a:lnTo>
                        <a:lnTo>
                          <a:pt x="160" y="0"/>
                        </a:lnTo>
                        <a:lnTo>
                          <a:pt x="163" y="4"/>
                        </a:lnTo>
                        <a:lnTo>
                          <a:pt x="170" y="6"/>
                        </a:lnTo>
                        <a:lnTo>
                          <a:pt x="178" y="16"/>
                        </a:lnTo>
                        <a:lnTo>
                          <a:pt x="184" y="19"/>
                        </a:lnTo>
                        <a:lnTo>
                          <a:pt x="194" y="21"/>
                        </a:lnTo>
                        <a:lnTo>
                          <a:pt x="198" y="23"/>
                        </a:lnTo>
                        <a:lnTo>
                          <a:pt x="201" y="24"/>
                        </a:lnTo>
                        <a:lnTo>
                          <a:pt x="206" y="28"/>
                        </a:lnTo>
                        <a:lnTo>
                          <a:pt x="208" y="33"/>
                        </a:lnTo>
                        <a:lnTo>
                          <a:pt x="209" y="33"/>
                        </a:lnTo>
                        <a:lnTo>
                          <a:pt x="211" y="33"/>
                        </a:lnTo>
                        <a:lnTo>
                          <a:pt x="216" y="38"/>
                        </a:lnTo>
                        <a:lnTo>
                          <a:pt x="219" y="38"/>
                        </a:lnTo>
                        <a:lnTo>
                          <a:pt x="221" y="41"/>
                        </a:lnTo>
                        <a:lnTo>
                          <a:pt x="219" y="44"/>
                        </a:lnTo>
                        <a:lnTo>
                          <a:pt x="221" y="51"/>
                        </a:lnTo>
                        <a:lnTo>
                          <a:pt x="219" y="56"/>
                        </a:lnTo>
                        <a:lnTo>
                          <a:pt x="219" y="61"/>
                        </a:lnTo>
                        <a:lnTo>
                          <a:pt x="226" y="61"/>
                        </a:lnTo>
                        <a:lnTo>
                          <a:pt x="228" y="66"/>
                        </a:lnTo>
                        <a:lnTo>
                          <a:pt x="224" y="69"/>
                        </a:lnTo>
                        <a:lnTo>
                          <a:pt x="226" y="76"/>
                        </a:lnTo>
                        <a:lnTo>
                          <a:pt x="228" y="79"/>
                        </a:lnTo>
                        <a:lnTo>
                          <a:pt x="229" y="88"/>
                        </a:lnTo>
                        <a:lnTo>
                          <a:pt x="229" y="91"/>
                        </a:lnTo>
                        <a:lnTo>
                          <a:pt x="229" y="94"/>
                        </a:lnTo>
                        <a:lnTo>
                          <a:pt x="229" y="102"/>
                        </a:lnTo>
                        <a:lnTo>
                          <a:pt x="228" y="106"/>
                        </a:lnTo>
                        <a:lnTo>
                          <a:pt x="231" y="112"/>
                        </a:lnTo>
                        <a:lnTo>
                          <a:pt x="234" y="112"/>
                        </a:lnTo>
                        <a:lnTo>
                          <a:pt x="239" y="121"/>
                        </a:lnTo>
                        <a:lnTo>
                          <a:pt x="243" y="124"/>
                        </a:lnTo>
                        <a:lnTo>
                          <a:pt x="241" y="129"/>
                        </a:lnTo>
                        <a:lnTo>
                          <a:pt x="241" y="129"/>
                        </a:lnTo>
                        <a:lnTo>
                          <a:pt x="238" y="131"/>
                        </a:lnTo>
                        <a:lnTo>
                          <a:pt x="234" y="131"/>
                        </a:lnTo>
                        <a:lnTo>
                          <a:pt x="231" y="127"/>
                        </a:lnTo>
                        <a:lnTo>
                          <a:pt x="226" y="131"/>
                        </a:lnTo>
                        <a:lnTo>
                          <a:pt x="221" y="129"/>
                        </a:lnTo>
                        <a:lnTo>
                          <a:pt x="219" y="132"/>
                        </a:lnTo>
                        <a:lnTo>
                          <a:pt x="216" y="131"/>
                        </a:lnTo>
                        <a:lnTo>
                          <a:pt x="214" y="127"/>
                        </a:lnTo>
                        <a:lnTo>
                          <a:pt x="209" y="131"/>
                        </a:lnTo>
                        <a:lnTo>
                          <a:pt x="206" y="126"/>
                        </a:lnTo>
                        <a:lnTo>
                          <a:pt x="204" y="129"/>
                        </a:lnTo>
                        <a:lnTo>
                          <a:pt x="204" y="132"/>
                        </a:lnTo>
                        <a:lnTo>
                          <a:pt x="203" y="136"/>
                        </a:lnTo>
                        <a:lnTo>
                          <a:pt x="198" y="137"/>
                        </a:lnTo>
                        <a:lnTo>
                          <a:pt x="196" y="134"/>
                        </a:lnTo>
                        <a:lnTo>
                          <a:pt x="193" y="134"/>
                        </a:lnTo>
                        <a:lnTo>
                          <a:pt x="196" y="139"/>
                        </a:lnTo>
                        <a:lnTo>
                          <a:pt x="199" y="141"/>
                        </a:lnTo>
                        <a:lnTo>
                          <a:pt x="196" y="144"/>
                        </a:lnTo>
                        <a:lnTo>
                          <a:pt x="191" y="144"/>
                        </a:lnTo>
                        <a:lnTo>
                          <a:pt x="188" y="146"/>
                        </a:lnTo>
                        <a:lnTo>
                          <a:pt x="193" y="147"/>
                        </a:lnTo>
                        <a:lnTo>
                          <a:pt x="191" y="151"/>
                        </a:lnTo>
                        <a:lnTo>
                          <a:pt x="189" y="151"/>
                        </a:lnTo>
                        <a:lnTo>
                          <a:pt x="189" y="149"/>
                        </a:lnTo>
                        <a:lnTo>
                          <a:pt x="186" y="147"/>
                        </a:lnTo>
                        <a:lnTo>
                          <a:pt x="184" y="149"/>
                        </a:lnTo>
                        <a:lnTo>
                          <a:pt x="186" y="152"/>
                        </a:lnTo>
                        <a:lnTo>
                          <a:pt x="189" y="152"/>
                        </a:lnTo>
                        <a:lnTo>
                          <a:pt x="191" y="156"/>
                        </a:lnTo>
                        <a:lnTo>
                          <a:pt x="191" y="157"/>
                        </a:lnTo>
                        <a:lnTo>
                          <a:pt x="188" y="166"/>
                        </a:lnTo>
                        <a:lnTo>
                          <a:pt x="188" y="169"/>
                        </a:lnTo>
                        <a:lnTo>
                          <a:pt x="183" y="169"/>
                        </a:lnTo>
                        <a:lnTo>
                          <a:pt x="188" y="172"/>
                        </a:lnTo>
                        <a:lnTo>
                          <a:pt x="191" y="174"/>
                        </a:lnTo>
                        <a:lnTo>
                          <a:pt x="193" y="176"/>
                        </a:lnTo>
                        <a:lnTo>
                          <a:pt x="189" y="177"/>
                        </a:lnTo>
                        <a:lnTo>
                          <a:pt x="193" y="181"/>
                        </a:lnTo>
                        <a:lnTo>
                          <a:pt x="196" y="181"/>
                        </a:lnTo>
                        <a:lnTo>
                          <a:pt x="191" y="186"/>
                        </a:lnTo>
                        <a:lnTo>
                          <a:pt x="188" y="186"/>
                        </a:lnTo>
                        <a:lnTo>
                          <a:pt x="184" y="191"/>
                        </a:lnTo>
                        <a:lnTo>
                          <a:pt x="186" y="197"/>
                        </a:lnTo>
                        <a:lnTo>
                          <a:pt x="181" y="204"/>
                        </a:lnTo>
                        <a:lnTo>
                          <a:pt x="178" y="204"/>
                        </a:lnTo>
                        <a:lnTo>
                          <a:pt x="173" y="209"/>
                        </a:lnTo>
                        <a:lnTo>
                          <a:pt x="170" y="205"/>
                        </a:lnTo>
                        <a:lnTo>
                          <a:pt x="170" y="209"/>
                        </a:lnTo>
                        <a:lnTo>
                          <a:pt x="171" y="214"/>
                        </a:lnTo>
                        <a:lnTo>
                          <a:pt x="165" y="217"/>
                        </a:lnTo>
                        <a:lnTo>
                          <a:pt x="163" y="220"/>
                        </a:lnTo>
                        <a:lnTo>
                          <a:pt x="160" y="220"/>
                        </a:lnTo>
                        <a:lnTo>
                          <a:pt x="160" y="217"/>
                        </a:lnTo>
                        <a:lnTo>
                          <a:pt x="156" y="217"/>
                        </a:lnTo>
                        <a:lnTo>
                          <a:pt x="153" y="222"/>
                        </a:lnTo>
                        <a:lnTo>
                          <a:pt x="153" y="227"/>
                        </a:lnTo>
                        <a:lnTo>
                          <a:pt x="150" y="229"/>
                        </a:lnTo>
                        <a:lnTo>
                          <a:pt x="148" y="227"/>
                        </a:lnTo>
                        <a:lnTo>
                          <a:pt x="146" y="227"/>
                        </a:lnTo>
                        <a:lnTo>
                          <a:pt x="145" y="232"/>
                        </a:lnTo>
                        <a:lnTo>
                          <a:pt x="143" y="232"/>
                        </a:lnTo>
                        <a:lnTo>
                          <a:pt x="141" y="229"/>
                        </a:lnTo>
                        <a:lnTo>
                          <a:pt x="138" y="232"/>
                        </a:lnTo>
                        <a:lnTo>
                          <a:pt x="136" y="235"/>
                        </a:lnTo>
                        <a:lnTo>
                          <a:pt x="140" y="237"/>
                        </a:lnTo>
                        <a:lnTo>
                          <a:pt x="140" y="239"/>
                        </a:lnTo>
                        <a:lnTo>
                          <a:pt x="133" y="244"/>
                        </a:lnTo>
                        <a:lnTo>
                          <a:pt x="128" y="244"/>
                        </a:lnTo>
                        <a:lnTo>
                          <a:pt x="126" y="245"/>
                        </a:lnTo>
                        <a:lnTo>
                          <a:pt x="128" y="250"/>
                        </a:lnTo>
                        <a:lnTo>
                          <a:pt x="125" y="255"/>
                        </a:lnTo>
                        <a:lnTo>
                          <a:pt x="118" y="255"/>
                        </a:lnTo>
                        <a:lnTo>
                          <a:pt x="115" y="255"/>
                        </a:lnTo>
                        <a:lnTo>
                          <a:pt x="120" y="260"/>
                        </a:lnTo>
                        <a:lnTo>
                          <a:pt x="120" y="267"/>
                        </a:lnTo>
                        <a:lnTo>
                          <a:pt x="120" y="269"/>
                        </a:lnTo>
                        <a:lnTo>
                          <a:pt x="120" y="274"/>
                        </a:lnTo>
                        <a:lnTo>
                          <a:pt x="118" y="280"/>
                        </a:lnTo>
                        <a:lnTo>
                          <a:pt x="121" y="284"/>
                        </a:lnTo>
                        <a:lnTo>
                          <a:pt x="121" y="287"/>
                        </a:lnTo>
                        <a:lnTo>
                          <a:pt x="118" y="285"/>
                        </a:lnTo>
                        <a:lnTo>
                          <a:pt x="118" y="287"/>
                        </a:lnTo>
                        <a:lnTo>
                          <a:pt x="120" y="292"/>
                        </a:lnTo>
                        <a:lnTo>
                          <a:pt x="115" y="297"/>
                        </a:lnTo>
                        <a:lnTo>
                          <a:pt x="120" y="299"/>
                        </a:lnTo>
                        <a:lnTo>
                          <a:pt x="120" y="300"/>
                        </a:lnTo>
                        <a:lnTo>
                          <a:pt x="116" y="302"/>
                        </a:lnTo>
                        <a:lnTo>
                          <a:pt x="120" y="307"/>
                        </a:lnTo>
                        <a:lnTo>
                          <a:pt x="116" y="310"/>
                        </a:lnTo>
                        <a:lnTo>
                          <a:pt x="118" y="313"/>
                        </a:lnTo>
                        <a:lnTo>
                          <a:pt x="121" y="317"/>
                        </a:lnTo>
                        <a:lnTo>
                          <a:pt x="125" y="317"/>
                        </a:lnTo>
                        <a:lnTo>
                          <a:pt x="125" y="322"/>
                        </a:lnTo>
                        <a:lnTo>
                          <a:pt x="126" y="320"/>
                        </a:lnTo>
                        <a:lnTo>
                          <a:pt x="130" y="323"/>
                        </a:lnTo>
                        <a:lnTo>
                          <a:pt x="133" y="320"/>
                        </a:lnTo>
                        <a:lnTo>
                          <a:pt x="136" y="322"/>
                        </a:lnTo>
                        <a:lnTo>
                          <a:pt x="138" y="325"/>
                        </a:lnTo>
                        <a:lnTo>
                          <a:pt x="146" y="332"/>
                        </a:lnTo>
                        <a:lnTo>
                          <a:pt x="145" y="333"/>
                        </a:lnTo>
                        <a:lnTo>
                          <a:pt x="153" y="338"/>
                        </a:lnTo>
                        <a:lnTo>
                          <a:pt x="153" y="342"/>
                        </a:lnTo>
                        <a:lnTo>
                          <a:pt x="158" y="345"/>
                        </a:lnTo>
                        <a:lnTo>
                          <a:pt x="155" y="352"/>
                        </a:lnTo>
                        <a:lnTo>
                          <a:pt x="148" y="358"/>
                        </a:lnTo>
                        <a:lnTo>
                          <a:pt x="146" y="362"/>
                        </a:lnTo>
                        <a:lnTo>
                          <a:pt x="140" y="363"/>
                        </a:lnTo>
                        <a:lnTo>
                          <a:pt x="136" y="362"/>
                        </a:lnTo>
                        <a:lnTo>
                          <a:pt x="136" y="358"/>
                        </a:lnTo>
                        <a:lnTo>
                          <a:pt x="131" y="357"/>
                        </a:lnTo>
                        <a:lnTo>
                          <a:pt x="128" y="355"/>
                        </a:lnTo>
                        <a:lnTo>
                          <a:pt x="128" y="358"/>
                        </a:lnTo>
                        <a:lnTo>
                          <a:pt x="125" y="358"/>
                        </a:lnTo>
                        <a:lnTo>
                          <a:pt x="123" y="357"/>
                        </a:lnTo>
                        <a:lnTo>
                          <a:pt x="120" y="355"/>
                        </a:lnTo>
                        <a:lnTo>
                          <a:pt x="118" y="358"/>
                        </a:lnTo>
                        <a:lnTo>
                          <a:pt x="113" y="358"/>
                        </a:lnTo>
                        <a:lnTo>
                          <a:pt x="111" y="357"/>
                        </a:lnTo>
                        <a:lnTo>
                          <a:pt x="108" y="362"/>
                        </a:lnTo>
                        <a:lnTo>
                          <a:pt x="105" y="360"/>
                        </a:lnTo>
                        <a:lnTo>
                          <a:pt x="101" y="360"/>
                        </a:lnTo>
                        <a:lnTo>
                          <a:pt x="101" y="362"/>
                        </a:lnTo>
                        <a:lnTo>
                          <a:pt x="108" y="363"/>
                        </a:lnTo>
                        <a:lnTo>
                          <a:pt x="110" y="365"/>
                        </a:lnTo>
                        <a:lnTo>
                          <a:pt x="111" y="362"/>
                        </a:lnTo>
                        <a:lnTo>
                          <a:pt x="116" y="362"/>
                        </a:lnTo>
                        <a:lnTo>
                          <a:pt x="120" y="363"/>
                        </a:lnTo>
                        <a:lnTo>
                          <a:pt x="125" y="365"/>
                        </a:lnTo>
                        <a:lnTo>
                          <a:pt x="128" y="368"/>
                        </a:lnTo>
                        <a:lnTo>
                          <a:pt x="133" y="367"/>
                        </a:lnTo>
                        <a:lnTo>
                          <a:pt x="135" y="368"/>
                        </a:lnTo>
                        <a:lnTo>
                          <a:pt x="140" y="365"/>
                        </a:lnTo>
                        <a:lnTo>
                          <a:pt x="145" y="367"/>
                        </a:lnTo>
                        <a:lnTo>
                          <a:pt x="148" y="370"/>
                        </a:lnTo>
                        <a:lnTo>
                          <a:pt x="148" y="373"/>
                        </a:lnTo>
                        <a:lnTo>
                          <a:pt x="145" y="377"/>
                        </a:lnTo>
                        <a:lnTo>
                          <a:pt x="141" y="377"/>
                        </a:lnTo>
                        <a:lnTo>
                          <a:pt x="138" y="382"/>
                        </a:lnTo>
                        <a:lnTo>
                          <a:pt x="135" y="382"/>
                        </a:lnTo>
                        <a:lnTo>
                          <a:pt x="136" y="378"/>
                        </a:lnTo>
                        <a:lnTo>
                          <a:pt x="135" y="375"/>
                        </a:lnTo>
                        <a:lnTo>
                          <a:pt x="131" y="378"/>
                        </a:lnTo>
                        <a:lnTo>
                          <a:pt x="133" y="380"/>
                        </a:lnTo>
                        <a:lnTo>
                          <a:pt x="130" y="382"/>
                        </a:lnTo>
                        <a:lnTo>
                          <a:pt x="126" y="385"/>
                        </a:lnTo>
                        <a:lnTo>
                          <a:pt x="126" y="388"/>
                        </a:lnTo>
                        <a:lnTo>
                          <a:pt x="121" y="387"/>
                        </a:lnTo>
                        <a:lnTo>
                          <a:pt x="121" y="388"/>
                        </a:lnTo>
                        <a:lnTo>
                          <a:pt x="120" y="392"/>
                        </a:lnTo>
                        <a:lnTo>
                          <a:pt x="118" y="390"/>
                        </a:lnTo>
                        <a:lnTo>
                          <a:pt x="116" y="390"/>
                        </a:lnTo>
                        <a:lnTo>
                          <a:pt x="113" y="393"/>
                        </a:lnTo>
                        <a:lnTo>
                          <a:pt x="116" y="393"/>
                        </a:lnTo>
                        <a:lnTo>
                          <a:pt x="121" y="398"/>
                        </a:lnTo>
                        <a:lnTo>
                          <a:pt x="113" y="398"/>
                        </a:lnTo>
                        <a:lnTo>
                          <a:pt x="120" y="400"/>
                        </a:lnTo>
                        <a:lnTo>
                          <a:pt x="120" y="403"/>
                        </a:lnTo>
                        <a:lnTo>
                          <a:pt x="118" y="408"/>
                        </a:lnTo>
                        <a:lnTo>
                          <a:pt x="123" y="413"/>
                        </a:lnTo>
                        <a:lnTo>
                          <a:pt x="118" y="413"/>
                        </a:lnTo>
                        <a:lnTo>
                          <a:pt x="111" y="411"/>
                        </a:lnTo>
                        <a:lnTo>
                          <a:pt x="115" y="416"/>
                        </a:lnTo>
                        <a:lnTo>
                          <a:pt x="113" y="420"/>
                        </a:lnTo>
                        <a:lnTo>
                          <a:pt x="118" y="423"/>
                        </a:lnTo>
                        <a:lnTo>
                          <a:pt x="113" y="426"/>
                        </a:lnTo>
                        <a:lnTo>
                          <a:pt x="118" y="431"/>
                        </a:lnTo>
                        <a:lnTo>
                          <a:pt x="113" y="435"/>
                        </a:lnTo>
                        <a:lnTo>
                          <a:pt x="113" y="440"/>
                        </a:lnTo>
                        <a:lnTo>
                          <a:pt x="116" y="443"/>
                        </a:lnTo>
                        <a:lnTo>
                          <a:pt x="115" y="446"/>
                        </a:lnTo>
                        <a:lnTo>
                          <a:pt x="115" y="456"/>
                        </a:lnTo>
                        <a:lnTo>
                          <a:pt x="110" y="460"/>
                        </a:lnTo>
                        <a:lnTo>
                          <a:pt x="108" y="470"/>
                        </a:lnTo>
                        <a:lnTo>
                          <a:pt x="103" y="475"/>
                        </a:lnTo>
                        <a:lnTo>
                          <a:pt x="100" y="471"/>
                        </a:lnTo>
                        <a:lnTo>
                          <a:pt x="96" y="470"/>
                        </a:lnTo>
                        <a:lnTo>
                          <a:pt x="91" y="473"/>
                        </a:lnTo>
                        <a:lnTo>
                          <a:pt x="81" y="471"/>
                        </a:lnTo>
                        <a:lnTo>
                          <a:pt x="81" y="468"/>
                        </a:lnTo>
                        <a:lnTo>
                          <a:pt x="80" y="475"/>
                        </a:lnTo>
                        <a:lnTo>
                          <a:pt x="72" y="476"/>
                        </a:lnTo>
                        <a:lnTo>
                          <a:pt x="68" y="483"/>
                        </a:lnTo>
                        <a:lnTo>
                          <a:pt x="72" y="485"/>
                        </a:lnTo>
                        <a:lnTo>
                          <a:pt x="72" y="490"/>
                        </a:lnTo>
                        <a:lnTo>
                          <a:pt x="67" y="493"/>
                        </a:lnTo>
                        <a:lnTo>
                          <a:pt x="60" y="491"/>
                        </a:lnTo>
                        <a:lnTo>
                          <a:pt x="48" y="495"/>
                        </a:lnTo>
                        <a:lnTo>
                          <a:pt x="43" y="495"/>
                        </a:lnTo>
                        <a:lnTo>
                          <a:pt x="42" y="491"/>
                        </a:lnTo>
                        <a:lnTo>
                          <a:pt x="43" y="488"/>
                        </a:lnTo>
                        <a:lnTo>
                          <a:pt x="42" y="478"/>
                        </a:lnTo>
                        <a:lnTo>
                          <a:pt x="37" y="476"/>
                        </a:lnTo>
                        <a:lnTo>
                          <a:pt x="37" y="471"/>
                        </a:lnTo>
                        <a:lnTo>
                          <a:pt x="33" y="470"/>
                        </a:lnTo>
                        <a:lnTo>
                          <a:pt x="33" y="468"/>
                        </a:lnTo>
                        <a:lnTo>
                          <a:pt x="40" y="468"/>
                        </a:lnTo>
                        <a:lnTo>
                          <a:pt x="43" y="461"/>
                        </a:lnTo>
                        <a:lnTo>
                          <a:pt x="42" y="456"/>
                        </a:lnTo>
                        <a:lnTo>
                          <a:pt x="37" y="458"/>
                        </a:lnTo>
                        <a:lnTo>
                          <a:pt x="32" y="455"/>
                        </a:lnTo>
                        <a:lnTo>
                          <a:pt x="30" y="450"/>
                        </a:lnTo>
                        <a:lnTo>
                          <a:pt x="25" y="448"/>
                        </a:lnTo>
                        <a:lnTo>
                          <a:pt x="25" y="443"/>
                        </a:lnTo>
                        <a:lnTo>
                          <a:pt x="20" y="435"/>
                        </a:lnTo>
                        <a:lnTo>
                          <a:pt x="18" y="433"/>
                        </a:lnTo>
                        <a:lnTo>
                          <a:pt x="17" y="426"/>
                        </a:lnTo>
                        <a:lnTo>
                          <a:pt x="12" y="426"/>
                        </a:lnTo>
                        <a:lnTo>
                          <a:pt x="10" y="423"/>
                        </a:lnTo>
                        <a:lnTo>
                          <a:pt x="12" y="420"/>
                        </a:lnTo>
                        <a:lnTo>
                          <a:pt x="12" y="416"/>
                        </a:lnTo>
                        <a:lnTo>
                          <a:pt x="10" y="411"/>
                        </a:lnTo>
                        <a:lnTo>
                          <a:pt x="12" y="408"/>
                        </a:lnTo>
                        <a:lnTo>
                          <a:pt x="17" y="405"/>
                        </a:lnTo>
                        <a:lnTo>
                          <a:pt x="15" y="403"/>
                        </a:lnTo>
                        <a:lnTo>
                          <a:pt x="12" y="401"/>
                        </a:lnTo>
                        <a:lnTo>
                          <a:pt x="12" y="398"/>
                        </a:lnTo>
                        <a:lnTo>
                          <a:pt x="10" y="398"/>
                        </a:lnTo>
                        <a:lnTo>
                          <a:pt x="10" y="401"/>
                        </a:lnTo>
                        <a:lnTo>
                          <a:pt x="13" y="405"/>
                        </a:lnTo>
                        <a:lnTo>
                          <a:pt x="7" y="406"/>
                        </a:lnTo>
                        <a:lnTo>
                          <a:pt x="8" y="403"/>
                        </a:lnTo>
                        <a:lnTo>
                          <a:pt x="7" y="401"/>
                        </a:lnTo>
                        <a:lnTo>
                          <a:pt x="3" y="400"/>
                        </a:lnTo>
                        <a:lnTo>
                          <a:pt x="3" y="392"/>
                        </a:lnTo>
                        <a:lnTo>
                          <a:pt x="0" y="390"/>
                        </a:lnTo>
                        <a:lnTo>
                          <a:pt x="0" y="380"/>
                        </a:lnTo>
                        <a:lnTo>
                          <a:pt x="3" y="378"/>
                        </a:lnTo>
                        <a:lnTo>
                          <a:pt x="3" y="378"/>
                        </a:lnTo>
                        <a:lnTo>
                          <a:pt x="3" y="378"/>
                        </a:lnTo>
                        <a:close/>
                        <a:moveTo>
                          <a:pt x="146" y="365"/>
                        </a:moveTo>
                        <a:lnTo>
                          <a:pt x="150" y="370"/>
                        </a:lnTo>
                        <a:lnTo>
                          <a:pt x="151" y="372"/>
                        </a:lnTo>
                        <a:lnTo>
                          <a:pt x="151" y="367"/>
                        </a:lnTo>
                        <a:lnTo>
                          <a:pt x="156" y="362"/>
                        </a:lnTo>
                        <a:lnTo>
                          <a:pt x="156" y="358"/>
                        </a:lnTo>
                        <a:lnTo>
                          <a:pt x="151" y="358"/>
                        </a:lnTo>
                        <a:lnTo>
                          <a:pt x="146" y="365"/>
                        </a:lnTo>
                        <a:lnTo>
                          <a:pt x="146" y="365"/>
                        </a:lnTo>
                        <a:close/>
                        <a:moveTo>
                          <a:pt x="7" y="408"/>
                        </a:moveTo>
                        <a:lnTo>
                          <a:pt x="7" y="411"/>
                        </a:lnTo>
                        <a:lnTo>
                          <a:pt x="8" y="411"/>
                        </a:lnTo>
                        <a:lnTo>
                          <a:pt x="10" y="408"/>
                        </a:lnTo>
                        <a:lnTo>
                          <a:pt x="7" y="408"/>
                        </a:lnTo>
                        <a:lnTo>
                          <a:pt x="7" y="408"/>
                        </a:lnTo>
                        <a:close/>
                        <a:moveTo>
                          <a:pt x="168" y="395"/>
                        </a:moveTo>
                        <a:lnTo>
                          <a:pt x="170" y="398"/>
                        </a:lnTo>
                        <a:lnTo>
                          <a:pt x="171" y="395"/>
                        </a:lnTo>
                        <a:lnTo>
                          <a:pt x="170" y="393"/>
                        </a:lnTo>
                        <a:lnTo>
                          <a:pt x="168" y="395"/>
                        </a:lnTo>
                        <a:lnTo>
                          <a:pt x="168" y="395"/>
                        </a:lnTo>
                        <a:close/>
                        <a:moveTo>
                          <a:pt x="170" y="415"/>
                        </a:moveTo>
                        <a:lnTo>
                          <a:pt x="171" y="416"/>
                        </a:lnTo>
                        <a:lnTo>
                          <a:pt x="173" y="415"/>
                        </a:lnTo>
                        <a:lnTo>
                          <a:pt x="178" y="413"/>
                        </a:lnTo>
                        <a:lnTo>
                          <a:pt x="176" y="413"/>
                        </a:lnTo>
                        <a:lnTo>
                          <a:pt x="171" y="413"/>
                        </a:lnTo>
                        <a:lnTo>
                          <a:pt x="170" y="415"/>
                        </a:lnTo>
                        <a:lnTo>
                          <a:pt x="170" y="415"/>
                        </a:lnTo>
                        <a:close/>
                        <a:moveTo>
                          <a:pt x="153" y="450"/>
                        </a:moveTo>
                        <a:lnTo>
                          <a:pt x="158" y="448"/>
                        </a:lnTo>
                        <a:lnTo>
                          <a:pt x="160" y="445"/>
                        </a:lnTo>
                        <a:lnTo>
                          <a:pt x="158" y="443"/>
                        </a:lnTo>
                        <a:lnTo>
                          <a:pt x="158" y="441"/>
                        </a:lnTo>
                        <a:lnTo>
                          <a:pt x="165" y="436"/>
                        </a:lnTo>
                        <a:lnTo>
                          <a:pt x="165" y="435"/>
                        </a:lnTo>
                        <a:lnTo>
                          <a:pt x="168" y="430"/>
                        </a:lnTo>
                        <a:lnTo>
                          <a:pt x="168" y="428"/>
                        </a:lnTo>
                        <a:lnTo>
                          <a:pt x="165" y="426"/>
                        </a:lnTo>
                        <a:lnTo>
                          <a:pt x="166" y="421"/>
                        </a:lnTo>
                        <a:lnTo>
                          <a:pt x="166" y="420"/>
                        </a:lnTo>
                        <a:lnTo>
                          <a:pt x="170" y="418"/>
                        </a:lnTo>
                        <a:lnTo>
                          <a:pt x="166" y="416"/>
                        </a:lnTo>
                        <a:lnTo>
                          <a:pt x="163" y="418"/>
                        </a:lnTo>
                        <a:lnTo>
                          <a:pt x="158" y="418"/>
                        </a:lnTo>
                        <a:lnTo>
                          <a:pt x="155" y="421"/>
                        </a:lnTo>
                        <a:lnTo>
                          <a:pt x="153" y="425"/>
                        </a:lnTo>
                        <a:lnTo>
                          <a:pt x="150" y="428"/>
                        </a:lnTo>
                        <a:lnTo>
                          <a:pt x="151" y="433"/>
                        </a:lnTo>
                        <a:lnTo>
                          <a:pt x="150" y="435"/>
                        </a:lnTo>
                        <a:lnTo>
                          <a:pt x="155" y="441"/>
                        </a:lnTo>
                        <a:lnTo>
                          <a:pt x="156" y="440"/>
                        </a:lnTo>
                        <a:lnTo>
                          <a:pt x="155" y="445"/>
                        </a:lnTo>
                        <a:lnTo>
                          <a:pt x="153" y="446"/>
                        </a:lnTo>
                        <a:lnTo>
                          <a:pt x="153" y="450"/>
                        </a:lnTo>
                        <a:lnTo>
                          <a:pt x="153" y="450"/>
                        </a:lnTo>
                        <a:close/>
                        <a:moveTo>
                          <a:pt x="116" y="461"/>
                        </a:moveTo>
                        <a:lnTo>
                          <a:pt x="116" y="466"/>
                        </a:lnTo>
                        <a:lnTo>
                          <a:pt x="116" y="470"/>
                        </a:lnTo>
                        <a:lnTo>
                          <a:pt x="118" y="471"/>
                        </a:lnTo>
                        <a:lnTo>
                          <a:pt x="120" y="466"/>
                        </a:lnTo>
                        <a:lnTo>
                          <a:pt x="123" y="460"/>
                        </a:lnTo>
                        <a:lnTo>
                          <a:pt x="125" y="453"/>
                        </a:lnTo>
                        <a:lnTo>
                          <a:pt x="126" y="445"/>
                        </a:lnTo>
                        <a:lnTo>
                          <a:pt x="128" y="438"/>
                        </a:lnTo>
                        <a:lnTo>
                          <a:pt x="125" y="436"/>
                        </a:lnTo>
                        <a:lnTo>
                          <a:pt x="121" y="440"/>
                        </a:lnTo>
                        <a:lnTo>
                          <a:pt x="123" y="443"/>
                        </a:lnTo>
                        <a:lnTo>
                          <a:pt x="121" y="448"/>
                        </a:lnTo>
                        <a:lnTo>
                          <a:pt x="118" y="450"/>
                        </a:lnTo>
                        <a:lnTo>
                          <a:pt x="116" y="461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19" name="Google Shape;3066;p98">
                    <a:extLst>
                      <a:ext uri="{FF2B5EF4-FFF2-40B4-BE49-F238E27FC236}">
                        <a16:creationId xmlns:a16="http://schemas.microsoft.com/office/drawing/2014/main" id="{B7A2F6F1-21A7-6AE6-37B4-CE9ABC121FBB}"/>
                      </a:ext>
                    </a:extLst>
                  </p:cNvPr>
                  <p:cNvSpPr/>
                  <p:nvPr/>
                </p:nvSpPr>
                <p:spPr>
                  <a:xfrm>
                    <a:off x="6621572" y="2280893"/>
                    <a:ext cx="129500" cy="20440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2" h="394" extrusionOk="0">
                        <a:moveTo>
                          <a:pt x="192" y="366"/>
                        </a:moveTo>
                        <a:lnTo>
                          <a:pt x="191" y="359"/>
                        </a:lnTo>
                        <a:lnTo>
                          <a:pt x="202" y="349"/>
                        </a:lnTo>
                        <a:lnTo>
                          <a:pt x="207" y="348"/>
                        </a:lnTo>
                        <a:lnTo>
                          <a:pt x="214" y="336"/>
                        </a:lnTo>
                        <a:lnTo>
                          <a:pt x="220" y="328"/>
                        </a:lnTo>
                        <a:lnTo>
                          <a:pt x="225" y="316"/>
                        </a:lnTo>
                        <a:lnTo>
                          <a:pt x="235" y="301"/>
                        </a:lnTo>
                        <a:lnTo>
                          <a:pt x="242" y="286"/>
                        </a:lnTo>
                        <a:lnTo>
                          <a:pt x="240" y="279"/>
                        </a:lnTo>
                        <a:lnTo>
                          <a:pt x="230" y="268"/>
                        </a:lnTo>
                        <a:lnTo>
                          <a:pt x="224" y="266"/>
                        </a:lnTo>
                        <a:lnTo>
                          <a:pt x="212" y="253"/>
                        </a:lnTo>
                        <a:lnTo>
                          <a:pt x="215" y="246"/>
                        </a:lnTo>
                        <a:lnTo>
                          <a:pt x="219" y="240"/>
                        </a:lnTo>
                        <a:lnTo>
                          <a:pt x="219" y="233"/>
                        </a:lnTo>
                        <a:lnTo>
                          <a:pt x="212" y="230"/>
                        </a:lnTo>
                        <a:lnTo>
                          <a:pt x="209" y="225"/>
                        </a:lnTo>
                        <a:lnTo>
                          <a:pt x="209" y="216"/>
                        </a:lnTo>
                        <a:lnTo>
                          <a:pt x="211" y="213"/>
                        </a:lnTo>
                        <a:lnTo>
                          <a:pt x="209" y="210"/>
                        </a:lnTo>
                        <a:lnTo>
                          <a:pt x="202" y="208"/>
                        </a:lnTo>
                        <a:lnTo>
                          <a:pt x="199" y="205"/>
                        </a:lnTo>
                        <a:lnTo>
                          <a:pt x="199" y="198"/>
                        </a:lnTo>
                        <a:lnTo>
                          <a:pt x="202" y="193"/>
                        </a:lnTo>
                        <a:lnTo>
                          <a:pt x="197" y="193"/>
                        </a:lnTo>
                        <a:lnTo>
                          <a:pt x="197" y="190"/>
                        </a:lnTo>
                        <a:lnTo>
                          <a:pt x="199" y="175"/>
                        </a:lnTo>
                        <a:lnTo>
                          <a:pt x="204" y="173"/>
                        </a:lnTo>
                        <a:lnTo>
                          <a:pt x="192" y="151"/>
                        </a:lnTo>
                        <a:lnTo>
                          <a:pt x="182" y="135"/>
                        </a:lnTo>
                        <a:lnTo>
                          <a:pt x="181" y="128"/>
                        </a:lnTo>
                        <a:lnTo>
                          <a:pt x="174" y="123"/>
                        </a:lnTo>
                        <a:lnTo>
                          <a:pt x="179" y="112"/>
                        </a:lnTo>
                        <a:lnTo>
                          <a:pt x="184" y="105"/>
                        </a:lnTo>
                        <a:lnTo>
                          <a:pt x="186" y="98"/>
                        </a:lnTo>
                        <a:lnTo>
                          <a:pt x="182" y="97"/>
                        </a:lnTo>
                        <a:lnTo>
                          <a:pt x="172" y="90"/>
                        </a:lnTo>
                        <a:lnTo>
                          <a:pt x="171" y="85"/>
                        </a:lnTo>
                        <a:lnTo>
                          <a:pt x="166" y="80"/>
                        </a:lnTo>
                        <a:lnTo>
                          <a:pt x="159" y="77"/>
                        </a:lnTo>
                        <a:lnTo>
                          <a:pt x="156" y="77"/>
                        </a:lnTo>
                        <a:lnTo>
                          <a:pt x="152" y="67"/>
                        </a:lnTo>
                        <a:lnTo>
                          <a:pt x="149" y="63"/>
                        </a:lnTo>
                        <a:lnTo>
                          <a:pt x="151" y="55"/>
                        </a:lnTo>
                        <a:lnTo>
                          <a:pt x="152" y="50"/>
                        </a:lnTo>
                        <a:lnTo>
                          <a:pt x="147" y="49"/>
                        </a:lnTo>
                        <a:lnTo>
                          <a:pt x="152" y="47"/>
                        </a:lnTo>
                        <a:lnTo>
                          <a:pt x="157" y="44"/>
                        </a:lnTo>
                        <a:lnTo>
                          <a:pt x="157" y="35"/>
                        </a:lnTo>
                        <a:lnTo>
                          <a:pt x="161" y="29"/>
                        </a:lnTo>
                        <a:lnTo>
                          <a:pt x="162" y="25"/>
                        </a:lnTo>
                        <a:lnTo>
                          <a:pt x="157" y="20"/>
                        </a:lnTo>
                        <a:lnTo>
                          <a:pt x="156" y="17"/>
                        </a:lnTo>
                        <a:lnTo>
                          <a:pt x="147" y="15"/>
                        </a:lnTo>
                        <a:lnTo>
                          <a:pt x="142" y="14"/>
                        </a:lnTo>
                        <a:lnTo>
                          <a:pt x="139" y="10"/>
                        </a:lnTo>
                        <a:lnTo>
                          <a:pt x="134" y="4"/>
                        </a:lnTo>
                        <a:lnTo>
                          <a:pt x="129" y="0"/>
                        </a:lnTo>
                        <a:lnTo>
                          <a:pt x="119" y="2"/>
                        </a:lnTo>
                        <a:lnTo>
                          <a:pt x="114" y="5"/>
                        </a:lnTo>
                        <a:lnTo>
                          <a:pt x="114" y="7"/>
                        </a:lnTo>
                        <a:lnTo>
                          <a:pt x="111" y="7"/>
                        </a:lnTo>
                        <a:lnTo>
                          <a:pt x="104" y="7"/>
                        </a:lnTo>
                        <a:lnTo>
                          <a:pt x="99" y="9"/>
                        </a:lnTo>
                        <a:lnTo>
                          <a:pt x="101" y="12"/>
                        </a:lnTo>
                        <a:lnTo>
                          <a:pt x="96" y="15"/>
                        </a:lnTo>
                        <a:lnTo>
                          <a:pt x="94" y="17"/>
                        </a:lnTo>
                        <a:lnTo>
                          <a:pt x="96" y="20"/>
                        </a:lnTo>
                        <a:lnTo>
                          <a:pt x="94" y="24"/>
                        </a:lnTo>
                        <a:lnTo>
                          <a:pt x="93" y="35"/>
                        </a:lnTo>
                        <a:lnTo>
                          <a:pt x="96" y="42"/>
                        </a:lnTo>
                        <a:lnTo>
                          <a:pt x="98" y="45"/>
                        </a:lnTo>
                        <a:lnTo>
                          <a:pt x="96" y="49"/>
                        </a:lnTo>
                        <a:lnTo>
                          <a:pt x="91" y="52"/>
                        </a:lnTo>
                        <a:lnTo>
                          <a:pt x="88" y="52"/>
                        </a:lnTo>
                        <a:lnTo>
                          <a:pt x="83" y="55"/>
                        </a:lnTo>
                        <a:lnTo>
                          <a:pt x="79" y="55"/>
                        </a:lnTo>
                        <a:lnTo>
                          <a:pt x="78" y="60"/>
                        </a:lnTo>
                        <a:lnTo>
                          <a:pt x="73" y="60"/>
                        </a:lnTo>
                        <a:lnTo>
                          <a:pt x="64" y="55"/>
                        </a:lnTo>
                        <a:lnTo>
                          <a:pt x="59" y="55"/>
                        </a:lnTo>
                        <a:lnTo>
                          <a:pt x="56" y="58"/>
                        </a:lnTo>
                        <a:lnTo>
                          <a:pt x="49" y="63"/>
                        </a:lnTo>
                        <a:lnTo>
                          <a:pt x="38" y="63"/>
                        </a:lnTo>
                        <a:lnTo>
                          <a:pt x="31" y="60"/>
                        </a:lnTo>
                        <a:lnTo>
                          <a:pt x="28" y="55"/>
                        </a:lnTo>
                        <a:lnTo>
                          <a:pt x="26" y="50"/>
                        </a:lnTo>
                        <a:lnTo>
                          <a:pt x="15" y="44"/>
                        </a:lnTo>
                        <a:lnTo>
                          <a:pt x="11" y="39"/>
                        </a:lnTo>
                        <a:lnTo>
                          <a:pt x="8" y="39"/>
                        </a:lnTo>
                        <a:lnTo>
                          <a:pt x="5" y="40"/>
                        </a:lnTo>
                        <a:lnTo>
                          <a:pt x="3" y="44"/>
                        </a:lnTo>
                        <a:lnTo>
                          <a:pt x="5" y="47"/>
                        </a:lnTo>
                        <a:lnTo>
                          <a:pt x="3" y="49"/>
                        </a:lnTo>
                        <a:lnTo>
                          <a:pt x="1" y="47"/>
                        </a:lnTo>
                        <a:lnTo>
                          <a:pt x="0" y="49"/>
                        </a:lnTo>
                        <a:lnTo>
                          <a:pt x="3" y="53"/>
                        </a:lnTo>
                        <a:lnTo>
                          <a:pt x="10" y="55"/>
                        </a:lnTo>
                        <a:lnTo>
                          <a:pt x="18" y="65"/>
                        </a:lnTo>
                        <a:lnTo>
                          <a:pt x="24" y="68"/>
                        </a:lnTo>
                        <a:lnTo>
                          <a:pt x="34" y="70"/>
                        </a:lnTo>
                        <a:lnTo>
                          <a:pt x="38" y="72"/>
                        </a:lnTo>
                        <a:lnTo>
                          <a:pt x="41" y="73"/>
                        </a:lnTo>
                        <a:lnTo>
                          <a:pt x="46" y="77"/>
                        </a:lnTo>
                        <a:lnTo>
                          <a:pt x="48" y="82"/>
                        </a:lnTo>
                        <a:lnTo>
                          <a:pt x="49" y="82"/>
                        </a:lnTo>
                        <a:lnTo>
                          <a:pt x="51" y="82"/>
                        </a:lnTo>
                        <a:lnTo>
                          <a:pt x="56" y="87"/>
                        </a:lnTo>
                        <a:lnTo>
                          <a:pt x="59" y="87"/>
                        </a:lnTo>
                        <a:lnTo>
                          <a:pt x="61" y="90"/>
                        </a:lnTo>
                        <a:lnTo>
                          <a:pt x="59" y="93"/>
                        </a:lnTo>
                        <a:lnTo>
                          <a:pt x="61" y="100"/>
                        </a:lnTo>
                        <a:lnTo>
                          <a:pt x="59" y="105"/>
                        </a:lnTo>
                        <a:lnTo>
                          <a:pt x="59" y="110"/>
                        </a:lnTo>
                        <a:lnTo>
                          <a:pt x="66" y="110"/>
                        </a:lnTo>
                        <a:lnTo>
                          <a:pt x="68" y="115"/>
                        </a:lnTo>
                        <a:lnTo>
                          <a:pt x="64" y="118"/>
                        </a:lnTo>
                        <a:lnTo>
                          <a:pt x="66" y="125"/>
                        </a:lnTo>
                        <a:lnTo>
                          <a:pt x="68" y="128"/>
                        </a:lnTo>
                        <a:lnTo>
                          <a:pt x="69" y="137"/>
                        </a:lnTo>
                        <a:lnTo>
                          <a:pt x="69" y="140"/>
                        </a:lnTo>
                        <a:lnTo>
                          <a:pt x="69" y="143"/>
                        </a:lnTo>
                        <a:lnTo>
                          <a:pt x="69" y="151"/>
                        </a:lnTo>
                        <a:lnTo>
                          <a:pt x="68" y="155"/>
                        </a:lnTo>
                        <a:lnTo>
                          <a:pt x="71" y="161"/>
                        </a:lnTo>
                        <a:lnTo>
                          <a:pt x="74" y="161"/>
                        </a:lnTo>
                        <a:lnTo>
                          <a:pt x="79" y="170"/>
                        </a:lnTo>
                        <a:lnTo>
                          <a:pt x="83" y="173"/>
                        </a:lnTo>
                        <a:lnTo>
                          <a:pt x="81" y="178"/>
                        </a:lnTo>
                        <a:lnTo>
                          <a:pt x="83" y="180"/>
                        </a:lnTo>
                        <a:lnTo>
                          <a:pt x="88" y="180"/>
                        </a:lnTo>
                        <a:lnTo>
                          <a:pt x="93" y="183"/>
                        </a:lnTo>
                        <a:lnTo>
                          <a:pt x="101" y="183"/>
                        </a:lnTo>
                        <a:lnTo>
                          <a:pt x="108" y="190"/>
                        </a:lnTo>
                        <a:lnTo>
                          <a:pt x="104" y="191"/>
                        </a:lnTo>
                        <a:lnTo>
                          <a:pt x="106" y="193"/>
                        </a:lnTo>
                        <a:lnTo>
                          <a:pt x="108" y="200"/>
                        </a:lnTo>
                        <a:lnTo>
                          <a:pt x="106" y="201"/>
                        </a:lnTo>
                        <a:lnTo>
                          <a:pt x="113" y="208"/>
                        </a:lnTo>
                        <a:lnTo>
                          <a:pt x="108" y="206"/>
                        </a:lnTo>
                        <a:lnTo>
                          <a:pt x="106" y="208"/>
                        </a:lnTo>
                        <a:lnTo>
                          <a:pt x="111" y="211"/>
                        </a:lnTo>
                        <a:lnTo>
                          <a:pt x="111" y="215"/>
                        </a:lnTo>
                        <a:lnTo>
                          <a:pt x="104" y="211"/>
                        </a:lnTo>
                        <a:lnTo>
                          <a:pt x="98" y="211"/>
                        </a:lnTo>
                        <a:lnTo>
                          <a:pt x="93" y="215"/>
                        </a:lnTo>
                        <a:lnTo>
                          <a:pt x="93" y="218"/>
                        </a:lnTo>
                        <a:lnTo>
                          <a:pt x="88" y="223"/>
                        </a:lnTo>
                        <a:lnTo>
                          <a:pt x="88" y="226"/>
                        </a:lnTo>
                        <a:lnTo>
                          <a:pt x="86" y="226"/>
                        </a:lnTo>
                        <a:lnTo>
                          <a:pt x="78" y="235"/>
                        </a:lnTo>
                        <a:lnTo>
                          <a:pt x="78" y="241"/>
                        </a:lnTo>
                        <a:lnTo>
                          <a:pt x="76" y="241"/>
                        </a:lnTo>
                        <a:lnTo>
                          <a:pt x="74" y="240"/>
                        </a:lnTo>
                        <a:lnTo>
                          <a:pt x="71" y="240"/>
                        </a:lnTo>
                        <a:lnTo>
                          <a:pt x="73" y="245"/>
                        </a:lnTo>
                        <a:lnTo>
                          <a:pt x="73" y="248"/>
                        </a:lnTo>
                        <a:lnTo>
                          <a:pt x="68" y="248"/>
                        </a:lnTo>
                        <a:lnTo>
                          <a:pt x="64" y="251"/>
                        </a:lnTo>
                        <a:lnTo>
                          <a:pt x="66" y="258"/>
                        </a:lnTo>
                        <a:lnTo>
                          <a:pt x="69" y="259"/>
                        </a:lnTo>
                        <a:lnTo>
                          <a:pt x="63" y="258"/>
                        </a:lnTo>
                        <a:lnTo>
                          <a:pt x="61" y="256"/>
                        </a:lnTo>
                        <a:lnTo>
                          <a:pt x="58" y="256"/>
                        </a:lnTo>
                        <a:lnTo>
                          <a:pt x="56" y="261"/>
                        </a:lnTo>
                        <a:lnTo>
                          <a:pt x="58" y="264"/>
                        </a:lnTo>
                        <a:lnTo>
                          <a:pt x="54" y="263"/>
                        </a:lnTo>
                        <a:lnTo>
                          <a:pt x="53" y="264"/>
                        </a:lnTo>
                        <a:lnTo>
                          <a:pt x="56" y="266"/>
                        </a:lnTo>
                        <a:lnTo>
                          <a:pt x="56" y="269"/>
                        </a:lnTo>
                        <a:lnTo>
                          <a:pt x="53" y="271"/>
                        </a:lnTo>
                        <a:lnTo>
                          <a:pt x="51" y="274"/>
                        </a:lnTo>
                        <a:lnTo>
                          <a:pt x="48" y="276"/>
                        </a:lnTo>
                        <a:lnTo>
                          <a:pt x="44" y="276"/>
                        </a:lnTo>
                        <a:lnTo>
                          <a:pt x="44" y="274"/>
                        </a:lnTo>
                        <a:lnTo>
                          <a:pt x="41" y="273"/>
                        </a:lnTo>
                        <a:lnTo>
                          <a:pt x="38" y="274"/>
                        </a:lnTo>
                        <a:lnTo>
                          <a:pt x="39" y="278"/>
                        </a:lnTo>
                        <a:lnTo>
                          <a:pt x="36" y="279"/>
                        </a:lnTo>
                        <a:lnTo>
                          <a:pt x="38" y="284"/>
                        </a:lnTo>
                        <a:lnTo>
                          <a:pt x="36" y="288"/>
                        </a:lnTo>
                        <a:lnTo>
                          <a:pt x="34" y="289"/>
                        </a:lnTo>
                        <a:lnTo>
                          <a:pt x="31" y="293"/>
                        </a:lnTo>
                        <a:lnTo>
                          <a:pt x="34" y="296"/>
                        </a:lnTo>
                        <a:lnTo>
                          <a:pt x="34" y="298"/>
                        </a:lnTo>
                        <a:lnTo>
                          <a:pt x="33" y="301"/>
                        </a:lnTo>
                        <a:lnTo>
                          <a:pt x="34" y="304"/>
                        </a:lnTo>
                        <a:lnTo>
                          <a:pt x="38" y="303"/>
                        </a:lnTo>
                        <a:lnTo>
                          <a:pt x="39" y="306"/>
                        </a:lnTo>
                        <a:lnTo>
                          <a:pt x="39" y="311"/>
                        </a:lnTo>
                        <a:lnTo>
                          <a:pt x="38" y="313"/>
                        </a:lnTo>
                        <a:lnTo>
                          <a:pt x="39" y="318"/>
                        </a:lnTo>
                        <a:lnTo>
                          <a:pt x="38" y="319"/>
                        </a:lnTo>
                        <a:lnTo>
                          <a:pt x="43" y="326"/>
                        </a:lnTo>
                        <a:lnTo>
                          <a:pt x="46" y="328"/>
                        </a:lnTo>
                        <a:lnTo>
                          <a:pt x="44" y="331"/>
                        </a:lnTo>
                        <a:lnTo>
                          <a:pt x="48" y="336"/>
                        </a:lnTo>
                        <a:lnTo>
                          <a:pt x="44" y="338"/>
                        </a:lnTo>
                        <a:lnTo>
                          <a:pt x="44" y="344"/>
                        </a:lnTo>
                        <a:lnTo>
                          <a:pt x="43" y="346"/>
                        </a:lnTo>
                        <a:lnTo>
                          <a:pt x="43" y="356"/>
                        </a:lnTo>
                        <a:lnTo>
                          <a:pt x="46" y="359"/>
                        </a:lnTo>
                        <a:lnTo>
                          <a:pt x="43" y="362"/>
                        </a:lnTo>
                        <a:lnTo>
                          <a:pt x="43" y="366"/>
                        </a:lnTo>
                        <a:lnTo>
                          <a:pt x="44" y="369"/>
                        </a:lnTo>
                        <a:lnTo>
                          <a:pt x="51" y="366"/>
                        </a:lnTo>
                        <a:lnTo>
                          <a:pt x="54" y="367"/>
                        </a:lnTo>
                        <a:lnTo>
                          <a:pt x="54" y="366"/>
                        </a:lnTo>
                        <a:lnTo>
                          <a:pt x="61" y="371"/>
                        </a:lnTo>
                        <a:lnTo>
                          <a:pt x="64" y="371"/>
                        </a:lnTo>
                        <a:lnTo>
                          <a:pt x="68" y="372"/>
                        </a:lnTo>
                        <a:lnTo>
                          <a:pt x="74" y="372"/>
                        </a:lnTo>
                        <a:lnTo>
                          <a:pt x="76" y="372"/>
                        </a:lnTo>
                        <a:lnTo>
                          <a:pt x="74" y="376"/>
                        </a:lnTo>
                        <a:lnTo>
                          <a:pt x="78" y="376"/>
                        </a:lnTo>
                        <a:lnTo>
                          <a:pt x="83" y="372"/>
                        </a:lnTo>
                        <a:lnTo>
                          <a:pt x="83" y="376"/>
                        </a:lnTo>
                        <a:lnTo>
                          <a:pt x="79" y="379"/>
                        </a:lnTo>
                        <a:lnTo>
                          <a:pt x="86" y="387"/>
                        </a:lnTo>
                        <a:lnTo>
                          <a:pt x="88" y="389"/>
                        </a:lnTo>
                        <a:lnTo>
                          <a:pt x="86" y="394"/>
                        </a:lnTo>
                        <a:lnTo>
                          <a:pt x="88" y="394"/>
                        </a:lnTo>
                        <a:lnTo>
                          <a:pt x="89" y="389"/>
                        </a:lnTo>
                        <a:lnTo>
                          <a:pt x="93" y="387"/>
                        </a:lnTo>
                        <a:lnTo>
                          <a:pt x="93" y="389"/>
                        </a:lnTo>
                        <a:lnTo>
                          <a:pt x="98" y="387"/>
                        </a:lnTo>
                        <a:lnTo>
                          <a:pt x="101" y="387"/>
                        </a:lnTo>
                        <a:lnTo>
                          <a:pt x="109" y="382"/>
                        </a:lnTo>
                        <a:lnTo>
                          <a:pt x="113" y="382"/>
                        </a:lnTo>
                        <a:lnTo>
                          <a:pt x="122" y="377"/>
                        </a:lnTo>
                        <a:lnTo>
                          <a:pt x="122" y="374"/>
                        </a:lnTo>
                        <a:lnTo>
                          <a:pt x="129" y="376"/>
                        </a:lnTo>
                        <a:lnTo>
                          <a:pt x="134" y="376"/>
                        </a:lnTo>
                        <a:lnTo>
                          <a:pt x="137" y="371"/>
                        </a:lnTo>
                        <a:lnTo>
                          <a:pt x="139" y="372"/>
                        </a:lnTo>
                        <a:lnTo>
                          <a:pt x="136" y="376"/>
                        </a:lnTo>
                        <a:lnTo>
                          <a:pt x="139" y="377"/>
                        </a:lnTo>
                        <a:lnTo>
                          <a:pt x="141" y="372"/>
                        </a:lnTo>
                        <a:lnTo>
                          <a:pt x="144" y="372"/>
                        </a:lnTo>
                        <a:lnTo>
                          <a:pt x="142" y="367"/>
                        </a:lnTo>
                        <a:lnTo>
                          <a:pt x="144" y="366"/>
                        </a:lnTo>
                        <a:lnTo>
                          <a:pt x="146" y="371"/>
                        </a:lnTo>
                        <a:lnTo>
                          <a:pt x="149" y="371"/>
                        </a:lnTo>
                        <a:lnTo>
                          <a:pt x="149" y="367"/>
                        </a:lnTo>
                        <a:lnTo>
                          <a:pt x="152" y="372"/>
                        </a:lnTo>
                        <a:lnTo>
                          <a:pt x="156" y="371"/>
                        </a:lnTo>
                        <a:lnTo>
                          <a:pt x="156" y="369"/>
                        </a:lnTo>
                        <a:lnTo>
                          <a:pt x="159" y="369"/>
                        </a:lnTo>
                        <a:lnTo>
                          <a:pt x="159" y="371"/>
                        </a:lnTo>
                        <a:lnTo>
                          <a:pt x="162" y="369"/>
                        </a:lnTo>
                        <a:lnTo>
                          <a:pt x="169" y="367"/>
                        </a:lnTo>
                        <a:lnTo>
                          <a:pt x="172" y="371"/>
                        </a:lnTo>
                        <a:lnTo>
                          <a:pt x="181" y="369"/>
                        </a:lnTo>
                        <a:lnTo>
                          <a:pt x="181" y="367"/>
                        </a:lnTo>
                        <a:lnTo>
                          <a:pt x="179" y="366"/>
                        </a:lnTo>
                        <a:lnTo>
                          <a:pt x="181" y="364"/>
                        </a:lnTo>
                        <a:lnTo>
                          <a:pt x="184" y="366"/>
                        </a:lnTo>
                        <a:lnTo>
                          <a:pt x="184" y="367"/>
                        </a:lnTo>
                        <a:lnTo>
                          <a:pt x="189" y="369"/>
                        </a:lnTo>
                        <a:lnTo>
                          <a:pt x="189" y="369"/>
                        </a:lnTo>
                        <a:lnTo>
                          <a:pt x="192" y="366"/>
                        </a:lnTo>
                        <a:lnTo>
                          <a:pt x="192" y="366"/>
                        </a:lnTo>
                        <a:close/>
                        <a:moveTo>
                          <a:pt x="101" y="206"/>
                        </a:moveTo>
                        <a:lnTo>
                          <a:pt x="99" y="208"/>
                        </a:lnTo>
                        <a:lnTo>
                          <a:pt x="94" y="208"/>
                        </a:lnTo>
                        <a:lnTo>
                          <a:pt x="91" y="203"/>
                        </a:lnTo>
                        <a:lnTo>
                          <a:pt x="96" y="200"/>
                        </a:lnTo>
                        <a:lnTo>
                          <a:pt x="104" y="201"/>
                        </a:lnTo>
                        <a:lnTo>
                          <a:pt x="103" y="203"/>
                        </a:lnTo>
                        <a:lnTo>
                          <a:pt x="99" y="203"/>
                        </a:lnTo>
                        <a:lnTo>
                          <a:pt x="101" y="206"/>
                        </a:lnTo>
                        <a:lnTo>
                          <a:pt x="101" y="206"/>
                        </a:lnTo>
                        <a:close/>
                        <a:moveTo>
                          <a:pt x="33" y="268"/>
                        </a:moveTo>
                        <a:lnTo>
                          <a:pt x="33" y="264"/>
                        </a:lnTo>
                        <a:lnTo>
                          <a:pt x="36" y="268"/>
                        </a:lnTo>
                        <a:lnTo>
                          <a:pt x="34" y="269"/>
                        </a:lnTo>
                        <a:lnTo>
                          <a:pt x="33" y="268"/>
                        </a:lnTo>
                        <a:lnTo>
                          <a:pt x="33" y="268"/>
                        </a:lnTo>
                        <a:close/>
                        <a:moveTo>
                          <a:pt x="31" y="271"/>
                        </a:moveTo>
                        <a:lnTo>
                          <a:pt x="33" y="273"/>
                        </a:lnTo>
                        <a:lnTo>
                          <a:pt x="36" y="271"/>
                        </a:lnTo>
                        <a:lnTo>
                          <a:pt x="36" y="274"/>
                        </a:lnTo>
                        <a:lnTo>
                          <a:pt x="31" y="278"/>
                        </a:lnTo>
                        <a:lnTo>
                          <a:pt x="29" y="274"/>
                        </a:lnTo>
                        <a:lnTo>
                          <a:pt x="31" y="271"/>
                        </a:lnTo>
                        <a:lnTo>
                          <a:pt x="31" y="271"/>
                        </a:lnTo>
                        <a:close/>
                        <a:moveTo>
                          <a:pt x="81" y="386"/>
                        </a:moveTo>
                        <a:lnTo>
                          <a:pt x="83" y="389"/>
                        </a:lnTo>
                        <a:lnTo>
                          <a:pt x="79" y="391"/>
                        </a:lnTo>
                        <a:lnTo>
                          <a:pt x="78" y="389"/>
                        </a:lnTo>
                        <a:lnTo>
                          <a:pt x="79" y="387"/>
                        </a:lnTo>
                        <a:lnTo>
                          <a:pt x="81" y="386"/>
                        </a:lnTo>
                        <a:lnTo>
                          <a:pt x="81" y="386"/>
                        </a:lnTo>
                        <a:close/>
                        <a:moveTo>
                          <a:pt x="74" y="381"/>
                        </a:moveTo>
                        <a:lnTo>
                          <a:pt x="74" y="381"/>
                        </a:lnTo>
                        <a:lnTo>
                          <a:pt x="76" y="384"/>
                        </a:lnTo>
                        <a:lnTo>
                          <a:pt x="74" y="384"/>
                        </a:lnTo>
                        <a:lnTo>
                          <a:pt x="74" y="381"/>
                        </a:lnTo>
                        <a:lnTo>
                          <a:pt x="74" y="381"/>
                        </a:lnTo>
                        <a:close/>
                        <a:moveTo>
                          <a:pt x="64" y="377"/>
                        </a:moveTo>
                        <a:lnTo>
                          <a:pt x="73" y="376"/>
                        </a:lnTo>
                        <a:lnTo>
                          <a:pt x="71" y="377"/>
                        </a:lnTo>
                        <a:lnTo>
                          <a:pt x="68" y="381"/>
                        </a:lnTo>
                        <a:lnTo>
                          <a:pt x="64" y="379"/>
                        </a:lnTo>
                        <a:lnTo>
                          <a:pt x="64" y="377"/>
                        </a:lnTo>
                        <a:lnTo>
                          <a:pt x="64" y="377"/>
                        </a:lnTo>
                        <a:close/>
                        <a:moveTo>
                          <a:pt x="54" y="369"/>
                        </a:moveTo>
                        <a:lnTo>
                          <a:pt x="59" y="372"/>
                        </a:lnTo>
                        <a:lnTo>
                          <a:pt x="56" y="376"/>
                        </a:lnTo>
                        <a:lnTo>
                          <a:pt x="54" y="372"/>
                        </a:lnTo>
                        <a:lnTo>
                          <a:pt x="54" y="369"/>
                        </a:lnTo>
                        <a:lnTo>
                          <a:pt x="54" y="369"/>
                        </a:lnTo>
                        <a:close/>
                        <a:moveTo>
                          <a:pt x="44" y="371"/>
                        </a:moveTo>
                        <a:lnTo>
                          <a:pt x="48" y="372"/>
                        </a:lnTo>
                        <a:lnTo>
                          <a:pt x="46" y="372"/>
                        </a:lnTo>
                        <a:lnTo>
                          <a:pt x="46" y="372"/>
                        </a:lnTo>
                        <a:lnTo>
                          <a:pt x="44" y="371"/>
                        </a:lnTo>
                        <a:lnTo>
                          <a:pt x="44" y="371"/>
                        </a:lnTo>
                        <a:close/>
                        <a:moveTo>
                          <a:pt x="11" y="377"/>
                        </a:moveTo>
                        <a:lnTo>
                          <a:pt x="18" y="379"/>
                        </a:lnTo>
                        <a:lnTo>
                          <a:pt x="18" y="377"/>
                        </a:lnTo>
                        <a:lnTo>
                          <a:pt x="15" y="376"/>
                        </a:lnTo>
                        <a:lnTo>
                          <a:pt x="15" y="372"/>
                        </a:lnTo>
                        <a:lnTo>
                          <a:pt x="18" y="371"/>
                        </a:lnTo>
                        <a:lnTo>
                          <a:pt x="24" y="376"/>
                        </a:lnTo>
                        <a:lnTo>
                          <a:pt x="24" y="379"/>
                        </a:lnTo>
                        <a:lnTo>
                          <a:pt x="21" y="379"/>
                        </a:lnTo>
                        <a:lnTo>
                          <a:pt x="19" y="381"/>
                        </a:lnTo>
                        <a:lnTo>
                          <a:pt x="23" y="384"/>
                        </a:lnTo>
                        <a:lnTo>
                          <a:pt x="26" y="384"/>
                        </a:lnTo>
                        <a:lnTo>
                          <a:pt x="28" y="387"/>
                        </a:lnTo>
                        <a:lnTo>
                          <a:pt x="24" y="389"/>
                        </a:lnTo>
                        <a:lnTo>
                          <a:pt x="19" y="386"/>
                        </a:lnTo>
                        <a:lnTo>
                          <a:pt x="15" y="384"/>
                        </a:lnTo>
                        <a:lnTo>
                          <a:pt x="13" y="382"/>
                        </a:lnTo>
                        <a:lnTo>
                          <a:pt x="10" y="379"/>
                        </a:lnTo>
                        <a:lnTo>
                          <a:pt x="11" y="377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20" name="Google Shape;3067;p98">
                    <a:extLst>
                      <a:ext uri="{FF2B5EF4-FFF2-40B4-BE49-F238E27FC236}">
                        <a16:creationId xmlns:a16="http://schemas.microsoft.com/office/drawing/2014/main" id="{4B7306DA-1F61-3F4D-11C9-522084CCA385}"/>
                      </a:ext>
                    </a:extLst>
                  </p:cNvPr>
                  <p:cNvSpPr/>
                  <p:nvPr/>
                </p:nvSpPr>
                <p:spPr>
                  <a:xfrm>
                    <a:off x="6656891" y="2487373"/>
                    <a:ext cx="68496" cy="4150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8" h="80" extrusionOk="0">
                        <a:moveTo>
                          <a:pt x="121" y="77"/>
                        </a:moveTo>
                        <a:lnTo>
                          <a:pt x="126" y="72"/>
                        </a:lnTo>
                        <a:lnTo>
                          <a:pt x="125" y="68"/>
                        </a:lnTo>
                        <a:lnTo>
                          <a:pt x="128" y="65"/>
                        </a:lnTo>
                        <a:lnTo>
                          <a:pt x="128" y="60"/>
                        </a:lnTo>
                        <a:lnTo>
                          <a:pt x="118" y="42"/>
                        </a:lnTo>
                        <a:lnTo>
                          <a:pt x="120" y="27"/>
                        </a:lnTo>
                        <a:lnTo>
                          <a:pt x="121" y="25"/>
                        </a:lnTo>
                        <a:lnTo>
                          <a:pt x="123" y="19"/>
                        </a:lnTo>
                        <a:lnTo>
                          <a:pt x="128" y="14"/>
                        </a:lnTo>
                        <a:lnTo>
                          <a:pt x="128" y="12"/>
                        </a:lnTo>
                        <a:lnTo>
                          <a:pt x="128" y="12"/>
                        </a:lnTo>
                        <a:lnTo>
                          <a:pt x="126" y="9"/>
                        </a:lnTo>
                        <a:lnTo>
                          <a:pt x="125" y="10"/>
                        </a:lnTo>
                        <a:lnTo>
                          <a:pt x="106" y="10"/>
                        </a:lnTo>
                        <a:lnTo>
                          <a:pt x="96" y="5"/>
                        </a:lnTo>
                        <a:lnTo>
                          <a:pt x="88" y="5"/>
                        </a:lnTo>
                        <a:lnTo>
                          <a:pt x="83" y="2"/>
                        </a:lnTo>
                        <a:lnTo>
                          <a:pt x="80" y="4"/>
                        </a:lnTo>
                        <a:lnTo>
                          <a:pt x="75" y="0"/>
                        </a:lnTo>
                        <a:lnTo>
                          <a:pt x="73" y="2"/>
                        </a:lnTo>
                        <a:lnTo>
                          <a:pt x="71" y="2"/>
                        </a:lnTo>
                        <a:lnTo>
                          <a:pt x="71" y="4"/>
                        </a:lnTo>
                        <a:lnTo>
                          <a:pt x="73" y="7"/>
                        </a:lnTo>
                        <a:lnTo>
                          <a:pt x="70" y="9"/>
                        </a:lnTo>
                        <a:lnTo>
                          <a:pt x="66" y="7"/>
                        </a:lnTo>
                        <a:lnTo>
                          <a:pt x="58" y="7"/>
                        </a:lnTo>
                        <a:lnTo>
                          <a:pt x="56" y="5"/>
                        </a:lnTo>
                        <a:lnTo>
                          <a:pt x="55" y="10"/>
                        </a:lnTo>
                        <a:lnTo>
                          <a:pt x="51" y="9"/>
                        </a:lnTo>
                        <a:lnTo>
                          <a:pt x="47" y="10"/>
                        </a:lnTo>
                        <a:lnTo>
                          <a:pt x="45" y="14"/>
                        </a:lnTo>
                        <a:lnTo>
                          <a:pt x="43" y="14"/>
                        </a:lnTo>
                        <a:lnTo>
                          <a:pt x="35" y="17"/>
                        </a:lnTo>
                        <a:lnTo>
                          <a:pt x="32" y="20"/>
                        </a:lnTo>
                        <a:lnTo>
                          <a:pt x="32" y="35"/>
                        </a:lnTo>
                        <a:lnTo>
                          <a:pt x="35" y="35"/>
                        </a:lnTo>
                        <a:lnTo>
                          <a:pt x="37" y="34"/>
                        </a:lnTo>
                        <a:lnTo>
                          <a:pt x="42" y="34"/>
                        </a:lnTo>
                        <a:lnTo>
                          <a:pt x="38" y="37"/>
                        </a:lnTo>
                        <a:lnTo>
                          <a:pt x="35" y="37"/>
                        </a:lnTo>
                        <a:lnTo>
                          <a:pt x="37" y="44"/>
                        </a:lnTo>
                        <a:lnTo>
                          <a:pt x="40" y="49"/>
                        </a:lnTo>
                        <a:lnTo>
                          <a:pt x="47" y="55"/>
                        </a:lnTo>
                        <a:lnTo>
                          <a:pt x="50" y="53"/>
                        </a:lnTo>
                        <a:lnTo>
                          <a:pt x="50" y="50"/>
                        </a:lnTo>
                        <a:lnTo>
                          <a:pt x="55" y="47"/>
                        </a:lnTo>
                        <a:lnTo>
                          <a:pt x="56" y="50"/>
                        </a:lnTo>
                        <a:lnTo>
                          <a:pt x="53" y="62"/>
                        </a:lnTo>
                        <a:lnTo>
                          <a:pt x="53" y="63"/>
                        </a:lnTo>
                        <a:lnTo>
                          <a:pt x="56" y="63"/>
                        </a:lnTo>
                        <a:lnTo>
                          <a:pt x="63" y="58"/>
                        </a:lnTo>
                        <a:lnTo>
                          <a:pt x="70" y="58"/>
                        </a:lnTo>
                        <a:lnTo>
                          <a:pt x="75" y="62"/>
                        </a:lnTo>
                        <a:lnTo>
                          <a:pt x="78" y="62"/>
                        </a:lnTo>
                        <a:lnTo>
                          <a:pt x="80" y="58"/>
                        </a:lnTo>
                        <a:lnTo>
                          <a:pt x="83" y="60"/>
                        </a:lnTo>
                        <a:lnTo>
                          <a:pt x="85" y="63"/>
                        </a:lnTo>
                        <a:lnTo>
                          <a:pt x="88" y="63"/>
                        </a:lnTo>
                        <a:lnTo>
                          <a:pt x="96" y="68"/>
                        </a:lnTo>
                        <a:lnTo>
                          <a:pt x="98" y="73"/>
                        </a:lnTo>
                        <a:lnTo>
                          <a:pt x="103" y="75"/>
                        </a:lnTo>
                        <a:lnTo>
                          <a:pt x="106" y="80"/>
                        </a:lnTo>
                        <a:lnTo>
                          <a:pt x="115" y="77"/>
                        </a:lnTo>
                        <a:lnTo>
                          <a:pt x="121" y="77"/>
                        </a:lnTo>
                        <a:lnTo>
                          <a:pt x="121" y="77"/>
                        </a:lnTo>
                        <a:close/>
                        <a:moveTo>
                          <a:pt x="23" y="27"/>
                        </a:moveTo>
                        <a:lnTo>
                          <a:pt x="28" y="25"/>
                        </a:lnTo>
                        <a:lnTo>
                          <a:pt x="30" y="29"/>
                        </a:lnTo>
                        <a:lnTo>
                          <a:pt x="25" y="29"/>
                        </a:lnTo>
                        <a:lnTo>
                          <a:pt x="23" y="27"/>
                        </a:lnTo>
                        <a:lnTo>
                          <a:pt x="23" y="27"/>
                        </a:lnTo>
                        <a:close/>
                        <a:moveTo>
                          <a:pt x="15" y="37"/>
                        </a:moveTo>
                        <a:lnTo>
                          <a:pt x="12" y="32"/>
                        </a:lnTo>
                        <a:lnTo>
                          <a:pt x="8" y="32"/>
                        </a:lnTo>
                        <a:lnTo>
                          <a:pt x="5" y="34"/>
                        </a:lnTo>
                        <a:lnTo>
                          <a:pt x="2" y="34"/>
                        </a:lnTo>
                        <a:lnTo>
                          <a:pt x="10" y="30"/>
                        </a:lnTo>
                        <a:lnTo>
                          <a:pt x="12" y="27"/>
                        </a:lnTo>
                        <a:lnTo>
                          <a:pt x="13" y="25"/>
                        </a:lnTo>
                        <a:lnTo>
                          <a:pt x="15" y="25"/>
                        </a:lnTo>
                        <a:lnTo>
                          <a:pt x="18" y="29"/>
                        </a:lnTo>
                        <a:lnTo>
                          <a:pt x="22" y="29"/>
                        </a:lnTo>
                        <a:lnTo>
                          <a:pt x="23" y="32"/>
                        </a:lnTo>
                        <a:lnTo>
                          <a:pt x="22" y="32"/>
                        </a:lnTo>
                        <a:lnTo>
                          <a:pt x="17" y="34"/>
                        </a:lnTo>
                        <a:lnTo>
                          <a:pt x="15" y="37"/>
                        </a:lnTo>
                        <a:lnTo>
                          <a:pt x="15" y="37"/>
                        </a:lnTo>
                        <a:close/>
                        <a:moveTo>
                          <a:pt x="25" y="40"/>
                        </a:moveTo>
                        <a:lnTo>
                          <a:pt x="23" y="37"/>
                        </a:lnTo>
                        <a:lnTo>
                          <a:pt x="30" y="37"/>
                        </a:lnTo>
                        <a:lnTo>
                          <a:pt x="32" y="42"/>
                        </a:lnTo>
                        <a:lnTo>
                          <a:pt x="30" y="44"/>
                        </a:lnTo>
                        <a:lnTo>
                          <a:pt x="25" y="40"/>
                        </a:lnTo>
                        <a:lnTo>
                          <a:pt x="25" y="40"/>
                        </a:lnTo>
                        <a:close/>
                        <a:moveTo>
                          <a:pt x="3" y="65"/>
                        </a:moveTo>
                        <a:lnTo>
                          <a:pt x="5" y="65"/>
                        </a:lnTo>
                        <a:lnTo>
                          <a:pt x="8" y="62"/>
                        </a:lnTo>
                        <a:lnTo>
                          <a:pt x="8" y="60"/>
                        </a:lnTo>
                        <a:lnTo>
                          <a:pt x="12" y="53"/>
                        </a:lnTo>
                        <a:lnTo>
                          <a:pt x="18" y="53"/>
                        </a:lnTo>
                        <a:lnTo>
                          <a:pt x="22" y="50"/>
                        </a:lnTo>
                        <a:lnTo>
                          <a:pt x="23" y="47"/>
                        </a:lnTo>
                        <a:lnTo>
                          <a:pt x="27" y="47"/>
                        </a:lnTo>
                        <a:lnTo>
                          <a:pt x="28" y="47"/>
                        </a:lnTo>
                        <a:lnTo>
                          <a:pt x="27" y="45"/>
                        </a:lnTo>
                        <a:lnTo>
                          <a:pt x="25" y="44"/>
                        </a:lnTo>
                        <a:lnTo>
                          <a:pt x="22" y="40"/>
                        </a:lnTo>
                        <a:lnTo>
                          <a:pt x="13" y="40"/>
                        </a:lnTo>
                        <a:lnTo>
                          <a:pt x="12" y="40"/>
                        </a:lnTo>
                        <a:lnTo>
                          <a:pt x="10" y="42"/>
                        </a:lnTo>
                        <a:lnTo>
                          <a:pt x="8" y="42"/>
                        </a:lnTo>
                        <a:lnTo>
                          <a:pt x="5" y="45"/>
                        </a:lnTo>
                        <a:lnTo>
                          <a:pt x="5" y="44"/>
                        </a:lnTo>
                        <a:lnTo>
                          <a:pt x="2" y="42"/>
                        </a:lnTo>
                        <a:lnTo>
                          <a:pt x="2" y="44"/>
                        </a:lnTo>
                        <a:lnTo>
                          <a:pt x="0" y="45"/>
                        </a:lnTo>
                        <a:lnTo>
                          <a:pt x="3" y="45"/>
                        </a:lnTo>
                        <a:lnTo>
                          <a:pt x="3" y="49"/>
                        </a:lnTo>
                        <a:lnTo>
                          <a:pt x="0" y="50"/>
                        </a:lnTo>
                        <a:lnTo>
                          <a:pt x="0" y="52"/>
                        </a:lnTo>
                        <a:lnTo>
                          <a:pt x="3" y="53"/>
                        </a:lnTo>
                        <a:lnTo>
                          <a:pt x="8" y="57"/>
                        </a:lnTo>
                        <a:lnTo>
                          <a:pt x="7" y="60"/>
                        </a:lnTo>
                        <a:lnTo>
                          <a:pt x="5" y="60"/>
                        </a:lnTo>
                        <a:lnTo>
                          <a:pt x="3" y="65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21" name="Google Shape;3068;p98">
                    <a:extLst>
                      <a:ext uri="{FF2B5EF4-FFF2-40B4-BE49-F238E27FC236}">
                        <a16:creationId xmlns:a16="http://schemas.microsoft.com/office/drawing/2014/main" id="{F2FD1FB0-BEE2-560F-E428-F73C67949785}"/>
                      </a:ext>
                    </a:extLst>
                  </p:cNvPr>
                  <p:cNvSpPr/>
                  <p:nvPr/>
                </p:nvSpPr>
                <p:spPr>
                  <a:xfrm>
                    <a:off x="6649398" y="2517463"/>
                    <a:ext cx="83479" cy="3839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4" h="75" extrusionOk="0">
                        <a:moveTo>
                          <a:pt x="154" y="59"/>
                        </a:moveTo>
                        <a:lnTo>
                          <a:pt x="153" y="52"/>
                        </a:lnTo>
                        <a:lnTo>
                          <a:pt x="149" y="47"/>
                        </a:lnTo>
                        <a:lnTo>
                          <a:pt x="148" y="42"/>
                        </a:lnTo>
                        <a:lnTo>
                          <a:pt x="146" y="39"/>
                        </a:lnTo>
                        <a:lnTo>
                          <a:pt x="143" y="34"/>
                        </a:lnTo>
                        <a:lnTo>
                          <a:pt x="143" y="30"/>
                        </a:lnTo>
                        <a:lnTo>
                          <a:pt x="141" y="27"/>
                        </a:lnTo>
                        <a:lnTo>
                          <a:pt x="139" y="25"/>
                        </a:lnTo>
                        <a:lnTo>
                          <a:pt x="141" y="24"/>
                        </a:lnTo>
                        <a:lnTo>
                          <a:pt x="139" y="20"/>
                        </a:lnTo>
                        <a:lnTo>
                          <a:pt x="128" y="19"/>
                        </a:lnTo>
                        <a:lnTo>
                          <a:pt x="119" y="22"/>
                        </a:lnTo>
                        <a:lnTo>
                          <a:pt x="116" y="17"/>
                        </a:lnTo>
                        <a:lnTo>
                          <a:pt x="111" y="15"/>
                        </a:lnTo>
                        <a:lnTo>
                          <a:pt x="109" y="10"/>
                        </a:lnTo>
                        <a:lnTo>
                          <a:pt x="101" y="5"/>
                        </a:lnTo>
                        <a:lnTo>
                          <a:pt x="98" y="5"/>
                        </a:lnTo>
                        <a:lnTo>
                          <a:pt x="96" y="2"/>
                        </a:lnTo>
                        <a:lnTo>
                          <a:pt x="93" y="0"/>
                        </a:lnTo>
                        <a:lnTo>
                          <a:pt x="91" y="4"/>
                        </a:lnTo>
                        <a:lnTo>
                          <a:pt x="88" y="4"/>
                        </a:lnTo>
                        <a:lnTo>
                          <a:pt x="83" y="0"/>
                        </a:lnTo>
                        <a:lnTo>
                          <a:pt x="76" y="0"/>
                        </a:lnTo>
                        <a:lnTo>
                          <a:pt x="69" y="5"/>
                        </a:lnTo>
                        <a:lnTo>
                          <a:pt x="66" y="5"/>
                        </a:lnTo>
                        <a:lnTo>
                          <a:pt x="66" y="12"/>
                        </a:lnTo>
                        <a:lnTo>
                          <a:pt x="69" y="20"/>
                        </a:lnTo>
                        <a:lnTo>
                          <a:pt x="66" y="29"/>
                        </a:lnTo>
                        <a:lnTo>
                          <a:pt x="58" y="35"/>
                        </a:lnTo>
                        <a:lnTo>
                          <a:pt x="53" y="35"/>
                        </a:lnTo>
                        <a:lnTo>
                          <a:pt x="46" y="30"/>
                        </a:lnTo>
                        <a:lnTo>
                          <a:pt x="46" y="27"/>
                        </a:lnTo>
                        <a:lnTo>
                          <a:pt x="35" y="17"/>
                        </a:lnTo>
                        <a:lnTo>
                          <a:pt x="35" y="10"/>
                        </a:lnTo>
                        <a:lnTo>
                          <a:pt x="33" y="10"/>
                        </a:lnTo>
                        <a:lnTo>
                          <a:pt x="28" y="14"/>
                        </a:lnTo>
                        <a:lnTo>
                          <a:pt x="21" y="15"/>
                        </a:lnTo>
                        <a:lnTo>
                          <a:pt x="20" y="17"/>
                        </a:lnTo>
                        <a:lnTo>
                          <a:pt x="15" y="17"/>
                        </a:lnTo>
                        <a:lnTo>
                          <a:pt x="10" y="22"/>
                        </a:lnTo>
                        <a:lnTo>
                          <a:pt x="11" y="27"/>
                        </a:lnTo>
                        <a:lnTo>
                          <a:pt x="10" y="27"/>
                        </a:lnTo>
                        <a:lnTo>
                          <a:pt x="10" y="34"/>
                        </a:lnTo>
                        <a:lnTo>
                          <a:pt x="3" y="40"/>
                        </a:lnTo>
                        <a:lnTo>
                          <a:pt x="3" y="45"/>
                        </a:lnTo>
                        <a:lnTo>
                          <a:pt x="3" y="49"/>
                        </a:lnTo>
                        <a:lnTo>
                          <a:pt x="0" y="52"/>
                        </a:lnTo>
                        <a:lnTo>
                          <a:pt x="1" y="62"/>
                        </a:lnTo>
                        <a:lnTo>
                          <a:pt x="5" y="65"/>
                        </a:lnTo>
                        <a:lnTo>
                          <a:pt x="5" y="65"/>
                        </a:lnTo>
                        <a:lnTo>
                          <a:pt x="10" y="65"/>
                        </a:lnTo>
                        <a:lnTo>
                          <a:pt x="11" y="60"/>
                        </a:lnTo>
                        <a:lnTo>
                          <a:pt x="18" y="55"/>
                        </a:lnTo>
                        <a:lnTo>
                          <a:pt x="28" y="52"/>
                        </a:lnTo>
                        <a:lnTo>
                          <a:pt x="36" y="54"/>
                        </a:lnTo>
                        <a:lnTo>
                          <a:pt x="43" y="52"/>
                        </a:lnTo>
                        <a:lnTo>
                          <a:pt x="46" y="55"/>
                        </a:lnTo>
                        <a:lnTo>
                          <a:pt x="51" y="52"/>
                        </a:lnTo>
                        <a:lnTo>
                          <a:pt x="56" y="52"/>
                        </a:lnTo>
                        <a:lnTo>
                          <a:pt x="56" y="54"/>
                        </a:lnTo>
                        <a:lnTo>
                          <a:pt x="61" y="54"/>
                        </a:lnTo>
                        <a:lnTo>
                          <a:pt x="64" y="59"/>
                        </a:lnTo>
                        <a:lnTo>
                          <a:pt x="73" y="59"/>
                        </a:lnTo>
                        <a:lnTo>
                          <a:pt x="74" y="59"/>
                        </a:lnTo>
                        <a:lnTo>
                          <a:pt x="83" y="54"/>
                        </a:lnTo>
                        <a:lnTo>
                          <a:pt x="91" y="59"/>
                        </a:lnTo>
                        <a:lnTo>
                          <a:pt x="98" y="59"/>
                        </a:lnTo>
                        <a:lnTo>
                          <a:pt x="104" y="65"/>
                        </a:lnTo>
                        <a:lnTo>
                          <a:pt x="109" y="67"/>
                        </a:lnTo>
                        <a:lnTo>
                          <a:pt x="116" y="74"/>
                        </a:lnTo>
                        <a:lnTo>
                          <a:pt x="123" y="74"/>
                        </a:lnTo>
                        <a:lnTo>
                          <a:pt x="124" y="75"/>
                        </a:lnTo>
                        <a:lnTo>
                          <a:pt x="124" y="75"/>
                        </a:lnTo>
                        <a:lnTo>
                          <a:pt x="133" y="72"/>
                        </a:lnTo>
                        <a:lnTo>
                          <a:pt x="143" y="70"/>
                        </a:lnTo>
                        <a:lnTo>
                          <a:pt x="144" y="65"/>
                        </a:lnTo>
                        <a:lnTo>
                          <a:pt x="148" y="64"/>
                        </a:lnTo>
                        <a:lnTo>
                          <a:pt x="149" y="59"/>
                        </a:lnTo>
                        <a:lnTo>
                          <a:pt x="154" y="59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22" name="Google Shape;3069;p98">
                    <a:extLst>
                      <a:ext uri="{FF2B5EF4-FFF2-40B4-BE49-F238E27FC236}">
                        <a16:creationId xmlns:a16="http://schemas.microsoft.com/office/drawing/2014/main" id="{C2897ACD-BEC2-A743-4BDD-574B4BBE8ABC}"/>
                      </a:ext>
                    </a:extLst>
                  </p:cNvPr>
                  <p:cNvSpPr/>
                  <p:nvPr/>
                </p:nvSpPr>
                <p:spPr>
                  <a:xfrm>
                    <a:off x="6652610" y="2543403"/>
                    <a:ext cx="64215" cy="4150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9" h="78" extrusionOk="0">
                        <a:moveTo>
                          <a:pt x="38" y="56"/>
                        </a:moveTo>
                        <a:lnTo>
                          <a:pt x="38" y="50"/>
                        </a:lnTo>
                        <a:lnTo>
                          <a:pt x="41" y="46"/>
                        </a:lnTo>
                        <a:lnTo>
                          <a:pt x="38" y="43"/>
                        </a:lnTo>
                        <a:lnTo>
                          <a:pt x="35" y="43"/>
                        </a:lnTo>
                        <a:lnTo>
                          <a:pt x="35" y="38"/>
                        </a:lnTo>
                        <a:lnTo>
                          <a:pt x="31" y="37"/>
                        </a:lnTo>
                        <a:lnTo>
                          <a:pt x="23" y="40"/>
                        </a:lnTo>
                        <a:lnTo>
                          <a:pt x="16" y="37"/>
                        </a:lnTo>
                        <a:lnTo>
                          <a:pt x="10" y="28"/>
                        </a:lnTo>
                        <a:lnTo>
                          <a:pt x="1" y="30"/>
                        </a:lnTo>
                        <a:lnTo>
                          <a:pt x="0" y="30"/>
                        </a:lnTo>
                        <a:lnTo>
                          <a:pt x="1" y="27"/>
                        </a:lnTo>
                        <a:lnTo>
                          <a:pt x="0" y="20"/>
                        </a:lnTo>
                        <a:lnTo>
                          <a:pt x="0" y="13"/>
                        </a:lnTo>
                        <a:lnTo>
                          <a:pt x="5" y="13"/>
                        </a:lnTo>
                        <a:lnTo>
                          <a:pt x="6" y="8"/>
                        </a:lnTo>
                        <a:lnTo>
                          <a:pt x="13" y="3"/>
                        </a:lnTo>
                        <a:lnTo>
                          <a:pt x="23" y="0"/>
                        </a:lnTo>
                        <a:lnTo>
                          <a:pt x="31" y="2"/>
                        </a:lnTo>
                        <a:lnTo>
                          <a:pt x="38" y="0"/>
                        </a:lnTo>
                        <a:lnTo>
                          <a:pt x="41" y="3"/>
                        </a:lnTo>
                        <a:lnTo>
                          <a:pt x="46" y="0"/>
                        </a:lnTo>
                        <a:lnTo>
                          <a:pt x="51" y="0"/>
                        </a:lnTo>
                        <a:lnTo>
                          <a:pt x="51" y="2"/>
                        </a:lnTo>
                        <a:lnTo>
                          <a:pt x="56" y="2"/>
                        </a:lnTo>
                        <a:lnTo>
                          <a:pt x="59" y="7"/>
                        </a:lnTo>
                        <a:lnTo>
                          <a:pt x="68" y="7"/>
                        </a:lnTo>
                        <a:lnTo>
                          <a:pt x="69" y="7"/>
                        </a:lnTo>
                        <a:lnTo>
                          <a:pt x="78" y="2"/>
                        </a:lnTo>
                        <a:lnTo>
                          <a:pt x="86" y="7"/>
                        </a:lnTo>
                        <a:lnTo>
                          <a:pt x="93" y="7"/>
                        </a:lnTo>
                        <a:lnTo>
                          <a:pt x="99" y="13"/>
                        </a:lnTo>
                        <a:lnTo>
                          <a:pt x="104" y="15"/>
                        </a:lnTo>
                        <a:lnTo>
                          <a:pt x="111" y="22"/>
                        </a:lnTo>
                        <a:lnTo>
                          <a:pt x="118" y="22"/>
                        </a:lnTo>
                        <a:lnTo>
                          <a:pt x="119" y="23"/>
                        </a:lnTo>
                        <a:lnTo>
                          <a:pt x="114" y="30"/>
                        </a:lnTo>
                        <a:lnTo>
                          <a:pt x="118" y="32"/>
                        </a:lnTo>
                        <a:lnTo>
                          <a:pt x="118" y="37"/>
                        </a:lnTo>
                        <a:lnTo>
                          <a:pt x="109" y="40"/>
                        </a:lnTo>
                        <a:lnTo>
                          <a:pt x="106" y="46"/>
                        </a:lnTo>
                        <a:lnTo>
                          <a:pt x="101" y="48"/>
                        </a:lnTo>
                        <a:lnTo>
                          <a:pt x="101" y="55"/>
                        </a:lnTo>
                        <a:lnTo>
                          <a:pt x="106" y="56"/>
                        </a:lnTo>
                        <a:lnTo>
                          <a:pt x="106" y="61"/>
                        </a:lnTo>
                        <a:lnTo>
                          <a:pt x="101" y="61"/>
                        </a:lnTo>
                        <a:lnTo>
                          <a:pt x="99" y="60"/>
                        </a:lnTo>
                        <a:lnTo>
                          <a:pt x="96" y="60"/>
                        </a:lnTo>
                        <a:lnTo>
                          <a:pt x="93" y="66"/>
                        </a:lnTo>
                        <a:lnTo>
                          <a:pt x="86" y="66"/>
                        </a:lnTo>
                        <a:lnTo>
                          <a:pt x="88" y="73"/>
                        </a:lnTo>
                        <a:lnTo>
                          <a:pt x="84" y="73"/>
                        </a:lnTo>
                        <a:lnTo>
                          <a:pt x="78" y="76"/>
                        </a:lnTo>
                        <a:lnTo>
                          <a:pt x="71" y="73"/>
                        </a:lnTo>
                        <a:lnTo>
                          <a:pt x="63" y="75"/>
                        </a:lnTo>
                        <a:lnTo>
                          <a:pt x="58" y="78"/>
                        </a:lnTo>
                        <a:lnTo>
                          <a:pt x="55" y="75"/>
                        </a:lnTo>
                        <a:lnTo>
                          <a:pt x="55" y="70"/>
                        </a:lnTo>
                        <a:lnTo>
                          <a:pt x="53" y="61"/>
                        </a:lnTo>
                        <a:lnTo>
                          <a:pt x="50" y="61"/>
                        </a:lnTo>
                        <a:lnTo>
                          <a:pt x="43" y="56"/>
                        </a:lnTo>
                        <a:lnTo>
                          <a:pt x="38" y="56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23" name="Google Shape;3070;p98">
                    <a:extLst>
                      <a:ext uri="{FF2B5EF4-FFF2-40B4-BE49-F238E27FC236}">
                        <a16:creationId xmlns:a16="http://schemas.microsoft.com/office/drawing/2014/main" id="{CA510DE7-187F-9413-B3EC-6F726C057215}"/>
                      </a:ext>
                    </a:extLst>
                  </p:cNvPr>
                  <p:cNvSpPr/>
                  <p:nvPr/>
                </p:nvSpPr>
                <p:spPr>
                  <a:xfrm>
                    <a:off x="6683646" y="2546515"/>
                    <a:ext cx="108095" cy="7366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2" h="141" extrusionOk="0">
                        <a:moveTo>
                          <a:pt x="0" y="73"/>
                        </a:moveTo>
                        <a:lnTo>
                          <a:pt x="5" y="70"/>
                        </a:lnTo>
                        <a:lnTo>
                          <a:pt x="13" y="68"/>
                        </a:lnTo>
                        <a:lnTo>
                          <a:pt x="20" y="71"/>
                        </a:lnTo>
                        <a:lnTo>
                          <a:pt x="26" y="68"/>
                        </a:lnTo>
                        <a:lnTo>
                          <a:pt x="30" y="68"/>
                        </a:lnTo>
                        <a:lnTo>
                          <a:pt x="28" y="61"/>
                        </a:lnTo>
                        <a:lnTo>
                          <a:pt x="35" y="61"/>
                        </a:lnTo>
                        <a:lnTo>
                          <a:pt x="38" y="55"/>
                        </a:lnTo>
                        <a:lnTo>
                          <a:pt x="41" y="55"/>
                        </a:lnTo>
                        <a:lnTo>
                          <a:pt x="43" y="56"/>
                        </a:lnTo>
                        <a:lnTo>
                          <a:pt x="48" y="56"/>
                        </a:lnTo>
                        <a:lnTo>
                          <a:pt x="48" y="51"/>
                        </a:lnTo>
                        <a:lnTo>
                          <a:pt x="43" y="50"/>
                        </a:lnTo>
                        <a:lnTo>
                          <a:pt x="43" y="43"/>
                        </a:lnTo>
                        <a:lnTo>
                          <a:pt x="48" y="41"/>
                        </a:lnTo>
                        <a:lnTo>
                          <a:pt x="51" y="35"/>
                        </a:lnTo>
                        <a:lnTo>
                          <a:pt x="60" y="32"/>
                        </a:lnTo>
                        <a:lnTo>
                          <a:pt x="60" y="27"/>
                        </a:lnTo>
                        <a:lnTo>
                          <a:pt x="56" y="25"/>
                        </a:lnTo>
                        <a:lnTo>
                          <a:pt x="61" y="18"/>
                        </a:lnTo>
                        <a:lnTo>
                          <a:pt x="70" y="15"/>
                        </a:lnTo>
                        <a:lnTo>
                          <a:pt x="80" y="13"/>
                        </a:lnTo>
                        <a:lnTo>
                          <a:pt x="81" y="8"/>
                        </a:lnTo>
                        <a:lnTo>
                          <a:pt x="85" y="7"/>
                        </a:lnTo>
                        <a:lnTo>
                          <a:pt x="86" y="2"/>
                        </a:lnTo>
                        <a:lnTo>
                          <a:pt x="93" y="0"/>
                        </a:lnTo>
                        <a:lnTo>
                          <a:pt x="96" y="3"/>
                        </a:lnTo>
                        <a:lnTo>
                          <a:pt x="103" y="0"/>
                        </a:lnTo>
                        <a:lnTo>
                          <a:pt x="108" y="7"/>
                        </a:lnTo>
                        <a:lnTo>
                          <a:pt x="113" y="5"/>
                        </a:lnTo>
                        <a:lnTo>
                          <a:pt x="118" y="5"/>
                        </a:lnTo>
                        <a:lnTo>
                          <a:pt x="123" y="13"/>
                        </a:lnTo>
                        <a:lnTo>
                          <a:pt x="129" y="8"/>
                        </a:lnTo>
                        <a:lnTo>
                          <a:pt x="136" y="7"/>
                        </a:lnTo>
                        <a:lnTo>
                          <a:pt x="139" y="10"/>
                        </a:lnTo>
                        <a:lnTo>
                          <a:pt x="143" y="10"/>
                        </a:lnTo>
                        <a:lnTo>
                          <a:pt x="153" y="13"/>
                        </a:lnTo>
                        <a:lnTo>
                          <a:pt x="154" y="18"/>
                        </a:lnTo>
                        <a:lnTo>
                          <a:pt x="153" y="23"/>
                        </a:lnTo>
                        <a:lnTo>
                          <a:pt x="156" y="28"/>
                        </a:lnTo>
                        <a:lnTo>
                          <a:pt x="156" y="35"/>
                        </a:lnTo>
                        <a:lnTo>
                          <a:pt x="163" y="40"/>
                        </a:lnTo>
                        <a:lnTo>
                          <a:pt x="164" y="46"/>
                        </a:lnTo>
                        <a:lnTo>
                          <a:pt x="171" y="55"/>
                        </a:lnTo>
                        <a:lnTo>
                          <a:pt x="176" y="56"/>
                        </a:lnTo>
                        <a:lnTo>
                          <a:pt x="178" y="65"/>
                        </a:lnTo>
                        <a:lnTo>
                          <a:pt x="186" y="66"/>
                        </a:lnTo>
                        <a:lnTo>
                          <a:pt x="196" y="73"/>
                        </a:lnTo>
                        <a:lnTo>
                          <a:pt x="196" y="78"/>
                        </a:lnTo>
                        <a:lnTo>
                          <a:pt x="202" y="81"/>
                        </a:lnTo>
                        <a:lnTo>
                          <a:pt x="199" y="83"/>
                        </a:lnTo>
                        <a:lnTo>
                          <a:pt x="194" y="91"/>
                        </a:lnTo>
                        <a:lnTo>
                          <a:pt x="183" y="93"/>
                        </a:lnTo>
                        <a:lnTo>
                          <a:pt x="178" y="88"/>
                        </a:lnTo>
                        <a:lnTo>
                          <a:pt x="174" y="91"/>
                        </a:lnTo>
                        <a:lnTo>
                          <a:pt x="176" y="96"/>
                        </a:lnTo>
                        <a:lnTo>
                          <a:pt x="179" y="105"/>
                        </a:lnTo>
                        <a:lnTo>
                          <a:pt x="179" y="110"/>
                        </a:lnTo>
                        <a:lnTo>
                          <a:pt x="184" y="116"/>
                        </a:lnTo>
                        <a:lnTo>
                          <a:pt x="184" y="121"/>
                        </a:lnTo>
                        <a:lnTo>
                          <a:pt x="184" y="121"/>
                        </a:lnTo>
                        <a:lnTo>
                          <a:pt x="174" y="123"/>
                        </a:lnTo>
                        <a:lnTo>
                          <a:pt x="168" y="125"/>
                        </a:lnTo>
                        <a:lnTo>
                          <a:pt x="163" y="133"/>
                        </a:lnTo>
                        <a:lnTo>
                          <a:pt x="163" y="139"/>
                        </a:lnTo>
                        <a:lnTo>
                          <a:pt x="158" y="141"/>
                        </a:lnTo>
                        <a:lnTo>
                          <a:pt x="153" y="138"/>
                        </a:lnTo>
                        <a:lnTo>
                          <a:pt x="146" y="139"/>
                        </a:lnTo>
                        <a:lnTo>
                          <a:pt x="143" y="136"/>
                        </a:lnTo>
                        <a:lnTo>
                          <a:pt x="138" y="136"/>
                        </a:lnTo>
                        <a:lnTo>
                          <a:pt x="133" y="141"/>
                        </a:lnTo>
                        <a:lnTo>
                          <a:pt x="129" y="141"/>
                        </a:lnTo>
                        <a:lnTo>
                          <a:pt x="128" y="136"/>
                        </a:lnTo>
                        <a:lnTo>
                          <a:pt x="121" y="136"/>
                        </a:lnTo>
                        <a:lnTo>
                          <a:pt x="113" y="139"/>
                        </a:lnTo>
                        <a:lnTo>
                          <a:pt x="109" y="138"/>
                        </a:lnTo>
                        <a:lnTo>
                          <a:pt x="103" y="138"/>
                        </a:lnTo>
                        <a:lnTo>
                          <a:pt x="101" y="139"/>
                        </a:lnTo>
                        <a:lnTo>
                          <a:pt x="98" y="139"/>
                        </a:lnTo>
                        <a:lnTo>
                          <a:pt x="93" y="136"/>
                        </a:lnTo>
                        <a:lnTo>
                          <a:pt x="85" y="139"/>
                        </a:lnTo>
                        <a:lnTo>
                          <a:pt x="85" y="136"/>
                        </a:lnTo>
                        <a:lnTo>
                          <a:pt x="78" y="134"/>
                        </a:lnTo>
                        <a:lnTo>
                          <a:pt x="65" y="133"/>
                        </a:lnTo>
                        <a:lnTo>
                          <a:pt x="58" y="130"/>
                        </a:lnTo>
                        <a:lnTo>
                          <a:pt x="55" y="130"/>
                        </a:lnTo>
                        <a:lnTo>
                          <a:pt x="50" y="133"/>
                        </a:lnTo>
                        <a:lnTo>
                          <a:pt x="43" y="133"/>
                        </a:lnTo>
                        <a:lnTo>
                          <a:pt x="26" y="134"/>
                        </a:lnTo>
                        <a:lnTo>
                          <a:pt x="21" y="138"/>
                        </a:lnTo>
                        <a:lnTo>
                          <a:pt x="13" y="134"/>
                        </a:lnTo>
                        <a:lnTo>
                          <a:pt x="10" y="134"/>
                        </a:lnTo>
                        <a:lnTo>
                          <a:pt x="10" y="131"/>
                        </a:lnTo>
                        <a:lnTo>
                          <a:pt x="5" y="125"/>
                        </a:lnTo>
                        <a:lnTo>
                          <a:pt x="3" y="118"/>
                        </a:lnTo>
                        <a:lnTo>
                          <a:pt x="6" y="113"/>
                        </a:lnTo>
                        <a:lnTo>
                          <a:pt x="11" y="111"/>
                        </a:lnTo>
                        <a:lnTo>
                          <a:pt x="11" y="98"/>
                        </a:lnTo>
                        <a:lnTo>
                          <a:pt x="8" y="96"/>
                        </a:lnTo>
                        <a:lnTo>
                          <a:pt x="8" y="90"/>
                        </a:lnTo>
                        <a:lnTo>
                          <a:pt x="5" y="86"/>
                        </a:lnTo>
                        <a:lnTo>
                          <a:pt x="1" y="75"/>
                        </a:lnTo>
                        <a:lnTo>
                          <a:pt x="0" y="73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24" name="Google Shape;3071;p98">
                    <a:extLst>
                      <a:ext uri="{FF2B5EF4-FFF2-40B4-BE49-F238E27FC236}">
                        <a16:creationId xmlns:a16="http://schemas.microsoft.com/office/drawing/2014/main" id="{DF707EDE-9B56-ECF4-F1E5-DA9B005783D9}"/>
                      </a:ext>
                    </a:extLst>
                  </p:cNvPr>
                  <p:cNvSpPr/>
                  <p:nvPr/>
                </p:nvSpPr>
                <p:spPr>
                  <a:xfrm>
                    <a:off x="6675084" y="2604620"/>
                    <a:ext cx="214050" cy="11724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99" h="224" extrusionOk="0">
                        <a:moveTo>
                          <a:pt x="25" y="21"/>
                        </a:moveTo>
                        <a:lnTo>
                          <a:pt x="28" y="21"/>
                        </a:lnTo>
                        <a:lnTo>
                          <a:pt x="36" y="25"/>
                        </a:lnTo>
                        <a:lnTo>
                          <a:pt x="41" y="21"/>
                        </a:lnTo>
                        <a:lnTo>
                          <a:pt x="58" y="20"/>
                        </a:lnTo>
                        <a:lnTo>
                          <a:pt x="65" y="20"/>
                        </a:lnTo>
                        <a:lnTo>
                          <a:pt x="70" y="17"/>
                        </a:lnTo>
                        <a:lnTo>
                          <a:pt x="73" y="17"/>
                        </a:lnTo>
                        <a:lnTo>
                          <a:pt x="80" y="20"/>
                        </a:lnTo>
                        <a:lnTo>
                          <a:pt x="93" y="21"/>
                        </a:lnTo>
                        <a:lnTo>
                          <a:pt x="100" y="23"/>
                        </a:lnTo>
                        <a:lnTo>
                          <a:pt x="100" y="26"/>
                        </a:lnTo>
                        <a:lnTo>
                          <a:pt x="108" y="23"/>
                        </a:lnTo>
                        <a:lnTo>
                          <a:pt x="113" y="26"/>
                        </a:lnTo>
                        <a:lnTo>
                          <a:pt x="116" y="26"/>
                        </a:lnTo>
                        <a:lnTo>
                          <a:pt x="118" y="25"/>
                        </a:lnTo>
                        <a:lnTo>
                          <a:pt x="124" y="25"/>
                        </a:lnTo>
                        <a:lnTo>
                          <a:pt x="128" y="26"/>
                        </a:lnTo>
                        <a:lnTo>
                          <a:pt x="136" y="23"/>
                        </a:lnTo>
                        <a:lnTo>
                          <a:pt x="143" y="23"/>
                        </a:lnTo>
                        <a:lnTo>
                          <a:pt x="144" y="28"/>
                        </a:lnTo>
                        <a:lnTo>
                          <a:pt x="148" y="28"/>
                        </a:lnTo>
                        <a:lnTo>
                          <a:pt x="153" y="23"/>
                        </a:lnTo>
                        <a:lnTo>
                          <a:pt x="158" y="23"/>
                        </a:lnTo>
                        <a:lnTo>
                          <a:pt x="161" y="26"/>
                        </a:lnTo>
                        <a:lnTo>
                          <a:pt x="168" y="25"/>
                        </a:lnTo>
                        <a:lnTo>
                          <a:pt x="173" y="28"/>
                        </a:lnTo>
                        <a:lnTo>
                          <a:pt x="178" y="26"/>
                        </a:lnTo>
                        <a:lnTo>
                          <a:pt x="178" y="20"/>
                        </a:lnTo>
                        <a:lnTo>
                          <a:pt x="183" y="12"/>
                        </a:lnTo>
                        <a:lnTo>
                          <a:pt x="189" y="10"/>
                        </a:lnTo>
                        <a:lnTo>
                          <a:pt x="199" y="8"/>
                        </a:lnTo>
                        <a:lnTo>
                          <a:pt x="204" y="8"/>
                        </a:lnTo>
                        <a:lnTo>
                          <a:pt x="209" y="8"/>
                        </a:lnTo>
                        <a:lnTo>
                          <a:pt x="209" y="3"/>
                        </a:lnTo>
                        <a:lnTo>
                          <a:pt x="213" y="0"/>
                        </a:lnTo>
                        <a:lnTo>
                          <a:pt x="224" y="3"/>
                        </a:lnTo>
                        <a:lnTo>
                          <a:pt x="237" y="3"/>
                        </a:lnTo>
                        <a:lnTo>
                          <a:pt x="242" y="2"/>
                        </a:lnTo>
                        <a:lnTo>
                          <a:pt x="249" y="2"/>
                        </a:lnTo>
                        <a:lnTo>
                          <a:pt x="252" y="12"/>
                        </a:lnTo>
                        <a:lnTo>
                          <a:pt x="257" y="15"/>
                        </a:lnTo>
                        <a:lnTo>
                          <a:pt x="254" y="20"/>
                        </a:lnTo>
                        <a:lnTo>
                          <a:pt x="261" y="28"/>
                        </a:lnTo>
                        <a:lnTo>
                          <a:pt x="274" y="26"/>
                        </a:lnTo>
                        <a:lnTo>
                          <a:pt x="279" y="30"/>
                        </a:lnTo>
                        <a:lnTo>
                          <a:pt x="281" y="35"/>
                        </a:lnTo>
                        <a:lnTo>
                          <a:pt x="286" y="35"/>
                        </a:lnTo>
                        <a:lnTo>
                          <a:pt x="286" y="41"/>
                        </a:lnTo>
                        <a:lnTo>
                          <a:pt x="287" y="48"/>
                        </a:lnTo>
                        <a:lnTo>
                          <a:pt x="299" y="58"/>
                        </a:lnTo>
                        <a:lnTo>
                          <a:pt x="302" y="53"/>
                        </a:lnTo>
                        <a:lnTo>
                          <a:pt x="309" y="56"/>
                        </a:lnTo>
                        <a:lnTo>
                          <a:pt x="315" y="55"/>
                        </a:lnTo>
                        <a:lnTo>
                          <a:pt x="320" y="56"/>
                        </a:lnTo>
                        <a:lnTo>
                          <a:pt x="329" y="51"/>
                        </a:lnTo>
                        <a:lnTo>
                          <a:pt x="332" y="50"/>
                        </a:lnTo>
                        <a:lnTo>
                          <a:pt x="337" y="61"/>
                        </a:lnTo>
                        <a:lnTo>
                          <a:pt x="345" y="65"/>
                        </a:lnTo>
                        <a:lnTo>
                          <a:pt x="347" y="70"/>
                        </a:lnTo>
                        <a:lnTo>
                          <a:pt x="350" y="66"/>
                        </a:lnTo>
                        <a:lnTo>
                          <a:pt x="360" y="68"/>
                        </a:lnTo>
                        <a:lnTo>
                          <a:pt x="365" y="68"/>
                        </a:lnTo>
                        <a:lnTo>
                          <a:pt x="370" y="71"/>
                        </a:lnTo>
                        <a:lnTo>
                          <a:pt x="375" y="70"/>
                        </a:lnTo>
                        <a:lnTo>
                          <a:pt x="382" y="73"/>
                        </a:lnTo>
                        <a:lnTo>
                          <a:pt x="390" y="75"/>
                        </a:lnTo>
                        <a:lnTo>
                          <a:pt x="394" y="71"/>
                        </a:lnTo>
                        <a:lnTo>
                          <a:pt x="395" y="76"/>
                        </a:lnTo>
                        <a:lnTo>
                          <a:pt x="399" y="78"/>
                        </a:lnTo>
                        <a:lnTo>
                          <a:pt x="399" y="85"/>
                        </a:lnTo>
                        <a:lnTo>
                          <a:pt x="395" y="90"/>
                        </a:lnTo>
                        <a:lnTo>
                          <a:pt x="390" y="90"/>
                        </a:lnTo>
                        <a:lnTo>
                          <a:pt x="389" y="100"/>
                        </a:lnTo>
                        <a:lnTo>
                          <a:pt x="395" y="105"/>
                        </a:lnTo>
                        <a:lnTo>
                          <a:pt x="397" y="110"/>
                        </a:lnTo>
                        <a:lnTo>
                          <a:pt x="394" y="118"/>
                        </a:lnTo>
                        <a:lnTo>
                          <a:pt x="394" y="124"/>
                        </a:lnTo>
                        <a:lnTo>
                          <a:pt x="390" y="126"/>
                        </a:lnTo>
                        <a:lnTo>
                          <a:pt x="379" y="128"/>
                        </a:lnTo>
                        <a:lnTo>
                          <a:pt x="372" y="134"/>
                        </a:lnTo>
                        <a:lnTo>
                          <a:pt x="370" y="136"/>
                        </a:lnTo>
                        <a:lnTo>
                          <a:pt x="369" y="146"/>
                        </a:lnTo>
                        <a:lnTo>
                          <a:pt x="364" y="148"/>
                        </a:lnTo>
                        <a:lnTo>
                          <a:pt x="364" y="146"/>
                        </a:lnTo>
                        <a:lnTo>
                          <a:pt x="360" y="146"/>
                        </a:lnTo>
                        <a:lnTo>
                          <a:pt x="354" y="148"/>
                        </a:lnTo>
                        <a:lnTo>
                          <a:pt x="349" y="148"/>
                        </a:lnTo>
                        <a:lnTo>
                          <a:pt x="345" y="149"/>
                        </a:lnTo>
                        <a:lnTo>
                          <a:pt x="344" y="153"/>
                        </a:lnTo>
                        <a:lnTo>
                          <a:pt x="339" y="153"/>
                        </a:lnTo>
                        <a:lnTo>
                          <a:pt x="335" y="156"/>
                        </a:lnTo>
                        <a:lnTo>
                          <a:pt x="330" y="161"/>
                        </a:lnTo>
                        <a:lnTo>
                          <a:pt x="329" y="161"/>
                        </a:lnTo>
                        <a:lnTo>
                          <a:pt x="324" y="161"/>
                        </a:lnTo>
                        <a:lnTo>
                          <a:pt x="319" y="164"/>
                        </a:lnTo>
                        <a:lnTo>
                          <a:pt x="314" y="163"/>
                        </a:lnTo>
                        <a:lnTo>
                          <a:pt x="309" y="166"/>
                        </a:lnTo>
                        <a:lnTo>
                          <a:pt x="306" y="166"/>
                        </a:lnTo>
                        <a:lnTo>
                          <a:pt x="302" y="161"/>
                        </a:lnTo>
                        <a:lnTo>
                          <a:pt x="301" y="161"/>
                        </a:lnTo>
                        <a:lnTo>
                          <a:pt x="301" y="163"/>
                        </a:lnTo>
                        <a:lnTo>
                          <a:pt x="304" y="166"/>
                        </a:lnTo>
                        <a:lnTo>
                          <a:pt x="302" y="169"/>
                        </a:lnTo>
                        <a:lnTo>
                          <a:pt x="297" y="176"/>
                        </a:lnTo>
                        <a:lnTo>
                          <a:pt x="296" y="178"/>
                        </a:lnTo>
                        <a:lnTo>
                          <a:pt x="294" y="176"/>
                        </a:lnTo>
                        <a:lnTo>
                          <a:pt x="296" y="174"/>
                        </a:lnTo>
                        <a:lnTo>
                          <a:pt x="301" y="169"/>
                        </a:lnTo>
                        <a:lnTo>
                          <a:pt x="299" y="168"/>
                        </a:lnTo>
                        <a:lnTo>
                          <a:pt x="297" y="166"/>
                        </a:lnTo>
                        <a:lnTo>
                          <a:pt x="296" y="169"/>
                        </a:lnTo>
                        <a:lnTo>
                          <a:pt x="289" y="176"/>
                        </a:lnTo>
                        <a:lnTo>
                          <a:pt x="284" y="176"/>
                        </a:lnTo>
                        <a:lnTo>
                          <a:pt x="284" y="179"/>
                        </a:lnTo>
                        <a:lnTo>
                          <a:pt x="279" y="179"/>
                        </a:lnTo>
                        <a:lnTo>
                          <a:pt x="276" y="176"/>
                        </a:lnTo>
                        <a:lnTo>
                          <a:pt x="272" y="179"/>
                        </a:lnTo>
                        <a:lnTo>
                          <a:pt x="267" y="178"/>
                        </a:lnTo>
                        <a:lnTo>
                          <a:pt x="266" y="179"/>
                        </a:lnTo>
                        <a:lnTo>
                          <a:pt x="269" y="183"/>
                        </a:lnTo>
                        <a:lnTo>
                          <a:pt x="277" y="181"/>
                        </a:lnTo>
                        <a:lnTo>
                          <a:pt x="279" y="184"/>
                        </a:lnTo>
                        <a:lnTo>
                          <a:pt x="282" y="186"/>
                        </a:lnTo>
                        <a:lnTo>
                          <a:pt x="286" y="186"/>
                        </a:lnTo>
                        <a:lnTo>
                          <a:pt x="287" y="188"/>
                        </a:lnTo>
                        <a:lnTo>
                          <a:pt x="284" y="189"/>
                        </a:lnTo>
                        <a:lnTo>
                          <a:pt x="286" y="193"/>
                        </a:lnTo>
                        <a:lnTo>
                          <a:pt x="287" y="191"/>
                        </a:lnTo>
                        <a:lnTo>
                          <a:pt x="289" y="191"/>
                        </a:lnTo>
                        <a:lnTo>
                          <a:pt x="289" y="194"/>
                        </a:lnTo>
                        <a:lnTo>
                          <a:pt x="292" y="191"/>
                        </a:lnTo>
                        <a:lnTo>
                          <a:pt x="294" y="193"/>
                        </a:lnTo>
                        <a:lnTo>
                          <a:pt x="296" y="198"/>
                        </a:lnTo>
                        <a:lnTo>
                          <a:pt x="297" y="201"/>
                        </a:lnTo>
                        <a:lnTo>
                          <a:pt x="304" y="203"/>
                        </a:lnTo>
                        <a:lnTo>
                          <a:pt x="306" y="201"/>
                        </a:lnTo>
                        <a:lnTo>
                          <a:pt x="297" y="194"/>
                        </a:lnTo>
                        <a:lnTo>
                          <a:pt x="289" y="184"/>
                        </a:lnTo>
                        <a:lnTo>
                          <a:pt x="287" y="179"/>
                        </a:lnTo>
                        <a:lnTo>
                          <a:pt x="289" y="178"/>
                        </a:lnTo>
                        <a:lnTo>
                          <a:pt x="292" y="183"/>
                        </a:lnTo>
                        <a:lnTo>
                          <a:pt x="294" y="189"/>
                        </a:lnTo>
                        <a:lnTo>
                          <a:pt x="306" y="201"/>
                        </a:lnTo>
                        <a:lnTo>
                          <a:pt x="309" y="201"/>
                        </a:lnTo>
                        <a:lnTo>
                          <a:pt x="312" y="198"/>
                        </a:lnTo>
                        <a:lnTo>
                          <a:pt x="315" y="198"/>
                        </a:lnTo>
                        <a:lnTo>
                          <a:pt x="320" y="199"/>
                        </a:lnTo>
                        <a:lnTo>
                          <a:pt x="322" y="196"/>
                        </a:lnTo>
                        <a:lnTo>
                          <a:pt x="330" y="194"/>
                        </a:lnTo>
                        <a:lnTo>
                          <a:pt x="335" y="194"/>
                        </a:lnTo>
                        <a:lnTo>
                          <a:pt x="334" y="198"/>
                        </a:lnTo>
                        <a:lnTo>
                          <a:pt x="332" y="199"/>
                        </a:lnTo>
                        <a:lnTo>
                          <a:pt x="334" y="203"/>
                        </a:lnTo>
                        <a:lnTo>
                          <a:pt x="330" y="206"/>
                        </a:lnTo>
                        <a:lnTo>
                          <a:pt x="324" y="208"/>
                        </a:lnTo>
                        <a:lnTo>
                          <a:pt x="314" y="206"/>
                        </a:lnTo>
                        <a:lnTo>
                          <a:pt x="307" y="209"/>
                        </a:lnTo>
                        <a:lnTo>
                          <a:pt x="304" y="214"/>
                        </a:lnTo>
                        <a:lnTo>
                          <a:pt x="296" y="214"/>
                        </a:lnTo>
                        <a:lnTo>
                          <a:pt x="284" y="221"/>
                        </a:lnTo>
                        <a:lnTo>
                          <a:pt x="276" y="224"/>
                        </a:lnTo>
                        <a:lnTo>
                          <a:pt x="267" y="224"/>
                        </a:lnTo>
                        <a:lnTo>
                          <a:pt x="264" y="221"/>
                        </a:lnTo>
                        <a:lnTo>
                          <a:pt x="264" y="219"/>
                        </a:lnTo>
                        <a:lnTo>
                          <a:pt x="267" y="213"/>
                        </a:lnTo>
                        <a:lnTo>
                          <a:pt x="267" y="209"/>
                        </a:lnTo>
                        <a:lnTo>
                          <a:pt x="259" y="203"/>
                        </a:lnTo>
                        <a:lnTo>
                          <a:pt x="257" y="204"/>
                        </a:lnTo>
                        <a:lnTo>
                          <a:pt x="251" y="201"/>
                        </a:lnTo>
                        <a:lnTo>
                          <a:pt x="247" y="204"/>
                        </a:lnTo>
                        <a:lnTo>
                          <a:pt x="244" y="203"/>
                        </a:lnTo>
                        <a:lnTo>
                          <a:pt x="249" y="196"/>
                        </a:lnTo>
                        <a:lnTo>
                          <a:pt x="257" y="191"/>
                        </a:lnTo>
                        <a:lnTo>
                          <a:pt x="264" y="189"/>
                        </a:lnTo>
                        <a:lnTo>
                          <a:pt x="267" y="188"/>
                        </a:lnTo>
                        <a:lnTo>
                          <a:pt x="264" y="186"/>
                        </a:lnTo>
                        <a:lnTo>
                          <a:pt x="262" y="179"/>
                        </a:lnTo>
                        <a:lnTo>
                          <a:pt x="261" y="179"/>
                        </a:lnTo>
                        <a:lnTo>
                          <a:pt x="259" y="183"/>
                        </a:lnTo>
                        <a:lnTo>
                          <a:pt x="254" y="179"/>
                        </a:lnTo>
                        <a:lnTo>
                          <a:pt x="249" y="178"/>
                        </a:lnTo>
                        <a:lnTo>
                          <a:pt x="244" y="179"/>
                        </a:lnTo>
                        <a:lnTo>
                          <a:pt x="239" y="181"/>
                        </a:lnTo>
                        <a:lnTo>
                          <a:pt x="234" y="179"/>
                        </a:lnTo>
                        <a:lnTo>
                          <a:pt x="231" y="179"/>
                        </a:lnTo>
                        <a:lnTo>
                          <a:pt x="227" y="176"/>
                        </a:lnTo>
                        <a:lnTo>
                          <a:pt x="229" y="174"/>
                        </a:lnTo>
                        <a:lnTo>
                          <a:pt x="231" y="173"/>
                        </a:lnTo>
                        <a:lnTo>
                          <a:pt x="224" y="171"/>
                        </a:lnTo>
                        <a:lnTo>
                          <a:pt x="214" y="171"/>
                        </a:lnTo>
                        <a:lnTo>
                          <a:pt x="213" y="168"/>
                        </a:lnTo>
                        <a:lnTo>
                          <a:pt x="217" y="168"/>
                        </a:lnTo>
                        <a:lnTo>
                          <a:pt x="226" y="168"/>
                        </a:lnTo>
                        <a:lnTo>
                          <a:pt x="231" y="168"/>
                        </a:lnTo>
                        <a:lnTo>
                          <a:pt x="234" y="166"/>
                        </a:lnTo>
                        <a:lnTo>
                          <a:pt x="239" y="164"/>
                        </a:lnTo>
                        <a:lnTo>
                          <a:pt x="232" y="166"/>
                        </a:lnTo>
                        <a:lnTo>
                          <a:pt x="227" y="164"/>
                        </a:lnTo>
                        <a:lnTo>
                          <a:pt x="226" y="163"/>
                        </a:lnTo>
                        <a:lnTo>
                          <a:pt x="224" y="159"/>
                        </a:lnTo>
                        <a:lnTo>
                          <a:pt x="221" y="163"/>
                        </a:lnTo>
                        <a:lnTo>
                          <a:pt x="219" y="166"/>
                        </a:lnTo>
                        <a:lnTo>
                          <a:pt x="216" y="166"/>
                        </a:lnTo>
                        <a:lnTo>
                          <a:pt x="216" y="164"/>
                        </a:lnTo>
                        <a:lnTo>
                          <a:pt x="213" y="161"/>
                        </a:lnTo>
                        <a:lnTo>
                          <a:pt x="208" y="168"/>
                        </a:lnTo>
                        <a:lnTo>
                          <a:pt x="203" y="168"/>
                        </a:lnTo>
                        <a:lnTo>
                          <a:pt x="199" y="169"/>
                        </a:lnTo>
                        <a:lnTo>
                          <a:pt x="199" y="176"/>
                        </a:lnTo>
                        <a:lnTo>
                          <a:pt x="194" y="181"/>
                        </a:lnTo>
                        <a:lnTo>
                          <a:pt x="191" y="181"/>
                        </a:lnTo>
                        <a:lnTo>
                          <a:pt x="193" y="184"/>
                        </a:lnTo>
                        <a:lnTo>
                          <a:pt x="183" y="194"/>
                        </a:lnTo>
                        <a:lnTo>
                          <a:pt x="181" y="194"/>
                        </a:lnTo>
                        <a:lnTo>
                          <a:pt x="178" y="191"/>
                        </a:lnTo>
                        <a:lnTo>
                          <a:pt x="178" y="194"/>
                        </a:lnTo>
                        <a:lnTo>
                          <a:pt x="178" y="198"/>
                        </a:lnTo>
                        <a:lnTo>
                          <a:pt x="179" y="199"/>
                        </a:lnTo>
                        <a:lnTo>
                          <a:pt x="179" y="204"/>
                        </a:lnTo>
                        <a:lnTo>
                          <a:pt x="179" y="204"/>
                        </a:lnTo>
                        <a:lnTo>
                          <a:pt x="174" y="201"/>
                        </a:lnTo>
                        <a:lnTo>
                          <a:pt x="168" y="201"/>
                        </a:lnTo>
                        <a:lnTo>
                          <a:pt x="163" y="204"/>
                        </a:lnTo>
                        <a:lnTo>
                          <a:pt x="154" y="204"/>
                        </a:lnTo>
                        <a:lnTo>
                          <a:pt x="148" y="203"/>
                        </a:lnTo>
                        <a:lnTo>
                          <a:pt x="144" y="196"/>
                        </a:lnTo>
                        <a:lnTo>
                          <a:pt x="148" y="194"/>
                        </a:lnTo>
                        <a:lnTo>
                          <a:pt x="151" y="194"/>
                        </a:lnTo>
                        <a:lnTo>
                          <a:pt x="151" y="191"/>
                        </a:lnTo>
                        <a:lnTo>
                          <a:pt x="156" y="184"/>
                        </a:lnTo>
                        <a:lnTo>
                          <a:pt x="159" y="184"/>
                        </a:lnTo>
                        <a:lnTo>
                          <a:pt x="158" y="178"/>
                        </a:lnTo>
                        <a:lnTo>
                          <a:pt x="159" y="171"/>
                        </a:lnTo>
                        <a:lnTo>
                          <a:pt x="164" y="171"/>
                        </a:lnTo>
                        <a:lnTo>
                          <a:pt x="169" y="169"/>
                        </a:lnTo>
                        <a:lnTo>
                          <a:pt x="174" y="171"/>
                        </a:lnTo>
                        <a:lnTo>
                          <a:pt x="181" y="171"/>
                        </a:lnTo>
                        <a:lnTo>
                          <a:pt x="183" y="169"/>
                        </a:lnTo>
                        <a:lnTo>
                          <a:pt x="179" y="164"/>
                        </a:lnTo>
                        <a:lnTo>
                          <a:pt x="179" y="161"/>
                        </a:lnTo>
                        <a:lnTo>
                          <a:pt x="179" y="158"/>
                        </a:lnTo>
                        <a:lnTo>
                          <a:pt x="173" y="154"/>
                        </a:lnTo>
                        <a:lnTo>
                          <a:pt x="166" y="149"/>
                        </a:lnTo>
                        <a:lnTo>
                          <a:pt x="166" y="146"/>
                        </a:lnTo>
                        <a:lnTo>
                          <a:pt x="159" y="144"/>
                        </a:lnTo>
                        <a:lnTo>
                          <a:pt x="161" y="139"/>
                        </a:lnTo>
                        <a:lnTo>
                          <a:pt x="159" y="131"/>
                        </a:lnTo>
                        <a:lnTo>
                          <a:pt x="153" y="128"/>
                        </a:lnTo>
                        <a:lnTo>
                          <a:pt x="146" y="121"/>
                        </a:lnTo>
                        <a:lnTo>
                          <a:pt x="143" y="121"/>
                        </a:lnTo>
                        <a:lnTo>
                          <a:pt x="141" y="124"/>
                        </a:lnTo>
                        <a:lnTo>
                          <a:pt x="134" y="123"/>
                        </a:lnTo>
                        <a:lnTo>
                          <a:pt x="126" y="116"/>
                        </a:lnTo>
                        <a:lnTo>
                          <a:pt x="119" y="116"/>
                        </a:lnTo>
                        <a:lnTo>
                          <a:pt x="116" y="111"/>
                        </a:lnTo>
                        <a:lnTo>
                          <a:pt x="114" y="113"/>
                        </a:lnTo>
                        <a:lnTo>
                          <a:pt x="110" y="113"/>
                        </a:lnTo>
                        <a:lnTo>
                          <a:pt x="108" y="116"/>
                        </a:lnTo>
                        <a:lnTo>
                          <a:pt x="103" y="113"/>
                        </a:lnTo>
                        <a:lnTo>
                          <a:pt x="103" y="115"/>
                        </a:lnTo>
                        <a:lnTo>
                          <a:pt x="98" y="113"/>
                        </a:lnTo>
                        <a:lnTo>
                          <a:pt x="100" y="119"/>
                        </a:lnTo>
                        <a:lnTo>
                          <a:pt x="98" y="121"/>
                        </a:lnTo>
                        <a:lnTo>
                          <a:pt x="100" y="128"/>
                        </a:lnTo>
                        <a:lnTo>
                          <a:pt x="95" y="128"/>
                        </a:lnTo>
                        <a:lnTo>
                          <a:pt x="88" y="131"/>
                        </a:lnTo>
                        <a:lnTo>
                          <a:pt x="71" y="134"/>
                        </a:lnTo>
                        <a:lnTo>
                          <a:pt x="68" y="138"/>
                        </a:lnTo>
                        <a:lnTo>
                          <a:pt x="63" y="138"/>
                        </a:lnTo>
                        <a:lnTo>
                          <a:pt x="55" y="141"/>
                        </a:lnTo>
                        <a:lnTo>
                          <a:pt x="50" y="138"/>
                        </a:lnTo>
                        <a:lnTo>
                          <a:pt x="48" y="134"/>
                        </a:lnTo>
                        <a:lnTo>
                          <a:pt x="41" y="133"/>
                        </a:lnTo>
                        <a:lnTo>
                          <a:pt x="35" y="131"/>
                        </a:lnTo>
                        <a:lnTo>
                          <a:pt x="26" y="128"/>
                        </a:lnTo>
                        <a:lnTo>
                          <a:pt x="21" y="128"/>
                        </a:lnTo>
                        <a:lnTo>
                          <a:pt x="18" y="129"/>
                        </a:lnTo>
                        <a:lnTo>
                          <a:pt x="13" y="129"/>
                        </a:lnTo>
                        <a:lnTo>
                          <a:pt x="12" y="126"/>
                        </a:lnTo>
                        <a:lnTo>
                          <a:pt x="5" y="123"/>
                        </a:lnTo>
                        <a:lnTo>
                          <a:pt x="0" y="118"/>
                        </a:lnTo>
                        <a:lnTo>
                          <a:pt x="2" y="118"/>
                        </a:lnTo>
                        <a:lnTo>
                          <a:pt x="2" y="110"/>
                        </a:lnTo>
                        <a:lnTo>
                          <a:pt x="7" y="100"/>
                        </a:lnTo>
                        <a:lnTo>
                          <a:pt x="12" y="100"/>
                        </a:lnTo>
                        <a:lnTo>
                          <a:pt x="12" y="93"/>
                        </a:lnTo>
                        <a:lnTo>
                          <a:pt x="12" y="88"/>
                        </a:lnTo>
                        <a:lnTo>
                          <a:pt x="26" y="73"/>
                        </a:lnTo>
                        <a:lnTo>
                          <a:pt x="28" y="66"/>
                        </a:lnTo>
                        <a:lnTo>
                          <a:pt x="31" y="63"/>
                        </a:lnTo>
                        <a:lnTo>
                          <a:pt x="35" y="63"/>
                        </a:lnTo>
                        <a:lnTo>
                          <a:pt x="36" y="56"/>
                        </a:lnTo>
                        <a:lnTo>
                          <a:pt x="35" y="53"/>
                        </a:lnTo>
                        <a:lnTo>
                          <a:pt x="35" y="50"/>
                        </a:lnTo>
                        <a:lnTo>
                          <a:pt x="36" y="48"/>
                        </a:lnTo>
                        <a:lnTo>
                          <a:pt x="30" y="45"/>
                        </a:lnTo>
                        <a:lnTo>
                          <a:pt x="28" y="38"/>
                        </a:lnTo>
                        <a:lnTo>
                          <a:pt x="25" y="35"/>
                        </a:lnTo>
                        <a:lnTo>
                          <a:pt x="25" y="25"/>
                        </a:lnTo>
                        <a:lnTo>
                          <a:pt x="25" y="21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25" name="Google Shape;3072;p98">
                    <a:extLst>
                      <a:ext uri="{FF2B5EF4-FFF2-40B4-BE49-F238E27FC236}">
                        <a16:creationId xmlns:a16="http://schemas.microsoft.com/office/drawing/2014/main" id="{09AFB6AD-F6C4-68C2-48B2-80BC425D7E91}"/>
                      </a:ext>
                    </a:extLst>
                  </p:cNvPr>
                  <p:cNvSpPr/>
                  <p:nvPr/>
                </p:nvSpPr>
                <p:spPr>
                  <a:xfrm>
                    <a:off x="6727527" y="2662725"/>
                    <a:ext cx="46020" cy="4357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5" h="85" extrusionOk="0">
                        <a:moveTo>
                          <a:pt x="2" y="17"/>
                        </a:moveTo>
                        <a:lnTo>
                          <a:pt x="0" y="10"/>
                        </a:lnTo>
                        <a:lnTo>
                          <a:pt x="2" y="8"/>
                        </a:lnTo>
                        <a:lnTo>
                          <a:pt x="0" y="2"/>
                        </a:lnTo>
                        <a:lnTo>
                          <a:pt x="5" y="4"/>
                        </a:lnTo>
                        <a:lnTo>
                          <a:pt x="5" y="2"/>
                        </a:lnTo>
                        <a:lnTo>
                          <a:pt x="10" y="5"/>
                        </a:lnTo>
                        <a:lnTo>
                          <a:pt x="12" y="2"/>
                        </a:lnTo>
                        <a:lnTo>
                          <a:pt x="16" y="2"/>
                        </a:lnTo>
                        <a:lnTo>
                          <a:pt x="18" y="0"/>
                        </a:lnTo>
                        <a:lnTo>
                          <a:pt x="21" y="5"/>
                        </a:lnTo>
                        <a:lnTo>
                          <a:pt x="28" y="5"/>
                        </a:lnTo>
                        <a:lnTo>
                          <a:pt x="36" y="12"/>
                        </a:lnTo>
                        <a:lnTo>
                          <a:pt x="43" y="13"/>
                        </a:lnTo>
                        <a:lnTo>
                          <a:pt x="45" y="10"/>
                        </a:lnTo>
                        <a:lnTo>
                          <a:pt x="48" y="10"/>
                        </a:lnTo>
                        <a:lnTo>
                          <a:pt x="55" y="17"/>
                        </a:lnTo>
                        <a:lnTo>
                          <a:pt x="61" y="20"/>
                        </a:lnTo>
                        <a:lnTo>
                          <a:pt x="63" y="28"/>
                        </a:lnTo>
                        <a:lnTo>
                          <a:pt x="61" y="33"/>
                        </a:lnTo>
                        <a:lnTo>
                          <a:pt x="68" y="35"/>
                        </a:lnTo>
                        <a:lnTo>
                          <a:pt x="68" y="38"/>
                        </a:lnTo>
                        <a:lnTo>
                          <a:pt x="75" y="43"/>
                        </a:lnTo>
                        <a:lnTo>
                          <a:pt x="81" y="47"/>
                        </a:lnTo>
                        <a:lnTo>
                          <a:pt x="81" y="50"/>
                        </a:lnTo>
                        <a:lnTo>
                          <a:pt x="81" y="53"/>
                        </a:lnTo>
                        <a:lnTo>
                          <a:pt x="85" y="58"/>
                        </a:lnTo>
                        <a:lnTo>
                          <a:pt x="83" y="60"/>
                        </a:lnTo>
                        <a:lnTo>
                          <a:pt x="76" y="60"/>
                        </a:lnTo>
                        <a:lnTo>
                          <a:pt x="71" y="58"/>
                        </a:lnTo>
                        <a:lnTo>
                          <a:pt x="66" y="60"/>
                        </a:lnTo>
                        <a:lnTo>
                          <a:pt x="61" y="60"/>
                        </a:lnTo>
                        <a:lnTo>
                          <a:pt x="60" y="67"/>
                        </a:lnTo>
                        <a:lnTo>
                          <a:pt x="61" y="73"/>
                        </a:lnTo>
                        <a:lnTo>
                          <a:pt x="58" y="73"/>
                        </a:lnTo>
                        <a:lnTo>
                          <a:pt x="53" y="80"/>
                        </a:lnTo>
                        <a:lnTo>
                          <a:pt x="53" y="83"/>
                        </a:lnTo>
                        <a:lnTo>
                          <a:pt x="50" y="83"/>
                        </a:lnTo>
                        <a:lnTo>
                          <a:pt x="46" y="85"/>
                        </a:lnTo>
                        <a:lnTo>
                          <a:pt x="46" y="85"/>
                        </a:lnTo>
                        <a:lnTo>
                          <a:pt x="43" y="78"/>
                        </a:lnTo>
                        <a:lnTo>
                          <a:pt x="43" y="58"/>
                        </a:lnTo>
                        <a:lnTo>
                          <a:pt x="40" y="52"/>
                        </a:lnTo>
                        <a:lnTo>
                          <a:pt x="38" y="47"/>
                        </a:lnTo>
                        <a:lnTo>
                          <a:pt x="25" y="37"/>
                        </a:lnTo>
                        <a:lnTo>
                          <a:pt x="23" y="32"/>
                        </a:lnTo>
                        <a:lnTo>
                          <a:pt x="13" y="25"/>
                        </a:lnTo>
                        <a:lnTo>
                          <a:pt x="12" y="15"/>
                        </a:lnTo>
                        <a:lnTo>
                          <a:pt x="2" y="17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26" name="Google Shape;3073;p98">
                    <a:extLst>
                      <a:ext uri="{FF2B5EF4-FFF2-40B4-BE49-F238E27FC236}">
                        <a16:creationId xmlns:a16="http://schemas.microsoft.com/office/drawing/2014/main" id="{A9C831B3-C91F-4830-11FF-DEFC6157AC2F}"/>
                      </a:ext>
                    </a:extLst>
                  </p:cNvPr>
                  <p:cNvSpPr/>
                  <p:nvPr/>
                </p:nvSpPr>
                <p:spPr>
                  <a:xfrm>
                    <a:off x="6656891" y="2671026"/>
                    <a:ext cx="114516" cy="6329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14" h="123" extrusionOk="0">
                        <a:moveTo>
                          <a:pt x="48" y="3"/>
                        </a:moveTo>
                        <a:lnTo>
                          <a:pt x="53" y="3"/>
                        </a:lnTo>
                        <a:lnTo>
                          <a:pt x="56" y="2"/>
                        </a:lnTo>
                        <a:lnTo>
                          <a:pt x="61" y="2"/>
                        </a:lnTo>
                        <a:lnTo>
                          <a:pt x="70" y="5"/>
                        </a:lnTo>
                        <a:lnTo>
                          <a:pt x="76" y="7"/>
                        </a:lnTo>
                        <a:lnTo>
                          <a:pt x="83" y="8"/>
                        </a:lnTo>
                        <a:lnTo>
                          <a:pt x="85" y="12"/>
                        </a:lnTo>
                        <a:lnTo>
                          <a:pt x="90" y="15"/>
                        </a:lnTo>
                        <a:lnTo>
                          <a:pt x="98" y="12"/>
                        </a:lnTo>
                        <a:lnTo>
                          <a:pt x="103" y="12"/>
                        </a:lnTo>
                        <a:lnTo>
                          <a:pt x="106" y="8"/>
                        </a:lnTo>
                        <a:lnTo>
                          <a:pt x="123" y="5"/>
                        </a:lnTo>
                        <a:lnTo>
                          <a:pt x="130" y="2"/>
                        </a:lnTo>
                        <a:lnTo>
                          <a:pt x="145" y="0"/>
                        </a:lnTo>
                        <a:lnTo>
                          <a:pt x="146" y="10"/>
                        </a:lnTo>
                        <a:lnTo>
                          <a:pt x="156" y="17"/>
                        </a:lnTo>
                        <a:lnTo>
                          <a:pt x="158" y="22"/>
                        </a:lnTo>
                        <a:lnTo>
                          <a:pt x="171" y="32"/>
                        </a:lnTo>
                        <a:lnTo>
                          <a:pt x="173" y="37"/>
                        </a:lnTo>
                        <a:lnTo>
                          <a:pt x="176" y="43"/>
                        </a:lnTo>
                        <a:lnTo>
                          <a:pt x="176" y="63"/>
                        </a:lnTo>
                        <a:lnTo>
                          <a:pt x="179" y="70"/>
                        </a:lnTo>
                        <a:lnTo>
                          <a:pt x="183" y="77"/>
                        </a:lnTo>
                        <a:lnTo>
                          <a:pt x="189" y="78"/>
                        </a:lnTo>
                        <a:lnTo>
                          <a:pt x="198" y="78"/>
                        </a:lnTo>
                        <a:lnTo>
                          <a:pt x="203" y="75"/>
                        </a:lnTo>
                        <a:lnTo>
                          <a:pt x="209" y="75"/>
                        </a:lnTo>
                        <a:lnTo>
                          <a:pt x="214" y="78"/>
                        </a:lnTo>
                        <a:lnTo>
                          <a:pt x="211" y="80"/>
                        </a:lnTo>
                        <a:lnTo>
                          <a:pt x="214" y="82"/>
                        </a:lnTo>
                        <a:lnTo>
                          <a:pt x="214" y="85"/>
                        </a:lnTo>
                        <a:lnTo>
                          <a:pt x="211" y="90"/>
                        </a:lnTo>
                        <a:lnTo>
                          <a:pt x="206" y="91"/>
                        </a:lnTo>
                        <a:lnTo>
                          <a:pt x="198" y="91"/>
                        </a:lnTo>
                        <a:lnTo>
                          <a:pt x="196" y="96"/>
                        </a:lnTo>
                        <a:lnTo>
                          <a:pt x="193" y="100"/>
                        </a:lnTo>
                        <a:lnTo>
                          <a:pt x="194" y="103"/>
                        </a:lnTo>
                        <a:lnTo>
                          <a:pt x="194" y="110"/>
                        </a:lnTo>
                        <a:lnTo>
                          <a:pt x="191" y="113"/>
                        </a:lnTo>
                        <a:lnTo>
                          <a:pt x="193" y="118"/>
                        </a:lnTo>
                        <a:lnTo>
                          <a:pt x="188" y="118"/>
                        </a:lnTo>
                        <a:lnTo>
                          <a:pt x="186" y="116"/>
                        </a:lnTo>
                        <a:lnTo>
                          <a:pt x="181" y="113"/>
                        </a:lnTo>
                        <a:lnTo>
                          <a:pt x="176" y="115"/>
                        </a:lnTo>
                        <a:lnTo>
                          <a:pt x="173" y="113"/>
                        </a:lnTo>
                        <a:lnTo>
                          <a:pt x="164" y="110"/>
                        </a:lnTo>
                        <a:lnTo>
                          <a:pt x="158" y="110"/>
                        </a:lnTo>
                        <a:lnTo>
                          <a:pt x="151" y="110"/>
                        </a:lnTo>
                        <a:lnTo>
                          <a:pt x="138" y="116"/>
                        </a:lnTo>
                        <a:lnTo>
                          <a:pt x="135" y="120"/>
                        </a:lnTo>
                        <a:lnTo>
                          <a:pt x="130" y="121"/>
                        </a:lnTo>
                        <a:lnTo>
                          <a:pt x="126" y="123"/>
                        </a:lnTo>
                        <a:lnTo>
                          <a:pt x="116" y="121"/>
                        </a:lnTo>
                        <a:lnTo>
                          <a:pt x="113" y="121"/>
                        </a:lnTo>
                        <a:lnTo>
                          <a:pt x="108" y="120"/>
                        </a:lnTo>
                        <a:lnTo>
                          <a:pt x="103" y="121"/>
                        </a:lnTo>
                        <a:lnTo>
                          <a:pt x="100" y="120"/>
                        </a:lnTo>
                        <a:lnTo>
                          <a:pt x="91" y="123"/>
                        </a:lnTo>
                        <a:lnTo>
                          <a:pt x="83" y="121"/>
                        </a:lnTo>
                        <a:lnTo>
                          <a:pt x="81" y="121"/>
                        </a:lnTo>
                        <a:lnTo>
                          <a:pt x="78" y="118"/>
                        </a:lnTo>
                        <a:lnTo>
                          <a:pt x="71" y="118"/>
                        </a:lnTo>
                        <a:lnTo>
                          <a:pt x="66" y="121"/>
                        </a:lnTo>
                        <a:lnTo>
                          <a:pt x="63" y="118"/>
                        </a:lnTo>
                        <a:lnTo>
                          <a:pt x="65" y="116"/>
                        </a:lnTo>
                        <a:lnTo>
                          <a:pt x="66" y="113"/>
                        </a:lnTo>
                        <a:lnTo>
                          <a:pt x="63" y="110"/>
                        </a:lnTo>
                        <a:lnTo>
                          <a:pt x="56" y="110"/>
                        </a:lnTo>
                        <a:lnTo>
                          <a:pt x="55" y="105"/>
                        </a:lnTo>
                        <a:lnTo>
                          <a:pt x="53" y="101"/>
                        </a:lnTo>
                        <a:lnTo>
                          <a:pt x="58" y="96"/>
                        </a:lnTo>
                        <a:lnTo>
                          <a:pt x="50" y="96"/>
                        </a:lnTo>
                        <a:lnTo>
                          <a:pt x="45" y="100"/>
                        </a:lnTo>
                        <a:lnTo>
                          <a:pt x="42" y="98"/>
                        </a:lnTo>
                        <a:lnTo>
                          <a:pt x="37" y="100"/>
                        </a:lnTo>
                        <a:lnTo>
                          <a:pt x="35" y="96"/>
                        </a:lnTo>
                        <a:lnTo>
                          <a:pt x="27" y="93"/>
                        </a:lnTo>
                        <a:lnTo>
                          <a:pt x="25" y="91"/>
                        </a:lnTo>
                        <a:lnTo>
                          <a:pt x="28" y="85"/>
                        </a:lnTo>
                        <a:lnTo>
                          <a:pt x="22" y="82"/>
                        </a:lnTo>
                        <a:lnTo>
                          <a:pt x="15" y="78"/>
                        </a:lnTo>
                        <a:lnTo>
                          <a:pt x="13" y="75"/>
                        </a:lnTo>
                        <a:lnTo>
                          <a:pt x="7" y="67"/>
                        </a:lnTo>
                        <a:lnTo>
                          <a:pt x="5" y="63"/>
                        </a:lnTo>
                        <a:lnTo>
                          <a:pt x="0" y="62"/>
                        </a:lnTo>
                        <a:lnTo>
                          <a:pt x="5" y="57"/>
                        </a:lnTo>
                        <a:lnTo>
                          <a:pt x="10" y="57"/>
                        </a:lnTo>
                        <a:lnTo>
                          <a:pt x="12" y="52"/>
                        </a:lnTo>
                        <a:lnTo>
                          <a:pt x="18" y="53"/>
                        </a:lnTo>
                        <a:lnTo>
                          <a:pt x="22" y="50"/>
                        </a:lnTo>
                        <a:lnTo>
                          <a:pt x="22" y="45"/>
                        </a:lnTo>
                        <a:lnTo>
                          <a:pt x="30" y="33"/>
                        </a:lnTo>
                        <a:lnTo>
                          <a:pt x="35" y="20"/>
                        </a:lnTo>
                        <a:lnTo>
                          <a:pt x="42" y="12"/>
                        </a:lnTo>
                        <a:lnTo>
                          <a:pt x="47" y="10"/>
                        </a:lnTo>
                        <a:lnTo>
                          <a:pt x="48" y="5"/>
                        </a:lnTo>
                        <a:lnTo>
                          <a:pt x="48" y="3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27" name="Google Shape;3074;p98">
                    <a:extLst>
                      <a:ext uri="{FF2B5EF4-FFF2-40B4-BE49-F238E27FC236}">
                        <a16:creationId xmlns:a16="http://schemas.microsoft.com/office/drawing/2014/main" id="{5D75A502-3D50-815C-5927-007AE8E5B767}"/>
                      </a:ext>
                    </a:extLst>
                  </p:cNvPr>
                  <p:cNvSpPr/>
                  <p:nvPr/>
                </p:nvSpPr>
                <p:spPr>
                  <a:xfrm>
                    <a:off x="6608729" y="2665838"/>
                    <a:ext cx="73847" cy="4254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8" h="81" extrusionOk="0">
                        <a:moveTo>
                          <a:pt x="90" y="70"/>
                        </a:moveTo>
                        <a:lnTo>
                          <a:pt x="95" y="65"/>
                        </a:lnTo>
                        <a:lnTo>
                          <a:pt x="100" y="65"/>
                        </a:lnTo>
                        <a:lnTo>
                          <a:pt x="102" y="60"/>
                        </a:lnTo>
                        <a:lnTo>
                          <a:pt x="108" y="61"/>
                        </a:lnTo>
                        <a:lnTo>
                          <a:pt x="112" y="58"/>
                        </a:lnTo>
                        <a:lnTo>
                          <a:pt x="112" y="53"/>
                        </a:lnTo>
                        <a:lnTo>
                          <a:pt x="120" y="41"/>
                        </a:lnTo>
                        <a:lnTo>
                          <a:pt x="125" y="28"/>
                        </a:lnTo>
                        <a:lnTo>
                          <a:pt x="132" y="20"/>
                        </a:lnTo>
                        <a:lnTo>
                          <a:pt x="137" y="18"/>
                        </a:lnTo>
                        <a:lnTo>
                          <a:pt x="138" y="13"/>
                        </a:lnTo>
                        <a:lnTo>
                          <a:pt x="137" y="8"/>
                        </a:lnTo>
                        <a:lnTo>
                          <a:pt x="130" y="5"/>
                        </a:lnTo>
                        <a:lnTo>
                          <a:pt x="125" y="0"/>
                        </a:lnTo>
                        <a:lnTo>
                          <a:pt x="120" y="3"/>
                        </a:lnTo>
                        <a:lnTo>
                          <a:pt x="112" y="1"/>
                        </a:lnTo>
                        <a:lnTo>
                          <a:pt x="102" y="1"/>
                        </a:lnTo>
                        <a:lnTo>
                          <a:pt x="97" y="0"/>
                        </a:lnTo>
                        <a:lnTo>
                          <a:pt x="88" y="1"/>
                        </a:lnTo>
                        <a:lnTo>
                          <a:pt x="85" y="6"/>
                        </a:lnTo>
                        <a:lnTo>
                          <a:pt x="80" y="10"/>
                        </a:lnTo>
                        <a:lnTo>
                          <a:pt x="80" y="15"/>
                        </a:lnTo>
                        <a:lnTo>
                          <a:pt x="73" y="8"/>
                        </a:lnTo>
                        <a:lnTo>
                          <a:pt x="65" y="13"/>
                        </a:lnTo>
                        <a:lnTo>
                          <a:pt x="58" y="16"/>
                        </a:lnTo>
                        <a:lnTo>
                          <a:pt x="57" y="20"/>
                        </a:lnTo>
                        <a:lnTo>
                          <a:pt x="45" y="21"/>
                        </a:lnTo>
                        <a:lnTo>
                          <a:pt x="37" y="23"/>
                        </a:lnTo>
                        <a:lnTo>
                          <a:pt x="27" y="21"/>
                        </a:lnTo>
                        <a:lnTo>
                          <a:pt x="12" y="13"/>
                        </a:lnTo>
                        <a:lnTo>
                          <a:pt x="12" y="16"/>
                        </a:lnTo>
                        <a:lnTo>
                          <a:pt x="12" y="21"/>
                        </a:lnTo>
                        <a:lnTo>
                          <a:pt x="12" y="25"/>
                        </a:lnTo>
                        <a:lnTo>
                          <a:pt x="2" y="25"/>
                        </a:lnTo>
                        <a:lnTo>
                          <a:pt x="0" y="26"/>
                        </a:lnTo>
                        <a:lnTo>
                          <a:pt x="5" y="31"/>
                        </a:lnTo>
                        <a:lnTo>
                          <a:pt x="2" y="36"/>
                        </a:lnTo>
                        <a:lnTo>
                          <a:pt x="2" y="41"/>
                        </a:lnTo>
                        <a:lnTo>
                          <a:pt x="5" y="45"/>
                        </a:lnTo>
                        <a:lnTo>
                          <a:pt x="0" y="50"/>
                        </a:lnTo>
                        <a:lnTo>
                          <a:pt x="0" y="50"/>
                        </a:lnTo>
                        <a:lnTo>
                          <a:pt x="5" y="56"/>
                        </a:lnTo>
                        <a:lnTo>
                          <a:pt x="7" y="63"/>
                        </a:lnTo>
                        <a:lnTo>
                          <a:pt x="10" y="65"/>
                        </a:lnTo>
                        <a:lnTo>
                          <a:pt x="20" y="73"/>
                        </a:lnTo>
                        <a:lnTo>
                          <a:pt x="25" y="75"/>
                        </a:lnTo>
                        <a:lnTo>
                          <a:pt x="30" y="76"/>
                        </a:lnTo>
                        <a:lnTo>
                          <a:pt x="42" y="80"/>
                        </a:lnTo>
                        <a:lnTo>
                          <a:pt x="52" y="81"/>
                        </a:lnTo>
                        <a:lnTo>
                          <a:pt x="55" y="78"/>
                        </a:lnTo>
                        <a:lnTo>
                          <a:pt x="58" y="78"/>
                        </a:lnTo>
                        <a:lnTo>
                          <a:pt x="62" y="75"/>
                        </a:lnTo>
                        <a:lnTo>
                          <a:pt x="67" y="73"/>
                        </a:lnTo>
                        <a:lnTo>
                          <a:pt x="70" y="73"/>
                        </a:lnTo>
                        <a:lnTo>
                          <a:pt x="72" y="71"/>
                        </a:lnTo>
                        <a:lnTo>
                          <a:pt x="78" y="66"/>
                        </a:lnTo>
                        <a:lnTo>
                          <a:pt x="82" y="68"/>
                        </a:lnTo>
                        <a:lnTo>
                          <a:pt x="87" y="68"/>
                        </a:lnTo>
                        <a:lnTo>
                          <a:pt x="90" y="70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28" name="Google Shape;3075;p98">
                    <a:extLst>
                      <a:ext uri="{FF2B5EF4-FFF2-40B4-BE49-F238E27FC236}">
                        <a16:creationId xmlns:a16="http://schemas.microsoft.com/office/drawing/2014/main" id="{8BE60530-2806-6873-DB53-819A585D4320}"/>
                      </a:ext>
                    </a:extLst>
                  </p:cNvPr>
                  <p:cNvSpPr/>
                  <p:nvPr/>
                </p:nvSpPr>
                <p:spPr>
                  <a:xfrm>
                    <a:off x="6614081" y="2654424"/>
                    <a:ext cx="65285" cy="2386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2" h="46" extrusionOk="0">
                        <a:moveTo>
                          <a:pt x="2" y="36"/>
                        </a:moveTo>
                        <a:lnTo>
                          <a:pt x="17" y="44"/>
                        </a:lnTo>
                        <a:lnTo>
                          <a:pt x="27" y="46"/>
                        </a:lnTo>
                        <a:lnTo>
                          <a:pt x="35" y="44"/>
                        </a:lnTo>
                        <a:lnTo>
                          <a:pt x="47" y="43"/>
                        </a:lnTo>
                        <a:lnTo>
                          <a:pt x="48" y="39"/>
                        </a:lnTo>
                        <a:lnTo>
                          <a:pt x="55" y="36"/>
                        </a:lnTo>
                        <a:lnTo>
                          <a:pt x="63" y="31"/>
                        </a:lnTo>
                        <a:lnTo>
                          <a:pt x="70" y="38"/>
                        </a:lnTo>
                        <a:lnTo>
                          <a:pt x="70" y="33"/>
                        </a:lnTo>
                        <a:lnTo>
                          <a:pt x="75" y="29"/>
                        </a:lnTo>
                        <a:lnTo>
                          <a:pt x="78" y="24"/>
                        </a:lnTo>
                        <a:lnTo>
                          <a:pt x="87" y="23"/>
                        </a:lnTo>
                        <a:lnTo>
                          <a:pt x="92" y="24"/>
                        </a:lnTo>
                        <a:lnTo>
                          <a:pt x="102" y="24"/>
                        </a:lnTo>
                        <a:lnTo>
                          <a:pt x="110" y="26"/>
                        </a:lnTo>
                        <a:lnTo>
                          <a:pt x="117" y="23"/>
                        </a:lnTo>
                        <a:lnTo>
                          <a:pt x="117" y="15"/>
                        </a:lnTo>
                        <a:lnTo>
                          <a:pt x="122" y="5"/>
                        </a:lnTo>
                        <a:lnTo>
                          <a:pt x="122" y="5"/>
                        </a:lnTo>
                        <a:lnTo>
                          <a:pt x="112" y="0"/>
                        </a:lnTo>
                        <a:lnTo>
                          <a:pt x="102" y="0"/>
                        </a:lnTo>
                        <a:lnTo>
                          <a:pt x="98" y="1"/>
                        </a:lnTo>
                        <a:lnTo>
                          <a:pt x="95" y="0"/>
                        </a:lnTo>
                        <a:lnTo>
                          <a:pt x="92" y="0"/>
                        </a:lnTo>
                        <a:lnTo>
                          <a:pt x="88" y="3"/>
                        </a:lnTo>
                        <a:lnTo>
                          <a:pt x="85" y="0"/>
                        </a:lnTo>
                        <a:lnTo>
                          <a:pt x="78" y="0"/>
                        </a:lnTo>
                        <a:lnTo>
                          <a:pt x="75" y="0"/>
                        </a:lnTo>
                        <a:lnTo>
                          <a:pt x="72" y="1"/>
                        </a:lnTo>
                        <a:lnTo>
                          <a:pt x="68" y="5"/>
                        </a:lnTo>
                        <a:lnTo>
                          <a:pt x="63" y="5"/>
                        </a:lnTo>
                        <a:lnTo>
                          <a:pt x="63" y="5"/>
                        </a:lnTo>
                        <a:lnTo>
                          <a:pt x="63" y="5"/>
                        </a:lnTo>
                        <a:lnTo>
                          <a:pt x="52" y="5"/>
                        </a:lnTo>
                        <a:lnTo>
                          <a:pt x="47" y="8"/>
                        </a:lnTo>
                        <a:lnTo>
                          <a:pt x="40" y="8"/>
                        </a:lnTo>
                        <a:lnTo>
                          <a:pt x="33" y="15"/>
                        </a:lnTo>
                        <a:lnTo>
                          <a:pt x="25" y="16"/>
                        </a:lnTo>
                        <a:lnTo>
                          <a:pt x="15" y="20"/>
                        </a:lnTo>
                        <a:lnTo>
                          <a:pt x="14" y="18"/>
                        </a:lnTo>
                        <a:lnTo>
                          <a:pt x="7" y="18"/>
                        </a:lnTo>
                        <a:lnTo>
                          <a:pt x="2" y="21"/>
                        </a:lnTo>
                        <a:lnTo>
                          <a:pt x="0" y="21"/>
                        </a:lnTo>
                        <a:lnTo>
                          <a:pt x="0" y="28"/>
                        </a:lnTo>
                        <a:lnTo>
                          <a:pt x="2" y="36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29" name="Google Shape;3076;p98">
                    <a:extLst>
                      <a:ext uri="{FF2B5EF4-FFF2-40B4-BE49-F238E27FC236}">
                        <a16:creationId xmlns:a16="http://schemas.microsoft.com/office/drawing/2014/main" id="{7C73B980-6019-4378-4310-F633F9FE80AF}"/>
                      </a:ext>
                    </a:extLst>
                  </p:cNvPr>
                  <p:cNvSpPr/>
                  <p:nvPr/>
                </p:nvSpPr>
                <p:spPr>
                  <a:xfrm>
                    <a:off x="6685787" y="2727056"/>
                    <a:ext cx="74917" cy="4150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41" h="79" extrusionOk="0">
                        <a:moveTo>
                          <a:pt x="3" y="0"/>
                        </a:moveTo>
                        <a:lnTo>
                          <a:pt x="10" y="0"/>
                        </a:lnTo>
                        <a:lnTo>
                          <a:pt x="13" y="3"/>
                        </a:lnTo>
                        <a:lnTo>
                          <a:pt x="12" y="6"/>
                        </a:lnTo>
                        <a:lnTo>
                          <a:pt x="10" y="8"/>
                        </a:lnTo>
                        <a:lnTo>
                          <a:pt x="13" y="11"/>
                        </a:lnTo>
                        <a:lnTo>
                          <a:pt x="18" y="8"/>
                        </a:lnTo>
                        <a:lnTo>
                          <a:pt x="25" y="8"/>
                        </a:lnTo>
                        <a:lnTo>
                          <a:pt x="28" y="11"/>
                        </a:lnTo>
                        <a:lnTo>
                          <a:pt x="30" y="11"/>
                        </a:lnTo>
                        <a:lnTo>
                          <a:pt x="38" y="13"/>
                        </a:lnTo>
                        <a:lnTo>
                          <a:pt x="47" y="10"/>
                        </a:lnTo>
                        <a:lnTo>
                          <a:pt x="50" y="11"/>
                        </a:lnTo>
                        <a:lnTo>
                          <a:pt x="55" y="10"/>
                        </a:lnTo>
                        <a:lnTo>
                          <a:pt x="60" y="11"/>
                        </a:lnTo>
                        <a:lnTo>
                          <a:pt x="63" y="11"/>
                        </a:lnTo>
                        <a:lnTo>
                          <a:pt x="73" y="13"/>
                        </a:lnTo>
                        <a:lnTo>
                          <a:pt x="77" y="11"/>
                        </a:lnTo>
                        <a:lnTo>
                          <a:pt x="82" y="10"/>
                        </a:lnTo>
                        <a:lnTo>
                          <a:pt x="85" y="6"/>
                        </a:lnTo>
                        <a:lnTo>
                          <a:pt x="98" y="0"/>
                        </a:lnTo>
                        <a:lnTo>
                          <a:pt x="105" y="0"/>
                        </a:lnTo>
                        <a:lnTo>
                          <a:pt x="111" y="0"/>
                        </a:lnTo>
                        <a:lnTo>
                          <a:pt x="120" y="3"/>
                        </a:lnTo>
                        <a:lnTo>
                          <a:pt x="123" y="5"/>
                        </a:lnTo>
                        <a:lnTo>
                          <a:pt x="128" y="3"/>
                        </a:lnTo>
                        <a:lnTo>
                          <a:pt x="133" y="6"/>
                        </a:lnTo>
                        <a:lnTo>
                          <a:pt x="135" y="8"/>
                        </a:lnTo>
                        <a:lnTo>
                          <a:pt x="140" y="8"/>
                        </a:lnTo>
                        <a:lnTo>
                          <a:pt x="141" y="10"/>
                        </a:lnTo>
                        <a:lnTo>
                          <a:pt x="140" y="18"/>
                        </a:lnTo>
                        <a:lnTo>
                          <a:pt x="136" y="20"/>
                        </a:lnTo>
                        <a:lnTo>
                          <a:pt x="131" y="20"/>
                        </a:lnTo>
                        <a:lnTo>
                          <a:pt x="126" y="25"/>
                        </a:lnTo>
                        <a:lnTo>
                          <a:pt x="126" y="35"/>
                        </a:lnTo>
                        <a:lnTo>
                          <a:pt x="125" y="40"/>
                        </a:lnTo>
                        <a:lnTo>
                          <a:pt x="118" y="45"/>
                        </a:lnTo>
                        <a:lnTo>
                          <a:pt x="120" y="46"/>
                        </a:lnTo>
                        <a:lnTo>
                          <a:pt x="123" y="46"/>
                        </a:lnTo>
                        <a:lnTo>
                          <a:pt x="128" y="53"/>
                        </a:lnTo>
                        <a:lnTo>
                          <a:pt x="131" y="58"/>
                        </a:lnTo>
                        <a:lnTo>
                          <a:pt x="131" y="58"/>
                        </a:lnTo>
                        <a:lnTo>
                          <a:pt x="126" y="58"/>
                        </a:lnTo>
                        <a:lnTo>
                          <a:pt x="123" y="60"/>
                        </a:lnTo>
                        <a:lnTo>
                          <a:pt x="116" y="55"/>
                        </a:lnTo>
                        <a:lnTo>
                          <a:pt x="110" y="55"/>
                        </a:lnTo>
                        <a:lnTo>
                          <a:pt x="106" y="58"/>
                        </a:lnTo>
                        <a:lnTo>
                          <a:pt x="103" y="58"/>
                        </a:lnTo>
                        <a:lnTo>
                          <a:pt x="98" y="63"/>
                        </a:lnTo>
                        <a:lnTo>
                          <a:pt x="98" y="63"/>
                        </a:lnTo>
                        <a:lnTo>
                          <a:pt x="96" y="63"/>
                        </a:lnTo>
                        <a:lnTo>
                          <a:pt x="90" y="66"/>
                        </a:lnTo>
                        <a:lnTo>
                          <a:pt x="90" y="71"/>
                        </a:lnTo>
                        <a:lnTo>
                          <a:pt x="92" y="75"/>
                        </a:lnTo>
                        <a:lnTo>
                          <a:pt x="88" y="78"/>
                        </a:lnTo>
                        <a:lnTo>
                          <a:pt x="78" y="76"/>
                        </a:lnTo>
                        <a:lnTo>
                          <a:pt x="73" y="79"/>
                        </a:lnTo>
                        <a:lnTo>
                          <a:pt x="70" y="76"/>
                        </a:lnTo>
                        <a:lnTo>
                          <a:pt x="65" y="76"/>
                        </a:lnTo>
                        <a:lnTo>
                          <a:pt x="62" y="79"/>
                        </a:lnTo>
                        <a:lnTo>
                          <a:pt x="57" y="79"/>
                        </a:lnTo>
                        <a:lnTo>
                          <a:pt x="57" y="75"/>
                        </a:lnTo>
                        <a:lnTo>
                          <a:pt x="50" y="75"/>
                        </a:lnTo>
                        <a:lnTo>
                          <a:pt x="43" y="75"/>
                        </a:lnTo>
                        <a:lnTo>
                          <a:pt x="40" y="78"/>
                        </a:lnTo>
                        <a:lnTo>
                          <a:pt x="33" y="79"/>
                        </a:lnTo>
                        <a:lnTo>
                          <a:pt x="25" y="79"/>
                        </a:lnTo>
                        <a:lnTo>
                          <a:pt x="23" y="78"/>
                        </a:lnTo>
                        <a:lnTo>
                          <a:pt x="23" y="78"/>
                        </a:lnTo>
                        <a:lnTo>
                          <a:pt x="22" y="75"/>
                        </a:lnTo>
                        <a:lnTo>
                          <a:pt x="22" y="68"/>
                        </a:lnTo>
                        <a:lnTo>
                          <a:pt x="15" y="58"/>
                        </a:lnTo>
                        <a:lnTo>
                          <a:pt x="5" y="51"/>
                        </a:lnTo>
                        <a:lnTo>
                          <a:pt x="5" y="51"/>
                        </a:lnTo>
                        <a:lnTo>
                          <a:pt x="7" y="48"/>
                        </a:lnTo>
                        <a:lnTo>
                          <a:pt x="3" y="43"/>
                        </a:lnTo>
                        <a:lnTo>
                          <a:pt x="3" y="40"/>
                        </a:lnTo>
                        <a:lnTo>
                          <a:pt x="12" y="33"/>
                        </a:lnTo>
                        <a:lnTo>
                          <a:pt x="13" y="28"/>
                        </a:lnTo>
                        <a:lnTo>
                          <a:pt x="10" y="23"/>
                        </a:lnTo>
                        <a:lnTo>
                          <a:pt x="3" y="16"/>
                        </a:lnTo>
                        <a:lnTo>
                          <a:pt x="0" y="6"/>
                        </a:lnTo>
                        <a:lnTo>
                          <a:pt x="3" y="3"/>
                        </a:lnTo>
                        <a:lnTo>
                          <a:pt x="3" y="0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30" name="Google Shape;3077;p98">
                    <a:extLst>
                      <a:ext uri="{FF2B5EF4-FFF2-40B4-BE49-F238E27FC236}">
                        <a16:creationId xmlns:a16="http://schemas.microsoft.com/office/drawing/2014/main" id="{FD077DCF-B166-FB97-FCC3-7A910895889A}"/>
                      </a:ext>
                    </a:extLst>
                  </p:cNvPr>
                  <p:cNvSpPr/>
                  <p:nvPr/>
                </p:nvSpPr>
                <p:spPr>
                  <a:xfrm>
                    <a:off x="6664382" y="2754033"/>
                    <a:ext cx="33177" cy="2386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1" h="45" extrusionOk="0">
                        <a:moveTo>
                          <a:pt x="43" y="0"/>
                        </a:moveTo>
                        <a:lnTo>
                          <a:pt x="53" y="7"/>
                        </a:lnTo>
                        <a:lnTo>
                          <a:pt x="60" y="17"/>
                        </a:lnTo>
                        <a:lnTo>
                          <a:pt x="60" y="24"/>
                        </a:lnTo>
                        <a:lnTo>
                          <a:pt x="61" y="27"/>
                        </a:lnTo>
                        <a:lnTo>
                          <a:pt x="58" y="30"/>
                        </a:lnTo>
                        <a:lnTo>
                          <a:pt x="53" y="30"/>
                        </a:lnTo>
                        <a:lnTo>
                          <a:pt x="48" y="33"/>
                        </a:lnTo>
                        <a:lnTo>
                          <a:pt x="36" y="32"/>
                        </a:lnTo>
                        <a:lnTo>
                          <a:pt x="32" y="35"/>
                        </a:lnTo>
                        <a:lnTo>
                          <a:pt x="30" y="37"/>
                        </a:lnTo>
                        <a:lnTo>
                          <a:pt x="23" y="38"/>
                        </a:lnTo>
                        <a:lnTo>
                          <a:pt x="13" y="45"/>
                        </a:lnTo>
                        <a:lnTo>
                          <a:pt x="13" y="45"/>
                        </a:lnTo>
                        <a:lnTo>
                          <a:pt x="8" y="42"/>
                        </a:lnTo>
                        <a:lnTo>
                          <a:pt x="7" y="37"/>
                        </a:lnTo>
                        <a:lnTo>
                          <a:pt x="2" y="30"/>
                        </a:lnTo>
                        <a:lnTo>
                          <a:pt x="0" y="22"/>
                        </a:lnTo>
                        <a:lnTo>
                          <a:pt x="2" y="15"/>
                        </a:lnTo>
                        <a:lnTo>
                          <a:pt x="2" y="15"/>
                        </a:lnTo>
                        <a:lnTo>
                          <a:pt x="5" y="14"/>
                        </a:lnTo>
                        <a:lnTo>
                          <a:pt x="3" y="10"/>
                        </a:lnTo>
                        <a:lnTo>
                          <a:pt x="10" y="7"/>
                        </a:lnTo>
                        <a:lnTo>
                          <a:pt x="15" y="5"/>
                        </a:lnTo>
                        <a:lnTo>
                          <a:pt x="18" y="4"/>
                        </a:lnTo>
                        <a:lnTo>
                          <a:pt x="28" y="2"/>
                        </a:lnTo>
                        <a:lnTo>
                          <a:pt x="33" y="2"/>
                        </a:lnTo>
                        <a:lnTo>
                          <a:pt x="40" y="0"/>
                        </a:lnTo>
                        <a:lnTo>
                          <a:pt x="43" y="0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31" name="Google Shape;3078;p98">
                    <a:extLst>
                      <a:ext uri="{FF2B5EF4-FFF2-40B4-BE49-F238E27FC236}">
                        <a16:creationId xmlns:a16="http://schemas.microsoft.com/office/drawing/2014/main" id="{2D7F5A5F-F0FC-60DD-0AAA-62075D12E64E}"/>
                      </a:ext>
                    </a:extLst>
                  </p:cNvPr>
                  <p:cNvSpPr/>
                  <p:nvPr/>
                </p:nvSpPr>
                <p:spPr>
                  <a:xfrm>
                    <a:off x="6649398" y="2750920"/>
                    <a:ext cx="22475" cy="4150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3" h="79" extrusionOk="0">
                        <a:moveTo>
                          <a:pt x="32" y="21"/>
                        </a:moveTo>
                        <a:lnTo>
                          <a:pt x="30" y="28"/>
                        </a:lnTo>
                        <a:lnTo>
                          <a:pt x="32" y="36"/>
                        </a:lnTo>
                        <a:lnTo>
                          <a:pt x="37" y="43"/>
                        </a:lnTo>
                        <a:lnTo>
                          <a:pt x="38" y="48"/>
                        </a:lnTo>
                        <a:lnTo>
                          <a:pt x="43" y="51"/>
                        </a:lnTo>
                        <a:lnTo>
                          <a:pt x="43" y="56"/>
                        </a:lnTo>
                        <a:lnTo>
                          <a:pt x="40" y="63"/>
                        </a:lnTo>
                        <a:lnTo>
                          <a:pt x="30" y="66"/>
                        </a:lnTo>
                        <a:lnTo>
                          <a:pt x="30" y="71"/>
                        </a:lnTo>
                        <a:lnTo>
                          <a:pt x="27" y="78"/>
                        </a:lnTo>
                        <a:lnTo>
                          <a:pt x="23" y="79"/>
                        </a:lnTo>
                        <a:lnTo>
                          <a:pt x="18" y="76"/>
                        </a:lnTo>
                        <a:lnTo>
                          <a:pt x="13" y="66"/>
                        </a:lnTo>
                        <a:lnTo>
                          <a:pt x="5" y="66"/>
                        </a:lnTo>
                        <a:lnTo>
                          <a:pt x="3" y="63"/>
                        </a:lnTo>
                        <a:lnTo>
                          <a:pt x="5" y="58"/>
                        </a:lnTo>
                        <a:lnTo>
                          <a:pt x="2" y="54"/>
                        </a:lnTo>
                        <a:lnTo>
                          <a:pt x="2" y="48"/>
                        </a:lnTo>
                        <a:lnTo>
                          <a:pt x="3" y="44"/>
                        </a:lnTo>
                        <a:lnTo>
                          <a:pt x="2" y="38"/>
                        </a:lnTo>
                        <a:lnTo>
                          <a:pt x="3" y="28"/>
                        </a:lnTo>
                        <a:lnTo>
                          <a:pt x="5" y="26"/>
                        </a:lnTo>
                        <a:lnTo>
                          <a:pt x="7" y="23"/>
                        </a:lnTo>
                        <a:lnTo>
                          <a:pt x="0" y="20"/>
                        </a:lnTo>
                        <a:lnTo>
                          <a:pt x="0" y="11"/>
                        </a:lnTo>
                        <a:lnTo>
                          <a:pt x="3" y="6"/>
                        </a:lnTo>
                        <a:lnTo>
                          <a:pt x="8" y="0"/>
                        </a:lnTo>
                        <a:lnTo>
                          <a:pt x="10" y="0"/>
                        </a:lnTo>
                        <a:lnTo>
                          <a:pt x="13" y="5"/>
                        </a:lnTo>
                        <a:lnTo>
                          <a:pt x="17" y="0"/>
                        </a:lnTo>
                        <a:lnTo>
                          <a:pt x="17" y="0"/>
                        </a:lnTo>
                        <a:lnTo>
                          <a:pt x="18" y="1"/>
                        </a:lnTo>
                        <a:lnTo>
                          <a:pt x="22" y="5"/>
                        </a:lnTo>
                        <a:lnTo>
                          <a:pt x="25" y="6"/>
                        </a:lnTo>
                        <a:lnTo>
                          <a:pt x="30" y="10"/>
                        </a:lnTo>
                        <a:lnTo>
                          <a:pt x="30" y="11"/>
                        </a:lnTo>
                        <a:lnTo>
                          <a:pt x="30" y="20"/>
                        </a:lnTo>
                        <a:lnTo>
                          <a:pt x="32" y="21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32" name="Google Shape;3079;p98">
                    <a:extLst>
                      <a:ext uri="{FF2B5EF4-FFF2-40B4-BE49-F238E27FC236}">
                        <a16:creationId xmlns:a16="http://schemas.microsoft.com/office/drawing/2014/main" id="{366AEDEC-657A-C5F8-D203-32539076C101}"/>
                      </a:ext>
                    </a:extLst>
                  </p:cNvPr>
                  <p:cNvSpPr/>
                  <p:nvPr/>
                </p:nvSpPr>
                <p:spPr>
                  <a:xfrm>
                    <a:off x="6639767" y="2701116"/>
                    <a:ext cx="52442" cy="6121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8" h="118" extrusionOk="0">
                        <a:moveTo>
                          <a:pt x="0" y="12"/>
                        </a:moveTo>
                        <a:lnTo>
                          <a:pt x="4" y="9"/>
                        </a:lnTo>
                        <a:lnTo>
                          <a:pt x="9" y="7"/>
                        </a:lnTo>
                        <a:lnTo>
                          <a:pt x="12" y="7"/>
                        </a:lnTo>
                        <a:lnTo>
                          <a:pt x="14" y="5"/>
                        </a:lnTo>
                        <a:lnTo>
                          <a:pt x="20" y="0"/>
                        </a:lnTo>
                        <a:lnTo>
                          <a:pt x="24" y="2"/>
                        </a:lnTo>
                        <a:lnTo>
                          <a:pt x="29" y="2"/>
                        </a:lnTo>
                        <a:lnTo>
                          <a:pt x="37" y="5"/>
                        </a:lnTo>
                        <a:lnTo>
                          <a:pt x="39" y="9"/>
                        </a:lnTo>
                        <a:lnTo>
                          <a:pt x="45" y="17"/>
                        </a:lnTo>
                        <a:lnTo>
                          <a:pt x="47" y="20"/>
                        </a:lnTo>
                        <a:lnTo>
                          <a:pt x="54" y="24"/>
                        </a:lnTo>
                        <a:lnTo>
                          <a:pt x="60" y="27"/>
                        </a:lnTo>
                        <a:lnTo>
                          <a:pt x="57" y="33"/>
                        </a:lnTo>
                        <a:lnTo>
                          <a:pt x="59" y="35"/>
                        </a:lnTo>
                        <a:lnTo>
                          <a:pt x="67" y="38"/>
                        </a:lnTo>
                        <a:lnTo>
                          <a:pt x="69" y="42"/>
                        </a:lnTo>
                        <a:lnTo>
                          <a:pt x="74" y="40"/>
                        </a:lnTo>
                        <a:lnTo>
                          <a:pt x="77" y="42"/>
                        </a:lnTo>
                        <a:lnTo>
                          <a:pt x="82" y="38"/>
                        </a:lnTo>
                        <a:lnTo>
                          <a:pt x="90" y="38"/>
                        </a:lnTo>
                        <a:lnTo>
                          <a:pt x="85" y="43"/>
                        </a:lnTo>
                        <a:lnTo>
                          <a:pt x="87" y="47"/>
                        </a:lnTo>
                        <a:lnTo>
                          <a:pt x="88" y="55"/>
                        </a:lnTo>
                        <a:lnTo>
                          <a:pt x="85" y="58"/>
                        </a:lnTo>
                        <a:lnTo>
                          <a:pt x="88" y="68"/>
                        </a:lnTo>
                        <a:lnTo>
                          <a:pt x="95" y="75"/>
                        </a:lnTo>
                        <a:lnTo>
                          <a:pt x="98" y="80"/>
                        </a:lnTo>
                        <a:lnTo>
                          <a:pt x="97" y="85"/>
                        </a:lnTo>
                        <a:lnTo>
                          <a:pt x="88" y="92"/>
                        </a:lnTo>
                        <a:lnTo>
                          <a:pt x="88" y="95"/>
                        </a:lnTo>
                        <a:lnTo>
                          <a:pt x="92" y="100"/>
                        </a:lnTo>
                        <a:lnTo>
                          <a:pt x="90" y="103"/>
                        </a:lnTo>
                        <a:lnTo>
                          <a:pt x="87" y="103"/>
                        </a:lnTo>
                        <a:lnTo>
                          <a:pt x="80" y="105"/>
                        </a:lnTo>
                        <a:lnTo>
                          <a:pt x="75" y="105"/>
                        </a:lnTo>
                        <a:lnTo>
                          <a:pt x="65" y="107"/>
                        </a:lnTo>
                        <a:lnTo>
                          <a:pt x="62" y="108"/>
                        </a:lnTo>
                        <a:lnTo>
                          <a:pt x="57" y="110"/>
                        </a:lnTo>
                        <a:lnTo>
                          <a:pt x="50" y="113"/>
                        </a:lnTo>
                        <a:lnTo>
                          <a:pt x="52" y="117"/>
                        </a:lnTo>
                        <a:lnTo>
                          <a:pt x="49" y="118"/>
                        </a:lnTo>
                        <a:lnTo>
                          <a:pt x="47" y="117"/>
                        </a:lnTo>
                        <a:lnTo>
                          <a:pt x="47" y="108"/>
                        </a:lnTo>
                        <a:lnTo>
                          <a:pt x="47" y="107"/>
                        </a:lnTo>
                        <a:lnTo>
                          <a:pt x="42" y="103"/>
                        </a:lnTo>
                        <a:lnTo>
                          <a:pt x="39" y="102"/>
                        </a:lnTo>
                        <a:lnTo>
                          <a:pt x="35" y="98"/>
                        </a:lnTo>
                        <a:lnTo>
                          <a:pt x="34" y="97"/>
                        </a:lnTo>
                        <a:lnTo>
                          <a:pt x="35" y="95"/>
                        </a:lnTo>
                        <a:lnTo>
                          <a:pt x="39" y="92"/>
                        </a:lnTo>
                        <a:lnTo>
                          <a:pt x="39" y="87"/>
                        </a:lnTo>
                        <a:lnTo>
                          <a:pt x="32" y="85"/>
                        </a:lnTo>
                        <a:lnTo>
                          <a:pt x="29" y="82"/>
                        </a:lnTo>
                        <a:lnTo>
                          <a:pt x="22" y="82"/>
                        </a:lnTo>
                        <a:lnTo>
                          <a:pt x="20" y="80"/>
                        </a:lnTo>
                        <a:lnTo>
                          <a:pt x="20" y="77"/>
                        </a:lnTo>
                        <a:lnTo>
                          <a:pt x="15" y="72"/>
                        </a:lnTo>
                        <a:lnTo>
                          <a:pt x="17" y="70"/>
                        </a:lnTo>
                        <a:lnTo>
                          <a:pt x="12" y="65"/>
                        </a:lnTo>
                        <a:lnTo>
                          <a:pt x="12" y="60"/>
                        </a:lnTo>
                        <a:lnTo>
                          <a:pt x="14" y="58"/>
                        </a:lnTo>
                        <a:lnTo>
                          <a:pt x="19" y="60"/>
                        </a:lnTo>
                        <a:lnTo>
                          <a:pt x="20" y="58"/>
                        </a:lnTo>
                        <a:lnTo>
                          <a:pt x="17" y="55"/>
                        </a:lnTo>
                        <a:lnTo>
                          <a:pt x="14" y="55"/>
                        </a:lnTo>
                        <a:lnTo>
                          <a:pt x="5" y="50"/>
                        </a:lnTo>
                        <a:lnTo>
                          <a:pt x="5" y="47"/>
                        </a:lnTo>
                        <a:lnTo>
                          <a:pt x="10" y="40"/>
                        </a:lnTo>
                        <a:lnTo>
                          <a:pt x="12" y="35"/>
                        </a:lnTo>
                        <a:lnTo>
                          <a:pt x="9" y="35"/>
                        </a:lnTo>
                        <a:lnTo>
                          <a:pt x="7" y="37"/>
                        </a:lnTo>
                        <a:lnTo>
                          <a:pt x="5" y="35"/>
                        </a:lnTo>
                        <a:lnTo>
                          <a:pt x="5" y="32"/>
                        </a:lnTo>
                        <a:lnTo>
                          <a:pt x="9" y="30"/>
                        </a:lnTo>
                        <a:lnTo>
                          <a:pt x="12" y="30"/>
                        </a:lnTo>
                        <a:lnTo>
                          <a:pt x="12" y="29"/>
                        </a:lnTo>
                        <a:lnTo>
                          <a:pt x="7" y="27"/>
                        </a:lnTo>
                        <a:lnTo>
                          <a:pt x="5" y="25"/>
                        </a:lnTo>
                        <a:lnTo>
                          <a:pt x="4" y="19"/>
                        </a:lnTo>
                        <a:lnTo>
                          <a:pt x="0" y="14"/>
                        </a:lnTo>
                        <a:lnTo>
                          <a:pt x="0" y="12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33" name="Google Shape;3080;p98">
                    <a:extLst>
                      <a:ext uri="{FF2B5EF4-FFF2-40B4-BE49-F238E27FC236}">
                        <a16:creationId xmlns:a16="http://schemas.microsoft.com/office/drawing/2014/main" id="{9A35B55D-3295-8AC0-B720-C763B7A6D6F3}"/>
                      </a:ext>
                    </a:extLst>
                  </p:cNvPr>
                  <p:cNvSpPr/>
                  <p:nvPr/>
                </p:nvSpPr>
                <p:spPr>
                  <a:xfrm>
                    <a:off x="6637626" y="2736394"/>
                    <a:ext cx="22475" cy="2490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4" h="49" extrusionOk="0">
                        <a:moveTo>
                          <a:pt x="22" y="49"/>
                        </a:moveTo>
                        <a:lnTo>
                          <a:pt x="22" y="40"/>
                        </a:lnTo>
                        <a:lnTo>
                          <a:pt x="25" y="35"/>
                        </a:lnTo>
                        <a:lnTo>
                          <a:pt x="30" y="29"/>
                        </a:lnTo>
                        <a:lnTo>
                          <a:pt x="32" y="29"/>
                        </a:lnTo>
                        <a:lnTo>
                          <a:pt x="35" y="34"/>
                        </a:lnTo>
                        <a:lnTo>
                          <a:pt x="39" y="29"/>
                        </a:lnTo>
                        <a:lnTo>
                          <a:pt x="40" y="27"/>
                        </a:lnTo>
                        <a:lnTo>
                          <a:pt x="44" y="24"/>
                        </a:lnTo>
                        <a:lnTo>
                          <a:pt x="44" y="19"/>
                        </a:lnTo>
                        <a:lnTo>
                          <a:pt x="37" y="17"/>
                        </a:lnTo>
                        <a:lnTo>
                          <a:pt x="34" y="14"/>
                        </a:lnTo>
                        <a:lnTo>
                          <a:pt x="27" y="14"/>
                        </a:lnTo>
                        <a:lnTo>
                          <a:pt x="25" y="12"/>
                        </a:lnTo>
                        <a:lnTo>
                          <a:pt x="25" y="9"/>
                        </a:lnTo>
                        <a:lnTo>
                          <a:pt x="20" y="4"/>
                        </a:lnTo>
                        <a:lnTo>
                          <a:pt x="20" y="4"/>
                        </a:lnTo>
                        <a:lnTo>
                          <a:pt x="15" y="4"/>
                        </a:lnTo>
                        <a:lnTo>
                          <a:pt x="10" y="0"/>
                        </a:lnTo>
                        <a:lnTo>
                          <a:pt x="7" y="2"/>
                        </a:lnTo>
                        <a:lnTo>
                          <a:pt x="9" y="5"/>
                        </a:lnTo>
                        <a:lnTo>
                          <a:pt x="12" y="7"/>
                        </a:lnTo>
                        <a:lnTo>
                          <a:pt x="14" y="10"/>
                        </a:lnTo>
                        <a:lnTo>
                          <a:pt x="10" y="12"/>
                        </a:lnTo>
                        <a:lnTo>
                          <a:pt x="7" y="14"/>
                        </a:lnTo>
                        <a:lnTo>
                          <a:pt x="5" y="17"/>
                        </a:lnTo>
                        <a:lnTo>
                          <a:pt x="5" y="24"/>
                        </a:lnTo>
                        <a:lnTo>
                          <a:pt x="2" y="29"/>
                        </a:lnTo>
                        <a:lnTo>
                          <a:pt x="0" y="29"/>
                        </a:lnTo>
                        <a:lnTo>
                          <a:pt x="2" y="30"/>
                        </a:lnTo>
                        <a:lnTo>
                          <a:pt x="5" y="34"/>
                        </a:lnTo>
                        <a:lnTo>
                          <a:pt x="15" y="44"/>
                        </a:lnTo>
                        <a:lnTo>
                          <a:pt x="15" y="47"/>
                        </a:lnTo>
                        <a:lnTo>
                          <a:pt x="22" y="49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34" name="Google Shape;3081;p98">
                    <a:extLst>
                      <a:ext uri="{FF2B5EF4-FFF2-40B4-BE49-F238E27FC236}">
                        <a16:creationId xmlns:a16="http://schemas.microsoft.com/office/drawing/2014/main" id="{9E724E70-9BD2-02C0-F56F-D283E287F2C9}"/>
                      </a:ext>
                    </a:extLst>
                  </p:cNvPr>
                  <p:cNvSpPr/>
                  <p:nvPr/>
                </p:nvSpPr>
                <p:spPr>
                  <a:xfrm>
                    <a:off x="6575552" y="2699041"/>
                    <a:ext cx="70636" cy="4772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" h="93" extrusionOk="0">
                        <a:moveTo>
                          <a:pt x="126" y="38"/>
                        </a:moveTo>
                        <a:lnTo>
                          <a:pt x="126" y="35"/>
                        </a:lnTo>
                        <a:lnTo>
                          <a:pt x="130" y="33"/>
                        </a:lnTo>
                        <a:lnTo>
                          <a:pt x="133" y="33"/>
                        </a:lnTo>
                        <a:lnTo>
                          <a:pt x="133" y="32"/>
                        </a:lnTo>
                        <a:lnTo>
                          <a:pt x="128" y="30"/>
                        </a:lnTo>
                        <a:lnTo>
                          <a:pt x="126" y="28"/>
                        </a:lnTo>
                        <a:lnTo>
                          <a:pt x="125" y="22"/>
                        </a:lnTo>
                        <a:lnTo>
                          <a:pt x="121" y="17"/>
                        </a:lnTo>
                        <a:lnTo>
                          <a:pt x="118" y="15"/>
                        </a:lnTo>
                        <a:lnTo>
                          <a:pt x="115" y="18"/>
                        </a:lnTo>
                        <a:lnTo>
                          <a:pt x="105" y="17"/>
                        </a:lnTo>
                        <a:lnTo>
                          <a:pt x="93" y="13"/>
                        </a:lnTo>
                        <a:lnTo>
                          <a:pt x="88" y="12"/>
                        </a:lnTo>
                        <a:lnTo>
                          <a:pt x="83" y="10"/>
                        </a:lnTo>
                        <a:lnTo>
                          <a:pt x="73" y="2"/>
                        </a:lnTo>
                        <a:lnTo>
                          <a:pt x="70" y="0"/>
                        </a:lnTo>
                        <a:lnTo>
                          <a:pt x="70" y="2"/>
                        </a:lnTo>
                        <a:lnTo>
                          <a:pt x="60" y="2"/>
                        </a:lnTo>
                        <a:lnTo>
                          <a:pt x="45" y="8"/>
                        </a:lnTo>
                        <a:lnTo>
                          <a:pt x="43" y="13"/>
                        </a:lnTo>
                        <a:lnTo>
                          <a:pt x="37" y="17"/>
                        </a:lnTo>
                        <a:lnTo>
                          <a:pt x="35" y="25"/>
                        </a:lnTo>
                        <a:lnTo>
                          <a:pt x="30" y="25"/>
                        </a:lnTo>
                        <a:lnTo>
                          <a:pt x="20" y="22"/>
                        </a:lnTo>
                        <a:lnTo>
                          <a:pt x="15" y="23"/>
                        </a:lnTo>
                        <a:lnTo>
                          <a:pt x="10" y="27"/>
                        </a:lnTo>
                        <a:lnTo>
                          <a:pt x="0" y="27"/>
                        </a:lnTo>
                        <a:lnTo>
                          <a:pt x="0" y="28"/>
                        </a:lnTo>
                        <a:lnTo>
                          <a:pt x="2" y="36"/>
                        </a:lnTo>
                        <a:lnTo>
                          <a:pt x="8" y="41"/>
                        </a:lnTo>
                        <a:lnTo>
                          <a:pt x="7" y="43"/>
                        </a:lnTo>
                        <a:lnTo>
                          <a:pt x="10" y="45"/>
                        </a:lnTo>
                        <a:lnTo>
                          <a:pt x="15" y="35"/>
                        </a:lnTo>
                        <a:lnTo>
                          <a:pt x="17" y="32"/>
                        </a:lnTo>
                        <a:lnTo>
                          <a:pt x="20" y="27"/>
                        </a:lnTo>
                        <a:lnTo>
                          <a:pt x="25" y="27"/>
                        </a:lnTo>
                        <a:lnTo>
                          <a:pt x="27" y="32"/>
                        </a:lnTo>
                        <a:lnTo>
                          <a:pt x="32" y="35"/>
                        </a:lnTo>
                        <a:lnTo>
                          <a:pt x="33" y="41"/>
                        </a:lnTo>
                        <a:lnTo>
                          <a:pt x="37" y="48"/>
                        </a:lnTo>
                        <a:lnTo>
                          <a:pt x="43" y="53"/>
                        </a:lnTo>
                        <a:lnTo>
                          <a:pt x="47" y="53"/>
                        </a:lnTo>
                        <a:lnTo>
                          <a:pt x="50" y="58"/>
                        </a:lnTo>
                        <a:lnTo>
                          <a:pt x="47" y="56"/>
                        </a:lnTo>
                        <a:lnTo>
                          <a:pt x="42" y="58"/>
                        </a:lnTo>
                        <a:lnTo>
                          <a:pt x="40" y="61"/>
                        </a:lnTo>
                        <a:lnTo>
                          <a:pt x="43" y="65"/>
                        </a:lnTo>
                        <a:lnTo>
                          <a:pt x="48" y="65"/>
                        </a:lnTo>
                        <a:lnTo>
                          <a:pt x="53" y="70"/>
                        </a:lnTo>
                        <a:lnTo>
                          <a:pt x="58" y="71"/>
                        </a:lnTo>
                        <a:lnTo>
                          <a:pt x="60" y="75"/>
                        </a:lnTo>
                        <a:lnTo>
                          <a:pt x="63" y="78"/>
                        </a:lnTo>
                        <a:lnTo>
                          <a:pt x="68" y="76"/>
                        </a:lnTo>
                        <a:lnTo>
                          <a:pt x="80" y="78"/>
                        </a:lnTo>
                        <a:lnTo>
                          <a:pt x="85" y="80"/>
                        </a:lnTo>
                        <a:lnTo>
                          <a:pt x="97" y="91"/>
                        </a:lnTo>
                        <a:lnTo>
                          <a:pt x="93" y="91"/>
                        </a:lnTo>
                        <a:lnTo>
                          <a:pt x="88" y="88"/>
                        </a:lnTo>
                        <a:lnTo>
                          <a:pt x="92" y="91"/>
                        </a:lnTo>
                        <a:lnTo>
                          <a:pt x="97" y="93"/>
                        </a:lnTo>
                        <a:lnTo>
                          <a:pt x="97" y="93"/>
                        </a:lnTo>
                        <a:lnTo>
                          <a:pt x="98" y="90"/>
                        </a:lnTo>
                        <a:lnTo>
                          <a:pt x="80" y="71"/>
                        </a:lnTo>
                        <a:lnTo>
                          <a:pt x="62" y="56"/>
                        </a:lnTo>
                        <a:lnTo>
                          <a:pt x="60" y="55"/>
                        </a:lnTo>
                        <a:lnTo>
                          <a:pt x="62" y="53"/>
                        </a:lnTo>
                        <a:lnTo>
                          <a:pt x="58" y="48"/>
                        </a:lnTo>
                        <a:lnTo>
                          <a:pt x="58" y="45"/>
                        </a:lnTo>
                        <a:lnTo>
                          <a:pt x="53" y="40"/>
                        </a:lnTo>
                        <a:lnTo>
                          <a:pt x="50" y="40"/>
                        </a:lnTo>
                        <a:lnTo>
                          <a:pt x="50" y="36"/>
                        </a:lnTo>
                        <a:lnTo>
                          <a:pt x="52" y="35"/>
                        </a:lnTo>
                        <a:lnTo>
                          <a:pt x="52" y="30"/>
                        </a:lnTo>
                        <a:lnTo>
                          <a:pt x="53" y="28"/>
                        </a:lnTo>
                        <a:lnTo>
                          <a:pt x="60" y="32"/>
                        </a:lnTo>
                        <a:lnTo>
                          <a:pt x="62" y="35"/>
                        </a:lnTo>
                        <a:lnTo>
                          <a:pt x="65" y="33"/>
                        </a:lnTo>
                        <a:lnTo>
                          <a:pt x="65" y="32"/>
                        </a:lnTo>
                        <a:lnTo>
                          <a:pt x="68" y="30"/>
                        </a:lnTo>
                        <a:lnTo>
                          <a:pt x="72" y="30"/>
                        </a:lnTo>
                        <a:lnTo>
                          <a:pt x="75" y="28"/>
                        </a:lnTo>
                        <a:lnTo>
                          <a:pt x="78" y="30"/>
                        </a:lnTo>
                        <a:lnTo>
                          <a:pt x="80" y="28"/>
                        </a:lnTo>
                        <a:lnTo>
                          <a:pt x="85" y="30"/>
                        </a:lnTo>
                        <a:lnTo>
                          <a:pt x="87" y="33"/>
                        </a:lnTo>
                        <a:lnTo>
                          <a:pt x="90" y="32"/>
                        </a:lnTo>
                        <a:lnTo>
                          <a:pt x="95" y="33"/>
                        </a:lnTo>
                        <a:lnTo>
                          <a:pt x="98" y="32"/>
                        </a:lnTo>
                        <a:lnTo>
                          <a:pt x="100" y="33"/>
                        </a:lnTo>
                        <a:lnTo>
                          <a:pt x="106" y="32"/>
                        </a:lnTo>
                        <a:lnTo>
                          <a:pt x="111" y="33"/>
                        </a:lnTo>
                        <a:lnTo>
                          <a:pt x="115" y="33"/>
                        </a:lnTo>
                        <a:lnTo>
                          <a:pt x="118" y="36"/>
                        </a:lnTo>
                        <a:lnTo>
                          <a:pt x="126" y="36"/>
                        </a:lnTo>
                        <a:lnTo>
                          <a:pt x="126" y="38"/>
                        </a:lnTo>
                        <a:lnTo>
                          <a:pt x="126" y="38"/>
                        </a:lnTo>
                        <a:close/>
                        <a:moveTo>
                          <a:pt x="77" y="90"/>
                        </a:moveTo>
                        <a:lnTo>
                          <a:pt x="77" y="90"/>
                        </a:lnTo>
                        <a:lnTo>
                          <a:pt x="85" y="90"/>
                        </a:lnTo>
                        <a:lnTo>
                          <a:pt x="88" y="91"/>
                        </a:lnTo>
                        <a:lnTo>
                          <a:pt x="80" y="91"/>
                        </a:lnTo>
                        <a:lnTo>
                          <a:pt x="77" y="90"/>
                        </a:lnTo>
                        <a:lnTo>
                          <a:pt x="77" y="90"/>
                        </a:lnTo>
                        <a:close/>
                        <a:moveTo>
                          <a:pt x="70" y="85"/>
                        </a:moveTo>
                        <a:lnTo>
                          <a:pt x="83" y="85"/>
                        </a:lnTo>
                        <a:lnTo>
                          <a:pt x="78" y="86"/>
                        </a:lnTo>
                        <a:lnTo>
                          <a:pt x="70" y="85"/>
                        </a:lnTo>
                        <a:lnTo>
                          <a:pt x="70" y="85"/>
                        </a:lnTo>
                        <a:close/>
                        <a:moveTo>
                          <a:pt x="70" y="80"/>
                        </a:moveTo>
                        <a:lnTo>
                          <a:pt x="80" y="80"/>
                        </a:lnTo>
                        <a:lnTo>
                          <a:pt x="82" y="81"/>
                        </a:lnTo>
                        <a:lnTo>
                          <a:pt x="78" y="83"/>
                        </a:lnTo>
                        <a:lnTo>
                          <a:pt x="73" y="83"/>
                        </a:lnTo>
                        <a:lnTo>
                          <a:pt x="70" y="80"/>
                        </a:lnTo>
                        <a:lnTo>
                          <a:pt x="70" y="80"/>
                        </a:lnTo>
                        <a:close/>
                        <a:moveTo>
                          <a:pt x="37" y="51"/>
                        </a:moveTo>
                        <a:lnTo>
                          <a:pt x="38" y="53"/>
                        </a:lnTo>
                        <a:lnTo>
                          <a:pt x="42" y="56"/>
                        </a:lnTo>
                        <a:lnTo>
                          <a:pt x="40" y="58"/>
                        </a:lnTo>
                        <a:lnTo>
                          <a:pt x="37" y="51"/>
                        </a:lnTo>
                        <a:lnTo>
                          <a:pt x="37" y="51"/>
                        </a:lnTo>
                        <a:close/>
                        <a:moveTo>
                          <a:pt x="32" y="46"/>
                        </a:moveTo>
                        <a:lnTo>
                          <a:pt x="37" y="50"/>
                        </a:lnTo>
                        <a:lnTo>
                          <a:pt x="32" y="50"/>
                        </a:lnTo>
                        <a:lnTo>
                          <a:pt x="32" y="46"/>
                        </a:lnTo>
                        <a:lnTo>
                          <a:pt x="32" y="46"/>
                        </a:lnTo>
                        <a:close/>
                        <a:moveTo>
                          <a:pt x="33" y="60"/>
                        </a:moveTo>
                        <a:lnTo>
                          <a:pt x="38" y="63"/>
                        </a:lnTo>
                        <a:lnTo>
                          <a:pt x="40" y="66"/>
                        </a:lnTo>
                        <a:lnTo>
                          <a:pt x="33" y="60"/>
                        </a:lnTo>
                        <a:lnTo>
                          <a:pt x="33" y="60"/>
                        </a:lnTo>
                        <a:close/>
                        <a:moveTo>
                          <a:pt x="27" y="51"/>
                        </a:moveTo>
                        <a:lnTo>
                          <a:pt x="30" y="53"/>
                        </a:lnTo>
                        <a:lnTo>
                          <a:pt x="32" y="56"/>
                        </a:lnTo>
                        <a:lnTo>
                          <a:pt x="27" y="51"/>
                        </a:lnTo>
                        <a:lnTo>
                          <a:pt x="27" y="51"/>
                        </a:lnTo>
                        <a:close/>
                        <a:moveTo>
                          <a:pt x="18" y="40"/>
                        </a:moveTo>
                        <a:lnTo>
                          <a:pt x="25" y="45"/>
                        </a:lnTo>
                        <a:lnTo>
                          <a:pt x="27" y="50"/>
                        </a:lnTo>
                        <a:lnTo>
                          <a:pt x="25" y="50"/>
                        </a:lnTo>
                        <a:lnTo>
                          <a:pt x="20" y="46"/>
                        </a:lnTo>
                        <a:lnTo>
                          <a:pt x="22" y="45"/>
                        </a:lnTo>
                        <a:lnTo>
                          <a:pt x="18" y="40"/>
                        </a:lnTo>
                        <a:lnTo>
                          <a:pt x="18" y="40"/>
                        </a:lnTo>
                        <a:close/>
                        <a:moveTo>
                          <a:pt x="22" y="32"/>
                        </a:moveTo>
                        <a:lnTo>
                          <a:pt x="30" y="41"/>
                        </a:lnTo>
                        <a:lnTo>
                          <a:pt x="27" y="41"/>
                        </a:lnTo>
                        <a:lnTo>
                          <a:pt x="23" y="40"/>
                        </a:lnTo>
                        <a:lnTo>
                          <a:pt x="20" y="40"/>
                        </a:lnTo>
                        <a:lnTo>
                          <a:pt x="20" y="33"/>
                        </a:lnTo>
                        <a:lnTo>
                          <a:pt x="20" y="33"/>
                        </a:lnTo>
                        <a:lnTo>
                          <a:pt x="22" y="32"/>
                        </a:lnTo>
                        <a:lnTo>
                          <a:pt x="22" y="32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35" name="Google Shape;3082;p98">
                    <a:extLst>
                      <a:ext uri="{FF2B5EF4-FFF2-40B4-BE49-F238E27FC236}">
                        <a16:creationId xmlns:a16="http://schemas.microsoft.com/office/drawing/2014/main" id="{BF3B8233-358D-E5BD-742B-9DD7B889CCF9}"/>
                      </a:ext>
                    </a:extLst>
                  </p:cNvPr>
                  <p:cNvSpPr/>
                  <p:nvPr/>
                </p:nvSpPr>
                <p:spPr>
                  <a:xfrm>
                    <a:off x="6602307" y="2713567"/>
                    <a:ext cx="48161" cy="3735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1" h="72" extrusionOk="0">
                        <a:moveTo>
                          <a:pt x="47" y="65"/>
                        </a:moveTo>
                        <a:lnTo>
                          <a:pt x="48" y="62"/>
                        </a:lnTo>
                        <a:lnTo>
                          <a:pt x="30" y="43"/>
                        </a:lnTo>
                        <a:lnTo>
                          <a:pt x="12" y="28"/>
                        </a:lnTo>
                        <a:lnTo>
                          <a:pt x="10" y="27"/>
                        </a:lnTo>
                        <a:lnTo>
                          <a:pt x="12" y="25"/>
                        </a:lnTo>
                        <a:lnTo>
                          <a:pt x="8" y="20"/>
                        </a:lnTo>
                        <a:lnTo>
                          <a:pt x="8" y="17"/>
                        </a:lnTo>
                        <a:lnTo>
                          <a:pt x="3" y="12"/>
                        </a:lnTo>
                        <a:lnTo>
                          <a:pt x="0" y="12"/>
                        </a:lnTo>
                        <a:lnTo>
                          <a:pt x="0" y="8"/>
                        </a:lnTo>
                        <a:lnTo>
                          <a:pt x="2" y="7"/>
                        </a:lnTo>
                        <a:lnTo>
                          <a:pt x="2" y="2"/>
                        </a:lnTo>
                        <a:lnTo>
                          <a:pt x="3" y="0"/>
                        </a:lnTo>
                        <a:lnTo>
                          <a:pt x="10" y="4"/>
                        </a:lnTo>
                        <a:lnTo>
                          <a:pt x="12" y="7"/>
                        </a:lnTo>
                        <a:lnTo>
                          <a:pt x="15" y="5"/>
                        </a:lnTo>
                        <a:lnTo>
                          <a:pt x="15" y="4"/>
                        </a:lnTo>
                        <a:lnTo>
                          <a:pt x="18" y="2"/>
                        </a:lnTo>
                        <a:lnTo>
                          <a:pt x="22" y="2"/>
                        </a:lnTo>
                        <a:lnTo>
                          <a:pt x="25" y="0"/>
                        </a:lnTo>
                        <a:lnTo>
                          <a:pt x="28" y="2"/>
                        </a:lnTo>
                        <a:lnTo>
                          <a:pt x="30" y="0"/>
                        </a:lnTo>
                        <a:lnTo>
                          <a:pt x="35" y="2"/>
                        </a:lnTo>
                        <a:lnTo>
                          <a:pt x="37" y="5"/>
                        </a:lnTo>
                        <a:lnTo>
                          <a:pt x="40" y="4"/>
                        </a:lnTo>
                        <a:lnTo>
                          <a:pt x="45" y="5"/>
                        </a:lnTo>
                        <a:lnTo>
                          <a:pt x="48" y="4"/>
                        </a:lnTo>
                        <a:lnTo>
                          <a:pt x="50" y="5"/>
                        </a:lnTo>
                        <a:lnTo>
                          <a:pt x="56" y="4"/>
                        </a:lnTo>
                        <a:lnTo>
                          <a:pt x="61" y="5"/>
                        </a:lnTo>
                        <a:lnTo>
                          <a:pt x="65" y="5"/>
                        </a:lnTo>
                        <a:lnTo>
                          <a:pt x="68" y="8"/>
                        </a:lnTo>
                        <a:lnTo>
                          <a:pt x="76" y="8"/>
                        </a:lnTo>
                        <a:lnTo>
                          <a:pt x="78" y="12"/>
                        </a:lnTo>
                        <a:lnTo>
                          <a:pt x="80" y="10"/>
                        </a:lnTo>
                        <a:lnTo>
                          <a:pt x="83" y="10"/>
                        </a:lnTo>
                        <a:lnTo>
                          <a:pt x="81" y="15"/>
                        </a:lnTo>
                        <a:lnTo>
                          <a:pt x="76" y="22"/>
                        </a:lnTo>
                        <a:lnTo>
                          <a:pt x="76" y="25"/>
                        </a:lnTo>
                        <a:lnTo>
                          <a:pt x="85" y="30"/>
                        </a:lnTo>
                        <a:lnTo>
                          <a:pt x="88" y="30"/>
                        </a:lnTo>
                        <a:lnTo>
                          <a:pt x="91" y="33"/>
                        </a:lnTo>
                        <a:lnTo>
                          <a:pt x="90" y="35"/>
                        </a:lnTo>
                        <a:lnTo>
                          <a:pt x="85" y="33"/>
                        </a:lnTo>
                        <a:lnTo>
                          <a:pt x="83" y="35"/>
                        </a:lnTo>
                        <a:lnTo>
                          <a:pt x="83" y="40"/>
                        </a:lnTo>
                        <a:lnTo>
                          <a:pt x="88" y="45"/>
                        </a:lnTo>
                        <a:lnTo>
                          <a:pt x="86" y="47"/>
                        </a:lnTo>
                        <a:lnTo>
                          <a:pt x="81" y="47"/>
                        </a:lnTo>
                        <a:lnTo>
                          <a:pt x="76" y="43"/>
                        </a:lnTo>
                        <a:lnTo>
                          <a:pt x="73" y="45"/>
                        </a:lnTo>
                        <a:lnTo>
                          <a:pt x="75" y="48"/>
                        </a:lnTo>
                        <a:lnTo>
                          <a:pt x="78" y="50"/>
                        </a:lnTo>
                        <a:lnTo>
                          <a:pt x="80" y="53"/>
                        </a:lnTo>
                        <a:lnTo>
                          <a:pt x="76" y="55"/>
                        </a:lnTo>
                        <a:lnTo>
                          <a:pt x="73" y="57"/>
                        </a:lnTo>
                        <a:lnTo>
                          <a:pt x="71" y="60"/>
                        </a:lnTo>
                        <a:lnTo>
                          <a:pt x="71" y="67"/>
                        </a:lnTo>
                        <a:lnTo>
                          <a:pt x="68" y="72"/>
                        </a:lnTo>
                        <a:lnTo>
                          <a:pt x="66" y="72"/>
                        </a:lnTo>
                        <a:lnTo>
                          <a:pt x="60" y="65"/>
                        </a:lnTo>
                        <a:lnTo>
                          <a:pt x="58" y="67"/>
                        </a:lnTo>
                        <a:lnTo>
                          <a:pt x="48" y="65"/>
                        </a:lnTo>
                        <a:lnTo>
                          <a:pt x="47" y="65"/>
                        </a:lnTo>
                        <a:lnTo>
                          <a:pt x="47" y="65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36" name="Google Shape;3083;p98">
                    <a:extLst>
                      <a:ext uri="{FF2B5EF4-FFF2-40B4-BE49-F238E27FC236}">
                        <a16:creationId xmlns:a16="http://schemas.microsoft.com/office/drawing/2014/main" id="{6C01477E-C7A5-5312-74CF-6375451DAB27}"/>
                      </a:ext>
                    </a:extLst>
                  </p:cNvPr>
                  <p:cNvSpPr/>
                  <p:nvPr/>
                </p:nvSpPr>
                <p:spPr>
                  <a:xfrm>
                    <a:off x="6574481" y="2691778"/>
                    <a:ext cx="37458" cy="2075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71" h="40" extrusionOk="0">
                        <a:moveTo>
                          <a:pt x="1" y="40"/>
                        </a:moveTo>
                        <a:lnTo>
                          <a:pt x="11" y="40"/>
                        </a:lnTo>
                        <a:lnTo>
                          <a:pt x="16" y="36"/>
                        </a:lnTo>
                        <a:lnTo>
                          <a:pt x="21" y="35"/>
                        </a:lnTo>
                        <a:lnTo>
                          <a:pt x="31" y="38"/>
                        </a:lnTo>
                        <a:lnTo>
                          <a:pt x="36" y="38"/>
                        </a:lnTo>
                        <a:lnTo>
                          <a:pt x="38" y="30"/>
                        </a:lnTo>
                        <a:lnTo>
                          <a:pt x="44" y="26"/>
                        </a:lnTo>
                        <a:lnTo>
                          <a:pt x="46" y="21"/>
                        </a:lnTo>
                        <a:lnTo>
                          <a:pt x="61" y="15"/>
                        </a:lnTo>
                        <a:lnTo>
                          <a:pt x="71" y="15"/>
                        </a:lnTo>
                        <a:lnTo>
                          <a:pt x="69" y="6"/>
                        </a:lnTo>
                        <a:lnTo>
                          <a:pt x="64" y="0"/>
                        </a:lnTo>
                        <a:lnTo>
                          <a:pt x="58" y="1"/>
                        </a:lnTo>
                        <a:lnTo>
                          <a:pt x="48" y="6"/>
                        </a:lnTo>
                        <a:lnTo>
                          <a:pt x="44" y="6"/>
                        </a:lnTo>
                        <a:lnTo>
                          <a:pt x="41" y="6"/>
                        </a:lnTo>
                        <a:lnTo>
                          <a:pt x="36" y="10"/>
                        </a:lnTo>
                        <a:lnTo>
                          <a:pt x="31" y="10"/>
                        </a:lnTo>
                        <a:lnTo>
                          <a:pt x="24" y="11"/>
                        </a:lnTo>
                        <a:lnTo>
                          <a:pt x="21" y="8"/>
                        </a:lnTo>
                        <a:lnTo>
                          <a:pt x="11" y="8"/>
                        </a:lnTo>
                        <a:lnTo>
                          <a:pt x="6" y="8"/>
                        </a:lnTo>
                        <a:lnTo>
                          <a:pt x="1" y="15"/>
                        </a:lnTo>
                        <a:lnTo>
                          <a:pt x="3" y="18"/>
                        </a:lnTo>
                        <a:lnTo>
                          <a:pt x="0" y="23"/>
                        </a:lnTo>
                        <a:lnTo>
                          <a:pt x="1" y="30"/>
                        </a:lnTo>
                        <a:lnTo>
                          <a:pt x="1" y="30"/>
                        </a:lnTo>
                        <a:lnTo>
                          <a:pt x="6" y="33"/>
                        </a:lnTo>
                        <a:lnTo>
                          <a:pt x="6" y="35"/>
                        </a:lnTo>
                        <a:lnTo>
                          <a:pt x="1" y="36"/>
                        </a:lnTo>
                        <a:lnTo>
                          <a:pt x="1" y="40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37" name="Google Shape;3084;p98">
                    <a:extLst>
                      <a:ext uri="{FF2B5EF4-FFF2-40B4-BE49-F238E27FC236}">
                        <a16:creationId xmlns:a16="http://schemas.microsoft.com/office/drawing/2014/main" id="{4FB190E7-4E77-CDC7-04F5-271CD901265A}"/>
                      </a:ext>
                    </a:extLst>
                  </p:cNvPr>
                  <p:cNvSpPr/>
                  <p:nvPr/>
                </p:nvSpPr>
                <p:spPr>
                  <a:xfrm>
                    <a:off x="6525250" y="2660650"/>
                    <a:ext cx="89901" cy="3735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68" h="73" extrusionOk="0">
                        <a:moveTo>
                          <a:pt x="98" y="70"/>
                        </a:moveTo>
                        <a:lnTo>
                          <a:pt x="103" y="70"/>
                        </a:lnTo>
                        <a:lnTo>
                          <a:pt x="113" y="70"/>
                        </a:lnTo>
                        <a:lnTo>
                          <a:pt x="116" y="73"/>
                        </a:lnTo>
                        <a:lnTo>
                          <a:pt x="123" y="72"/>
                        </a:lnTo>
                        <a:lnTo>
                          <a:pt x="128" y="72"/>
                        </a:lnTo>
                        <a:lnTo>
                          <a:pt x="133" y="68"/>
                        </a:lnTo>
                        <a:lnTo>
                          <a:pt x="136" y="68"/>
                        </a:lnTo>
                        <a:lnTo>
                          <a:pt x="140" y="68"/>
                        </a:lnTo>
                        <a:lnTo>
                          <a:pt x="150" y="63"/>
                        </a:lnTo>
                        <a:lnTo>
                          <a:pt x="156" y="62"/>
                        </a:lnTo>
                        <a:lnTo>
                          <a:pt x="161" y="57"/>
                        </a:lnTo>
                        <a:lnTo>
                          <a:pt x="158" y="53"/>
                        </a:lnTo>
                        <a:lnTo>
                          <a:pt x="158" y="48"/>
                        </a:lnTo>
                        <a:lnTo>
                          <a:pt x="161" y="43"/>
                        </a:lnTo>
                        <a:lnTo>
                          <a:pt x="156" y="38"/>
                        </a:lnTo>
                        <a:lnTo>
                          <a:pt x="158" y="37"/>
                        </a:lnTo>
                        <a:lnTo>
                          <a:pt x="168" y="37"/>
                        </a:lnTo>
                        <a:lnTo>
                          <a:pt x="168" y="33"/>
                        </a:lnTo>
                        <a:lnTo>
                          <a:pt x="168" y="28"/>
                        </a:lnTo>
                        <a:lnTo>
                          <a:pt x="166" y="17"/>
                        </a:lnTo>
                        <a:lnTo>
                          <a:pt x="166" y="10"/>
                        </a:lnTo>
                        <a:lnTo>
                          <a:pt x="156" y="7"/>
                        </a:lnTo>
                        <a:lnTo>
                          <a:pt x="153" y="5"/>
                        </a:lnTo>
                        <a:lnTo>
                          <a:pt x="146" y="5"/>
                        </a:lnTo>
                        <a:lnTo>
                          <a:pt x="140" y="5"/>
                        </a:lnTo>
                        <a:lnTo>
                          <a:pt x="133" y="2"/>
                        </a:lnTo>
                        <a:lnTo>
                          <a:pt x="125" y="2"/>
                        </a:lnTo>
                        <a:lnTo>
                          <a:pt x="120" y="0"/>
                        </a:lnTo>
                        <a:lnTo>
                          <a:pt x="118" y="4"/>
                        </a:lnTo>
                        <a:lnTo>
                          <a:pt x="115" y="5"/>
                        </a:lnTo>
                        <a:lnTo>
                          <a:pt x="115" y="9"/>
                        </a:lnTo>
                        <a:lnTo>
                          <a:pt x="108" y="10"/>
                        </a:lnTo>
                        <a:lnTo>
                          <a:pt x="106" y="12"/>
                        </a:lnTo>
                        <a:lnTo>
                          <a:pt x="95" y="5"/>
                        </a:lnTo>
                        <a:lnTo>
                          <a:pt x="90" y="5"/>
                        </a:lnTo>
                        <a:lnTo>
                          <a:pt x="90" y="9"/>
                        </a:lnTo>
                        <a:lnTo>
                          <a:pt x="90" y="13"/>
                        </a:lnTo>
                        <a:lnTo>
                          <a:pt x="87" y="13"/>
                        </a:lnTo>
                        <a:lnTo>
                          <a:pt x="83" y="18"/>
                        </a:lnTo>
                        <a:lnTo>
                          <a:pt x="78" y="20"/>
                        </a:lnTo>
                        <a:lnTo>
                          <a:pt x="72" y="28"/>
                        </a:lnTo>
                        <a:lnTo>
                          <a:pt x="72" y="30"/>
                        </a:lnTo>
                        <a:lnTo>
                          <a:pt x="77" y="33"/>
                        </a:lnTo>
                        <a:lnTo>
                          <a:pt x="78" y="37"/>
                        </a:lnTo>
                        <a:lnTo>
                          <a:pt x="75" y="38"/>
                        </a:lnTo>
                        <a:lnTo>
                          <a:pt x="70" y="37"/>
                        </a:lnTo>
                        <a:lnTo>
                          <a:pt x="65" y="38"/>
                        </a:lnTo>
                        <a:lnTo>
                          <a:pt x="60" y="37"/>
                        </a:lnTo>
                        <a:lnTo>
                          <a:pt x="55" y="37"/>
                        </a:lnTo>
                        <a:lnTo>
                          <a:pt x="48" y="42"/>
                        </a:lnTo>
                        <a:lnTo>
                          <a:pt x="43" y="42"/>
                        </a:lnTo>
                        <a:lnTo>
                          <a:pt x="40" y="42"/>
                        </a:lnTo>
                        <a:lnTo>
                          <a:pt x="35" y="42"/>
                        </a:lnTo>
                        <a:lnTo>
                          <a:pt x="32" y="40"/>
                        </a:lnTo>
                        <a:lnTo>
                          <a:pt x="25" y="38"/>
                        </a:lnTo>
                        <a:lnTo>
                          <a:pt x="18" y="40"/>
                        </a:lnTo>
                        <a:lnTo>
                          <a:pt x="20" y="43"/>
                        </a:lnTo>
                        <a:lnTo>
                          <a:pt x="18" y="45"/>
                        </a:lnTo>
                        <a:lnTo>
                          <a:pt x="12" y="43"/>
                        </a:lnTo>
                        <a:lnTo>
                          <a:pt x="8" y="40"/>
                        </a:lnTo>
                        <a:lnTo>
                          <a:pt x="3" y="42"/>
                        </a:lnTo>
                        <a:lnTo>
                          <a:pt x="2" y="42"/>
                        </a:lnTo>
                        <a:lnTo>
                          <a:pt x="0" y="42"/>
                        </a:lnTo>
                        <a:lnTo>
                          <a:pt x="3" y="43"/>
                        </a:lnTo>
                        <a:lnTo>
                          <a:pt x="3" y="47"/>
                        </a:lnTo>
                        <a:lnTo>
                          <a:pt x="5" y="50"/>
                        </a:lnTo>
                        <a:lnTo>
                          <a:pt x="5" y="53"/>
                        </a:lnTo>
                        <a:lnTo>
                          <a:pt x="8" y="53"/>
                        </a:lnTo>
                        <a:lnTo>
                          <a:pt x="12" y="52"/>
                        </a:lnTo>
                        <a:lnTo>
                          <a:pt x="17" y="57"/>
                        </a:lnTo>
                        <a:lnTo>
                          <a:pt x="22" y="53"/>
                        </a:lnTo>
                        <a:lnTo>
                          <a:pt x="25" y="53"/>
                        </a:lnTo>
                        <a:lnTo>
                          <a:pt x="27" y="57"/>
                        </a:lnTo>
                        <a:lnTo>
                          <a:pt x="27" y="57"/>
                        </a:lnTo>
                        <a:lnTo>
                          <a:pt x="35" y="60"/>
                        </a:lnTo>
                        <a:lnTo>
                          <a:pt x="48" y="53"/>
                        </a:lnTo>
                        <a:lnTo>
                          <a:pt x="53" y="55"/>
                        </a:lnTo>
                        <a:lnTo>
                          <a:pt x="62" y="53"/>
                        </a:lnTo>
                        <a:lnTo>
                          <a:pt x="60" y="58"/>
                        </a:lnTo>
                        <a:lnTo>
                          <a:pt x="73" y="65"/>
                        </a:lnTo>
                        <a:lnTo>
                          <a:pt x="87" y="67"/>
                        </a:lnTo>
                        <a:lnTo>
                          <a:pt x="95" y="67"/>
                        </a:lnTo>
                        <a:lnTo>
                          <a:pt x="98" y="70"/>
                        </a:lnTo>
                        <a:lnTo>
                          <a:pt x="98" y="70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38" name="Google Shape;3085;p98">
                    <a:extLst>
                      <a:ext uri="{FF2B5EF4-FFF2-40B4-BE49-F238E27FC236}">
                        <a16:creationId xmlns:a16="http://schemas.microsoft.com/office/drawing/2014/main" id="{7EF60AD1-77C8-733F-EA65-27D44D5D6FD5}"/>
                      </a:ext>
                    </a:extLst>
                  </p:cNvPr>
                  <p:cNvSpPr/>
                  <p:nvPr/>
                </p:nvSpPr>
                <p:spPr>
                  <a:xfrm>
                    <a:off x="6575552" y="2569342"/>
                    <a:ext cx="119868" cy="8715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22" h="170" extrusionOk="0">
                        <a:moveTo>
                          <a:pt x="134" y="170"/>
                        </a:moveTo>
                        <a:lnTo>
                          <a:pt x="134" y="170"/>
                        </a:lnTo>
                        <a:lnTo>
                          <a:pt x="139" y="170"/>
                        </a:lnTo>
                        <a:lnTo>
                          <a:pt x="143" y="166"/>
                        </a:lnTo>
                        <a:lnTo>
                          <a:pt x="146" y="165"/>
                        </a:lnTo>
                        <a:lnTo>
                          <a:pt x="149" y="165"/>
                        </a:lnTo>
                        <a:lnTo>
                          <a:pt x="156" y="165"/>
                        </a:lnTo>
                        <a:lnTo>
                          <a:pt x="159" y="168"/>
                        </a:lnTo>
                        <a:lnTo>
                          <a:pt x="163" y="165"/>
                        </a:lnTo>
                        <a:lnTo>
                          <a:pt x="166" y="165"/>
                        </a:lnTo>
                        <a:lnTo>
                          <a:pt x="169" y="166"/>
                        </a:lnTo>
                        <a:lnTo>
                          <a:pt x="173" y="165"/>
                        </a:lnTo>
                        <a:lnTo>
                          <a:pt x="183" y="165"/>
                        </a:lnTo>
                        <a:lnTo>
                          <a:pt x="193" y="170"/>
                        </a:lnTo>
                        <a:lnTo>
                          <a:pt x="198" y="170"/>
                        </a:lnTo>
                        <a:lnTo>
                          <a:pt x="198" y="163"/>
                        </a:lnTo>
                        <a:lnTo>
                          <a:pt x="198" y="158"/>
                        </a:lnTo>
                        <a:lnTo>
                          <a:pt x="212" y="143"/>
                        </a:lnTo>
                        <a:lnTo>
                          <a:pt x="214" y="136"/>
                        </a:lnTo>
                        <a:lnTo>
                          <a:pt x="217" y="133"/>
                        </a:lnTo>
                        <a:lnTo>
                          <a:pt x="221" y="133"/>
                        </a:lnTo>
                        <a:lnTo>
                          <a:pt x="222" y="126"/>
                        </a:lnTo>
                        <a:lnTo>
                          <a:pt x="221" y="123"/>
                        </a:lnTo>
                        <a:lnTo>
                          <a:pt x="221" y="120"/>
                        </a:lnTo>
                        <a:lnTo>
                          <a:pt x="222" y="118"/>
                        </a:lnTo>
                        <a:lnTo>
                          <a:pt x="216" y="115"/>
                        </a:lnTo>
                        <a:lnTo>
                          <a:pt x="214" y="108"/>
                        </a:lnTo>
                        <a:lnTo>
                          <a:pt x="211" y="105"/>
                        </a:lnTo>
                        <a:lnTo>
                          <a:pt x="211" y="95"/>
                        </a:lnTo>
                        <a:lnTo>
                          <a:pt x="211" y="88"/>
                        </a:lnTo>
                        <a:lnTo>
                          <a:pt x="206" y="82"/>
                        </a:lnTo>
                        <a:lnTo>
                          <a:pt x="204" y="75"/>
                        </a:lnTo>
                        <a:lnTo>
                          <a:pt x="207" y="70"/>
                        </a:lnTo>
                        <a:lnTo>
                          <a:pt x="212" y="68"/>
                        </a:lnTo>
                        <a:lnTo>
                          <a:pt x="212" y="55"/>
                        </a:lnTo>
                        <a:lnTo>
                          <a:pt x="209" y="53"/>
                        </a:lnTo>
                        <a:lnTo>
                          <a:pt x="209" y="47"/>
                        </a:lnTo>
                        <a:lnTo>
                          <a:pt x="206" y="43"/>
                        </a:lnTo>
                        <a:lnTo>
                          <a:pt x="202" y="32"/>
                        </a:lnTo>
                        <a:lnTo>
                          <a:pt x="198" y="27"/>
                        </a:lnTo>
                        <a:lnTo>
                          <a:pt x="198" y="22"/>
                        </a:lnTo>
                        <a:lnTo>
                          <a:pt x="196" y="13"/>
                        </a:lnTo>
                        <a:lnTo>
                          <a:pt x="193" y="13"/>
                        </a:lnTo>
                        <a:lnTo>
                          <a:pt x="186" y="8"/>
                        </a:lnTo>
                        <a:lnTo>
                          <a:pt x="154" y="12"/>
                        </a:lnTo>
                        <a:lnTo>
                          <a:pt x="124" y="10"/>
                        </a:lnTo>
                        <a:lnTo>
                          <a:pt x="121" y="12"/>
                        </a:lnTo>
                        <a:lnTo>
                          <a:pt x="113" y="18"/>
                        </a:lnTo>
                        <a:lnTo>
                          <a:pt x="106" y="18"/>
                        </a:lnTo>
                        <a:lnTo>
                          <a:pt x="104" y="18"/>
                        </a:lnTo>
                        <a:lnTo>
                          <a:pt x="111" y="13"/>
                        </a:lnTo>
                        <a:lnTo>
                          <a:pt x="118" y="8"/>
                        </a:lnTo>
                        <a:lnTo>
                          <a:pt x="114" y="8"/>
                        </a:lnTo>
                        <a:lnTo>
                          <a:pt x="109" y="13"/>
                        </a:lnTo>
                        <a:lnTo>
                          <a:pt x="101" y="17"/>
                        </a:lnTo>
                        <a:lnTo>
                          <a:pt x="91" y="13"/>
                        </a:lnTo>
                        <a:lnTo>
                          <a:pt x="88" y="8"/>
                        </a:lnTo>
                        <a:lnTo>
                          <a:pt x="90" y="5"/>
                        </a:lnTo>
                        <a:lnTo>
                          <a:pt x="96" y="7"/>
                        </a:lnTo>
                        <a:lnTo>
                          <a:pt x="98" y="7"/>
                        </a:lnTo>
                        <a:lnTo>
                          <a:pt x="98" y="7"/>
                        </a:lnTo>
                        <a:lnTo>
                          <a:pt x="91" y="3"/>
                        </a:lnTo>
                        <a:lnTo>
                          <a:pt x="80" y="0"/>
                        </a:lnTo>
                        <a:lnTo>
                          <a:pt x="70" y="5"/>
                        </a:lnTo>
                        <a:lnTo>
                          <a:pt x="63" y="3"/>
                        </a:lnTo>
                        <a:lnTo>
                          <a:pt x="56" y="7"/>
                        </a:lnTo>
                        <a:lnTo>
                          <a:pt x="51" y="12"/>
                        </a:lnTo>
                        <a:lnTo>
                          <a:pt x="45" y="12"/>
                        </a:lnTo>
                        <a:lnTo>
                          <a:pt x="40" y="17"/>
                        </a:lnTo>
                        <a:lnTo>
                          <a:pt x="40" y="20"/>
                        </a:lnTo>
                        <a:lnTo>
                          <a:pt x="33" y="20"/>
                        </a:lnTo>
                        <a:lnTo>
                          <a:pt x="21" y="27"/>
                        </a:lnTo>
                        <a:lnTo>
                          <a:pt x="13" y="27"/>
                        </a:lnTo>
                        <a:lnTo>
                          <a:pt x="10" y="32"/>
                        </a:lnTo>
                        <a:lnTo>
                          <a:pt x="8" y="37"/>
                        </a:lnTo>
                        <a:lnTo>
                          <a:pt x="6" y="38"/>
                        </a:lnTo>
                        <a:lnTo>
                          <a:pt x="8" y="40"/>
                        </a:lnTo>
                        <a:lnTo>
                          <a:pt x="5" y="40"/>
                        </a:lnTo>
                        <a:lnTo>
                          <a:pt x="8" y="50"/>
                        </a:lnTo>
                        <a:lnTo>
                          <a:pt x="6" y="57"/>
                        </a:lnTo>
                        <a:lnTo>
                          <a:pt x="0" y="60"/>
                        </a:lnTo>
                        <a:lnTo>
                          <a:pt x="0" y="63"/>
                        </a:lnTo>
                        <a:lnTo>
                          <a:pt x="8" y="72"/>
                        </a:lnTo>
                        <a:lnTo>
                          <a:pt x="6" y="75"/>
                        </a:lnTo>
                        <a:lnTo>
                          <a:pt x="10" y="80"/>
                        </a:lnTo>
                        <a:lnTo>
                          <a:pt x="10" y="83"/>
                        </a:lnTo>
                        <a:lnTo>
                          <a:pt x="13" y="87"/>
                        </a:lnTo>
                        <a:lnTo>
                          <a:pt x="10" y="91"/>
                        </a:lnTo>
                        <a:lnTo>
                          <a:pt x="15" y="100"/>
                        </a:lnTo>
                        <a:lnTo>
                          <a:pt x="18" y="101"/>
                        </a:lnTo>
                        <a:lnTo>
                          <a:pt x="21" y="105"/>
                        </a:lnTo>
                        <a:lnTo>
                          <a:pt x="21" y="116"/>
                        </a:lnTo>
                        <a:lnTo>
                          <a:pt x="20" y="118"/>
                        </a:lnTo>
                        <a:lnTo>
                          <a:pt x="21" y="121"/>
                        </a:lnTo>
                        <a:lnTo>
                          <a:pt x="23" y="120"/>
                        </a:lnTo>
                        <a:lnTo>
                          <a:pt x="28" y="120"/>
                        </a:lnTo>
                        <a:lnTo>
                          <a:pt x="30" y="120"/>
                        </a:lnTo>
                        <a:lnTo>
                          <a:pt x="40" y="121"/>
                        </a:lnTo>
                        <a:lnTo>
                          <a:pt x="40" y="123"/>
                        </a:lnTo>
                        <a:lnTo>
                          <a:pt x="45" y="126"/>
                        </a:lnTo>
                        <a:lnTo>
                          <a:pt x="48" y="126"/>
                        </a:lnTo>
                        <a:lnTo>
                          <a:pt x="51" y="130"/>
                        </a:lnTo>
                        <a:lnTo>
                          <a:pt x="50" y="135"/>
                        </a:lnTo>
                        <a:lnTo>
                          <a:pt x="51" y="136"/>
                        </a:lnTo>
                        <a:lnTo>
                          <a:pt x="53" y="138"/>
                        </a:lnTo>
                        <a:lnTo>
                          <a:pt x="53" y="141"/>
                        </a:lnTo>
                        <a:lnTo>
                          <a:pt x="56" y="143"/>
                        </a:lnTo>
                        <a:lnTo>
                          <a:pt x="58" y="141"/>
                        </a:lnTo>
                        <a:lnTo>
                          <a:pt x="61" y="141"/>
                        </a:lnTo>
                        <a:lnTo>
                          <a:pt x="56" y="135"/>
                        </a:lnTo>
                        <a:lnTo>
                          <a:pt x="58" y="133"/>
                        </a:lnTo>
                        <a:lnTo>
                          <a:pt x="70" y="138"/>
                        </a:lnTo>
                        <a:lnTo>
                          <a:pt x="76" y="138"/>
                        </a:lnTo>
                        <a:lnTo>
                          <a:pt x="75" y="141"/>
                        </a:lnTo>
                        <a:lnTo>
                          <a:pt x="81" y="145"/>
                        </a:lnTo>
                        <a:lnTo>
                          <a:pt x="90" y="143"/>
                        </a:lnTo>
                        <a:lnTo>
                          <a:pt x="96" y="146"/>
                        </a:lnTo>
                        <a:lnTo>
                          <a:pt x="111" y="155"/>
                        </a:lnTo>
                        <a:lnTo>
                          <a:pt x="116" y="163"/>
                        </a:lnTo>
                        <a:lnTo>
                          <a:pt x="119" y="163"/>
                        </a:lnTo>
                        <a:lnTo>
                          <a:pt x="123" y="160"/>
                        </a:lnTo>
                        <a:lnTo>
                          <a:pt x="129" y="161"/>
                        </a:lnTo>
                        <a:lnTo>
                          <a:pt x="133" y="165"/>
                        </a:lnTo>
                        <a:lnTo>
                          <a:pt x="134" y="170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39" name="Google Shape;3086;p98">
                    <a:extLst>
                      <a:ext uri="{FF2B5EF4-FFF2-40B4-BE49-F238E27FC236}">
                        <a16:creationId xmlns:a16="http://schemas.microsoft.com/office/drawing/2014/main" id="{AA2A1420-39B8-B366-F98C-FD61CC8EF9AC}"/>
                      </a:ext>
                    </a:extLst>
                  </p:cNvPr>
                  <p:cNvSpPr/>
                  <p:nvPr/>
                </p:nvSpPr>
                <p:spPr>
                  <a:xfrm>
                    <a:off x="6552006" y="2630560"/>
                    <a:ext cx="96322" cy="3527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79" h="70" extrusionOk="0">
                        <a:moveTo>
                          <a:pt x="65" y="0"/>
                        </a:moveTo>
                        <a:lnTo>
                          <a:pt x="66" y="3"/>
                        </a:lnTo>
                        <a:lnTo>
                          <a:pt x="68" y="2"/>
                        </a:lnTo>
                        <a:lnTo>
                          <a:pt x="73" y="2"/>
                        </a:lnTo>
                        <a:lnTo>
                          <a:pt x="75" y="2"/>
                        </a:lnTo>
                        <a:lnTo>
                          <a:pt x="85" y="3"/>
                        </a:lnTo>
                        <a:lnTo>
                          <a:pt x="85" y="5"/>
                        </a:lnTo>
                        <a:lnTo>
                          <a:pt x="90" y="8"/>
                        </a:lnTo>
                        <a:lnTo>
                          <a:pt x="93" y="8"/>
                        </a:lnTo>
                        <a:lnTo>
                          <a:pt x="96" y="12"/>
                        </a:lnTo>
                        <a:lnTo>
                          <a:pt x="95" y="17"/>
                        </a:lnTo>
                        <a:lnTo>
                          <a:pt x="96" y="18"/>
                        </a:lnTo>
                        <a:lnTo>
                          <a:pt x="98" y="20"/>
                        </a:lnTo>
                        <a:lnTo>
                          <a:pt x="98" y="23"/>
                        </a:lnTo>
                        <a:lnTo>
                          <a:pt x="101" y="25"/>
                        </a:lnTo>
                        <a:lnTo>
                          <a:pt x="103" y="23"/>
                        </a:lnTo>
                        <a:lnTo>
                          <a:pt x="106" y="23"/>
                        </a:lnTo>
                        <a:lnTo>
                          <a:pt x="101" y="17"/>
                        </a:lnTo>
                        <a:lnTo>
                          <a:pt x="103" y="15"/>
                        </a:lnTo>
                        <a:lnTo>
                          <a:pt x="115" y="20"/>
                        </a:lnTo>
                        <a:lnTo>
                          <a:pt x="121" y="20"/>
                        </a:lnTo>
                        <a:lnTo>
                          <a:pt x="120" y="23"/>
                        </a:lnTo>
                        <a:lnTo>
                          <a:pt x="126" y="27"/>
                        </a:lnTo>
                        <a:lnTo>
                          <a:pt x="135" y="25"/>
                        </a:lnTo>
                        <a:lnTo>
                          <a:pt x="141" y="28"/>
                        </a:lnTo>
                        <a:lnTo>
                          <a:pt x="156" y="37"/>
                        </a:lnTo>
                        <a:lnTo>
                          <a:pt x="161" y="45"/>
                        </a:lnTo>
                        <a:lnTo>
                          <a:pt x="164" y="45"/>
                        </a:lnTo>
                        <a:lnTo>
                          <a:pt x="168" y="42"/>
                        </a:lnTo>
                        <a:lnTo>
                          <a:pt x="174" y="43"/>
                        </a:lnTo>
                        <a:lnTo>
                          <a:pt x="178" y="47"/>
                        </a:lnTo>
                        <a:lnTo>
                          <a:pt x="179" y="52"/>
                        </a:lnTo>
                        <a:lnTo>
                          <a:pt x="168" y="52"/>
                        </a:lnTo>
                        <a:lnTo>
                          <a:pt x="163" y="55"/>
                        </a:lnTo>
                        <a:lnTo>
                          <a:pt x="156" y="55"/>
                        </a:lnTo>
                        <a:lnTo>
                          <a:pt x="149" y="62"/>
                        </a:lnTo>
                        <a:lnTo>
                          <a:pt x="141" y="63"/>
                        </a:lnTo>
                        <a:lnTo>
                          <a:pt x="131" y="67"/>
                        </a:lnTo>
                        <a:lnTo>
                          <a:pt x="130" y="65"/>
                        </a:lnTo>
                        <a:lnTo>
                          <a:pt x="123" y="65"/>
                        </a:lnTo>
                        <a:lnTo>
                          <a:pt x="118" y="68"/>
                        </a:lnTo>
                        <a:lnTo>
                          <a:pt x="106" y="65"/>
                        </a:lnTo>
                        <a:lnTo>
                          <a:pt x="103" y="63"/>
                        </a:lnTo>
                        <a:lnTo>
                          <a:pt x="96" y="63"/>
                        </a:lnTo>
                        <a:lnTo>
                          <a:pt x="90" y="63"/>
                        </a:lnTo>
                        <a:lnTo>
                          <a:pt x="83" y="60"/>
                        </a:lnTo>
                        <a:lnTo>
                          <a:pt x="75" y="60"/>
                        </a:lnTo>
                        <a:lnTo>
                          <a:pt x="70" y="58"/>
                        </a:lnTo>
                        <a:lnTo>
                          <a:pt x="68" y="62"/>
                        </a:lnTo>
                        <a:lnTo>
                          <a:pt x="65" y="63"/>
                        </a:lnTo>
                        <a:lnTo>
                          <a:pt x="65" y="67"/>
                        </a:lnTo>
                        <a:lnTo>
                          <a:pt x="58" y="68"/>
                        </a:lnTo>
                        <a:lnTo>
                          <a:pt x="56" y="70"/>
                        </a:lnTo>
                        <a:lnTo>
                          <a:pt x="45" y="63"/>
                        </a:lnTo>
                        <a:lnTo>
                          <a:pt x="40" y="63"/>
                        </a:lnTo>
                        <a:lnTo>
                          <a:pt x="42" y="63"/>
                        </a:lnTo>
                        <a:lnTo>
                          <a:pt x="32" y="53"/>
                        </a:lnTo>
                        <a:lnTo>
                          <a:pt x="27" y="50"/>
                        </a:lnTo>
                        <a:lnTo>
                          <a:pt x="18" y="45"/>
                        </a:lnTo>
                        <a:lnTo>
                          <a:pt x="13" y="43"/>
                        </a:lnTo>
                        <a:lnTo>
                          <a:pt x="12" y="40"/>
                        </a:lnTo>
                        <a:lnTo>
                          <a:pt x="12" y="33"/>
                        </a:lnTo>
                        <a:lnTo>
                          <a:pt x="7" y="27"/>
                        </a:lnTo>
                        <a:lnTo>
                          <a:pt x="0" y="23"/>
                        </a:lnTo>
                        <a:lnTo>
                          <a:pt x="0" y="20"/>
                        </a:lnTo>
                        <a:lnTo>
                          <a:pt x="3" y="18"/>
                        </a:lnTo>
                        <a:lnTo>
                          <a:pt x="5" y="20"/>
                        </a:lnTo>
                        <a:lnTo>
                          <a:pt x="8" y="22"/>
                        </a:lnTo>
                        <a:lnTo>
                          <a:pt x="18" y="15"/>
                        </a:lnTo>
                        <a:lnTo>
                          <a:pt x="22" y="15"/>
                        </a:lnTo>
                        <a:lnTo>
                          <a:pt x="27" y="10"/>
                        </a:lnTo>
                        <a:lnTo>
                          <a:pt x="32" y="10"/>
                        </a:lnTo>
                        <a:lnTo>
                          <a:pt x="35" y="7"/>
                        </a:lnTo>
                        <a:lnTo>
                          <a:pt x="42" y="7"/>
                        </a:lnTo>
                        <a:lnTo>
                          <a:pt x="47" y="7"/>
                        </a:lnTo>
                        <a:lnTo>
                          <a:pt x="50" y="5"/>
                        </a:lnTo>
                        <a:lnTo>
                          <a:pt x="50" y="0"/>
                        </a:lnTo>
                        <a:lnTo>
                          <a:pt x="58" y="2"/>
                        </a:lnTo>
                        <a:lnTo>
                          <a:pt x="60" y="0"/>
                        </a:lnTo>
                        <a:lnTo>
                          <a:pt x="63" y="2"/>
                        </a:lnTo>
                        <a:lnTo>
                          <a:pt x="65" y="0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40" name="Google Shape;3087;p98">
                    <a:extLst>
                      <a:ext uri="{FF2B5EF4-FFF2-40B4-BE49-F238E27FC236}">
                        <a16:creationId xmlns:a16="http://schemas.microsoft.com/office/drawing/2014/main" id="{7BD8D346-4838-1893-65E7-F04A35E31596}"/>
                      </a:ext>
                    </a:extLst>
                  </p:cNvPr>
                  <p:cNvSpPr/>
                  <p:nvPr/>
                </p:nvSpPr>
                <p:spPr>
                  <a:xfrm>
                    <a:off x="6479229" y="2569342"/>
                    <a:ext cx="108095" cy="11413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2" h="219" extrusionOk="0">
                        <a:moveTo>
                          <a:pt x="56" y="0"/>
                        </a:moveTo>
                        <a:lnTo>
                          <a:pt x="63" y="0"/>
                        </a:lnTo>
                        <a:lnTo>
                          <a:pt x="71" y="1"/>
                        </a:lnTo>
                        <a:lnTo>
                          <a:pt x="75" y="3"/>
                        </a:lnTo>
                        <a:lnTo>
                          <a:pt x="78" y="3"/>
                        </a:lnTo>
                        <a:lnTo>
                          <a:pt x="83" y="6"/>
                        </a:lnTo>
                        <a:lnTo>
                          <a:pt x="88" y="8"/>
                        </a:lnTo>
                        <a:lnTo>
                          <a:pt x="84" y="13"/>
                        </a:lnTo>
                        <a:lnTo>
                          <a:pt x="83" y="15"/>
                        </a:lnTo>
                        <a:lnTo>
                          <a:pt x="84" y="16"/>
                        </a:lnTo>
                        <a:lnTo>
                          <a:pt x="88" y="18"/>
                        </a:lnTo>
                        <a:lnTo>
                          <a:pt x="89" y="21"/>
                        </a:lnTo>
                        <a:lnTo>
                          <a:pt x="93" y="20"/>
                        </a:lnTo>
                        <a:lnTo>
                          <a:pt x="94" y="16"/>
                        </a:lnTo>
                        <a:lnTo>
                          <a:pt x="96" y="16"/>
                        </a:lnTo>
                        <a:lnTo>
                          <a:pt x="98" y="18"/>
                        </a:lnTo>
                        <a:lnTo>
                          <a:pt x="104" y="21"/>
                        </a:lnTo>
                        <a:lnTo>
                          <a:pt x="106" y="20"/>
                        </a:lnTo>
                        <a:lnTo>
                          <a:pt x="109" y="18"/>
                        </a:lnTo>
                        <a:lnTo>
                          <a:pt x="111" y="18"/>
                        </a:lnTo>
                        <a:lnTo>
                          <a:pt x="111" y="23"/>
                        </a:lnTo>
                        <a:lnTo>
                          <a:pt x="108" y="26"/>
                        </a:lnTo>
                        <a:lnTo>
                          <a:pt x="106" y="25"/>
                        </a:lnTo>
                        <a:lnTo>
                          <a:pt x="101" y="28"/>
                        </a:lnTo>
                        <a:lnTo>
                          <a:pt x="108" y="30"/>
                        </a:lnTo>
                        <a:lnTo>
                          <a:pt x="109" y="28"/>
                        </a:lnTo>
                        <a:lnTo>
                          <a:pt x="114" y="30"/>
                        </a:lnTo>
                        <a:lnTo>
                          <a:pt x="116" y="31"/>
                        </a:lnTo>
                        <a:lnTo>
                          <a:pt x="121" y="31"/>
                        </a:lnTo>
                        <a:lnTo>
                          <a:pt x="121" y="28"/>
                        </a:lnTo>
                        <a:lnTo>
                          <a:pt x="124" y="23"/>
                        </a:lnTo>
                        <a:lnTo>
                          <a:pt x="133" y="23"/>
                        </a:lnTo>
                        <a:lnTo>
                          <a:pt x="134" y="21"/>
                        </a:lnTo>
                        <a:lnTo>
                          <a:pt x="139" y="18"/>
                        </a:lnTo>
                        <a:lnTo>
                          <a:pt x="139" y="16"/>
                        </a:lnTo>
                        <a:lnTo>
                          <a:pt x="141" y="15"/>
                        </a:lnTo>
                        <a:lnTo>
                          <a:pt x="148" y="16"/>
                        </a:lnTo>
                        <a:lnTo>
                          <a:pt x="143" y="18"/>
                        </a:lnTo>
                        <a:lnTo>
                          <a:pt x="141" y="20"/>
                        </a:lnTo>
                        <a:lnTo>
                          <a:pt x="139" y="18"/>
                        </a:lnTo>
                        <a:lnTo>
                          <a:pt x="138" y="21"/>
                        </a:lnTo>
                        <a:lnTo>
                          <a:pt x="139" y="23"/>
                        </a:lnTo>
                        <a:lnTo>
                          <a:pt x="144" y="20"/>
                        </a:lnTo>
                        <a:lnTo>
                          <a:pt x="149" y="20"/>
                        </a:lnTo>
                        <a:lnTo>
                          <a:pt x="151" y="18"/>
                        </a:lnTo>
                        <a:lnTo>
                          <a:pt x="153" y="20"/>
                        </a:lnTo>
                        <a:lnTo>
                          <a:pt x="158" y="21"/>
                        </a:lnTo>
                        <a:lnTo>
                          <a:pt x="164" y="26"/>
                        </a:lnTo>
                        <a:lnTo>
                          <a:pt x="169" y="26"/>
                        </a:lnTo>
                        <a:lnTo>
                          <a:pt x="171" y="30"/>
                        </a:lnTo>
                        <a:lnTo>
                          <a:pt x="171" y="33"/>
                        </a:lnTo>
                        <a:lnTo>
                          <a:pt x="174" y="36"/>
                        </a:lnTo>
                        <a:lnTo>
                          <a:pt x="179" y="36"/>
                        </a:lnTo>
                        <a:lnTo>
                          <a:pt x="181" y="38"/>
                        </a:lnTo>
                        <a:lnTo>
                          <a:pt x="186" y="38"/>
                        </a:lnTo>
                        <a:lnTo>
                          <a:pt x="189" y="48"/>
                        </a:lnTo>
                        <a:lnTo>
                          <a:pt x="187" y="55"/>
                        </a:lnTo>
                        <a:lnTo>
                          <a:pt x="181" y="58"/>
                        </a:lnTo>
                        <a:lnTo>
                          <a:pt x="181" y="61"/>
                        </a:lnTo>
                        <a:lnTo>
                          <a:pt x="189" y="70"/>
                        </a:lnTo>
                        <a:lnTo>
                          <a:pt x="187" y="73"/>
                        </a:lnTo>
                        <a:lnTo>
                          <a:pt x="191" y="78"/>
                        </a:lnTo>
                        <a:lnTo>
                          <a:pt x="191" y="81"/>
                        </a:lnTo>
                        <a:lnTo>
                          <a:pt x="194" y="85"/>
                        </a:lnTo>
                        <a:lnTo>
                          <a:pt x="191" y="89"/>
                        </a:lnTo>
                        <a:lnTo>
                          <a:pt x="196" y="98"/>
                        </a:lnTo>
                        <a:lnTo>
                          <a:pt x="199" y="99"/>
                        </a:lnTo>
                        <a:lnTo>
                          <a:pt x="202" y="103"/>
                        </a:lnTo>
                        <a:lnTo>
                          <a:pt x="202" y="114"/>
                        </a:lnTo>
                        <a:lnTo>
                          <a:pt x="199" y="118"/>
                        </a:lnTo>
                        <a:lnTo>
                          <a:pt x="196" y="116"/>
                        </a:lnTo>
                        <a:lnTo>
                          <a:pt x="194" y="118"/>
                        </a:lnTo>
                        <a:lnTo>
                          <a:pt x="186" y="116"/>
                        </a:lnTo>
                        <a:lnTo>
                          <a:pt x="186" y="121"/>
                        </a:lnTo>
                        <a:lnTo>
                          <a:pt x="183" y="123"/>
                        </a:lnTo>
                        <a:lnTo>
                          <a:pt x="178" y="123"/>
                        </a:lnTo>
                        <a:lnTo>
                          <a:pt x="171" y="123"/>
                        </a:lnTo>
                        <a:lnTo>
                          <a:pt x="168" y="126"/>
                        </a:lnTo>
                        <a:lnTo>
                          <a:pt x="163" y="126"/>
                        </a:lnTo>
                        <a:lnTo>
                          <a:pt x="158" y="131"/>
                        </a:lnTo>
                        <a:lnTo>
                          <a:pt x="154" y="131"/>
                        </a:lnTo>
                        <a:lnTo>
                          <a:pt x="144" y="138"/>
                        </a:lnTo>
                        <a:lnTo>
                          <a:pt x="141" y="136"/>
                        </a:lnTo>
                        <a:lnTo>
                          <a:pt x="139" y="134"/>
                        </a:lnTo>
                        <a:lnTo>
                          <a:pt x="136" y="136"/>
                        </a:lnTo>
                        <a:lnTo>
                          <a:pt x="136" y="139"/>
                        </a:lnTo>
                        <a:lnTo>
                          <a:pt x="143" y="143"/>
                        </a:lnTo>
                        <a:lnTo>
                          <a:pt x="148" y="149"/>
                        </a:lnTo>
                        <a:lnTo>
                          <a:pt x="148" y="156"/>
                        </a:lnTo>
                        <a:lnTo>
                          <a:pt x="149" y="159"/>
                        </a:lnTo>
                        <a:lnTo>
                          <a:pt x="154" y="161"/>
                        </a:lnTo>
                        <a:lnTo>
                          <a:pt x="163" y="166"/>
                        </a:lnTo>
                        <a:lnTo>
                          <a:pt x="168" y="169"/>
                        </a:lnTo>
                        <a:lnTo>
                          <a:pt x="178" y="179"/>
                        </a:lnTo>
                        <a:lnTo>
                          <a:pt x="176" y="183"/>
                        </a:lnTo>
                        <a:lnTo>
                          <a:pt x="176" y="187"/>
                        </a:lnTo>
                        <a:lnTo>
                          <a:pt x="173" y="187"/>
                        </a:lnTo>
                        <a:lnTo>
                          <a:pt x="169" y="192"/>
                        </a:lnTo>
                        <a:lnTo>
                          <a:pt x="164" y="194"/>
                        </a:lnTo>
                        <a:lnTo>
                          <a:pt x="158" y="202"/>
                        </a:lnTo>
                        <a:lnTo>
                          <a:pt x="158" y="204"/>
                        </a:lnTo>
                        <a:lnTo>
                          <a:pt x="163" y="207"/>
                        </a:lnTo>
                        <a:lnTo>
                          <a:pt x="164" y="211"/>
                        </a:lnTo>
                        <a:lnTo>
                          <a:pt x="161" y="212"/>
                        </a:lnTo>
                        <a:lnTo>
                          <a:pt x="156" y="211"/>
                        </a:lnTo>
                        <a:lnTo>
                          <a:pt x="151" y="212"/>
                        </a:lnTo>
                        <a:lnTo>
                          <a:pt x="146" y="211"/>
                        </a:lnTo>
                        <a:lnTo>
                          <a:pt x="141" y="211"/>
                        </a:lnTo>
                        <a:lnTo>
                          <a:pt x="134" y="216"/>
                        </a:lnTo>
                        <a:lnTo>
                          <a:pt x="129" y="216"/>
                        </a:lnTo>
                        <a:lnTo>
                          <a:pt x="126" y="216"/>
                        </a:lnTo>
                        <a:lnTo>
                          <a:pt x="121" y="216"/>
                        </a:lnTo>
                        <a:lnTo>
                          <a:pt x="118" y="214"/>
                        </a:lnTo>
                        <a:lnTo>
                          <a:pt x="111" y="212"/>
                        </a:lnTo>
                        <a:lnTo>
                          <a:pt x="104" y="214"/>
                        </a:lnTo>
                        <a:lnTo>
                          <a:pt x="106" y="217"/>
                        </a:lnTo>
                        <a:lnTo>
                          <a:pt x="104" y="219"/>
                        </a:lnTo>
                        <a:lnTo>
                          <a:pt x="98" y="217"/>
                        </a:lnTo>
                        <a:lnTo>
                          <a:pt x="94" y="214"/>
                        </a:lnTo>
                        <a:lnTo>
                          <a:pt x="89" y="216"/>
                        </a:lnTo>
                        <a:lnTo>
                          <a:pt x="88" y="216"/>
                        </a:lnTo>
                        <a:lnTo>
                          <a:pt x="86" y="216"/>
                        </a:lnTo>
                        <a:lnTo>
                          <a:pt x="83" y="216"/>
                        </a:lnTo>
                        <a:lnTo>
                          <a:pt x="76" y="211"/>
                        </a:lnTo>
                        <a:lnTo>
                          <a:pt x="73" y="211"/>
                        </a:lnTo>
                        <a:lnTo>
                          <a:pt x="71" y="212"/>
                        </a:lnTo>
                        <a:lnTo>
                          <a:pt x="68" y="212"/>
                        </a:lnTo>
                        <a:lnTo>
                          <a:pt x="66" y="207"/>
                        </a:lnTo>
                        <a:lnTo>
                          <a:pt x="61" y="209"/>
                        </a:lnTo>
                        <a:lnTo>
                          <a:pt x="63" y="212"/>
                        </a:lnTo>
                        <a:lnTo>
                          <a:pt x="60" y="214"/>
                        </a:lnTo>
                        <a:lnTo>
                          <a:pt x="55" y="212"/>
                        </a:lnTo>
                        <a:lnTo>
                          <a:pt x="50" y="214"/>
                        </a:lnTo>
                        <a:lnTo>
                          <a:pt x="46" y="214"/>
                        </a:lnTo>
                        <a:lnTo>
                          <a:pt x="46" y="214"/>
                        </a:lnTo>
                        <a:lnTo>
                          <a:pt x="45" y="209"/>
                        </a:lnTo>
                        <a:lnTo>
                          <a:pt x="40" y="207"/>
                        </a:lnTo>
                        <a:lnTo>
                          <a:pt x="40" y="201"/>
                        </a:lnTo>
                        <a:lnTo>
                          <a:pt x="41" y="192"/>
                        </a:lnTo>
                        <a:lnTo>
                          <a:pt x="45" y="191"/>
                        </a:lnTo>
                        <a:lnTo>
                          <a:pt x="45" y="187"/>
                        </a:lnTo>
                        <a:lnTo>
                          <a:pt x="48" y="181"/>
                        </a:lnTo>
                        <a:lnTo>
                          <a:pt x="53" y="176"/>
                        </a:lnTo>
                        <a:lnTo>
                          <a:pt x="48" y="173"/>
                        </a:lnTo>
                        <a:lnTo>
                          <a:pt x="45" y="173"/>
                        </a:lnTo>
                        <a:lnTo>
                          <a:pt x="38" y="169"/>
                        </a:lnTo>
                        <a:lnTo>
                          <a:pt x="35" y="171"/>
                        </a:lnTo>
                        <a:lnTo>
                          <a:pt x="31" y="171"/>
                        </a:lnTo>
                        <a:lnTo>
                          <a:pt x="26" y="171"/>
                        </a:lnTo>
                        <a:lnTo>
                          <a:pt x="23" y="171"/>
                        </a:lnTo>
                        <a:lnTo>
                          <a:pt x="18" y="168"/>
                        </a:lnTo>
                        <a:lnTo>
                          <a:pt x="18" y="166"/>
                        </a:lnTo>
                        <a:lnTo>
                          <a:pt x="13" y="163"/>
                        </a:lnTo>
                        <a:lnTo>
                          <a:pt x="13" y="163"/>
                        </a:lnTo>
                        <a:lnTo>
                          <a:pt x="15" y="156"/>
                        </a:lnTo>
                        <a:lnTo>
                          <a:pt x="11" y="153"/>
                        </a:lnTo>
                        <a:lnTo>
                          <a:pt x="10" y="149"/>
                        </a:lnTo>
                        <a:lnTo>
                          <a:pt x="5" y="143"/>
                        </a:lnTo>
                        <a:lnTo>
                          <a:pt x="3" y="143"/>
                        </a:lnTo>
                        <a:lnTo>
                          <a:pt x="6" y="136"/>
                        </a:lnTo>
                        <a:lnTo>
                          <a:pt x="3" y="133"/>
                        </a:lnTo>
                        <a:lnTo>
                          <a:pt x="3" y="129"/>
                        </a:lnTo>
                        <a:lnTo>
                          <a:pt x="0" y="123"/>
                        </a:lnTo>
                        <a:lnTo>
                          <a:pt x="1" y="119"/>
                        </a:lnTo>
                        <a:lnTo>
                          <a:pt x="0" y="119"/>
                        </a:lnTo>
                        <a:lnTo>
                          <a:pt x="3" y="114"/>
                        </a:lnTo>
                        <a:lnTo>
                          <a:pt x="5" y="108"/>
                        </a:lnTo>
                        <a:lnTo>
                          <a:pt x="3" y="101"/>
                        </a:lnTo>
                        <a:lnTo>
                          <a:pt x="6" y="98"/>
                        </a:lnTo>
                        <a:lnTo>
                          <a:pt x="8" y="93"/>
                        </a:lnTo>
                        <a:lnTo>
                          <a:pt x="15" y="91"/>
                        </a:lnTo>
                        <a:lnTo>
                          <a:pt x="21" y="93"/>
                        </a:lnTo>
                        <a:lnTo>
                          <a:pt x="25" y="91"/>
                        </a:lnTo>
                        <a:lnTo>
                          <a:pt x="21" y="86"/>
                        </a:lnTo>
                        <a:lnTo>
                          <a:pt x="25" y="85"/>
                        </a:lnTo>
                        <a:lnTo>
                          <a:pt x="26" y="80"/>
                        </a:lnTo>
                        <a:lnTo>
                          <a:pt x="28" y="78"/>
                        </a:lnTo>
                        <a:lnTo>
                          <a:pt x="25" y="76"/>
                        </a:lnTo>
                        <a:lnTo>
                          <a:pt x="20" y="76"/>
                        </a:lnTo>
                        <a:lnTo>
                          <a:pt x="18" y="73"/>
                        </a:lnTo>
                        <a:lnTo>
                          <a:pt x="20" y="68"/>
                        </a:lnTo>
                        <a:lnTo>
                          <a:pt x="25" y="71"/>
                        </a:lnTo>
                        <a:lnTo>
                          <a:pt x="28" y="68"/>
                        </a:lnTo>
                        <a:lnTo>
                          <a:pt x="28" y="65"/>
                        </a:lnTo>
                        <a:lnTo>
                          <a:pt x="31" y="60"/>
                        </a:lnTo>
                        <a:lnTo>
                          <a:pt x="31" y="58"/>
                        </a:lnTo>
                        <a:lnTo>
                          <a:pt x="33" y="56"/>
                        </a:lnTo>
                        <a:lnTo>
                          <a:pt x="33" y="55"/>
                        </a:lnTo>
                        <a:lnTo>
                          <a:pt x="33" y="55"/>
                        </a:lnTo>
                        <a:lnTo>
                          <a:pt x="31" y="51"/>
                        </a:lnTo>
                        <a:lnTo>
                          <a:pt x="26" y="50"/>
                        </a:lnTo>
                        <a:lnTo>
                          <a:pt x="25" y="46"/>
                        </a:lnTo>
                        <a:lnTo>
                          <a:pt x="25" y="43"/>
                        </a:lnTo>
                        <a:lnTo>
                          <a:pt x="36" y="40"/>
                        </a:lnTo>
                        <a:lnTo>
                          <a:pt x="40" y="38"/>
                        </a:lnTo>
                        <a:lnTo>
                          <a:pt x="45" y="41"/>
                        </a:lnTo>
                        <a:lnTo>
                          <a:pt x="45" y="46"/>
                        </a:lnTo>
                        <a:lnTo>
                          <a:pt x="48" y="51"/>
                        </a:lnTo>
                        <a:lnTo>
                          <a:pt x="51" y="48"/>
                        </a:lnTo>
                        <a:lnTo>
                          <a:pt x="48" y="45"/>
                        </a:lnTo>
                        <a:lnTo>
                          <a:pt x="48" y="41"/>
                        </a:lnTo>
                        <a:lnTo>
                          <a:pt x="51" y="41"/>
                        </a:lnTo>
                        <a:lnTo>
                          <a:pt x="55" y="43"/>
                        </a:lnTo>
                        <a:lnTo>
                          <a:pt x="55" y="48"/>
                        </a:lnTo>
                        <a:lnTo>
                          <a:pt x="60" y="55"/>
                        </a:lnTo>
                        <a:lnTo>
                          <a:pt x="56" y="50"/>
                        </a:lnTo>
                        <a:lnTo>
                          <a:pt x="56" y="43"/>
                        </a:lnTo>
                        <a:lnTo>
                          <a:pt x="56" y="40"/>
                        </a:lnTo>
                        <a:lnTo>
                          <a:pt x="60" y="36"/>
                        </a:lnTo>
                        <a:lnTo>
                          <a:pt x="63" y="35"/>
                        </a:lnTo>
                        <a:lnTo>
                          <a:pt x="66" y="36"/>
                        </a:lnTo>
                        <a:lnTo>
                          <a:pt x="71" y="35"/>
                        </a:lnTo>
                        <a:lnTo>
                          <a:pt x="80" y="43"/>
                        </a:lnTo>
                        <a:lnTo>
                          <a:pt x="89" y="45"/>
                        </a:lnTo>
                        <a:lnTo>
                          <a:pt x="80" y="41"/>
                        </a:lnTo>
                        <a:lnTo>
                          <a:pt x="73" y="33"/>
                        </a:lnTo>
                        <a:lnTo>
                          <a:pt x="66" y="33"/>
                        </a:lnTo>
                        <a:lnTo>
                          <a:pt x="63" y="31"/>
                        </a:lnTo>
                        <a:lnTo>
                          <a:pt x="63" y="28"/>
                        </a:lnTo>
                        <a:lnTo>
                          <a:pt x="66" y="26"/>
                        </a:lnTo>
                        <a:lnTo>
                          <a:pt x="63" y="23"/>
                        </a:lnTo>
                        <a:lnTo>
                          <a:pt x="63" y="18"/>
                        </a:lnTo>
                        <a:lnTo>
                          <a:pt x="58" y="20"/>
                        </a:lnTo>
                        <a:lnTo>
                          <a:pt x="58" y="16"/>
                        </a:lnTo>
                        <a:lnTo>
                          <a:pt x="63" y="16"/>
                        </a:lnTo>
                        <a:lnTo>
                          <a:pt x="66" y="15"/>
                        </a:lnTo>
                        <a:lnTo>
                          <a:pt x="61" y="10"/>
                        </a:lnTo>
                        <a:lnTo>
                          <a:pt x="61" y="6"/>
                        </a:lnTo>
                        <a:lnTo>
                          <a:pt x="60" y="6"/>
                        </a:lnTo>
                        <a:lnTo>
                          <a:pt x="56" y="5"/>
                        </a:lnTo>
                        <a:lnTo>
                          <a:pt x="56" y="1"/>
                        </a:lnTo>
                        <a:lnTo>
                          <a:pt x="56" y="0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41" name="Google Shape;3088;p98">
                    <a:extLst>
                      <a:ext uri="{FF2B5EF4-FFF2-40B4-BE49-F238E27FC236}">
                        <a16:creationId xmlns:a16="http://schemas.microsoft.com/office/drawing/2014/main" id="{DE669607-6921-6466-64EA-43AA56269391}"/>
                      </a:ext>
                    </a:extLst>
                  </p:cNvPr>
                  <p:cNvSpPr/>
                  <p:nvPr/>
                </p:nvSpPr>
                <p:spPr>
                  <a:xfrm>
                    <a:off x="6526320" y="2684515"/>
                    <a:ext cx="2140" cy="311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" h="6" extrusionOk="0">
                        <a:moveTo>
                          <a:pt x="1" y="0"/>
                        </a:moveTo>
                        <a:lnTo>
                          <a:pt x="3" y="3"/>
                        </a:lnTo>
                        <a:lnTo>
                          <a:pt x="3" y="6"/>
                        </a:lnTo>
                        <a:lnTo>
                          <a:pt x="1" y="6"/>
                        </a:lnTo>
                        <a:lnTo>
                          <a:pt x="0" y="3"/>
                        </a:lnTo>
                        <a:lnTo>
                          <a:pt x="1" y="1"/>
                        </a:lnTo>
                        <a:lnTo>
                          <a:pt x="1" y="0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42" name="Google Shape;3089;p98">
                    <a:extLst>
                      <a:ext uri="{FF2B5EF4-FFF2-40B4-BE49-F238E27FC236}">
                        <a16:creationId xmlns:a16="http://schemas.microsoft.com/office/drawing/2014/main" id="{A9B18BE4-FB06-6B04-829D-F2914C1A1187}"/>
                      </a:ext>
                    </a:extLst>
                  </p:cNvPr>
                  <p:cNvSpPr/>
                  <p:nvPr/>
                </p:nvSpPr>
                <p:spPr>
                  <a:xfrm>
                    <a:off x="6481370" y="2677251"/>
                    <a:ext cx="57793" cy="2905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08" h="57" extrusionOk="0">
                        <a:moveTo>
                          <a:pt x="41" y="7"/>
                        </a:moveTo>
                        <a:lnTo>
                          <a:pt x="45" y="7"/>
                        </a:lnTo>
                        <a:lnTo>
                          <a:pt x="50" y="5"/>
                        </a:lnTo>
                        <a:lnTo>
                          <a:pt x="55" y="7"/>
                        </a:lnTo>
                        <a:lnTo>
                          <a:pt x="58" y="5"/>
                        </a:lnTo>
                        <a:lnTo>
                          <a:pt x="56" y="2"/>
                        </a:lnTo>
                        <a:lnTo>
                          <a:pt x="61" y="0"/>
                        </a:lnTo>
                        <a:lnTo>
                          <a:pt x="63" y="5"/>
                        </a:lnTo>
                        <a:lnTo>
                          <a:pt x="66" y="5"/>
                        </a:lnTo>
                        <a:lnTo>
                          <a:pt x="68" y="4"/>
                        </a:lnTo>
                        <a:lnTo>
                          <a:pt x="71" y="4"/>
                        </a:lnTo>
                        <a:lnTo>
                          <a:pt x="78" y="9"/>
                        </a:lnTo>
                        <a:lnTo>
                          <a:pt x="84" y="10"/>
                        </a:lnTo>
                        <a:lnTo>
                          <a:pt x="84" y="15"/>
                        </a:lnTo>
                        <a:lnTo>
                          <a:pt x="83" y="17"/>
                        </a:lnTo>
                        <a:lnTo>
                          <a:pt x="84" y="20"/>
                        </a:lnTo>
                        <a:lnTo>
                          <a:pt x="89" y="20"/>
                        </a:lnTo>
                        <a:lnTo>
                          <a:pt x="93" y="19"/>
                        </a:lnTo>
                        <a:lnTo>
                          <a:pt x="98" y="24"/>
                        </a:lnTo>
                        <a:lnTo>
                          <a:pt x="103" y="20"/>
                        </a:lnTo>
                        <a:lnTo>
                          <a:pt x="106" y="20"/>
                        </a:lnTo>
                        <a:lnTo>
                          <a:pt x="108" y="24"/>
                        </a:lnTo>
                        <a:lnTo>
                          <a:pt x="103" y="29"/>
                        </a:lnTo>
                        <a:lnTo>
                          <a:pt x="106" y="37"/>
                        </a:lnTo>
                        <a:lnTo>
                          <a:pt x="96" y="39"/>
                        </a:lnTo>
                        <a:lnTo>
                          <a:pt x="94" y="47"/>
                        </a:lnTo>
                        <a:lnTo>
                          <a:pt x="91" y="44"/>
                        </a:lnTo>
                        <a:lnTo>
                          <a:pt x="86" y="44"/>
                        </a:lnTo>
                        <a:lnTo>
                          <a:pt x="76" y="40"/>
                        </a:lnTo>
                        <a:lnTo>
                          <a:pt x="76" y="47"/>
                        </a:lnTo>
                        <a:lnTo>
                          <a:pt x="71" y="55"/>
                        </a:lnTo>
                        <a:lnTo>
                          <a:pt x="70" y="50"/>
                        </a:lnTo>
                        <a:lnTo>
                          <a:pt x="61" y="47"/>
                        </a:lnTo>
                        <a:lnTo>
                          <a:pt x="63" y="42"/>
                        </a:lnTo>
                        <a:lnTo>
                          <a:pt x="56" y="39"/>
                        </a:lnTo>
                        <a:lnTo>
                          <a:pt x="48" y="52"/>
                        </a:lnTo>
                        <a:lnTo>
                          <a:pt x="41" y="50"/>
                        </a:lnTo>
                        <a:lnTo>
                          <a:pt x="31" y="57"/>
                        </a:lnTo>
                        <a:lnTo>
                          <a:pt x="26" y="54"/>
                        </a:lnTo>
                        <a:lnTo>
                          <a:pt x="26" y="50"/>
                        </a:lnTo>
                        <a:lnTo>
                          <a:pt x="23" y="49"/>
                        </a:lnTo>
                        <a:lnTo>
                          <a:pt x="21" y="44"/>
                        </a:lnTo>
                        <a:lnTo>
                          <a:pt x="20" y="39"/>
                        </a:lnTo>
                        <a:lnTo>
                          <a:pt x="11" y="39"/>
                        </a:lnTo>
                        <a:lnTo>
                          <a:pt x="8" y="42"/>
                        </a:lnTo>
                        <a:lnTo>
                          <a:pt x="11" y="47"/>
                        </a:lnTo>
                        <a:lnTo>
                          <a:pt x="5" y="49"/>
                        </a:lnTo>
                        <a:lnTo>
                          <a:pt x="0" y="49"/>
                        </a:lnTo>
                        <a:lnTo>
                          <a:pt x="0" y="45"/>
                        </a:lnTo>
                        <a:lnTo>
                          <a:pt x="1" y="44"/>
                        </a:lnTo>
                        <a:lnTo>
                          <a:pt x="5" y="44"/>
                        </a:lnTo>
                        <a:lnTo>
                          <a:pt x="5" y="40"/>
                        </a:lnTo>
                        <a:lnTo>
                          <a:pt x="6" y="34"/>
                        </a:lnTo>
                        <a:lnTo>
                          <a:pt x="11" y="24"/>
                        </a:lnTo>
                        <a:lnTo>
                          <a:pt x="16" y="24"/>
                        </a:lnTo>
                        <a:lnTo>
                          <a:pt x="20" y="17"/>
                        </a:lnTo>
                        <a:lnTo>
                          <a:pt x="25" y="15"/>
                        </a:lnTo>
                        <a:lnTo>
                          <a:pt x="25" y="12"/>
                        </a:lnTo>
                        <a:lnTo>
                          <a:pt x="20" y="9"/>
                        </a:lnTo>
                        <a:lnTo>
                          <a:pt x="21" y="5"/>
                        </a:lnTo>
                        <a:lnTo>
                          <a:pt x="28" y="5"/>
                        </a:lnTo>
                        <a:lnTo>
                          <a:pt x="30" y="9"/>
                        </a:lnTo>
                        <a:lnTo>
                          <a:pt x="33" y="9"/>
                        </a:lnTo>
                        <a:lnTo>
                          <a:pt x="41" y="7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43" name="Google Shape;3090;p98">
                    <a:extLst>
                      <a:ext uri="{FF2B5EF4-FFF2-40B4-BE49-F238E27FC236}">
                        <a16:creationId xmlns:a16="http://schemas.microsoft.com/office/drawing/2014/main" id="{9309DCC4-ED41-26C6-BB18-F0494F29EE01}"/>
                      </a:ext>
                    </a:extLst>
                  </p:cNvPr>
                  <p:cNvSpPr/>
                  <p:nvPr/>
                </p:nvSpPr>
                <p:spPr>
                  <a:xfrm>
                    <a:off x="6450332" y="2594244"/>
                    <a:ext cx="47091" cy="3735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6" h="71" extrusionOk="0">
                        <a:moveTo>
                          <a:pt x="53" y="71"/>
                        </a:moveTo>
                        <a:lnTo>
                          <a:pt x="56" y="66"/>
                        </a:lnTo>
                        <a:lnTo>
                          <a:pt x="58" y="60"/>
                        </a:lnTo>
                        <a:lnTo>
                          <a:pt x="56" y="53"/>
                        </a:lnTo>
                        <a:lnTo>
                          <a:pt x="59" y="50"/>
                        </a:lnTo>
                        <a:lnTo>
                          <a:pt x="61" y="45"/>
                        </a:lnTo>
                        <a:lnTo>
                          <a:pt x="68" y="43"/>
                        </a:lnTo>
                        <a:lnTo>
                          <a:pt x="74" y="45"/>
                        </a:lnTo>
                        <a:lnTo>
                          <a:pt x="78" y="43"/>
                        </a:lnTo>
                        <a:lnTo>
                          <a:pt x="74" y="38"/>
                        </a:lnTo>
                        <a:lnTo>
                          <a:pt x="78" y="37"/>
                        </a:lnTo>
                        <a:lnTo>
                          <a:pt x="79" y="32"/>
                        </a:lnTo>
                        <a:lnTo>
                          <a:pt x="81" y="30"/>
                        </a:lnTo>
                        <a:lnTo>
                          <a:pt x="78" y="28"/>
                        </a:lnTo>
                        <a:lnTo>
                          <a:pt x="73" y="28"/>
                        </a:lnTo>
                        <a:lnTo>
                          <a:pt x="71" y="25"/>
                        </a:lnTo>
                        <a:lnTo>
                          <a:pt x="73" y="20"/>
                        </a:lnTo>
                        <a:lnTo>
                          <a:pt x="78" y="23"/>
                        </a:lnTo>
                        <a:lnTo>
                          <a:pt x="81" y="20"/>
                        </a:lnTo>
                        <a:lnTo>
                          <a:pt x="81" y="17"/>
                        </a:lnTo>
                        <a:lnTo>
                          <a:pt x="84" y="12"/>
                        </a:lnTo>
                        <a:lnTo>
                          <a:pt x="84" y="10"/>
                        </a:lnTo>
                        <a:lnTo>
                          <a:pt x="86" y="8"/>
                        </a:lnTo>
                        <a:lnTo>
                          <a:pt x="86" y="7"/>
                        </a:lnTo>
                        <a:lnTo>
                          <a:pt x="81" y="5"/>
                        </a:lnTo>
                        <a:lnTo>
                          <a:pt x="78" y="3"/>
                        </a:lnTo>
                        <a:lnTo>
                          <a:pt x="71" y="0"/>
                        </a:lnTo>
                        <a:lnTo>
                          <a:pt x="63" y="0"/>
                        </a:lnTo>
                        <a:lnTo>
                          <a:pt x="59" y="3"/>
                        </a:lnTo>
                        <a:lnTo>
                          <a:pt x="54" y="2"/>
                        </a:lnTo>
                        <a:lnTo>
                          <a:pt x="53" y="3"/>
                        </a:lnTo>
                        <a:lnTo>
                          <a:pt x="46" y="3"/>
                        </a:lnTo>
                        <a:lnTo>
                          <a:pt x="41" y="10"/>
                        </a:lnTo>
                        <a:lnTo>
                          <a:pt x="33" y="13"/>
                        </a:lnTo>
                        <a:lnTo>
                          <a:pt x="31" y="13"/>
                        </a:lnTo>
                        <a:lnTo>
                          <a:pt x="25" y="15"/>
                        </a:lnTo>
                        <a:lnTo>
                          <a:pt x="25" y="20"/>
                        </a:lnTo>
                        <a:lnTo>
                          <a:pt x="20" y="23"/>
                        </a:lnTo>
                        <a:lnTo>
                          <a:pt x="21" y="28"/>
                        </a:lnTo>
                        <a:lnTo>
                          <a:pt x="21" y="33"/>
                        </a:lnTo>
                        <a:lnTo>
                          <a:pt x="18" y="37"/>
                        </a:lnTo>
                        <a:lnTo>
                          <a:pt x="16" y="40"/>
                        </a:lnTo>
                        <a:lnTo>
                          <a:pt x="13" y="41"/>
                        </a:lnTo>
                        <a:lnTo>
                          <a:pt x="13" y="45"/>
                        </a:lnTo>
                        <a:lnTo>
                          <a:pt x="20" y="50"/>
                        </a:lnTo>
                        <a:lnTo>
                          <a:pt x="25" y="51"/>
                        </a:lnTo>
                        <a:lnTo>
                          <a:pt x="18" y="51"/>
                        </a:lnTo>
                        <a:lnTo>
                          <a:pt x="16" y="53"/>
                        </a:lnTo>
                        <a:lnTo>
                          <a:pt x="15" y="55"/>
                        </a:lnTo>
                        <a:lnTo>
                          <a:pt x="16" y="56"/>
                        </a:lnTo>
                        <a:lnTo>
                          <a:pt x="20" y="56"/>
                        </a:lnTo>
                        <a:lnTo>
                          <a:pt x="20" y="60"/>
                        </a:lnTo>
                        <a:lnTo>
                          <a:pt x="15" y="60"/>
                        </a:lnTo>
                        <a:lnTo>
                          <a:pt x="11" y="55"/>
                        </a:lnTo>
                        <a:lnTo>
                          <a:pt x="6" y="53"/>
                        </a:lnTo>
                        <a:lnTo>
                          <a:pt x="3" y="55"/>
                        </a:lnTo>
                        <a:lnTo>
                          <a:pt x="5" y="58"/>
                        </a:lnTo>
                        <a:lnTo>
                          <a:pt x="8" y="58"/>
                        </a:lnTo>
                        <a:lnTo>
                          <a:pt x="11" y="60"/>
                        </a:lnTo>
                        <a:lnTo>
                          <a:pt x="13" y="60"/>
                        </a:lnTo>
                        <a:lnTo>
                          <a:pt x="18" y="63"/>
                        </a:lnTo>
                        <a:lnTo>
                          <a:pt x="13" y="61"/>
                        </a:lnTo>
                        <a:lnTo>
                          <a:pt x="10" y="61"/>
                        </a:lnTo>
                        <a:lnTo>
                          <a:pt x="3" y="60"/>
                        </a:lnTo>
                        <a:lnTo>
                          <a:pt x="0" y="60"/>
                        </a:lnTo>
                        <a:lnTo>
                          <a:pt x="0" y="60"/>
                        </a:lnTo>
                        <a:lnTo>
                          <a:pt x="1" y="61"/>
                        </a:lnTo>
                        <a:lnTo>
                          <a:pt x="5" y="65"/>
                        </a:lnTo>
                        <a:lnTo>
                          <a:pt x="8" y="65"/>
                        </a:lnTo>
                        <a:lnTo>
                          <a:pt x="10" y="66"/>
                        </a:lnTo>
                        <a:lnTo>
                          <a:pt x="13" y="65"/>
                        </a:lnTo>
                        <a:lnTo>
                          <a:pt x="18" y="63"/>
                        </a:lnTo>
                        <a:lnTo>
                          <a:pt x="18" y="61"/>
                        </a:lnTo>
                        <a:lnTo>
                          <a:pt x="23" y="61"/>
                        </a:lnTo>
                        <a:lnTo>
                          <a:pt x="23" y="58"/>
                        </a:lnTo>
                        <a:lnTo>
                          <a:pt x="31" y="58"/>
                        </a:lnTo>
                        <a:lnTo>
                          <a:pt x="35" y="61"/>
                        </a:lnTo>
                        <a:lnTo>
                          <a:pt x="38" y="61"/>
                        </a:lnTo>
                        <a:lnTo>
                          <a:pt x="41" y="65"/>
                        </a:lnTo>
                        <a:lnTo>
                          <a:pt x="48" y="63"/>
                        </a:lnTo>
                        <a:lnTo>
                          <a:pt x="49" y="68"/>
                        </a:lnTo>
                        <a:lnTo>
                          <a:pt x="49" y="70"/>
                        </a:lnTo>
                        <a:lnTo>
                          <a:pt x="53" y="71"/>
                        </a:lnTo>
                        <a:lnTo>
                          <a:pt x="53" y="71"/>
                        </a:lnTo>
                        <a:close/>
                        <a:moveTo>
                          <a:pt x="8" y="53"/>
                        </a:moveTo>
                        <a:lnTo>
                          <a:pt x="11" y="51"/>
                        </a:lnTo>
                        <a:lnTo>
                          <a:pt x="13" y="53"/>
                        </a:lnTo>
                        <a:lnTo>
                          <a:pt x="11" y="53"/>
                        </a:lnTo>
                        <a:lnTo>
                          <a:pt x="10" y="53"/>
                        </a:lnTo>
                        <a:lnTo>
                          <a:pt x="8" y="53"/>
                        </a:lnTo>
                        <a:lnTo>
                          <a:pt x="8" y="53"/>
                        </a:lnTo>
                        <a:close/>
                        <a:moveTo>
                          <a:pt x="10" y="48"/>
                        </a:moveTo>
                        <a:lnTo>
                          <a:pt x="13" y="48"/>
                        </a:lnTo>
                        <a:lnTo>
                          <a:pt x="18" y="50"/>
                        </a:lnTo>
                        <a:lnTo>
                          <a:pt x="16" y="51"/>
                        </a:lnTo>
                        <a:lnTo>
                          <a:pt x="13" y="50"/>
                        </a:lnTo>
                        <a:lnTo>
                          <a:pt x="13" y="48"/>
                        </a:lnTo>
                        <a:lnTo>
                          <a:pt x="10" y="50"/>
                        </a:lnTo>
                        <a:lnTo>
                          <a:pt x="10" y="48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44" name="Google Shape;3091;p98">
                    <a:extLst>
                      <a:ext uri="{FF2B5EF4-FFF2-40B4-BE49-F238E27FC236}">
                        <a16:creationId xmlns:a16="http://schemas.microsoft.com/office/drawing/2014/main" id="{92D35E18-D05A-2001-155D-AB0B36C17EE4}"/>
                      </a:ext>
                    </a:extLst>
                  </p:cNvPr>
                  <p:cNvSpPr/>
                  <p:nvPr/>
                </p:nvSpPr>
                <p:spPr>
                  <a:xfrm>
                    <a:off x="6446051" y="2625372"/>
                    <a:ext cx="36388" cy="2697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8" h="53" extrusionOk="0">
                        <a:moveTo>
                          <a:pt x="65" y="37"/>
                        </a:moveTo>
                        <a:lnTo>
                          <a:pt x="68" y="30"/>
                        </a:lnTo>
                        <a:lnTo>
                          <a:pt x="65" y="27"/>
                        </a:lnTo>
                        <a:lnTo>
                          <a:pt x="65" y="23"/>
                        </a:lnTo>
                        <a:lnTo>
                          <a:pt x="62" y="17"/>
                        </a:lnTo>
                        <a:lnTo>
                          <a:pt x="63" y="13"/>
                        </a:lnTo>
                        <a:lnTo>
                          <a:pt x="58" y="12"/>
                        </a:lnTo>
                        <a:lnTo>
                          <a:pt x="58" y="10"/>
                        </a:lnTo>
                        <a:lnTo>
                          <a:pt x="57" y="5"/>
                        </a:lnTo>
                        <a:lnTo>
                          <a:pt x="50" y="7"/>
                        </a:lnTo>
                        <a:lnTo>
                          <a:pt x="47" y="3"/>
                        </a:lnTo>
                        <a:lnTo>
                          <a:pt x="44" y="3"/>
                        </a:lnTo>
                        <a:lnTo>
                          <a:pt x="40" y="0"/>
                        </a:lnTo>
                        <a:lnTo>
                          <a:pt x="32" y="0"/>
                        </a:lnTo>
                        <a:lnTo>
                          <a:pt x="32" y="3"/>
                        </a:lnTo>
                        <a:lnTo>
                          <a:pt x="27" y="3"/>
                        </a:lnTo>
                        <a:lnTo>
                          <a:pt x="27" y="5"/>
                        </a:lnTo>
                        <a:lnTo>
                          <a:pt x="22" y="7"/>
                        </a:lnTo>
                        <a:lnTo>
                          <a:pt x="19" y="8"/>
                        </a:lnTo>
                        <a:lnTo>
                          <a:pt x="17" y="7"/>
                        </a:lnTo>
                        <a:lnTo>
                          <a:pt x="14" y="7"/>
                        </a:lnTo>
                        <a:lnTo>
                          <a:pt x="10" y="3"/>
                        </a:lnTo>
                        <a:lnTo>
                          <a:pt x="9" y="2"/>
                        </a:lnTo>
                        <a:lnTo>
                          <a:pt x="4" y="5"/>
                        </a:lnTo>
                        <a:lnTo>
                          <a:pt x="0" y="10"/>
                        </a:lnTo>
                        <a:lnTo>
                          <a:pt x="2" y="12"/>
                        </a:lnTo>
                        <a:lnTo>
                          <a:pt x="4" y="20"/>
                        </a:lnTo>
                        <a:lnTo>
                          <a:pt x="9" y="22"/>
                        </a:lnTo>
                        <a:lnTo>
                          <a:pt x="10" y="25"/>
                        </a:lnTo>
                        <a:lnTo>
                          <a:pt x="17" y="30"/>
                        </a:lnTo>
                        <a:lnTo>
                          <a:pt x="20" y="30"/>
                        </a:lnTo>
                        <a:lnTo>
                          <a:pt x="24" y="33"/>
                        </a:lnTo>
                        <a:lnTo>
                          <a:pt x="27" y="33"/>
                        </a:lnTo>
                        <a:lnTo>
                          <a:pt x="27" y="40"/>
                        </a:lnTo>
                        <a:lnTo>
                          <a:pt x="32" y="43"/>
                        </a:lnTo>
                        <a:lnTo>
                          <a:pt x="35" y="42"/>
                        </a:lnTo>
                        <a:lnTo>
                          <a:pt x="37" y="42"/>
                        </a:lnTo>
                        <a:lnTo>
                          <a:pt x="40" y="43"/>
                        </a:lnTo>
                        <a:lnTo>
                          <a:pt x="42" y="43"/>
                        </a:lnTo>
                        <a:lnTo>
                          <a:pt x="48" y="50"/>
                        </a:lnTo>
                        <a:lnTo>
                          <a:pt x="53" y="50"/>
                        </a:lnTo>
                        <a:lnTo>
                          <a:pt x="57" y="53"/>
                        </a:lnTo>
                        <a:lnTo>
                          <a:pt x="60" y="52"/>
                        </a:lnTo>
                        <a:lnTo>
                          <a:pt x="63" y="52"/>
                        </a:lnTo>
                        <a:lnTo>
                          <a:pt x="63" y="50"/>
                        </a:lnTo>
                        <a:lnTo>
                          <a:pt x="62" y="48"/>
                        </a:lnTo>
                        <a:lnTo>
                          <a:pt x="62" y="45"/>
                        </a:lnTo>
                        <a:lnTo>
                          <a:pt x="60" y="43"/>
                        </a:lnTo>
                        <a:lnTo>
                          <a:pt x="62" y="40"/>
                        </a:lnTo>
                        <a:lnTo>
                          <a:pt x="63" y="37"/>
                        </a:lnTo>
                        <a:lnTo>
                          <a:pt x="65" y="37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45" name="Google Shape;3092;p98">
                    <a:extLst>
                      <a:ext uri="{FF2B5EF4-FFF2-40B4-BE49-F238E27FC236}">
                        <a16:creationId xmlns:a16="http://schemas.microsoft.com/office/drawing/2014/main" id="{CEECB084-E86A-89C8-A186-8FEB13653899}"/>
                      </a:ext>
                    </a:extLst>
                  </p:cNvPr>
                  <p:cNvSpPr/>
                  <p:nvPr/>
                </p:nvSpPr>
                <p:spPr>
                  <a:xfrm>
                    <a:off x="6478159" y="2644049"/>
                    <a:ext cx="8562" cy="1037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7" h="20" extrusionOk="0">
                        <a:moveTo>
                          <a:pt x="3" y="15"/>
                        </a:moveTo>
                        <a:lnTo>
                          <a:pt x="3" y="13"/>
                        </a:lnTo>
                        <a:lnTo>
                          <a:pt x="2" y="11"/>
                        </a:lnTo>
                        <a:lnTo>
                          <a:pt x="2" y="8"/>
                        </a:lnTo>
                        <a:lnTo>
                          <a:pt x="0" y="6"/>
                        </a:lnTo>
                        <a:lnTo>
                          <a:pt x="2" y="3"/>
                        </a:lnTo>
                        <a:lnTo>
                          <a:pt x="3" y="0"/>
                        </a:lnTo>
                        <a:lnTo>
                          <a:pt x="7" y="0"/>
                        </a:lnTo>
                        <a:lnTo>
                          <a:pt x="12" y="6"/>
                        </a:lnTo>
                        <a:lnTo>
                          <a:pt x="13" y="10"/>
                        </a:lnTo>
                        <a:lnTo>
                          <a:pt x="17" y="13"/>
                        </a:lnTo>
                        <a:lnTo>
                          <a:pt x="15" y="20"/>
                        </a:lnTo>
                        <a:lnTo>
                          <a:pt x="12" y="20"/>
                        </a:lnTo>
                        <a:lnTo>
                          <a:pt x="7" y="20"/>
                        </a:lnTo>
                        <a:lnTo>
                          <a:pt x="3" y="15"/>
                        </a:lnTo>
                        <a:lnTo>
                          <a:pt x="3" y="15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46" name="Google Shape;3093;p98">
                    <a:extLst>
                      <a:ext uri="{FF2B5EF4-FFF2-40B4-BE49-F238E27FC236}">
                        <a16:creationId xmlns:a16="http://schemas.microsoft.com/office/drawing/2014/main" id="{C00FABB7-9A60-B145-5650-7BD2576241CB}"/>
                      </a:ext>
                    </a:extLst>
                  </p:cNvPr>
                  <p:cNvSpPr/>
                  <p:nvPr/>
                </p:nvSpPr>
                <p:spPr>
                  <a:xfrm>
                    <a:off x="6291935" y="2562079"/>
                    <a:ext cx="52442" cy="6018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8" h="116" extrusionOk="0">
                        <a:moveTo>
                          <a:pt x="25" y="116"/>
                        </a:moveTo>
                        <a:lnTo>
                          <a:pt x="33" y="116"/>
                        </a:lnTo>
                        <a:lnTo>
                          <a:pt x="41" y="114"/>
                        </a:lnTo>
                        <a:lnTo>
                          <a:pt x="46" y="109"/>
                        </a:lnTo>
                        <a:lnTo>
                          <a:pt x="45" y="106"/>
                        </a:lnTo>
                        <a:lnTo>
                          <a:pt x="50" y="106"/>
                        </a:lnTo>
                        <a:lnTo>
                          <a:pt x="48" y="109"/>
                        </a:lnTo>
                        <a:lnTo>
                          <a:pt x="53" y="109"/>
                        </a:lnTo>
                        <a:lnTo>
                          <a:pt x="58" y="104"/>
                        </a:lnTo>
                        <a:lnTo>
                          <a:pt x="61" y="104"/>
                        </a:lnTo>
                        <a:lnTo>
                          <a:pt x="61" y="101"/>
                        </a:lnTo>
                        <a:lnTo>
                          <a:pt x="76" y="100"/>
                        </a:lnTo>
                        <a:lnTo>
                          <a:pt x="76" y="96"/>
                        </a:lnTo>
                        <a:lnTo>
                          <a:pt x="78" y="100"/>
                        </a:lnTo>
                        <a:lnTo>
                          <a:pt x="81" y="98"/>
                        </a:lnTo>
                        <a:lnTo>
                          <a:pt x="85" y="98"/>
                        </a:lnTo>
                        <a:lnTo>
                          <a:pt x="91" y="98"/>
                        </a:lnTo>
                        <a:lnTo>
                          <a:pt x="86" y="93"/>
                        </a:lnTo>
                        <a:lnTo>
                          <a:pt x="90" y="91"/>
                        </a:lnTo>
                        <a:lnTo>
                          <a:pt x="95" y="88"/>
                        </a:lnTo>
                        <a:lnTo>
                          <a:pt x="93" y="83"/>
                        </a:lnTo>
                        <a:lnTo>
                          <a:pt x="96" y="80"/>
                        </a:lnTo>
                        <a:lnTo>
                          <a:pt x="98" y="75"/>
                        </a:lnTo>
                        <a:lnTo>
                          <a:pt x="96" y="66"/>
                        </a:lnTo>
                        <a:lnTo>
                          <a:pt x="93" y="65"/>
                        </a:lnTo>
                        <a:lnTo>
                          <a:pt x="96" y="61"/>
                        </a:lnTo>
                        <a:lnTo>
                          <a:pt x="96" y="58"/>
                        </a:lnTo>
                        <a:lnTo>
                          <a:pt x="95" y="53"/>
                        </a:lnTo>
                        <a:lnTo>
                          <a:pt x="95" y="48"/>
                        </a:lnTo>
                        <a:lnTo>
                          <a:pt x="91" y="46"/>
                        </a:lnTo>
                        <a:lnTo>
                          <a:pt x="93" y="43"/>
                        </a:lnTo>
                        <a:lnTo>
                          <a:pt x="96" y="45"/>
                        </a:lnTo>
                        <a:lnTo>
                          <a:pt x="91" y="41"/>
                        </a:lnTo>
                        <a:lnTo>
                          <a:pt x="86" y="40"/>
                        </a:lnTo>
                        <a:lnTo>
                          <a:pt x="83" y="33"/>
                        </a:lnTo>
                        <a:lnTo>
                          <a:pt x="76" y="30"/>
                        </a:lnTo>
                        <a:lnTo>
                          <a:pt x="73" y="31"/>
                        </a:lnTo>
                        <a:lnTo>
                          <a:pt x="71" y="36"/>
                        </a:lnTo>
                        <a:lnTo>
                          <a:pt x="68" y="38"/>
                        </a:lnTo>
                        <a:lnTo>
                          <a:pt x="58" y="30"/>
                        </a:lnTo>
                        <a:lnTo>
                          <a:pt x="63" y="20"/>
                        </a:lnTo>
                        <a:lnTo>
                          <a:pt x="68" y="18"/>
                        </a:lnTo>
                        <a:lnTo>
                          <a:pt x="70" y="15"/>
                        </a:lnTo>
                        <a:lnTo>
                          <a:pt x="73" y="13"/>
                        </a:lnTo>
                        <a:lnTo>
                          <a:pt x="75" y="11"/>
                        </a:lnTo>
                        <a:lnTo>
                          <a:pt x="73" y="11"/>
                        </a:lnTo>
                        <a:lnTo>
                          <a:pt x="78" y="8"/>
                        </a:lnTo>
                        <a:lnTo>
                          <a:pt x="81" y="6"/>
                        </a:lnTo>
                        <a:lnTo>
                          <a:pt x="76" y="3"/>
                        </a:lnTo>
                        <a:lnTo>
                          <a:pt x="73" y="0"/>
                        </a:lnTo>
                        <a:lnTo>
                          <a:pt x="75" y="3"/>
                        </a:lnTo>
                        <a:lnTo>
                          <a:pt x="70" y="3"/>
                        </a:lnTo>
                        <a:lnTo>
                          <a:pt x="71" y="8"/>
                        </a:lnTo>
                        <a:lnTo>
                          <a:pt x="66" y="13"/>
                        </a:lnTo>
                        <a:lnTo>
                          <a:pt x="68" y="10"/>
                        </a:lnTo>
                        <a:lnTo>
                          <a:pt x="70" y="8"/>
                        </a:lnTo>
                        <a:lnTo>
                          <a:pt x="66" y="5"/>
                        </a:lnTo>
                        <a:lnTo>
                          <a:pt x="65" y="5"/>
                        </a:lnTo>
                        <a:lnTo>
                          <a:pt x="66" y="6"/>
                        </a:lnTo>
                        <a:lnTo>
                          <a:pt x="61" y="6"/>
                        </a:lnTo>
                        <a:lnTo>
                          <a:pt x="60" y="5"/>
                        </a:lnTo>
                        <a:lnTo>
                          <a:pt x="53" y="6"/>
                        </a:lnTo>
                        <a:lnTo>
                          <a:pt x="53" y="10"/>
                        </a:lnTo>
                        <a:lnTo>
                          <a:pt x="51" y="10"/>
                        </a:lnTo>
                        <a:lnTo>
                          <a:pt x="50" y="13"/>
                        </a:lnTo>
                        <a:lnTo>
                          <a:pt x="53" y="15"/>
                        </a:lnTo>
                        <a:lnTo>
                          <a:pt x="51" y="16"/>
                        </a:lnTo>
                        <a:lnTo>
                          <a:pt x="48" y="16"/>
                        </a:lnTo>
                        <a:lnTo>
                          <a:pt x="50" y="18"/>
                        </a:lnTo>
                        <a:lnTo>
                          <a:pt x="45" y="20"/>
                        </a:lnTo>
                        <a:lnTo>
                          <a:pt x="45" y="23"/>
                        </a:lnTo>
                        <a:lnTo>
                          <a:pt x="51" y="23"/>
                        </a:lnTo>
                        <a:lnTo>
                          <a:pt x="50" y="25"/>
                        </a:lnTo>
                        <a:lnTo>
                          <a:pt x="55" y="23"/>
                        </a:lnTo>
                        <a:lnTo>
                          <a:pt x="56" y="23"/>
                        </a:lnTo>
                        <a:lnTo>
                          <a:pt x="51" y="28"/>
                        </a:lnTo>
                        <a:lnTo>
                          <a:pt x="45" y="30"/>
                        </a:lnTo>
                        <a:lnTo>
                          <a:pt x="46" y="33"/>
                        </a:lnTo>
                        <a:lnTo>
                          <a:pt x="40" y="33"/>
                        </a:lnTo>
                        <a:lnTo>
                          <a:pt x="36" y="31"/>
                        </a:lnTo>
                        <a:lnTo>
                          <a:pt x="33" y="35"/>
                        </a:lnTo>
                        <a:lnTo>
                          <a:pt x="32" y="31"/>
                        </a:lnTo>
                        <a:lnTo>
                          <a:pt x="22" y="30"/>
                        </a:lnTo>
                        <a:lnTo>
                          <a:pt x="22" y="31"/>
                        </a:lnTo>
                        <a:lnTo>
                          <a:pt x="15" y="30"/>
                        </a:lnTo>
                        <a:lnTo>
                          <a:pt x="13" y="36"/>
                        </a:lnTo>
                        <a:lnTo>
                          <a:pt x="17" y="33"/>
                        </a:lnTo>
                        <a:lnTo>
                          <a:pt x="18" y="36"/>
                        </a:lnTo>
                        <a:lnTo>
                          <a:pt x="18" y="38"/>
                        </a:lnTo>
                        <a:lnTo>
                          <a:pt x="20" y="41"/>
                        </a:lnTo>
                        <a:lnTo>
                          <a:pt x="18" y="41"/>
                        </a:lnTo>
                        <a:lnTo>
                          <a:pt x="17" y="40"/>
                        </a:lnTo>
                        <a:lnTo>
                          <a:pt x="12" y="40"/>
                        </a:lnTo>
                        <a:lnTo>
                          <a:pt x="18" y="45"/>
                        </a:lnTo>
                        <a:lnTo>
                          <a:pt x="23" y="43"/>
                        </a:lnTo>
                        <a:lnTo>
                          <a:pt x="25" y="46"/>
                        </a:lnTo>
                        <a:lnTo>
                          <a:pt x="18" y="48"/>
                        </a:lnTo>
                        <a:lnTo>
                          <a:pt x="18" y="50"/>
                        </a:lnTo>
                        <a:lnTo>
                          <a:pt x="20" y="51"/>
                        </a:lnTo>
                        <a:lnTo>
                          <a:pt x="13" y="51"/>
                        </a:lnTo>
                        <a:lnTo>
                          <a:pt x="13" y="56"/>
                        </a:lnTo>
                        <a:lnTo>
                          <a:pt x="12" y="56"/>
                        </a:lnTo>
                        <a:lnTo>
                          <a:pt x="15" y="58"/>
                        </a:lnTo>
                        <a:lnTo>
                          <a:pt x="18" y="58"/>
                        </a:lnTo>
                        <a:lnTo>
                          <a:pt x="17" y="60"/>
                        </a:lnTo>
                        <a:lnTo>
                          <a:pt x="22" y="58"/>
                        </a:lnTo>
                        <a:lnTo>
                          <a:pt x="23" y="65"/>
                        </a:lnTo>
                        <a:lnTo>
                          <a:pt x="36" y="65"/>
                        </a:lnTo>
                        <a:lnTo>
                          <a:pt x="32" y="68"/>
                        </a:lnTo>
                        <a:lnTo>
                          <a:pt x="30" y="66"/>
                        </a:lnTo>
                        <a:lnTo>
                          <a:pt x="25" y="73"/>
                        </a:lnTo>
                        <a:lnTo>
                          <a:pt x="27" y="73"/>
                        </a:lnTo>
                        <a:lnTo>
                          <a:pt x="23" y="78"/>
                        </a:lnTo>
                        <a:lnTo>
                          <a:pt x="13" y="83"/>
                        </a:lnTo>
                        <a:lnTo>
                          <a:pt x="18" y="83"/>
                        </a:lnTo>
                        <a:lnTo>
                          <a:pt x="22" y="81"/>
                        </a:lnTo>
                        <a:lnTo>
                          <a:pt x="25" y="83"/>
                        </a:lnTo>
                        <a:lnTo>
                          <a:pt x="30" y="83"/>
                        </a:lnTo>
                        <a:lnTo>
                          <a:pt x="35" y="80"/>
                        </a:lnTo>
                        <a:lnTo>
                          <a:pt x="35" y="81"/>
                        </a:lnTo>
                        <a:lnTo>
                          <a:pt x="40" y="81"/>
                        </a:lnTo>
                        <a:lnTo>
                          <a:pt x="28" y="83"/>
                        </a:lnTo>
                        <a:lnTo>
                          <a:pt x="22" y="85"/>
                        </a:lnTo>
                        <a:lnTo>
                          <a:pt x="18" y="86"/>
                        </a:lnTo>
                        <a:lnTo>
                          <a:pt x="13" y="88"/>
                        </a:lnTo>
                        <a:lnTo>
                          <a:pt x="15" y="91"/>
                        </a:lnTo>
                        <a:lnTo>
                          <a:pt x="15" y="93"/>
                        </a:lnTo>
                        <a:lnTo>
                          <a:pt x="17" y="93"/>
                        </a:lnTo>
                        <a:lnTo>
                          <a:pt x="13" y="95"/>
                        </a:lnTo>
                        <a:lnTo>
                          <a:pt x="10" y="91"/>
                        </a:lnTo>
                        <a:lnTo>
                          <a:pt x="8" y="93"/>
                        </a:lnTo>
                        <a:lnTo>
                          <a:pt x="7" y="91"/>
                        </a:lnTo>
                        <a:lnTo>
                          <a:pt x="0" y="95"/>
                        </a:lnTo>
                        <a:lnTo>
                          <a:pt x="2" y="96"/>
                        </a:lnTo>
                        <a:lnTo>
                          <a:pt x="17" y="96"/>
                        </a:lnTo>
                        <a:lnTo>
                          <a:pt x="12" y="100"/>
                        </a:lnTo>
                        <a:lnTo>
                          <a:pt x="5" y="101"/>
                        </a:lnTo>
                        <a:lnTo>
                          <a:pt x="3" y="106"/>
                        </a:lnTo>
                        <a:lnTo>
                          <a:pt x="7" y="106"/>
                        </a:lnTo>
                        <a:lnTo>
                          <a:pt x="8" y="108"/>
                        </a:lnTo>
                        <a:lnTo>
                          <a:pt x="18" y="104"/>
                        </a:lnTo>
                        <a:lnTo>
                          <a:pt x="10" y="109"/>
                        </a:lnTo>
                        <a:lnTo>
                          <a:pt x="7" y="113"/>
                        </a:lnTo>
                        <a:lnTo>
                          <a:pt x="13" y="113"/>
                        </a:lnTo>
                        <a:lnTo>
                          <a:pt x="22" y="108"/>
                        </a:lnTo>
                        <a:lnTo>
                          <a:pt x="20" y="111"/>
                        </a:lnTo>
                        <a:lnTo>
                          <a:pt x="13" y="114"/>
                        </a:lnTo>
                        <a:lnTo>
                          <a:pt x="18" y="114"/>
                        </a:lnTo>
                        <a:lnTo>
                          <a:pt x="17" y="116"/>
                        </a:lnTo>
                        <a:lnTo>
                          <a:pt x="22" y="114"/>
                        </a:lnTo>
                        <a:lnTo>
                          <a:pt x="25" y="116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47" name="Google Shape;3094;p98">
                    <a:extLst>
                      <a:ext uri="{FF2B5EF4-FFF2-40B4-BE49-F238E27FC236}">
                        <a16:creationId xmlns:a16="http://schemas.microsoft.com/office/drawing/2014/main" id="{FACF41FC-8432-FDA9-CBD7-066AFBD78938}"/>
                      </a:ext>
                    </a:extLst>
                  </p:cNvPr>
                  <p:cNvSpPr/>
                  <p:nvPr/>
                </p:nvSpPr>
                <p:spPr>
                  <a:xfrm>
                    <a:off x="6324043" y="2468697"/>
                    <a:ext cx="111306" cy="18054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9" h="348" extrusionOk="0">
                        <a:moveTo>
                          <a:pt x="38" y="225"/>
                        </a:moveTo>
                        <a:lnTo>
                          <a:pt x="33" y="221"/>
                        </a:lnTo>
                        <a:lnTo>
                          <a:pt x="28" y="220"/>
                        </a:lnTo>
                        <a:lnTo>
                          <a:pt x="25" y="213"/>
                        </a:lnTo>
                        <a:lnTo>
                          <a:pt x="18" y="210"/>
                        </a:lnTo>
                        <a:lnTo>
                          <a:pt x="15" y="211"/>
                        </a:lnTo>
                        <a:lnTo>
                          <a:pt x="13" y="216"/>
                        </a:lnTo>
                        <a:lnTo>
                          <a:pt x="10" y="218"/>
                        </a:lnTo>
                        <a:lnTo>
                          <a:pt x="0" y="210"/>
                        </a:lnTo>
                        <a:lnTo>
                          <a:pt x="5" y="200"/>
                        </a:lnTo>
                        <a:lnTo>
                          <a:pt x="10" y="198"/>
                        </a:lnTo>
                        <a:lnTo>
                          <a:pt x="12" y="195"/>
                        </a:lnTo>
                        <a:lnTo>
                          <a:pt x="15" y="193"/>
                        </a:lnTo>
                        <a:lnTo>
                          <a:pt x="17" y="191"/>
                        </a:lnTo>
                        <a:lnTo>
                          <a:pt x="22" y="190"/>
                        </a:lnTo>
                        <a:lnTo>
                          <a:pt x="23" y="188"/>
                        </a:lnTo>
                        <a:lnTo>
                          <a:pt x="25" y="188"/>
                        </a:lnTo>
                        <a:lnTo>
                          <a:pt x="30" y="186"/>
                        </a:lnTo>
                        <a:lnTo>
                          <a:pt x="38" y="186"/>
                        </a:lnTo>
                        <a:lnTo>
                          <a:pt x="42" y="188"/>
                        </a:lnTo>
                        <a:lnTo>
                          <a:pt x="42" y="191"/>
                        </a:lnTo>
                        <a:lnTo>
                          <a:pt x="48" y="201"/>
                        </a:lnTo>
                        <a:lnTo>
                          <a:pt x="45" y="203"/>
                        </a:lnTo>
                        <a:lnTo>
                          <a:pt x="52" y="205"/>
                        </a:lnTo>
                        <a:lnTo>
                          <a:pt x="53" y="213"/>
                        </a:lnTo>
                        <a:lnTo>
                          <a:pt x="50" y="206"/>
                        </a:lnTo>
                        <a:lnTo>
                          <a:pt x="48" y="206"/>
                        </a:lnTo>
                        <a:lnTo>
                          <a:pt x="48" y="210"/>
                        </a:lnTo>
                        <a:lnTo>
                          <a:pt x="48" y="213"/>
                        </a:lnTo>
                        <a:lnTo>
                          <a:pt x="52" y="213"/>
                        </a:lnTo>
                        <a:lnTo>
                          <a:pt x="50" y="216"/>
                        </a:lnTo>
                        <a:lnTo>
                          <a:pt x="45" y="216"/>
                        </a:lnTo>
                        <a:lnTo>
                          <a:pt x="45" y="220"/>
                        </a:lnTo>
                        <a:lnTo>
                          <a:pt x="40" y="221"/>
                        </a:lnTo>
                        <a:lnTo>
                          <a:pt x="38" y="221"/>
                        </a:lnTo>
                        <a:lnTo>
                          <a:pt x="38" y="225"/>
                        </a:lnTo>
                        <a:lnTo>
                          <a:pt x="38" y="225"/>
                        </a:lnTo>
                        <a:lnTo>
                          <a:pt x="38" y="225"/>
                        </a:lnTo>
                        <a:close/>
                        <a:moveTo>
                          <a:pt x="140" y="32"/>
                        </a:moveTo>
                        <a:lnTo>
                          <a:pt x="141" y="29"/>
                        </a:lnTo>
                        <a:lnTo>
                          <a:pt x="143" y="30"/>
                        </a:lnTo>
                        <a:lnTo>
                          <a:pt x="140" y="32"/>
                        </a:lnTo>
                        <a:lnTo>
                          <a:pt x="140" y="32"/>
                        </a:lnTo>
                        <a:close/>
                        <a:moveTo>
                          <a:pt x="148" y="5"/>
                        </a:moveTo>
                        <a:lnTo>
                          <a:pt x="148" y="4"/>
                        </a:lnTo>
                        <a:lnTo>
                          <a:pt x="150" y="0"/>
                        </a:lnTo>
                        <a:lnTo>
                          <a:pt x="148" y="5"/>
                        </a:lnTo>
                        <a:lnTo>
                          <a:pt x="148" y="5"/>
                        </a:lnTo>
                        <a:close/>
                        <a:moveTo>
                          <a:pt x="138" y="15"/>
                        </a:moveTo>
                        <a:lnTo>
                          <a:pt x="140" y="10"/>
                        </a:lnTo>
                        <a:lnTo>
                          <a:pt x="136" y="12"/>
                        </a:lnTo>
                        <a:lnTo>
                          <a:pt x="135" y="14"/>
                        </a:lnTo>
                        <a:lnTo>
                          <a:pt x="135" y="14"/>
                        </a:lnTo>
                        <a:lnTo>
                          <a:pt x="138" y="15"/>
                        </a:lnTo>
                        <a:lnTo>
                          <a:pt x="138" y="15"/>
                        </a:lnTo>
                        <a:close/>
                        <a:moveTo>
                          <a:pt x="188" y="301"/>
                        </a:moveTo>
                        <a:lnTo>
                          <a:pt x="191" y="303"/>
                        </a:lnTo>
                        <a:lnTo>
                          <a:pt x="194" y="301"/>
                        </a:lnTo>
                        <a:lnTo>
                          <a:pt x="193" y="299"/>
                        </a:lnTo>
                        <a:lnTo>
                          <a:pt x="189" y="299"/>
                        </a:lnTo>
                        <a:lnTo>
                          <a:pt x="188" y="301"/>
                        </a:lnTo>
                        <a:lnTo>
                          <a:pt x="188" y="301"/>
                        </a:lnTo>
                        <a:close/>
                        <a:moveTo>
                          <a:pt x="138" y="326"/>
                        </a:moveTo>
                        <a:lnTo>
                          <a:pt x="145" y="323"/>
                        </a:lnTo>
                        <a:lnTo>
                          <a:pt x="148" y="324"/>
                        </a:lnTo>
                        <a:lnTo>
                          <a:pt x="150" y="324"/>
                        </a:lnTo>
                        <a:lnTo>
                          <a:pt x="148" y="326"/>
                        </a:lnTo>
                        <a:lnTo>
                          <a:pt x="148" y="328"/>
                        </a:lnTo>
                        <a:lnTo>
                          <a:pt x="145" y="329"/>
                        </a:lnTo>
                        <a:lnTo>
                          <a:pt x="141" y="326"/>
                        </a:lnTo>
                        <a:lnTo>
                          <a:pt x="138" y="326"/>
                        </a:lnTo>
                        <a:lnTo>
                          <a:pt x="138" y="326"/>
                        </a:lnTo>
                        <a:close/>
                        <a:moveTo>
                          <a:pt x="60" y="167"/>
                        </a:moveTo>
                        <a:lnTo>
                          <a:pt x="60" y="170"/>
                        </a:lnTo>
                        <a:lnTo>
                          <a:pt x="63" y="172"/>
                        </a:lnTo>
                        <a:lnTo>
                          <a:pt x="62" y="168"/>
                        </a:lnTo>
                        <a:lnTo>
                          <a:pt x="60" y="167"/>
                        </a:lnTo>
                        <a:lnTo>
                          <a:pt x="60" y="167"/>
                        </a:lnTo>
                        <a:close/>
                        <a:moveTo>
                          <a:pt x="38" y="163"/>
                        </a:moveTo>
                        <a:lnTo>
                          <a:pt x="40" y="158"/>
                        </a:lnTo>
                        <a:lnTo>
                          <a:pt x="40" y="162"/>
                        </a:lnTo>
                        <a:lnTo>
                          <a:pt x="38" y="163"/>
                        </a:lnTo>
                        <a:lnTo>
                          <a:pt x="38" y="163"/>
                        </a:lnTo>
                        <a:close/>
                        <a:moveTo>
                          <a:pt x="25" y="150"/>
                        </a:moveTo>
                        <a:lnTo>
                          <a:pt x="25" y="147"/>
                        </a:lnTo>
                        <a:lnTo>
                          <a:pt x="28" y="147"/>
                        </a:lnTo>
                        <a:lnTo>
                          <a:pt x="25" y="150"/>
                        </a:lnTo>
                        <a:lnTo>
                          <a:pt x="25" y="150"/>
                        </a:lnTo>
                        <a:close/>
                        <a:moveTo>
                          <a:pt x="30" y="145"/>
                        </a:moveTo>
                        <a:lnTo>
                          <a:pt x="35" y="140"/>
                        </a:lnTo>
                        <a:lnTo>
                          <a:pt x="33" y="143"/>
                        </a:lnTo>
                        <a:lnTo>
                          <a:pt x="30" y="145"/>
                        </a:lnTo>
                        <a:lnTo>
                          <a:pt x="30" y="145"/>
                        </a:lnTo>
                        <a:close/>
                        <a:moveTo>
                          <a:pt x="40" y="137"/>
                        </a:moveTo>
                        <a:lnTo>
                          <a:pt x="42" y="135"/>
                        </a:lnTo>
                        <a:lnTo>
                          <a:pt x="40" y="135"/>
                        </a:lnTo>
                        <a:lnTo>
                          <a:pt x="40" y="137"/>
                        </a:lnTo>
                        <a:lnTo>
                          <a:pt x="40" y="137"/>
                        </a:lnTo>
                        <a:close/>
                        <a:moveTo>
                          <a:pt x="35" y="130"/>
                        </a:moveTo>
                        <a:lnTo>
                          <a:pt x="37" y="133"/>
                        </a:lnTo>
                        <a:lnTo>
                          <a:pt x="38" y="133"/>
                        </a:lnTo>
                        <a:lnTo>
                          <a:pt x="38" y="130"/>
                        </a:lnTo>
                        <a:lnTo>
                          <a:pt x="35" y="130"/>
                        </a:lnTo>
                        <a:lnTo>
                          <a:pt x="35" y="130"/>
                        </a:lnTo>
                        <a:close/>
                        <a:moveTo>
                          <a:pt x="98" y="65"/>
                        </a:moveTo>
                        <a:lnTo>
                          <a:pt x="100" y="67"/>
                        </a:lnTo>
                        <a:lnTo>
                          <a:pt x="100" y="65"/>
                        </a:lnTo>
                        <a:lnTo>
                          <a:pt x="98" y="65"/>
                        </a:lnTo>
                        <a:lnTo>
                          <a:pt x="98" y="65"/>
                        </a:lnTo>
                        <a:close/>
                        <a:moveTo>
                          <a:pt x="93" y="67"/>
                        </a:moveTo>
                        <a:lnTo>
                          <a:pt x="96" y="67"/>
                        </a:lnTo>
                        <a:lnTo>
                          <a:pt x="100" y="70"/>
                        </a:lnTo>
                        <a:lnTo>
                          <a:pt x="98" y="72"/>
                        </a:lnTo>
                        <a:lnTo>
                          <a:pt x="103" y="70"/>
                        </a:lnTo>
                        <a:lnTo>
                          <a:pt x="103" y="74"/>
                        </a:lnTo>
                        <a:lnTo>
                          <a:pt x="101" y="74"/>
                        </a:lnTo>
                        <a:lnTo>
                          <a:pt x="96" y="74"/>
                        </a:lnTo>
                        <a:lnTo>
                          <a:pt x="96" y="70"/>
                        </a:lnTo>
                        <a:lnTo>
                          <a:pt x="95" y="74"/>
                        </a:lnTo>
                        <a:lnTo>
                          <a:pt x="93" y="72"/>
                        </a:lnTo>
                        <a:lnTo>
                          <a:pt x="93" y="67"/>
                        </a:lnTo>
                        <a:lnTo>
                          <a:pt x="93" y="67"/>
                        </a:lnTo>
                        <a:close/>
                        <a:moveTo>
                          <a:pt x="93" y="75"/>
                        </a:moveTo>
                        <a:lnTo>
                          <a:pt x="96" y="79"/>
                        </a:lnTo>
                        <a:lnTo>
                          <a:pt x="96" y="77"/>
                        </a:lnTo>
                        <a:lnTo>
                          <a:pt x="95" y="74"/>
                        </a:lnTo>
                        <a:lnTo>
                          <a:pt x="93" y="75"/>
                        </a:lnTo>
                        <a:lnTo>
                          <a:pt x="93" y="75"/>
                        </a:lnTo>
                        <a:close/>
                        <a:moveTo>
                          <a:pt x="23" y="100"/>
                        </a:moveTo>
                        <a:lnTo>
                          <a:pt x="27" y="100"/>
                        </a:lnTo>
                        <a:lnTo>
                          <a:pt x="23" y="97"/>
                        </a:lnTo>
                        <a:lnTo>
                          <a:pt x="27" y="93"/>
                        </a:lnTo>
                        <a:lnTo>
                          <a:pt x="32" y="95"/>
                        </a:lnTo>
                        <a:lnTo>
                          <a:pt x="30" y="93"/>
                        </a:lnTo>
                        <a:lnTo>
                          <a:pt x="40" y="85"/>
                        </a:lnTo>
                        <a:lnTo>
                          <a:pt x="42" y="92"/>
                        </a:lnTo>
                        <a:lnTo>
                          <a:pt x="37" y="95"/>
                        </a:lnTo>
                        <a:lnTo>
                          <a:pt x="37" y="98"/>
                        </a:lnTo>
                        <a:lnTo>
                          <a:pt x="37" y="98"/>
                        </a:lnTo>
                        <a:lnTo>
                          <a:pt x="35" y="103"/>
                        </a:lnTo>
                        <a:lnTo>
                          <a:pt x="30" y="102"/>
                        </a:lnTo>
                        <a:lnTo>
                          <a:pt x="27" y="102"/>
                        </a:lnTo>
                        <a:lnTo>
                          <a:pt x="23" y="100"/>
                        </a:lnTo>
                        <a:lnTo>
                          <a:pt x="23" y="100"/>
                        </a:lnTo>
                        <a:close/>
                        <a:moveTo>
                          <a:pt x="23" y="107"/>
                        </a:moveTo>
                        <a:lnTo>
                          <a:pt x="27" y="108"/>
                        </a:lnTo>
                        <a:lnTo>
                          <a:pt x="32" y="105"/>
                        </a:lnTo>
                        <a:lnTo>
                          <a:pt x="28" y="103"/>
                        </a:lnTo>
                        <a:lnTo>
                          <a:pt x="27" y="105"/>
                        </a:lnTo>
                        <a:lnTo>
                          <a:pt x="25" y="107"/>
                        </a:lnTo>
                        <a:lnTo>
                          <a:pt x="23" y="107"/>
                        </a:lnTo>
                        <a:lnTo>
                          <a:pt x="23" y="107"/>
                        </a:lnTo>
                        <a:close/>
                        <a:moveTo>
                          <a:pt x="22" y="113"/>
                        </a:moveTo>
                        <a:lnTo>
                          <a:pt x="18" y="115"/>
                        </a:lnTo>
                        <a:lnTo>
                          <a:pt x="15" y="112"/>
                        </a:lnTo>
                        <a:lnTo>
                          <a:pt x="17" y="112"/>
                        </a:lnTo>
                        <a:lnTo>
                          <a:pt x="23" y="112"/>
                        </a:lnTo>
                        <a:lnTo>
                          <a:pt x="22" y="113"/>
                        </a:lnTo>
                        <a:lnTo>
                          <a:pt x="22" y="113"/>
                        </a:lnTo>
                        <a:close/>
                        <a:moveTo>
                          <a:pt x="20" y="118"/>
                        </a:moveTo>
                        <a:lnTo>
                          <a:pt x="17" y="118"/>
                        </a:lnTo>
                        <a:lnTo>
                          <a:pt x="17" y="117"/>
                        </a:lnTo>
                        <a:lnTo>
                          <a:pt x="22" y="117"/>
                        </a:lnTo>
                        <a:lnTo>
                          <a:pt x="20" y="118"/>
                        </a:lnTo>
                        <a:lnTo>
                          <a:pt x="20" y="118"/>
                        </a:lnTo>
                        <a:close/>
                        <a:moveTo>
                          <a:pt x="15" y="130"/>
                        </a:moveTo>
                        <a:lnTo>
                          <a:pt x="17" y="132"/>
                        </a:lnTo>
                        <a:lnTo>
                          <a:pt x="13" y="133"/>
                        </a:lnTo>
                        <a:lnTo>
                          <a:pt x="13" y="132"/>
                        </a:lnTo>
                        <a:lnTo>
                          <a:pt x="15" y="130"/>
                        </a:lnTo>
                        <a:lnTo>
                          <a:pt x="15" y="130"/>
                        </a:lnTo>
                        <a:close/>
                        <a:moveTo>
                          <a:pt x="20" y="128"/>
                        </a:moveTo>
                        <a:lnTo>
                          <a:pt x="18" y="125"/>
                        </a:lnTo>
                        <a:lnTo>
                          <a:pt x="20" y="122"/>
                        </a:lnTo>
                        <a:lnTo>
                          <a:pt x="20" y="120"/>
                        </a:lnTo>
                        <a:lnTo>
                          <a:pt x="17" y="120"/>
                        </a:lnTo>
                        <a:lnTo>
                          <a:pt x="17" y="122"/>
                        </a:lnTo>
                        <a:lnTo>
                          <a:pt x="17" y="125"/>
                        </a:lnTo>
                        <a:lnTo>
                          <a:pt x="17" y="128"/>
                        </a:lnTo>
                        <a:lnTo>
                          <a:pt x="20" y="128"/>
                        </a:lnTo>
                        <a:lnTo>
                          <a:pt x="20" y="128"/>
                        </a:lnTo>
                        <a:close/>
                        <a:moveTo>
                          <a:pt x="43" y="130"/>
                        </a:moveTo>
                        <a:lnTo>
                          <a:pt x="43" y="127"/>
                        </a:lnTo>
                        <a:lnTo>
                          <a:pt x="38" y="127"/>
                        </a:lnTo>
                        <a:lnTo>
                          <a:pt x="35" y="122"/>
                        </a:lnTo>
                        <a:lnTo>
                          <a:pt x="35" y="120"/>
                        </a:lnTo>
                        <a:lnTo>
                          <a:pt x="33" y="120"/>
                        </a:lnTo>
                        <a:lnTo>
                          <a:pt x="33" y="122"/>
                        </a:lnTo>
                        <a:lnTo>
                          <a:pt x="28" y="118"/>
                        </a:lnTo>
                        <a:lnTo>
                          <a:pt x="30" y="117"/>
                        </a:lnTo>
                        <a:lnTo>
                          <a:pt x="32" y="117"/>
                        </a:lnTo>
                        <a:lnTo>
                          <a:pt x="32" y="113"/>
                        </a:lnTo>
                        <a:lnTo>
                          <a:pt x="37" y="117"/>
                        </a:lnTo>
                        <a:lnTo>
                          <a:pt x="37" y="112"/>
                        </a:lnTo>
                        <a:lnTo>
                          <a:pt x="38" y="110"/>
                        </a:lnTo>
                        <a:lnTo>
                          <a:pt x="42" y="115"/>
                        </a:lnTo>
                        <a:lnTo>
                          <a:pt x="42" y="122"/>
                        </a:lnTo>
                        <a:lnTo>
                          <a:pt x="47" y="125"/>
                        </a:lnTo>
                        <a:lnTo>
                          <a:pt x="48" y="123"/>
                        </a:lnTo>
                        <a:lnTo>
                          <a:pt x="50" y="125"/>
                        </a:lnTo>
                        <a:lnTo>
                          <a:pt x="47" y="127"/>
                        </a:lnTo>
                        <a:lnTo>
                          <a:pt x="45" y="130"/>
                        </a:lnTo>
                        <a:lnTo>
                          <a:pt x="43" y="130"/>
                        </a:lnTo>
                        <a:lnTo>
                          <a:pt x="43" y="130"/>
                        </a:lnTo>
                        <a:close/>
                        <a:moveTo>
                          <a:pt x="37" y="155"/>
                        </a:moveTo>
                        <a:lnTo>
                          <a:pt x="45" y="152"/>
                        </a:lnTo>
                        <a:lnTo>
                          <a:pt x="45" y="153"/>
                        </a:lnTo>
                        <a:lnTo>
                          <a:pt x="50" y="152"/>
                        </a:lnTo>
                        <a:lnTo>
                          <a:pt x="48" y="147"/>
                        </a:lnTo>
                        <a:lnTo>
                          <a:pt x="45" y="147"/>
                        </a:lnTo>
                        <a:lnTo>
                          <a:pt x="42" y="143"/>
                        </a:lnTo>
                        <a:lnTo>
                          <a:pt x="37" y="145"/>
                        </a:lnTo>
                        <a:lnTo>
                          <a:pt x="43" y="148"/>
                        </a:lnTo>
                        <a:lnTo>
                          <a:pt x="40" y="150"/>
                        </a:lnTo>
                        <a:lnTo>
                          <a:pt x="40" y="152"/>
                        </a:lnTo>
                        <a:lnTo>
                          <a:pt x="37" y="155"/>
                        </a:lnTo>
                        <a:lnTo>
                          <a:pt x="37" y="155"/>
                        </a:lnTo>
                        <a:close/>
                        <a:moveTo>
                          <a:pt x="43" y="170"/>
                        </a:moveTo>
                        <a:lnTo>
                          <a:pt x="42" y="165"/>
                        </a:lnTo>
                        <a:lnTo>
                          <a:pt x="50" y="158"/>
                        </a:lnTo>
                        <a:lnTo>
                          <a:pt x="47" y="167"/>
                        </a:lnTo>
                        <a:lnTo>
                          <a:pt x="43" y="170"/>
                        </a:lnTo>
                        <a:lnTo>
                          <a:pt x="43" y="170"/>
                        </a:lnTo>
                        <a:close/>
                        <a:moveTo>
                          <a:pt x="37" y="175"/>
                        </a:moveTo>
                        <a:lnTo>
                          <a:pt x="42" y="172"/>
                        </a:lnTo>
                        <a:lnTo>
                          <a:pt x="40" y="165"/>
                        </a:lnTo>
                        <a:lnTo>
                          <a:pt x="33" y="168"/>
                        </a:lnTo>
                        <a:lnTo>
                          <a:pt x="33" y="173"/>
                        </a:lnTo>
                        <a:lnTo>
                          <a:pt x="37" y="170"/>
                        </a:lnTo>
                        <a:lnTo>
                          <a:pt x="37" y="175"/>
                        </a:lnTo>
                        <a:lnTo>
                          <a:pt x="37" y="175"/>
                        </a:lnTo>
                        <a:close/>
                        <a:moveTo>
                          <a:pt x="55" y="175"/>
                        </a:moveTo>
                        <a:lnTo>
                          <a:pt x="57" y="180"/>
                        </a:lnTo>
                        <a:lnTo>
                          <a:pt x="60" y="182"/>
                        </a:lnTo>
                        <a:lnTo>
                          <a:pt x="62" y="178"/>
                        </a:lnTo>
                        <a:lnTo>
                          <a:pt x="58" y="172"/>
                        </a:lnTo>
                        <a:lnTo>
                          <a:pt x="55" y="175"/>
                        </a:lnTo>
                        <a:lnTo>
                          <a:pt x="55" y="175"/>
                        </a:lnTo>
                        <a:close/>
                        <a:moveTo>
                          <a:pt x="72" y="246"/>
                        </a:moveTo>
                        <a:lnTo>
                          <a:pt x="77" y="250"/>
                        </a:lnTo>
                        <a:lnTo>
                          <a:pt x="83" y="245"/>
                        </a:lnTo>
                        <a:lnTo>
                          <a:pt x="78" y="246"/>
                        </a:lnTo>
                        <a:lnTo>
                          <a:pt x="77" y="241"/>
                        </a:lnTo>
                        <a:lnTo>
                          <a:pt x="72" y="243"/>
                        </a:lnTo>
                        <a:lnTo>
                          <a:pt x="72" y="243"/>
                        </a:lnTo>
                        <a:lnTo>
                          <a:pt x="72" y="246"/>
                        </a:lnTo>
                        <a:lnTo>
                          <a:pt x="72" y="246"/>
                        </a:lnTo>
                        <a:close/>
                        <a:moveTo>
                          <a:pt x="67" y="223"/>
                        </a:moveTo>
                        <a:lnTo>
                          <a:pt x="68" y="218"/>
                        </a:lnTo>
                        <a:lnTo>
                          <a:pt x="77" y="211"/>
                        </a:lnTo>
                        <a:lnTo>
                          <a:pt x="75" y="215"/>
                        </a:lnTo>
                        <a:lnTo>
                          <a:pt x="77" y="216"/>
                        </a:lnTo>
                        <a:lnTo>
                          <a:pt x="70" y="223"/>
                        </a:lnTo>
                        <a:lnTo>
                          <a:pt x="67" y="223"/>
                        </a:lnTo>
                        <a:lnTo>
                          <a:pt x="67" y="223"/>
                        </a:lnTo>
                        <a:close/>
                        <a:moveTo>
                          <a:pt x="57" y="348"/>
                        </a:moveTo>
                        <a:lnTo>
                          <a:pt x="60" y="346"/>
                        </a:lnTo>
                        <a:lnTo>
                          <a:pt x="58" y="344"/>
                        </a:lnTo>
                        <a:lnTo>
                          <a:pt x="62" y="341"/>
                        </a:lnTo>
                        <a:lnTo>
                          <a:pt x="62" y="343"/>
                        </a:lnTo>
                        <a:lnTo>
                          <a:pt x="65" y="339"/>
                        </a:lnTo>
                        <a:lnTo>
                          <a:pt x="67" y="339"/>
                        </a:lnTo>
                        <a:lnTo>
                          <a:pt x="68" y="336"/>
                        </a:lnTo>
                        <a:lnTo>
                          <a:pt x="73" y="338"/>
                        </a:lnTo>
                        <a:lnTo>
                          <a:pt x="77" y="336"/>
                        </a:lnTo>
                        <a:lnTo>
                          <a:pt x="80" y="336"/>
                        </a:lnTo>
                        <a:lnTo>
                          <a:pt x="81" y="336"/>
                        </a:lnTo>
                        <a:lnTo>
                          <a:pt x="83" y="338"/>
                        </a:lnTo>
                        <a:lnTo>
                          <a:pt x="85" y="338"/>
                        </a:lnTo>
                        <a:lnTo>
                          <a:pt x="88" y="339"/>
                        </a:lnTo>
                        <a:lnTo>
                          <a:pt x="93" y="339"/>
                        </a:lnTo>
                        <a:lnTo>
                          <a:pt x="91" y="338"/>
                        </a:lnTo>
                        <a:lnTo>
                          <a:pt x="95" y="336"/>
                        </a:lnTo>
                        <a:lnTo>
                          <a:pt x="96" y="334"/>
                        </a:lnTo>
                        <a:lnTo>
                          <a:pt x="95" y="331"/>
                        </a:lnTo>
                        <a:lnTo>
                          <a:pt x="98" y="328"/>
                        </a:lnTo>
                        <a:lnTo>
                          <a:pt x="100" y="328"/>
                        </a:lnTo>
                        <a:lnTo>
                          <a:pt x="101" y="326"/>
                        </a:lnTo>
                        <a:lnTo>
                          <a:pt x="110" y="324"/>
                        </a:lnTo>
                        <a:lnTo>
                          <a:pt x="113" y="324"/>
                        </a:lnTo>
                        <a:lnTo>
                          <a:pt x="120" y="328"/>
                        </a:lnTo>
                        <a:lnTo>
                          <a:pt x="121" y="328"/>
                        </a:lnTo>
                        <a:lnTo>
                          <a:pt x="126" y="328"/>
                        </a:lnTo>
                        <a:lnTo>
                          <a:pt x="130" y="329"/>
                        </a:lnTo>
                        <a:lnTo>
                          <a:pt x="131" y="326"/>
                        </a:lnTo>
                        <a:lnTo>
                          <a:pt x="136" y="323"/>
                        </a:lnTo>
                        <a:lnTo>
                          <a:pt x="140" y="324"/>
                        </a:lnTo>
                        <a:lnTo>
                          <a:pt x="145" y="321"/>
                        </a:lnTo>
                        <a:lnTo>
                          <a:pt x="148" y="321"/>
                        </a:lnTo>
                        <a:lnTo>
                          <a:pt x="150" y="321"/>
                        </a:lnTo>
                        <a:lnTo>
                          <a:pt x="153" y="319"/>
                        </a:lnTo>
                        <a:lnTo>
                          <a:pt x="153" y="321"/>
                        </a:lnTo>
                        <a:lnTo>
                          <a:pt x="156" y="323"/>
                        </a:lnTo>
                        <a:lnTo>
                          <a:pt x="160" y="321"/>
                        </a:lnTo>
                        <a:lnTo>
                          <a:pt x="168" y="321"/>
                        </a:lnTo>
                        <a:lnTo>
                          <a:pt x="173" y="319"/>
                        </a:lnTo>
                        <a:lnTo>
                          <a:pt x="178" y="321"/>
                        </a:lnTo>
                        <a:lnTo>
                          <a:pt x="179" y="321"/>
                        </a:lnTo>
                        <a:lnTo>
                          <a:pt x="184" y="319"/>
                        </a:lnTo>
                        <a:lnTo>
                          <a:pt x="188" y="318"/>
                        </a:lnTo>
                        <a:lnTo>
                          <a:pt x="191" y="316"/>
                        </a:lnTo>
                        <a:lnTo>
                          <a:pt x="193" y="314"/>
                        </a:lnTo>
                        <a:lnTo>
                          <a:pt x="196" y="316"/>
                        </a:lnTo>
                        <a:lnTo>
                          <a:pt x="196" y="313"/>
                        </a:lnTo>
                        <a:lnTo>
                          <a:pt x="201" y="309"/>
                        </a:lnTo>
                        <a:lnTo>
                          <a:pt x="204" y="309"/>
                        </a:lnTo>
                        <a:lnTo>
                          <a:pt x="204" y="306"/>
                        </a:lnTo>
                        <a:lnTo>
                          <a:pt x="204" y="303"/>
                        </a:lnTo>
                        <a:lnTo>
                          <a:pt x="204" y="301"/>
                        </a:lnTo>
                        <a:lnTo>
                          <a:pt x="198" y="301"/>
                        </a:lnTo>
                        <a:lnTo>
                          <a:pt x="194" y="303"/>
                        </a:lnTo>
                        <a:lnTo>
                          <a:pt x="191" y="303"/>
                        </a:lnTo>
                        <a:lnTo>
                          <a:pt x="188" y="301"/>
                        </a:lnTo>
                        <a:lnTo>
                          <a:pt x="186" y="301"/>
                        </a:lnTo>
                        <a:lnTo>
                          <a:pt x="188" y="299"/>
                        </a:lnTo>
                        <a:lnTo>
                          <a:pt x="188" y="299"/>
                        </a:lnTo>
                        <a:lnTo>
                          <a:pt x="189" y="299"/>
                        </a:lnTo>
                        <a:lnTo>
                          <a:pt x="184" y="298"/>
                        </a:lnTo>
                        <a:lnTo>
                          <a:pt x="181" y="299"/>
                        </a:lnTo>
                        <a:lnTo>
                          <a:pt x="186" y="296"/>
                        </a:lnTo>
                        <a:lnTo>
                          <a:pt x="189" y="296"/>
                        </a:lnTo>
                        <a:lnTo>
                          <a:pt x="193" y="294"/>
                        </a:lnTo>
                        <a:lnTo>
                          <a:pt x="193" y="293"/>
                        </a:lnTo>
                        <a:lnTo>
                          <a:pt x="188" y="293"/>
                        </a:lnTo>
                        <a:lnTo>
                          <a:pt x="191" y="289"/>
                        </a:lnTo>
                        <a:lnTo>
                          <a:pt x="193" y="288"/>
                        </a:lnTo>
                        <a:lnTo>
                          <a:pt x="196" y="289"/>
                        </a:lnTo>
                        <a:lnTo>
                          <a:pt x="199" y="288"/>
                        </a:lnTo>
                        <a:lnTo>
                          <a:pt x="199" y="286"/>
                        </a:lnTo>
                        <a:lnTo>
                          <a:pt x="198" y="286"/>
                        </a:lnTo>
                        <a:lnTo>
                          <a:pt x="199" y="284"/>
                        </a:lnTo>
                        <a:lnTo>
                          <a:pt x="196" y="284"/>
                        </a:lnTo>
                        <a:lnTo>
                          <a:pt x="198" y="281"/>
                        </a:lnTo>
                        <a:lnTo>
                          <a:pt x="199" y="281"/>
                        </a:lnTo>
                        <a:lnTo>
                          <a:pt x="201" y="283"/>
                        </a:lnTo>
                        <a:lnTo>
                          <a:pt x="203" y="280"/>
                        </a:lnTo>
                        <a:lnTo>
                          <a:pt x="206" y="280"/>
                        </a:lnTo>
                        <a:lnTo>
                          <a:pt x="206" y="273"/>
                        </a:lnTo>
                        <a:lnTo>
                          <a:pt x="209" y="266"/>
                        </a:lnTo>
                        <a:lnTo>
                          <a:pt x="208" y="265"/>
                        </a:lnTo>
                        <a:lnTo>
                          <a:pt x="206" y="260"/>
                        </a:lnTo>
                        <a:lnTo>
                          <a:pt x="198" y="253"/>
                        </a:lnTo>
                        <a:lnTo>
                          <a:pt x="186" y="253"/>
                        </a:lnTo>
                        <a:lnTo>
                          <a:pt x="179" y="253"/>
                        </a:lnTo>
                        <a:lnTo>
                          <a:pt x="179" y="258"/>
                        </a:lnTo>
                        <a:lnTo>
                          <a:pt x="178" y="261"/>
                        </a:lnTo>
                        <a:lnTo>
                          <a:pt x="173" y="256"/>
                        </a:lnTo>
                        <a:lnTo>
                          <a:pt x="170" y="256"/>
                        </a:lnTo>
                        <a:lnTo>
                          <a:pt x="176" y="250"/>
                        </a:lnTo>
                        <a:lnTo>
                          <a:pt x="176" y="246"/>
                        </a:lnTo>
                        <a:lnTo>
                          <a:pt x="171" y="238"/>
                        </a:lnTo>
                        <a:lnTo>
                          <a:pt x="168" y="238"/>
                        </a:lnTo>
                        <a:lnTo>
                          <a:pt x="163" y="235"/>
                        </a:lnTo>
                        <a:lnTo>
                          <a:pt x="161" y="231"/>
                        </a:lnTo>
                        <a:lnTo>
                          <a:pt x="160" y="231"/>
                        </a:lnTo>
                        <a:lnTo>
                          <a:pt x="158" y="233"/>
                        </a:lnTo>
                        <a:lnTo>
                          <a:pt x="155" y="231"/>
                        </a:lnTo>
                        <a:lnTo>
                          <a:pt x="153" y="231"/>
                        </a:lnTo>
                        <a:lnTo>
                          <a:pt x="156" y="231"/>
                        </a:lnTo>
                        <a:lnTo>
                          <a:pt x="158" y="231"/>
                        </a:lnTo>
                        <a:lnTo>
                          <a:pt x="161" y="231"/>
                        </a:lnTo>
                        <a:lnTo>
                          <a:pt x="165" y="231"/>
                        </a:lnTo>
                        <a:lnTo>
                          <a:pt x="166" y="233"/>
                        </a:lnTo>
                        <a:lnTo>
                          <a:pt x="168" y="233"/>
                        </a:lnTo>
                        <a:lnTo>
                          <a:pt x="171" y="233"/>
                        </a:lnTo>
                        <a:lnTo>
                          <a:pt x="165" y="226"/>
                        </a:lnTo>
                        <a:lnTo>
                          <a:pt x="161" y="223"/>
                        </a:lnTo>
                        <a:lnTo>
                          <a:pt x="163" y="220"/>
                        </a:lnTo>
                        <a:lnTo>
                          <a:pt x="165" y="220"/>
                        </a:lnTo>
                        <a:lnTo>
                          <a:pt x="161" y="218"/>
                        </a:lnTo>
                        <a:lnTo>
                          <a:pt x="160" y="216"/>
                        </a:lnTo>
                        <a:lnTo>
                          <a:pt x="160" y="215"/>
                        </a:lnTo>
                        <a:lnTo>
                          <a:pt x="155" y="210"/>
                        </a:lnTo>
                        <a:lnTo>
                          <a:pt x="150" y="206"/>
                        </a:lnTo>
                        <a:lnTo>
                          <a:pt x="141" y="205"/>
                        </a:lnTo>
                        <a:lnTo>
                          <a:pt x="141" y="201"/>
                        </a:lnTo>
                        <a:lnTo>
                          <a:pt x="140" y="201"/>
                        </a:lnTo>
                        <a:lnTo>
                          <a:pt x="136" y="193"/>
                        </a:lnTo>
                        <a:lnTo>
                          <a:pt x="133" y="188"/>
                        </a:lnTo>
                        <a:lnTo>
                          <a:pt x="131" y="178"/>
                        </a:lnTo>
                        <a:lnTo>
                          <a:pt x="130" y="175"/>
                        </a:lnTo>
                        <a:lnTo>
                          <a:pt x="126" y="175"/>
                        </a:lnTo>
                        <a:lnTo>
                          <a:pt x="120" y="167"/>
                        </a:lnTo>
                        <a:lnTo>
                          <a:pt x="116" y="165"/>
                        </a:lnTo>
                        <a:lnTo>
                          <a:pt x="113" y="163"/>
                        </a:lnTo>
                        <a:lnTo>
                          <a:pt x="108" y="162"/>
                        </a:lnTo>
                        <a:lnTo>
                          <a:pt x="106" y="163"/>
                        </a:lnTo>
                        <a:lnTo>
                          <a:pt x="101" y="165"/>
                        </a:lnTo>
                        <a:lnTo>
                          <a:pt x="96" y="163"/>
                        </a:lnTo>
                        <a:lnTo>
                          <a:pt x="93" y="163"/>
                        </a:lnTo>
                        <a:lnTo>
                          <a:pt x="88" y="163"/>
                        </a:lnTo>
                        <a:lnTo>
                          <a:pt x="88" y="160"/>
                        </a:lnTo>
                        <a:lnTo>
                          <a:pt x="90" y="162"/>
                        </a:lnTo>
                        <a:lnTo>
                          <a:pt x="95" y="162"/>
                        </a:lnTo>
                        <a:lnTo>
                          <a:pt x="100" y="160"/>
                        </a:lnTo>
                        <a:lnTo>
                          <a:pt x="101" y="157"/>
                        </a:lnTo>
                        <a:lnTo>
                          <a:pt x="106" y="157"/>
                        </a:lnTo>
                        <a:lnTo>
                          <a:pt x="110" y="155"/>
                        </a:lnTo>
                        <a:lnTo>
                          <a:pt x="106" y="153"/>
                        </a:lnTo>
                        <a:lnTo>
                          <a:pt x="106" y="150"/>
                        </a:lnTo>
                        <a:lnTo>
                          <a:pt x="105" y="148"/>
                        </a:lnTo>
                        <a:lnTo>
                          <a:pt x="98" y="152"/>
                        </a:lnTo>
                        <a:lnTo>
                          <a:pt x="96" y="152"/>
                        </a:lnTo>
                        <a:lnTo>
                          <a:pt x="101" y="148"/>
                        </a:lnTo>
                        <a:lnTo>
                          <a:pt x="106" y="148"/>
                        </a:lnTo>
                        <a:lnTo>
                          <a:pt x="110" y="145"/>
                        </a:lnTo>
                        <a:lnTo>
                          <a:pt x="111" y="143"/>
                        </a:lnTo>
                        <a:lnTo>
                          <a:pt x="113" y="142"/>
                        </a:lnTo>
                        <a:lnTo>
                          <a:pt x="116" y="137"/>
                        </a:lnTo>
                        <a:lnTo>
                          <a:pt x="118" y="133"/>
                        </a:lnTo>
                        <a:lnTo>
                          <a:pt x="118" y="132"/>
                        </a:lnTo>
                        <a:lnTo>
                          <a:pt x="120" y="128"/>
                        </a:lnTo>
                        <a:lnTo>
                          <a:pt x="120" y="127"/>
                        </a:lnTo>
                        <a:lnTo>
                          <a:pt x="121" y="122"/>
                        </a:lnTo>
                        <a:lnTo>
                          <a:pt x="125" y="118"/>
                        </a:lnTo>
                        <a:lnTo>
                          <a:pt x="125" y="115"/>
                        </a:lnTo>
                        <a:lnTo>
                          <a:pt x="120" y="110"/>
                        </a:lnTo>
                        <a:lnTo>
                          <a:pt x="118" y="112"/>
                        </a:lnTo>
                        <a:lnTo>
                          <a:pt x="108" y="112"/>
                        </a:lnTo>
                        <a:lnTo>
                          <a:pt x="103" y="110"/>
                        </a:lnTo>
                        <a:lnTo>
                          <a:pt x="101" y="112"/>
                        </a:lnTo>
                        <a:lnTo>
                          <a:pt x="98" y="112"/>
                        </a:lnTo>
                        <a:lnTo>
                          <a:pt x="95" y="110"/>
                        </a:lnTo>
                        <a:lnTo>
                          <a:pt x="91" y="110"/>
                        </a:lnTo>
                        <a:lnTo>
                          <a:pt x="91" y="112"/>
                        </a:lnTo>
                        <a:lnTo>
                          <a:pt x="88" y="113"/>
                        </a:lnTo>
                        <a:lnTo>
                          <a:pt x="85" y="115"/>
                        </a:lnTo>
                        <a:lnTo>
                          <a:pt x="83" y="115"/>
                        </a:lnTo>
                        <a:lnTo>
                          <a:pt x="80" y="117"/>
                        </a:lnTo>
                        <a:lnTo>
                          <a:pt x="78" y="117"/>
                        </a:lnTo>
                        <a:lnTo>
                          <a:pt x="83" y="112"/>
                        </a:lnTo>
                        <a:lnTo>
                          <a:pt x="86" y="107"/>
                        </a:lnTo>
                        <a:lnTo>
                          <a:pt x="83" y="108"/>
                        </a:lnTo>
                        <a:lnTo>
                          <a:pt x="80" y="107"/>
                        </a:lnTo>
                        <a:lnTo>
                          <a:pt x="81" y="105"/>
                        </a:lnTo>
                        <a:lnTo>
                          <a:pt x="83" y="103"/>
                        </a:lnTo>
                        <a:lnTo>
                          <a:pt x="93" y="97"/>
                        </a:lnTo>
                        <a:lnTo>
                          <a:pt x="95" y="93"/>
                        </a:lnTo>
                        <a:lnTo>
                          <a:pt x="98" y="92"/>
                        </a:lnTo>
                        <a:lnTo>
                          <a:pt x="100" y="88"/>
                        </a:lnTo>
                        <a:lnTo>
                          <a:pt x="98" y="87"/>
                        </a:lnTo>
                        <a:lnTo>
                          <a:pt x="100" y="84"/>
                        </a:lnTo>
                        <a:lnTo>
                          <a:pt x="100" y="82"/>
                        </a:lnTo>
                        <a:lnTo>
                          <a:pt x="95" y="82"/>
                        </a:lnTo>
                        <a:lnTo>
                          <a:pt x="93" y="84"/>
                        </a:lnTo>
                        <a:lnTo>
                          <a:pt x="90" y="84"/>
                        </a:lnTo>
                        <a:lnTo>
                          <a:pt x="85" y="85"/>
                        </a:lnTo>
                        <a:lnTo>
                          <a:pt x="81" y="84"/>
                        </a:lnTo>
                        <a:lnTo>
                          <a:pt x="78" y="85"/>
                        </a:lnTo>
                        <a:lnTo>
                          <a:pt x="77" y="85"/>
                        </a:lnTo>
                        <a:lnTo>
                          <a:pt x="73" y="87"/>
                        </a:lnTo>
                        <a:lnTo>
                          <a:pt x="75" y="85"/>
                        </a:lnTo>
                        <a:lnTo>
                          <a:pt x="72" y="85"/>
                        </a:lnTo>
                        <a:lnTo>
                          <a:pt x="68" y="88"/>
                        </a:lnTo>
                        <a:lnTo>
                          <a:pt x="70" y="85"/>
                        </a:lnTo>
                        <a:lnTo>
                          <a:pt x="63" y="84"/>
                        </a:lnTo>
                        <a:lnTo>
                          <a:pt x="63" y="85"/>
                        </a:lnTo>
                        <a:lnTo>
                          <a:pt x="62" y="87"/>
                        </a:lnTo>
                        <a:lnTo>
                          <a:pt x="62" y="90"/>
                        </a:lnTo>
                        <a:lnTo>
                          <a:pt x="60" y="90"/>
                        </a:lnTo>
                        <a:lnTo>
                          <a:pt x="62" y="93"/>
                        </a:lnTo>
                        <a:lnTo>
                          <a:pt x="57" y="93"/>
                        </a:lnTo>
                        <a:lnTo>
                          <a:pt x="58" y="97"/>
                        </a:lnTo>
                        <a:lnTo>
                          <a:pt x="57" y="100"/>
                        </a:lnTo>
                        <a:lnTo>
                          <a:pt x="55" y="100"/>
                        </a:lnTo>
                        <a:lnTo>
                          <a:pt x="60" y="103"/>
                        </a:lnTo>
                        <a:lnTo>
                          <a:pt x="62" y="107"/>
                        </a:lnTo>
                        <a:lnTo>
                          <a:pt x="57" y="105"/>
                        </a:lnTo>
                        <a:lnTo>
                          <a:pt x="55" y="105"/>
                        </a:lnTo>
                        <a:lnTo>
                          <a:pt x="52" y="103"/>
                        </a:lnTo>
                        <a:lnTo>
                          <a:pt x="52" y="105"/>
                        </a:lnTo>
                        <a:lnTo>
                          <a:pt x="52" y="107"/>
                        </a:lnTo>
                        <a:lnTo>
                          <a:pt x="52" y="108"/>
                        </a:lnTo>
                        <a:lnTo>
                          <a:pt x="50" y="105"/>
                        </a:lnTo>
                        <a:lnTo>
                          <a:pt x="48" y="108"/>
                        </a:lnTo>
                        <a:lnTo>
                          <a:pt x="50" y="110"/>
                        </a:lnTo>
                        <a:lnTo>
                          <a:pt x="48" y="113"/>
                        </a:lnTo>
                        <a:lnTo>
                          <a:pt x="52" y="115"/>
                        </a:lnTo>
                        <a:lnTo>
                          <a:pt x="53" y="115"/>
                        </a:lnTo>
                        <a:lnTo>
                          <a:pt x="50" y="117"/>
                        </a:lnTo>
                        <a:lnTo>
                          <a:pt x="47" y="115"/>
                        </a:lnTo>
                        <a:lnTo>
                          <a:pt x="48" y="120"/>
                        </a:lnTo>
                        <a:lnTo>
                          <a:pt x="48" y="122"/>
                        </a:lnTo>
                        <a:lnTo>
                          <a:pt x="53" y="120"/>
                        </a:lnTo>
                        <a:lnTo>
                          <a:pt x="50" y="122"/>
                        </a:lnTo>
                        <a:lnTo>
                          <a:pt x="50" y="123"/>
                        </a:lnTo>
                        <a:lnTo>
                          <a:pt x="52" y="123"/>
                        </a:lnTo>
                        <a:lnTo>
                          <a:pt x="55" y="123"/>
                        </a:lnTo>
                        <a:lnTo>
                          <a:pt x="53" y="123"/>
                        </a:lnTo>
                        <a:lnTo>
                          <a:pt x="55" y="125"/>
                        </a:lnTo>
                        <a:lnTo>
                          <a:pt x="53" y="125"/>
                        </a:lnTo>
                        <a:lnTo>
                          <a:pt x="52" y="125"/>
                        </a:lnTo>
                        <a:lnTo>
                          <a:pt x="50" y="127"/>
                        </a:lnTo>
                        <a:lnTo>
                          <a:pt x="52" y="128"/>
                        </a:lnTo>
                        <a:lnTo>
                          <a:pt x="50" y="128"/>
                        </a:lnTo>
                        <a:lnTo>
                          <a:pt x="48" y="130"/>
                        </a:lnTo>
                        <a:lnTo>
                          <a:pt x="52" y="132"/>
                        </a:lnTo>
                        <a:lnTo>
                          <a:pt x="52" y="133"/>
                        </a:lnTo>
                        <a:lnTo>
                          <a:pt x="47" y="132"/>
                        </a:lnTo>
                        <a:lnTo>
                          <a:pt x="47" y="135"/>
                        </a:lnTo>
                        <a:lnTo>
                          <a:pt x="48" y="135"/>
                        </a:lnTo>
                        <a:lnTo>
                          <a:pt x="47" y="137"/>
                        </a:lnTo>
                        <a:lnTo>
                          <a:pt x="45" y="138"/>
                        </a:lnTo>
                        <a:lnTo>
                          <a:pt x="42" y="138"/>
                        </a:lnTo>
                        <a:lnTo>
                          <a:pt x="38" y="140"/>
                        </a:lnTo>
                        <a:lnTo>
                          <a:pt x="40" y="142"/>
                        </a:lnTo>
                        <a:lnTo>
                          <a:pt x="45" y="142"/>
                        </a:lnTo>
                        <a:lnTo>
                          <a:pt x="47" y="142"/>
                        </a:lnTo>
                        <a:lnTo>
                          <a:pt x="47" y="143"/>
                        </a:lnTo>
                        <a:lnTo>
                          <a:pt x="43" y="143"/>
                        </a:lnTo>
                        <a:lnTo>
                          <a:pt x="47" y="147"/>
                        </a:lnTo>
                        <a:lnTo>
                          <a:pt x="48" y="145"/>
                        </a:lnTo>
                        <a:lnTo>
                          <a:pt x="50" y="147"/>
                        </a:lnTo>
                        <a:lnTo>
                          <a:pt x="60" y="138"/>
                        </a:lnTo>
                        <a:lnTo>
                          <a:pt x="58" y="142"/>
                        </a:lnTo>
                        <a:lnTo>
                          <a:pt x="60" y="142"/>
                        </a:lnTo>
                        <a:lnTo>
                          <a:pt x="57" y="143"/>
                        </a:lnTo>
                        <a:lnTo>
                          <a:pt x="55" y="148"/>
                        </a:lnTo>
                        <a:lnTo>
                          <a:pt x="55" y="150"/>
                        </a:lnTo>
                        <a:lnTo>
                          <a:pt x="52" y="155"/>
                        </a:lnTo>
                        <a:lnTo>
                          <a:pt x="53" y="155"/>
                        </a:lnTo>
                        <a:lnTo>
                          <a:pt x="50" y="162"/>
                        </a:lnTo>
                        <a:lnTo>
                          <a:pt x="52" y="165"/>
                        </a:lnTo>
                        <a:lnTo>
                          <a:pt x="50" y="168"/>
                        </a:lnTo>
                        <a:lnTo>
                          <a:pt x="50" y="170"/>
                        </a:lnTo>
                        <a:lnTo>
                          <a:pt x="53" y="170"/>
                        </a:lnTo>
                        <a:lnTo>
                          <a:pt x="50" y="173"/>
                        </a:lnTo>
                        <a:lnTo>
                          <a:pt x="48" y="180"/>
                        </a:lnTo>
                        <a:lnTo>
                          <a:pt x="47" y="182"/>
                        </a:lnTo>
                        <a:lnTo>
                          <a:pt x="47" y="183"/>
                        </a:lnTo>
                        <a:lnTo>
                          <a:pt x="52" y="183"/>
                        </a:lnTo>
                        <a:lnTo>
                          <a:pt x="52" y="180"/>
                        </a:lnTo>
                        <a:lnTo>
                          <a:pt x="53" y="175"/>
                        </a:lnTo>
                        <a:lnTo>
                          <a:pt x="53" y="173"/>
                        </a:lnTo>
                        <a:lnTo>
                          <a:pt x="57" y="170"/>
                        </a:lnTo>
                        <a:lnTo>
                          <a:pt x="53" y="162"/>
                        </a:lnTo>
                        <a:lnTo>
                          <a:pt x="55" y="162"/>
                        </a:lnTo>
                        <a:lnTo>
                          <a:pt x="62" y="155"/>
                        </a:lnTo>
                        <a:lnTo>
                          <a:pt x="57" y="162"/>
                        </a:lnTo>
                        <a:lnTo>
                          <a:pt x="57" y="167"/>
                        </a:lnTo>
                        <a:lnTo>
                          <a:pt x="58" y="167"/>
                        </a:lnTo>
                        <a:lnTo>
                          <a:pt x="58" y="165"/>
                        </a:lnTo>
                        <a:lnTo>
                          <a:pt x="62" y="162"/>
                        </a:lnTo>
                        <a:lnTo>
                          <a:pt x="63" y="167"/>
                        </a:lnTo>
                        <a:lnTo>
                          <a:pt x="65" y="162"/>
                        </a:lnTo>
                        <a:lnTo>
                          <a:pt x="65" y="158"/>
                        </a:lnTo>
                        <a:lnTo>
                          <a:pt x="67" y="157"/>
                        </a:lnTo>
                        <a:lnTo>
                          <a:pt x="67" y="162"/>
                        </a:lnTo>
                        <a:lnTo>
                          <a:pt x="72" y="165"/>
                        </a:lnTo>
                        <a:lnTo>
                          <a:pt x="67" y="163"/>
                        </a:lnTo>
                        <a:lnTo>
                          <a:pt x="65" y="170"/>
                        </a:lnTo>
                        <a:lnTo>
                          <a:pt x="67" y="175"/>
                        </a:lnTo>
                        <a:lnTo>
                          <a:pt x="70" y="175"/>
                        </a:lnTo>
                        <a:lnTo>
                          <a:pt x="70" y="178"/>
                        </a:lnTo>
                        <a:lnTo>
                          <a:pt x="67" y="182"/>
                        </a:lnTo>
                        <a:lnTo>
                          <a:pt x="63" y="191"/>
                        </a:lnTo>
                        <a:lnTo>
                          <a:pt x="63" y="196"/>
                        </a:lnTo>
                        <a:lnTo>
                          <a:pt x="60" y="193"/>
                        </a:lnTo>
                        <a:lnTo>
                          <a:pt x="60" y="198"/>
                        </a:lnTo>
                        <a:lnTo>
                          <a:pt x="65" y="205"/>
                        </a:lnTo>
                        <a:lnTo>
                          <a:pt x="63" y="198"/>
                        </a:lnTo>
                        <a:lnTo>
                          <a:pt x="67" y="198"/>
                        </a:lnTo>
                        <a:lnTo>
                          <a:pt x="75" y="203"/>
                        </a:lnTo>
                        <a:lnTo>
                          <a:pt x="75" y="200"/>
                        </a:lnTo>
                        <a:lnTo>
                          <a:pt x="72" y="196"/>
                        </a:lnTo>
                        <a:lnTo>
                          <a:pt x="75" y="196"/>
                        </a:lnTo>
                        <a:lnTo>
                          <a:pt x="81" y="200"/>
                        </a:lnTo>
                        <a:lnTo>
                          <a:pt x="86" y="200"/>
                        </a:lnTo>
                        <a:lnTo>
                          <a:pt x="86" y="198"/>
                        </a:lnTo>
                        <a:lnTo>
                          <a:pt x="90" y="198"/>
                        </a:lnTo>
                        <a:lnTo>
                          <a:pt x="91" y="193"/>
                        </a:lnTo>
                        <a:lnTo>
                          <a:pt x="103" y="195"/>
                        </a:lnTo>
                        <a:lnTo>
                          <a:pt x="96" y="196"/>
                        </a:lnTo>
                        <a:lnTo>
                          <a:pt x="91" y="208"/>
                        </a:lnTo>
                        <a:lnTo>
                          <a:pt x="96" y="218"/>
                        </a:lnTo>
                        <a:lnTo>
                          <a:pt x="100" y="216"/>
                        </a:lnTo>
                        <a:lnTo>
                          <a:pt x="100" y="221"/>
                        </a:lnTo>
                        <a:lnTo>
                          <a:pt x="103" y="218"/>
                        </a:lnTo>
                        <a:lnTo>
                          <a:pt x="108" y="218"/>
                        </a:lnTo>
                        <a:lnTo>
                          <a:pt x="106" y="223"/>
                        </a:lnTo>
                        <a:lnTo>
                          <a:pt x="108" y="225"/>
                        </a:lnTo>
                        <a:lnTo>
                          <a:pt x="103" y="228"/>
                        </a:lnTo>
                        <a:lnTo>
                          <a:pt x="105" y="233"/>
                        </a:lnTo>
                        <a:lnTo>
                          <a:pt x="101" y="238"/>
                        </a:lnTo>
                        <a:lnTo>
                          <a:pt x="105" y="241"/>
                        </a:lnTo>
                        <a:lnTo>
                          <a:pt x="108" y="245"/>
                        </a:lnTo>
                        <a:lnTo>
                          <a:pt x="111" y="245"/>
                        </a:lnTo>
                        <a:lnTo>
                          <a:pt x="110" y="246"/>
                        </a:lnTo>
                        <a:lnTo>
                          <a:pt x="106" y="246"/>
                        </a:lnTo>
                        <a:lnTo>
                          <a:pt x="103" y="243"/>
                        </a:lnTo>
                        <a:lnTo>
                          <a:pt x="101" y="243"/>
                        </a:lnTo>
                        <a:lnTo>
                          <a:pt x="103" y="246"/>
                        </a:lnTo>
                        <a:lnTo>
                          <a:pt x="105" y="248"/>
                        </a:lnTo>
                        <a:lnTo>
                          <a:pt x="101" y="248"/>
                        </a:lnTo>
                        <a:lnTo>
                          <a:pt x="98" y="245"/>
                        </a:lnTo>
                        <a:lnTo>
                          <a:pt x="91" y="246"/>
                        </a:lnTo>
                        <a:lnTo>
                          <a:pt x="88" y="246"/>
                        </a:lnTo>
                        <a:lnTo>
                          <a:pt x="80" y="250"/>
                        </a:lnTo>
                        <a:lnTo>
                          <a:pt x="75" y="255"/>
                        </a:lnTo>
                        <a:lnTo>
                          <a:pt x="70" y="258"/>
                        </a:lnTo>
                        <a:lnTo>
                          <a:pt x="67" y="261"/>
                        </a:lnTo>
                        <a:lnTo>
                          <a:pt x="72" y="261"/>
                        </a:lnTo>
                        <a:lnTo>
                          <a:pt x="73" y="261"/>
                        </a:lnTo>
                        <a:lnTo>
                          <a:pt x="73" y="260"/>
                        </a:lnTo>
                        <a:lnTo>
                          <a:pt x="81" y="258"/>
                        </a:lnTo>
                        <a:lnTo>
                          <a:pt x="81" y="261"/>
                        </a:lnTo>
                        <a:lnTo>
                          <a:pt x="83" y="265"/>
                        </a:lnTo>
                        <a:lnTo>
                          <a:pt x="80" y="266"/>
                        </a:lnTo>
                        <a:lnTo>
                          <a:pt x="81" y="270"/>
                        </a:lnTo>
                        <a:lnTo>
                          <a:pt x="85" y="270"/>
                        </a:lnTo>
                        <a:lnTo>
                          <a:pt x="78" y="278"/>
                        </a:lnTo>
                        <a:lnTo>
                          <a:pt x="75" y="280"/>
                        </a:lnTo>
                        <a:lnTo>
                          <a:pt x="72" y="283"/>
                        </a:lnTo>
                        <a:lnTo>
                          <a:pt x="70" y="283"/>
                        </a:lnTo>
                        <a:lnTo>
                          <a:pt x="65" y="286"/>
                        </a:lnTo>
                        <a:lnTo>
                          <a:pt x="60" y="286"/>
                        </a:lnTo>
                        <a:lnTo>
                          <a:pt x="55" y="289"/>
                        </a:lnTo>
                        <a:lnTo>
                          <a:pt x="60" y="289"/>
                        </a:lnTo>
                        <a:lnTo>
                          <a:pt x="60" y="293"/>
                        </a:lnTo>
                        <a:lnTo>
                          <a:pt x="57" y="294"/>
                        </a:lnTo>
                        <a:lnTo>
                          <a:pt x="62" y="294"/>
                        </a:lnTo>
                        <a:lnTo>
                          <a:pt x="62" y="296"/>
                        </a:lnTo>
                        <a:lnTo>
                          <a:pt x="63" y="298"/>
                        </a:lnTo>
                        <a:lnTo>
                          <a:pt x="67" y="296"/>
                        </a:lnTo>
                        <a:lnTo>
                          <a:pt x="70" y="294"/>
                        </a:lnTo>
                        <a:lnTo>
                          <a:pt x="77" y="293"/>
                        </a:lnTo>
                        <a:lnTo>
                          <a:pt x="77" y="294"/>
                        </a:lnTo>
                        <a:lnTo>
                          <a:pt x="81" y="296"/>
                        </a:lnTo>
                        <a:lnTo>
                          <a:pt x="78" y="298"/>
                        </a:lnTo>
                        <a:lnTo>
                          <a:pt x="78" y="299"/>
                        </a:lnTo>
                        <a:lnTo>
                          <a:pt x="85" y="299"/>
                        </a:lnTo>
                        <a:lnTo>
                          <a:pt x="85" y="298"/>
                        </a:lnTo>
                        <a:lnTo>
                          <a:pt x="88" y="298"/>
                        </a:lnTo>
                        <a:lnTo>
                          <a:pt x="91" y="301"/>
                        </a:lnTo>
                        <a:lnTo>
                          <a:pt x="95" y="304"/>
                        </a:lnTo>
                        <a:lnTo>
                          <a:pt x="101" y="304"/>
                        </a:lnTo>
                        <a:lnTo>
                          <a:pt x="105" y="301"/>
                        </a:lnTo>
                        <a:lnTo>
                          <a:pt x="108" y="299"/>
                        </a:lnTo>
                        <a:lnTo>
                          <a:pt x="113" y="298"/>
                        </a:lnTo>
                        <a:lnTo>
                          <a:pt x="115" y="296"/>
                        </a:lnTo>
                        <a:lnTo>
                          <a:pt x="118" y="294"/>
                        </a:lnTo>
                        <a:lnTo>
                          <a:pt x="113" y="299"/>
                        </a:lnTo>
                        <a:lnTo>
                          <a:pt x="108" y="304"/>
                        </a:lnTo>
                        <a:lnTo>
                          <a:pt x="106" y="311"/>
                        </a:lnTo>
                        <a:lnTo>
                          <a:pt x="103" y="311"/>
                        </a:lnTo>
                        <a:lnTo>
                          <a:pt x="100" y="311"/>
                        </a:lnTo>
                        <a:lnTo>
                          <a:pt x="96" y="309"/>
                        </a:lnTo>
                        <a:lnTo>
                          <a:pt x="86" y="309"/>
                        </a:lnTo>
                        <a:lnTo>
                          <a:pt x="80" y="311"/>
                        </a:lnTo>
                        <a:lnTo>
                          <a:pt x="80" y="314"/>
                        </a:lnTo>
                        <a:lnTo>
                          <a:pt x="77" y="316"/>
                        </a:lnTo>
                        <a:lnTo>
                          <a:pt x="72" y="316"/>
                        </a:lnTo>
                        <a:lnTo>
                          <a:pt x="72" y="324"/>
                        </a:lnTo>
                        <a:lnTo>
                          <a:pt x="68" y="328"/>
                        </a:lnTo>
                        <a:lnTo>
                          <a:pt x="67" y="329"/>
                        </a:lnTo>
                        <a:lnTo>
                          <a:pt x="62" y="331"/>
                        </a:lnTo>
                        <a:lnTo>
                          <a:pt x="60" y="334"/>
                        </a:lnTo>
                        <a:lnTo>
                          <a:pt x="58" y="334"/>
                        </a:lnTo>
                        <a:lnTo>
                          <a:pt x="57" y="336"/>
                        </a:lnTo>
                        <a:lnTo>
                          <a:pt x="52" y="341"/>
                        </a:lnTo>
                        <a:lnTo>
                          <a:pt x="50" y="339"/>
                        </a:lnTo>
                        <a:lnTo>
                          <a:pt x="45" y="343"/>
                        </a:lnTo>
                        <a:lnTo>
                          <a:pt x="45" y="346"/>
                        </a:lnTo>
                        <a:lnTo>
                          <a:pt x="50" y="346"/>
                        </a:lnTo>
                        <a:lnTo>
                          <a:pt x="50" y="343"/>
                        </a:lnTo>
                        <a:lnTo>
                          <a:pt x="55" y="344"/>
                        </a:lnTo>
                        <a:lnTo>
                          <a:pt x="57" y="348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48" name="Google Shape;3095;p98">
                    <a:extLst>
                      <a:ext uri="{FF2B5EF4-FFF2-40B4-BE49-F238E27FC236}">
                        <a16:creationId xmlns:a16="http://schemas.microsoft.com/office/drawing/2014/main" id="{3EDC86B0-5F83-9B6C-96DC-793A7CDA5AB6}"/>
                      </a:ext>
                    </a:extLst>
                  </p:cNvPr>
                  <p:cNvSpPr/>
                  <p:nvPr/>
                </p:nvSpPr>
                <p:spPr>
                  <a:xfrm>
                    <a:off x="6360431" y="2630560"/>
                    <a:ext cx="168029" cy="13696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16" h="266" extrusionOk="0">
                        <a:moveTo>
                          <a:pt x="254" y="145"/>
                        </a:moveTo>
                        <a:lnTo>
                          <a:pt x="254" y="141"/>
                        </a:lnTo>
                        <a:lnTo>
                          <a:pt x="251" y="140"/>
                        </a:lnTo>
                        <a:lnTo>
                          <a:pt x="249" y="135"/>
                        </a:lnTo>
                        <a:lnTo>
                          <a:pt x="248" y="130"/>
                        </a:lnTo>
                        <a:lnTo>
                          <a:pt x="239" y="130"/>
                        </a:lnTo>
                        <a:lnTo>
                          <a:pt x="236" y="133"/>
                        </a:lnTo>
                        <a:lnTo>
                          <a:pt x="239" y="138"/>
                        </a:lnTo>
                        <a:lnTo>
                          <a:pt x="233" y="140"/>
                        </a:lnTo>
                        <a:lnTo>
                          <a:pt x="228" y="140"/>
                        </a:lnTo>
                        <a:lnTo>
                          <a:pt x="228" y="136"/>
                        </a:lnTo>
                        <a:lnTo>
                          <a:pt x="229" y="135"/>
                        </a:lnTo>
                        <a:lnTo>
                          <a:pt x="233" y="135"/>
                        </a:lnTo>
                        <a:lnTo>
                          <a:pt x="233" y="131"/>
                        </a:lnTo>
                        <a:lnTo>
                          <a:pt x="234" y="125"/>
                        </a:lnTo>
                        <a:lnTo>
                          <a:pt x="239" y="115"/>
                        </a:lnTo>
                        <a:lnTo>
                          <a:pt x="244" y="115"/>
                        </a:lnTo>
                        <a:lnTo>
                          <a:pt x="248" y="108"/>
                        </a:lnTo>
                        <a:lnTo>
                          <a:pt x="253" y="106"/>
                        </a:lnTo>
                        <a:lnTo>
                          <a:pt x="253" y="103"/>
                        </a:lnTo>
                        <a:lnTo>
                          <a:pt x="248" y="100"/>
                        </a:lnTo>
                        <a:lnTo>
                          <a:pt x="249" y="96"/>
                        </a:lnTo>
                        <a:lnTo>
                          <a:pt x="256" y="96"/>
                        </a:lnTo>
                        <a:lnTo>
                          <a:pt x="258" y="100"/>
                        </a:lnTo>
                        <a:lnTo>
                          <a:pt x="261" y="100"/>
                        </a:lnTo>
                        <a:lnTo>
                          <a:pt x="269" y="98"/>
                        </a:lnTo>
                        <a:lnTo>
                          <a:pt x="268" y="93"/>
                        </a:lnTo>
                        <a:lnTo>
                          <a:pt x="263" y="91"/>
                        </a:lnTo>
                        <a:lnTo>
                          <a:pt x="263" y="85"/>
                        </a:lnTo>
                        <a:lnTo>
                          <a:pt x="264" y="76"/>
                        </a:lnTo>
                        <a:lnTo>
                          <a:pt x="268" y="75"/>
                        </a:lnTo>
                        <a:lnTo>
                          <a:pt x="268" y="71"/>
                        </a:lnTo>
                        <a:lnTo>
                          <a:pt x="271" y="65"/>
                        </a:lnTo>
                        <a:lnTo>
                          <a:pt x="276" y="60"/>
                        </a:lnTo>
                        <a:lnTo>
                          <a:pt x="271" y="57"/>
                        </a:lnTo>
                        <a:lnTo>
                          <a:pt x="268" y="57"/>
                        </a:lnTo>
                        <a:lnTo>
                          <a:pt x="261" y="53"/>
                        </a:lnTo>
                        <a:lnTo>
                          <a:pt x="258" y="55"/>
                        </a:lnTo>
                        <a:lnTo>
                          <a:pt x="254" y="55"/>
                        </a:lnTo>
                        <a:lnTo>
                          <a:pt x="249" y="55"/>
                        </a:lnTo>
                        <a:lnTo>
                          <a:pt x="246" y="55"/>
                        </a:lnTo>
                        <a:lnTo>
                          <a:pt x="241" y="52"/>
                        </a:lnTo>
                        <a:lnTo>
                          <a:pt x="241" y="50"/>
                        </a:lnTo>
                        <a:lnTo>
                          <a:pt x="236" y="47"/>
                        </a:lnTo>
                        <a:lnTo>
                          <a:pt x="233" y="47"/>
                        </a:lnTo>
                        <a:lnTo>
                          <a:pt x="228" y="47"/>
                        </a:lnTo>
                        <a:lnTo>
                          <a:pt x="224" y="42"/>
                        </a:lnTo>
                        <a:lnTo>
                          <a:pt x="221" y="42"/>
                        </a:lnTo>
                        <a:lnTo>
                          <a:pt x="218" y="43"/>
                        </a:lnTo>
                        <a:lnTo>
                          <a:pt x="214" y="40"/>
                        </a:lnTo>
                        <a:lnTo>
                          <a:pt x="209" y="40"/>
                        </a:lnTo>
                        <a:lnTo>
                          <a:pt x="203" y="33"/>
                        </a:lnTo>
                        <a:lnTo>
                          <a:pt x="201" y="33"/>
                        </a:lnTo>
                        <a:lnTo>
                          <a:pt x="198" y="32"/>
                        </a:lnTo>
                        <a:lnTo>
                          <a:pt x="196" y="32"/>
                        </a:lnTo>
                        <a:lnTo>
                          <a:pt x="193" y="33"/>
                        </a:lnTo>
                        <a:lnTo>
                          <a:pt x="188" y="30"/>
                        </a:lnTo>
                        <a:lnTo>
                          <a:pt x="188" y="23"/>
                        </a:lnTo>
                        <a:lnTo>
                          <a:pt x="185" y="23"/>
                        </a:lnTo>
                        <a:lnTo>
                          <a:pt x="181" y="20"/>
                        </a:lnTo>
                        <a:lnTo>
                          <a:pt x="178" y="20"/>
                        </a:lnTo>
                        <a:lnTo>
                          <a:pt x="171" y="15"/>
                        </a:lnTo>
                        <a:lnTo>
                          <a:pt x="170" y="12"/>
                        </a:lnTo>
                        <a:lnTo>
                          <a:pt x="165" y="10"/>
                        </a:lnTo>
                        <a:lnTo>
                          <a:pt x="163" y="2"/>
                        </a:lnTo>
                        <a:lnTo>
                          <a:pt x="161" y="0"/>
                        </a:lnTo>
                        <a:lnTo>
                          <a:pt x="160" y="2"/>
                        </a:lnTo>
                        <a:lnTo>
                          <a:pt x="151" y="5"/>
                        </a:lnTo>
                        <a:lnTo>
                          <a:pt x="150" y="3"/>
                        </a:lnTo>
                        <a:lnTo>
                          <a:pt x="143" y="7"/>
                        </a:lnTo>
                        <a:lnTo>
                          <a:pt x="141" y="12"/>
                        </a:lnTo>
                        <a:lnTo>
                          <a:pt x="141" y="17"/>
                        </a:lnTo>
                        <a:lnTo>
                          <a:pt x="141" y="25"/>
                        </a:lnTo>
                        <a:lnTo>
                          <a:pt x="133" y="30"/>
                        </a:lnTo>
                        <a:lnTo>
                          <a:pt x="133" y="33"/>
                        </a:lnTo>
                        <a:lnTo>
                          <a:pt x="126" y="35"/>
                        </a:lnTo>
                        <a:lnTo>
                          <a:pt x="121" y="35"/>
                        </a:lnTo>
                        <a:lnTo>
                          <a:pt x="118" y="33"/>
                        </a:lnTo>
                        <a:lnTo>
                          <a:pt x="108" y="38"/>
                        </a:lnTo>
                        <a:lnTo>
                          <a:pt x="107" y="42"/>
                        </a:lnTo>
                        <a:lnTo>
                          <a:pt x="108" y="45"/>
                        </a:lnTo>
                        <a:lnTo>
                          <a:pt x="111" y="47"/>
                        </a:lnTo>
                        <a:lnTo>
                          <a:pt x="107" y="50"/>
                        </a:lnTo>
                        <a:lnTo>
                          <a:pt x="100" y="52"/>
                        </a:lnTo>
                        <a:lnTo>
                          <a:pt x="90" y="50"/>
                        </a:lnTo>
                        <a:lnTo>
                          <a:pt x="87" y="48"/>
                        </a:lnTo>
                        <a:lnTo>
                          <a:pt x="82" y="50"/>
                        </a:lnTo>
                        <a:lnTo>
                          <a:pt x="82" y="47"/>
                        </a:lnTo>
                        <a:lnTo>
                          <a:pt x="78" y="45"/>
                        </a:lnTo>
                        <a:lnTo>
                          <a:pt x="80" y="42"/>
                        </a:lnTo>
                        <a:lnTo>
                          <a:pt x="75" y="40"/>
                        </a:lnTo>
                        <a:lnTo>
                          <a:pt x="72" y="42"/>
                        </a:lnTo>
                        <a:lnTo>
                          <a:pt x="65" y="40"/>
                        </a:lnTo>
                        <a:lnTo>
                          <a:pt x="63" y="40"/>
                        </a:lnTo>
                        <a:lnTo>
                          <a:pt x="65" y="45"/>
                        </a:lnTo>
                        <a:lnTo>
                          <a:pt x="63" y="47"/>
                        </a:lnTo>
                        <a:lnTo>
                          <a:pt x="72" y="53"/>
                        </a:lnTo>
                        <a:lnTo>
                          <a:pt x="70" y="55"/>
                        </a:lnTo>
                        <a:lnTo>
                          <a:pt x="72" y="58"/>
                        </a:lnTo>
                        <a:lnTo>
                          <a:pt x="70" y="62"/>
                        </a:lnTo>
                        <a:lnTo>
                          <a:pt x="73" y="65"/>
                        </a:lnTo>
                        <a:lnTo>
                          <a:pt x="73" y="70"/>
                        </a:lnTo>
                        <a:lnTo>
                          <a:pt x="65" y="68"/>
                        </a:lnTo>
                        <a:lnTo>
                          <a:pt x="62" y="70"/>
                        </a:lnTo>
                        <a:lnTo>
                          <a:pt x="58" y="68"/>
                        </a:lnTo>
                        <a:lnTo>
                          <a:pt x="53" y="70"/>
                        </a:lnTo>
                        <a:lnTo>
                          <a:pt x="52" y="68"/>
                        </a:lnTo>
                        <a:lnTo>
                          <a:pt x="47" y="71"/>
                        </a:lnTo>
                        <a:lnTo>
                          <a:pt x="40" y="63"/>
                        </a:lnTo>
                        <a:lnTo>
                          <a:pt x="37" y="63"/>
                        </a:lnTo>
                        <a:lnTo>
                          <a:pt x="30" y="63"/>
                        </a:lnTo>
                        <a:lnTo>
                          <a:pt x="27" y="68"/>
                        </a:lnTo>
                        <a:lnTo>
                          <a:pt x="23" y="67"/>
                        </a:lnTo>
                        <a:lnTo>
                          <a:pt x="20" y="68"/>
                        </a:lnTo>
                        <a:lnTo>
                          <a:pt x="18" y="67"/>
                        </a:lnTo>
                        <a:lnTo>
                          <a:pt x="13" y="68"/>
                        </a:lnTo>
                        <a:lnTo>
                          <a:pt x="10" y="70"/>
                        </a:lnTo>
                        <a:lnTo>
                          <a:pt x="4" y="71"/>
                        </a:lnTo>
                        <a:lnTo>
                          <a:pt x="0" y="75"/>
                        </a:lnTo>
                        <a:lnTo>
                          <a:pt x="2" y="78"/>
                        </a:lnTo>
                        <a:lnTo>
                          <a:pt x="5" y="76"/>
                        </a:lnTo>
                        <a:lnTo>
                          <a:pt x="10" y="76"/>
                        </a:lnTo>
                        <a:lnTo>
                          <a:pt x="12" y="78"/>
                        </a:lnTo>
                        <a:lnTo>
                          <a:pt x="7" y="78"/>
                        </a:lnTo>
                        <a:lnTo>
                          <a:pt x="4" y="78"/>
                        </a:lnTo>
                        <a:lnTo>
                          <a:pt x="5" y="83"/>
                        </a:lnTo>
                        <a:lnTo>
                          <a:pt x="7" y="80"/>
                        </a:lnTo>
                        <a:lnTo>
                          <a:pt x="10" y="80"/>
                        </a:lnTo>
                        <a:lnTo>
                          <a:pt x="10" y="83"/>
                        </a:lnTo>
                        <a:lnTo>
                          <a:pt x="9" y="85"/>
                        </a:lnTo>
                        <a:lnTo>
                          <a:pt x="4" y="85"/>
                        </a:lnTo>
                        <a:lnTo>
                          <a:pt x="4" y="86"/>
                        </a:lnTo>
                        <a:lnTo>
                          <a:pt x="9" y="86"/>
                        </a:lnTo>
                        <a:lnTo>
                          <a:pt x="10" y="91"/>
                        </a:lnTo>
                        <a:lnTo>
                          <a:pt x="9" y="95"/>
                        </a:lnTo>
                        <a:lnTo>
                          <a:pt x="13" y="91"/>
                        </a:lnTo>
                        <a:lnTo>
                          <a:pt x="17" y="91"/>
                        </a:lnTo>
                        <a:lnTo>
                          <a:pt x="20" y="91"/>
                        </a:lnTo>
                        <a:lnTo>
                          <a:pt x="28" y="95"/>
                        </a:lnTo>
                        <a:lnTo>
                          <a:pt x="30" y="96"/>
                        </a:lnTo>
                        <a:lnTo>
                          <a:pt x="33" y="96"/>
                        </a:lnTo>
                        <a:lnTo>
                          <a:pt x="38" y="100"/>
                        </a:lnTo>
                        <a:lnTo>
                          <a:pt x="42" y="96"/>
                        </a:lnTo>
                        <a:lnTo>
                          <a:pt x="45" y="96"/>
                        </a:lnTo>
                        <a:lnTo>
                          <a:pt x="43" y="100"/>
                        </a:lnTo>
                        <a:lnTo>
                          <a:pt x="45" y="101"/>
                        </a:lnTo>
                        <a:lnTo>
                          <a:pt x="48" y="100"/>
                        </a:lnTo>
                        <a:lnTo>
                          <a:pt x="52" y="101"/>
                        </a:lnTo>
                        <a:lnTo>
                          <a:pt x="50" y="105"/>
                        </a:lnTo>
                        <a:lnTo>
                          <a:pt x="52" y="108"/>
                        </a:lnTo>
                        <a:lnTo>
                          <a:pt x="55" y="108"/>
                        </a:lnTo>
                        <a:lnTo>
                          <a:pt x="60" y="106"/>
                        </a:lnTo>
                        <a:lnTo>
                          <a:pt x="63" y="106"/>
                        </a:lnTo>
                        <a:lnTo>
                          <a:pt x="67" y="110"/>
                        </a:lnTo>
                        <a:lnTo>
                          <a:pt x="63" y="108"/>
                        </a:lnTo>
                        <a:lnTo>
                          <a:pt x="58" y="108"/>
                        </a:lnTo>
                        <a:lnTo>
                          <a:pt x="57" y="111"/>
                        </a:lnTo>
                        <a:lnTo>
                          <a:pt x="58" y="113"/>
                        </a:lnTo>
                        <a:lnTo>
                          <a:pt x="60" y="118"/>
                        </a:lnTo>
                        <a:lnTo>
                          <a:pt x="57" y="121"/>
                        </a:lnTo>
                        <a:lnTo>
                          <a:pt x="58" y="123"/>
                        </a:lnTo>
                        <a:lnTo>
                          <a:pt x="62" y="125"/>
                        </a:lnTo>
                        <a:lnTo>
                          <a:pt x="68" y="131"/>
                        </a:lnTo>
                        <a:lnTo>
                          <a:pt x="75" y="131"/>
                        </a:lnTo>
                        <a:lnTo>
                          <a:pt x="80" y="135"/>
                        </a:lnTo>
                        <a:lnTo>
                          <a:pt x="80" y="138"/>
                        </a:lnTo>
                        <a:lnTo>
                          <a:pt x="82" y="141"/>
                        </a:lnTo>
                        <a:lnTo>
                          <a:pt x="80" y="146"/>
                        </a:lnTo>
                        <a:lnTo>
                          <a:pt x="80" y="146"/>
                        </a:lnTo>
                        <a:lnTo>
                          <a:pt x="78" y="151"/>
                        </a:lnTo>
                        <a:lnTo>
                          <a:pt x="82" y="151"/>
                        </a:lnTo>
                        <a:lnTo>
                          <a:pt x="90" y="156"/>
                        </a:lnTo>
                        <a:lnTo>
                          <a:pt x="95" y="169"/>
                        </a:lnTo>
                        <a:lnTo>
                          <a:pt x="88" y="163"/>
                        </a:lnTo>
                        <a:lnTo>
                          <a:pt x="87" y="158"/>
                        </a:lnTo>
                        <a:lnTo>
                          <a:pt x="82" y="156"/>
                        </a:lnTo>
                        <a:lnTo>
                          <a:pt x="80" y="158"/>
                        </a:lnTo>
                        <a:lnTo>
                          <a:pt x="78" y="168"/>
                        </a:lnTo>
                        <a:lnTo>
                          <a:pt x="78" y="176"/>
                        </a:lnTo>
                        <a:lnTo>
                          <a:pt x="82" y="178"/>
                        </a:lnTo>
                        <a:lnTo>
                          <a:pt x="78" y="181"/>
                        </a:lnTo>
                        <a:lnTo>
                          <a:pt x="77" y="196"/>
                        </a:lnTo>
                        <a:lnTo>
                          <a:pt x="73" y="208"/>
                        </a:lnTo>
                        <a:lnTo>
                          <a:pt x="67" y="211"/>
                        </a:lnTo>
                        <a:lnTo>
                          <a:pt x="72" y="213"/>
                        </a:lnTo>
                        <a:lnTo>
                          <a:pt x="72" y="214"/>
                        </a:lnTo>
                        <a:lnTo>
                          <a:pt x="75" y="214"/>
                        </a:lnTo>
                        <a:lnTo>
                          <a:pt x="75" y="219"/>
                        </a:lnTo>
                        <a:lnTo>
                          <a:pt x="75" y="223"/>
                        </a:lnTo>
                        <a:lnTo>
                          <a:pt x="82" y="223"/>
                        </a:lnTo>
                        <a:lnTo>
                          <a:pt x="92" y="226"/>
                        </a:lnTo>
                        <a:lnTo>
                          <a:pt x="97" y="231"/>
                        </a:lnTo>
                        <a:lnTo>
                          <a:pt x="102" y="228"/>
                        </a:lnTo>
                        <a:lnTo>
                          <a:pt x="107" y="233"/>
                        </a:lnTo>
                        <a:lnTo>
                          <a:pt x="113" y="233"/>
                        </a:lnTo>
                        <a:lnTo>
                          <a:pt x="116" y="234"/>
                        </a:lnTo>
                        <a:lnTo>
                          <a:pt x="121" y="231"/>
                        </a:lnTo>
                        <a:lnTo>
                          <a:pt x="131" y="231"/>
                        </a:lnTo>
                        <a:lnTo>
                          <a:pt x="136" y="233"/>
                        </a:lnTo>
                        <a:lnTo>
                          <a:pt x="143" y="231"/>
                        </a:lnTo>
                        <a:lnTo>
                          <a:pt x="150" y="236"/>
                        </a:lnTo>
                        <a:lnTo>
                          <a:pt x="161" y="234"/>
                        </a:lnTo>
                        <a:lnTo>
                          <a:pt x="170" y="239"/>
                        </a:lnTo>
                        <a:lnTo>
                          <a:pt x="171" y="239"/>
                        </a:lnTo>
                        <a:lnTo>
                          <a:pt x="171" y="238"/>
                        </a:lnTo>
                        <a:lnTo>
                          <a:pt x="170" y="231"/>
                        </a:lnTo>
                        <a:lnTo>
                          <a:pt x="171" y="224"/>
                        </a:lnTo>
                        <a:lnTo>
                          <a:pt x="173" y="219"/>
                        </a:lnTo>
                        <a:lnTo>
                          <a:pt x="178" y="216"/>
                        </a:lnTo>
                        <a:lnTo>
                          <a:pt x="186" y="208"/>
                        </a:lnTo>
                        <a:lnTo>
                          <a:pt x="190" y="208"/>
                        </a:lnTo>
                        <a:lnTo>
                          <a:pt x="191" y="209"/>
                        </a:lnTo>
                        <a:lnTo>
                          <a:pt x="198" y="209"/>
                        </a:lnTo>
                        <a:lnTo>
                          <a:pt x="203" y="213"/>
                        </a:lnTo>
                        <a:lnTo>
                          <a:pt x="206" y="213"/>
                        </a:lnTo>
                        <a:lnTo>
                          <a:pt x="211" y="211"/>
                        </a:lnTo>
                        <a:lnTo>
                          <a:pt x="214" y="209"/>
                        </a:lnTo>
                        <a:lnTo>
                          <a:pt x="229" y="218"/>
                        </a:lnTo>
                        <a:lnTo>
                          <a:pt x="233" y="221"/>
                        </a:lnTo>
                        <a:lnTo>
                          <a:pt x="244" y="223"/>
                        </a:lnTo>
                        <a:lnTo>
                          <a:pt x="248" y="218"/>
                        </a:lnTo>
                        <a:lnTo>
                          <a:pt x="248" y="216"/>
                        </a:lnTo>
                        <a:lnTo>
                          <a:pt x="251" y="211"/>
                        </a:lnTo>
                        <a:lnTo>
                          <a:pt x="266" y="201"/>
                        </a:lnTo>
                        <a:lnTo>
                          <a:pt x="268" y="201"/>
                        </a:lnTo>
                        <a:lnTo>
                          <a:pt x="266" y="196"/>
                        </a:lnTo>
                        <a:lnTo>
                          <a:pt x="269" y="189"/>
                        </a:lnTo>
                        <a:lnTo>
                          <a:pt x="261" y="189"/>
                        </a:lnTo>
                        <a:lnTo>
                          <a:pt x="254" y="184"/>
                        </a:lnTo>
                        <a:lnTo>
                          <a:pt x="253" y="174"/>
                        </a:lnTo>
                        <a:lnTo>
                          <a:pt x="248" y="168"/>
                        </a:lnTo>
                        <a:lnTo>
                          <a:pt x="251" y="165"/>
                        </a:lnTo>
                        <a:lnTo>
                          <a:pt x="256" y="165"/>
                        </a:lnTo>
                        <a:lnTo>
                          <a:pt x="258" y="156"/>
                        </a:lnTo>
                        <a:lnTo>
                          <a:pt x="253" y="153"/>
                        </a:lnTo>
                        <a:lnTo>
                          <a:pt x="253" y="148"/>
                        </a:lnTo>
                        <a:lnTo>
                          <a:pt x="254" y="145"/>
                        </a:lnTo>
                        <a:lnTo>
                          <a:pt x="254" y="145"/>
                        </a:lnTo>
                        <a:lnTo>
                          <a:pt x="254" y="145"/>
                        </a:lnTo>
                        <a:close/>
                        <a:moveTo>
                          <a:pt x="306" y="266"/>
                        </a:moveTo>
                        <a:lnTo>
                          <a:pt x="298" y="263"/>
                        </a:lnTo>
                        <a:lnTo>
                          <a:pt x="298" y="261"/>
                        </a:lnTo>
                        <a:lnTo>
                          <a:pt x="299" y="259"/>
                        </a:lnTo>
                        <a:lnTo>
                          <a:pt x="301" y="259"/>
                        </a:lnTo>
                        <a:lnTo>
                          <a:pt x="299" y="258"/>
                        </a:lnTo>
                        <a:lnTo>
                          <a:pt x="298" y="258"/>
                        </a:lnTo>
                        <a:lnTo>
                          <a:pt x="298" y="254"/>
                        </a:lnTo>
                        <a:lnTo>
                          <a:pt x="294" y="253"/>
                        </a:lnTo>
                        <a:lnTo>
                          <a:pt x="293" y="251"/>
                        </a:lnTo>
                        <a:lnTo>
                          <a:pt x="294" y="249"/>
                        </a:lnTo>
                        <a:lnTo>
                          <a:pt x="294" y="248"/>
                        </a:lnTo>
                        <a:lnTo>
                          <a:pt x="291" y="246"/>
                        </a:lnTo>
                        <a:lnTo>
                          <a:pt x="291" y="243"/>
                        </a:lnTo>
                        <a:lnTo>
                          <a:pt x="293" y="243"/>
                        </a:lnTo>
                        <a:lnTo>
                          <a:pt x="294" y="241"/>
                        </a:lnTo>
                        <a:lnTo>
                          <a:pt x="291" y="238"/>
                        </a:lnTo>
                        <a:lnTo>
                          <a:pt x="294" y="233"/>
                        </a:lnTo>
                        <a:lnTo>
                          <a:pt x="303" y="231"/>
                        </a:lnTo>
                        <a:lnTo>
                          <a:pt x="304" y="228"/>
                        </a:lnTo>
                        <a:lnTo>
                          <a:pt x="307" y="231"/>
                        </a:lnTo>
                        <a:lnTo>
                          <a:pt x="309" y="231"/>
                        </a:lnTo>
                        <a:lnTo>
                          <a:pt x="311" y="228"/>
                        </a:lnTo>
                        <a:lnTo>
                          <a:pt x="309" y="224"/>
                        </a:lnTo>
                        <a:lnTo>
                          <a:pt x="309" y="221"/>
                        </a:lnTo>
                        <a:lnTo>
                          <a:pt x="312" y="221"/>
                        </a:lnTo>
                        <a:lnTo>
                          <a:pt x="312" y="226"/>
                        </a:lnTo>
                        <a:lnTo>
                          <a:pt x="312" y="233"/>
                        </a:lnTo>
                        <a:lnTo>
                          <a:pt x="316" y="241"/>
                        </a:lnTo>
                        <a:lnTo>
                          <a:pt x="312" y="251"/>
                        </a:lnTo>
                        <a:lnTo>
                          <a:pt x="312" y="256"/>
                        </a:lnTo>
                        <a:lnTo>
                          <a:pt x="309" y="264"/>
                        </a:lnTo>
                        <a:lnTo>
                          <a:pt x="306" y="266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49" name="Google Shape;3096;p98">
                    <a:extLst>
                      <a:ext uri="{FF2B5EF4-FFF2-40B4-BE49-F238E27FC236}">
                        <a16:creationId xmlns:a16="http://schemas.microsoft.com/office/drawing/2014/main" id="{9D27B8DF-4275-623F-12B6-B18EC2CC22FA}"/>
                      </a:ext>
                    </a:extLst>
                  </p:cNvPr>
                  <p:cNvSpPr/>
                  <p:nvPr/>
                </p:nvSpPr>
                <p:spPr>
                  <a:xfrm>
                    <a:off x="6591605" y="2843265"/>
                    <a:ext cx="4281" cy="311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" h="7" extrusionOk="0">
                        <a:moveTo>
                          <a:pt x="0" y="0"/>
                        </a:moveTo>
                        <a:lnTo>
                          <a:pt x="0" y="4"/>
                        </a:lnTo>
                        <a:lnTo>
                          <a:pt x="5" y="7"/>
                        </a:lnTo>
                        <a:lnTo>
                          <a:pt x="8" y="4"/>
                        </a:lnTo>
                        <a:lnTo>
                          <a:pt x="8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50" name="Google Shape;3097;p98">
                    <a:extLst>
                      <a:ext uri="{FF2B5EF4-FFF2-40B4-BE49-F238E27FC236}">
                        <a16:creationId xmlns:a16="http://schemas.microsoft.com/office/drawing/2014/main" id="{86D3B5EB-FB97-9F33-0616-94A22559DC0A}"/>
                      </a:ext>
                    </a:extLst>
                  </p:cNvPr>
                  <p:cNvSpPr/>
                  <p:nvPr/>
                </p:nvSpPr>
                <p:spPr>
                  <a:xfrm>
                    <a:off x="6492072" y="2687627"/>
                    <a:ext cx="147694" cy="1463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5" h="281" extrusionOk="0">
                        <a:moveTo>
                          <a:pt x="20" y="90"/>
                        </a:moveTo>
                        <a:lnTo>
                          <a:pt x="18" y="85"/>
                        </a:lnTo>
                        <a:lnTo>
                          <a:pt x="21" y="78"/>
                        </a:lnTo>
                        <a:lnTo>
                          <a:pt x="13" y="78"/>
                        </a:lnTo>
                        <a:lnTo>
                          <a:pt x="6" y="73"/>
                        </a:lnTo>
                        <a:lnTo>
                          <a:pt x="5" y="63"/>
                        </a:lnTo>
                        <a:lnTo>
                          <a:pt x="0" y="57"/>
                        </a:lnTo>
                        <a:lnTo>
                          <a:pt x="3" y="54"/>
                        </a:lnTo>
                        <a:lnTo>
                          <a:pt x="8" y="54"/>
                        </a:lnTo>
                        <a:lnTo>
                          <a:pt x="10" y="45"/>
                        </a:lnTo>
                        <a:lnTo>
                          <a:pt x="5" y="42"/>
                        </a:lnTo>
                        <a:lnTo>
                          <a:pt x="5" y="37"/>
                        </a:lnTo>
                        <a:lnTo>
                          <a:pt x="6" y="34"/>
                        </a:lnTo>
                        <a:lnTo>
                          <a:pt x="11" y="37"/>
                        </a:lnTo>
                        <a:lnTo>
                          <a:pt x="21" y="30"/>
                        </a:lnTo>
                        <a:lnTo>
                          <a:pt x="28" y="32"/>
                        </a:lnTo>
                        <a:lnTo>
                          <a:pt x="36" y="19"/>
                        </a:lnTo>
                        <a:lnTo>
                          <a:pt x="43" y="22"/>
                        </a:lnTo>
                        <a:lnTo>
                          <a:pt x="41" y="27"/>
                        </a:lnTo>
                        <a:lnTo>
                          <a:pt x="50" y="30"/>
                        </a:lnTo>
                        <a:lnTo>
                          <a:pt x="51" y="35"/>
                        </a:lnTo>
                        <a:lnTo>
                          <a:pt x="56" y="27"/>
                        </a:lnTo>
                        <a:lnTo>
                          <a:pt x="56" y="20"/>
                        </a:lnTo>
                        <a:lnTo>
                          <a:pt x="66" y="24"/>
                        </a:lnTo>
                        <a:lnTo>
                          <a:pt x="71" y="24"/>
                        </a:lnTo>
                        <a:lnTo>
                          <a:pt x="74" y="27"/>
                        </a:lnTo>
                        <a:lnTo>
                          <a:pt x="76" y="19"/>
                        </a:lnTo>
                        <a:lnTo>
                          <a:pt x="86" y="17"/>
                        </a:lnTo>
                        <a:lnTo>
                          <a:pt x="83" y="9"/>
                        </a:lnTo>
                        <a:lnTo>
                          <a:pt x="88" y="4"/>
                        </a:lnTo>
                        <a:lnTo>
                          <a:pt x="96" y="7"/>
                        </a:lnTo>
                        <a:lnTo>
                          <a:pt x="109" y="0"/>
                        </a:lnTo>
                        <a:lnTo>
                          <a:pt x="114" y="2"/>
                        </a:lnTo>
                        <a:lnTo>
                          <a:pt x="123" y="0"/>
                        </a:lnTo>
                        <a:lnTo>
                          <a:pt x="121" y="5"/>
                        </a:lnTo>
                        <a:lnTo>
                          <a:pt x="134" y="12"/>
                        </a:lnTo>
                        <a:lnTo>
                          <a:pt x="148" y="14"/>
                        </a:lnTo>
                        <a:lnTo>
                          <a:pt x="156" y="14"/>
                        </a:lnTo>
                        <a:lnTo>
                          <a:pt x="159" y="17"/>
                        </a:lnTo>
                        <a:lnTo>
                          <a:pt x="154" y="24"/>
                        </a:lnTo>
                        <a:lnTo>
                          <a:pt x="156" y="27"/>
                        </a:lnTo>
                        <a:lnTo>
                          <a:pt x="153" y="32"/>
                        </a:lnTo>
                        <a:lnTo>
                          <a:pt x="154" y="39"/>
                        </a:lnTo>
                        <a:lnTo>
                          <a:pt x="149" y="39"/>
                        </a:lnTo>
                        <a:lnTo>
                          <a:pt x="146" y="40"/>
                        </a:lnTo>
                        <a:lnTo>
                          <a:pt x="143" y="42"/>
                        </a:lnTo>
                        <a:lnTo>
                          <a:pt x="136" y="42"/>
                        </a:lnTo>
                        <a:lnTo>
                          <a:pt x="131" y="47"/>
                        </a:lnTo>
                        <a:lnTo>
                          <a:pt x="126" y="47"/>
                        </a:lnTo>
                        <a:lnTo>
                          <a:pt x="124" y="50"/>
                        </a:lnTo>
                        <a:lnTo>
                          <a:pt x="128" y="55"/>
                        </a:lnTo>
                        <a:lnTo>
                          <a:pt x="131" y="58"/>
                        </a:lnTo>
                        <a:lnTo>
                          <a:pt x="126" y="63"/>
                        </a:lnTo>
                        <a:lnTo>
                          <a:pt x="124" y="65"/>
                        </a:lnTo>
                        <a:lnTo>
                          <a:pt x="128" y="72"/>
                        </a:lnTo>
                        <a:lnTo>
                          <a:pt x="128" y="77"/>
                        </a:lnTo>
                        <a:lnTo>
                          <a:pt x="131" y="80"/>
                        </a:lnTo>
                        <a:lnTo>
                          <a:pt x="141" y="85"/>
                        </a:lnTo>
                        <a:lnTo>
                          <a:pt x="148" y="88"/>
                        </a:lnTo>
                        <a:lnTo>
                          <a:pt x="149" y="92"/>
                        </a:lnTo>
                        <a:lnTo>
                          <a:pt x="166" y="107"/>
                        </a:lnTo>
                        <a:lnTo>
                          <a:pt x="166" y="110"/>
                        </a:lnTo>
                        <a:lnTo>
                          <a:pt x="167" y="112"/>
                        </a:lnTo>
                        <a:lnTo>
                          <a:pt x="167" y="117"/>
                        </a:lnTo>
                        <a:lnTo>
                          <a:pt x="171" y="120"/>
                        </a:lnTo>
                        <a:lnTo>
                          <a:pt x="176" y="125"/>
                        </a:lnTo>
                        <a:lnTo>
                          <a:pt x="179" y="130"/>
                        </a:lnTo>
                        <a:lnTo>
                          <a:pt x="186" y="135"/>
                        </a:lnTo>
                        <a:lnTo>
                          <a:pt x="189" y="137"/>
                        </a:lnTo>
                        <a:lnTo>
                          <a:pt x="194" y="138"/>
                        </a:lnTo>
                        <a:lnTo>
                          <a:pt x="197" y="140"/>
                        </a:lnTo>
                        <a:lnTo>
                          <a:pt x="207" y="140"/>
                        </a:lnTo>
                        <a:lnTo>
                          <a:pt x="211" y="142"/>
                        </a:lnTo>
                        <a:lnTo>
                          <a:pt x="216" y="140"/>
                        </a:lnTo>
                        <a:lnTo>
                          <a:pt x="221" y="142"/>
                        </a:lnTo>
                        <a:lnTo>
                          <a:pt x="219" y="145"/>
                        </a:lnTo>
                        <a:lnTo>
                          <a:pt x="214" y="148"/>
                        </a:lnTo>
                        <a:lnTo>
                          <a:pt x="214" y="152"/>
                        </a:lnTo>
                        <a:lnTo>
                          <a:pt x="216" y="155"/>
                        </a:lnTo>
                        <a:lnTo>
                          <a:pt x="221" y="155"/>
                        </a:lnTo>
                        <a:lnTo>
                          <a:pt x="231" y="156"/>
                        </a:lnTo>
                        <a:lnTo>
                          <a:pt x="249" y="165"/>
                        </a:lnTo>
                        <a:lnTo>
                          <a:pt x="257" y="170"/>
                        </a:lnTo>
                        <a:lnTo>
                          <a:pt x="260" y="175"/>
                        </a:lnTo>
                        <a:lnTo>
                          <a:pt x="269" y="176"/>
                        </a:lnTo>
                        <a:lnTo>
                          <a:pt x="274" y="180"/>
                        </a:lnTo>
                        <a:lnTo>
                          <a:pt x="275" y="183"/>
                        </a:lnTo>
                        <a:lnTo>
                          <a:pt x="274" y="188"/>
                        </a:lnTo>
                        <a:lnTo>
                          <a:pt x="272" y="191"/>
                        </a:lnTo>
                        <a:lnTo>
                          <a:pt x="272" y="195"/>
                        </a:lnTo>
                        <a:lnTo>
                          <a:pt x="272" y="195"/>
                        </a:lnTo>
                        <a:lnTo>
                          <a:pt x="270" y="196"/>
                        </a:lnTo>
                        <a:lnTo>
                          <a:pt x="267" y="195"/>
                        </a:lnTo>
                        <a:lnTo>
                          <a:pt x="264" y="191"/>
                        </a:lnTo>
                        <a:lnTo>
                          <a:pt x="262" y="186"/>
                        </a:lnTo>
                        <a:lnTo>
                          <a:pt x="262" y="183"/>
                        </a:lnTo>
                        <a:lnTo>
                          <a:pt x="259" y="183"/>
                        </a:lnTo>
                        <a:lnTo>
                          <a:pt x="252" y="181"/>
                        </a:lnTo>
                        <a:lnTo>
                          <a:pt x="251" y="180"/>
                        </a:lnTo>
                        <a:lnTo>
                          <a:pt x="246" y="178"/>
                        </a:lnTo>
                        <a:lnTo>
                          <a:pt x="242" y="178"/>
                        </a:lnTo>
                        <a:lnTo>
                          <a:pt x="241" y="180"/>
                        </a:lnTo>
                        <a:lnTo>
                          <a:pt x="239" y="185"/>
                        </a:lnTo>
                        <a:lnTo>
                          <a:pt x="236" y="188"/>
                        </a:lnTo>
                        <a:lnTo>
                          <a:pt x="236" y="190"/>
                        </a:lnTo>
                        <a:lnTo>
                          <a:pt x="236" y="193"/>
                        </a:lnTo>
                        <a:lnTo>
                          <a:pt x="232" y="196"/>
                        </a:lnTo>
                        <a:lnTo>
                          <a:pt x="232" y="200"/>
                        </a:lnTo>
                        <a:lnTo>
                          <a:pt x="234" y="201"/>
                        </a:lnTo>
                        <a:lnTo>
                          <a:pt x="237" y="201"/>
                        </a:lnTo>
                        <a:lnTo>
                          <a:pt x="244" y="208"/>
                        </a:lnTo>
                        <a:lnTo>
                          <a:pt x="246" y="210"/>
                        </a:lnTo>
                        <a:lnTo>
                          <a:pt x="244" y="216"/>
                        </a:lnTo>
                        <a:lnTo>
                          <a:pt x="246" y="218"/>
                        </a:lnTo>
                        <a:lnTo>
                          <a:pt x="244" y="221"/>
                        </a:lnTo>
                        <a:lnTo>
                          <a:pt x="241" y="221"/>
                        </a:lnTo>
                        <a:lnTo>
                          <a:pt x="236" y="226"/>
                        </a:lnTo>
                        <a:lnTo>
                          <a:pt x="236" y="236"/>
                        </a:lnTo>
                        <a:lnTo>
                          <a:pt x="229" y="241"/>
                        </a:lnTo>
                        <a:lnTo>
                          <a:pt x="227" y="245"/>
                        </a:lnTo>
                        <a:lnTo>
                          <a:pt x="224" y="250"/>
                        </a:lnTo>
                        <a:lnTo>
                          <a:pt x="217" y="250"/>
                        </a:lnTo>
                        <a:lnTo>
                          <a:pt x="212" y="245"/>
                        </a:lnTo>
                        <a:lnTo>
                          <a:pt x="212" y="241"/>
                        </a:lnTo>
                        <a:lnTo>
                          <a:pt x="212" y="240"/>
                        </a:lnTo>
                        <a:lnTo>
                          <a:pt x="216" y="240"/>
                        </a:lnTo>
                        <a:lnTo>
                          <a:pt x="219" y="236"/>
                        </a:lnTo>
                        <a:lnTo>
                          <a:pt x="219" y="231"/>
                        </a:lnTo>
                        <a:lnTo>
                          <a:pt x="219" y="228"/>
                        </a:lnTo>
                        <a:lnTo>
                          <a:pt x="221" y="226"/>
                        </a:lnTo>
                        <a:lnTo>
                          <a:pt x="222" y="226"/>
                        </a:lnTo>
                        <a:lnTo>
                          <a:pt x="226" y="223"/>
                        </a:lnTo>
                        <a:lnTo>
                          <a:pt x="226" y="220"/>
                        </a:lnTo>
                        <a:lnTo>
                          <a:pt x="222" y="216"/>
                        </a:lnTo>
                        <a:lnTo>
                          <a:pt x="221" y="208"/>
                        </a:lnTo>
                        <a:lnTo>
                          <a:pt x="217" y="205"/>
                        </a:lnTo>
                        <a:lnTo>
                          <a:pt x="217" y="198"/>
                        </a:lnTo>
                        <a:lnTo>
                          <a:pt x="214" y="191"/>
                        </a:lnTo>
                        <a:lnTo>
                          <a:pt x="211" y="190"/>
                        </a:lnTo>
                        <a:lnTo>
                          <a:pt x="207" y="191"/>
                        </a:lnTo>
                        <a:lnTo>
                          <a:pt x="202" y="190"/>
                        </a:lnTo>
                        <a:lnTo>
                          <a:pt x="201" y="186"/>
                        </a:lnTo>
                        <a:lnTo>
                          <a:pt x="196" y="186"/>
                        </a:lnTo>
                        <a:lnTo>
                          <a:pt x="192" y="183"/>
                        </a:lnTo>
                        <a:lnTo>
                          <a:pt x="194" y="181"/>
                        </a:lnTo>
                        <a:lnTo>
                          <a:pt x="194" y="178"/>
                        </a:lnTo>
                        <a:lnTo>
                          <a:pt x="191" y="175"/>
                        </a:lnTo>
                        <a:lnTo>
                          <a:pt x="187" y="173"/>
                        </a:lnTo>
                        <a:lnTo>
                          <a:pt x="182" y="173"/>
                        </a:lnTo>
                        <a:lnTo>
                          <a:pt x="182" y="171"/>
                        </a:lnTo>
                        <a:lnTo>
                          <a:pt x="179" y="170"/>
                        </a:lnTo>
                        <a:lnTo>
                          <a:pt x="176" y="170"/>
                        </a:lnTo>
                        <a:lnTo>
                          <a:pt x="172" y="168"/>
                        </a:lnTo>
                        <a:lnTo>
                          <a:pt x="167" y="160"/>
                        </a:lnTo>
                        <a:lnTo>
                          <a:pt x="162" y="160"/>
                        </a:lnTo>
                        <a:lnTo>
                          <a:pt x="158" y="158"/>
                        </a:lnTo>
                        <a:lnTo>
                          <a:pt x="154" y="160"/>
                        </a:lnTo>
                        <a:lnTo>
                          <a:pt x="151" y="160"/>
                        </a:lnTo>
                        <a:lnTo>
                          <a:pt x="149" y="156"/>
                        </a:lnTo>
                        <a:lnTo>
                          <a:pt x="146" y="155"/>
                        </a:lnTo>
                        <a:lnTo>
                          <a:pt x="141" y="153"/>
                        </a:lnTo>
                        <a:lnTo>
                          <a:pt x="131" y="148"/>
                        </a:lnTo>
                        <a:lnTo>
                          <a:pt x="121" y="137"/>
                        </a:lnTo>
                        <a:lnTo>
                          <a:pt x="119" y="135"/>
                        </a:lnTo>
                        <a:lnTo>
                          <a:pt x="118" y="132"/>
                        </a:lnTo>
                        <a:lnTo>
                          <a:pt x="113" y="127"/>
                        </a:lnTo>
                        <a:lnTo>
                          <a:pt x="106" y="127"/>
                        </a:lnTo>
                        <a:lnTo>
                          <a:pt x="106" y="122"/>
                        </a:lnTo>
                        <a:lnTo>
                          <a:pt x="99" y="117"/>
                        </a:lnTo>
                        <a:lnTo>
                          <a:pt x="96" y="112"/>
                        </a:lnTo>
                        <a:lnTo>
                          <a:pt x="89" y="110"/>
                        </a:lnTo>
                        <a:lnTo>
                          <a:pt x="89" y="103"/>
                        </a:lnTo>
                        <a:lnTo>
                          <a:pt x="86" y="102"/>
                        </a:lnTo>
                        <a:lnTo>
                          <a:pt x="86" y="98"/>
                        </a:lnTo>
                        <a:lnTo>
                          <a:pt x="81" y="92"/>
                        </a:lnTo>
                        <a:lnTo>
                          <a:pt x="79" y="88"/>
                        </a:lnTo>
                        <a:lnTo>
                          <a:pt x="78" y="85"/>
                        </a:lnTo>
                        <a:lnTo>
                          <a:pt x="76" y="82"/>
                        </a:lnTo>
                        <a:lnTo>
                          <a:pt x="69" y="80"/>
                        </a:lnTo>
                        <a:lnTo>
                          <a:pt x="64" y="77"/>
                        </a:lnTo>
                        <a:lnTo>
                          <a:pt x="48" y="73"/>
                        </a:lnTo>
                        <a:lnTo>
                          <a:pt x="36" y="80"/>
                        </a:lnTo>
                        <a:lnTo>
                          <a:pt x="36" y="83"/>
                        </a:lnTo>
                        <a:lnTo>
                          <a:pt x="31" y="88"/>
                        </a:lnTo>
                        <a:lnTo>
                          <a:pt x="20" y="90"/>
                        </a:lnTo>
                        <a:lnTo>
                          <a:pt x="20" y="90"/>
                        </a:lnTo>
                        <a:close/>
                        <a:moveTo>
                          <a:pt x="38" y="163"/>
                        </a:moveTo>
                        <a:lnTo>
                          <a:pt x="40" y="163"/>
                        </a:lnTo>
                        <a:lnTo>
                          <a:pt x="40" y="161"/>
                        </a:lnTo>
                        <a:lnTo>
                          <a:pt x="41" y="160"/>
                        </a:lnTo>
                        <a:lnTo>
                          <a:pt x="40" y="158"/>
                        </a:lnTo>
                        <a:lnTo>
                          <a:pt x="38" y="160"/>
                        </a:lnTo>
                        <a:lnTo>
                          <a:pt x="38" y="161"/>
                        </a:lnTo>
                        <a:lnTo>
                          <a:pt x="38" y="163"/>
                        </a:lnTo>
                        <a:lnTo>
                          <a:pt x="38" y="163"/>
                        </a:lnTo>
                        <a:close/>
                        <a:moveTo>
                          <a:pt x="99" y="128"/>
                        </a:moveTo>
                        <a:lnTo>
                          <a:pt x="101" y="130"/>
                        </a:lnTo>
                        <a:lnTo>
                          <a:pt x="101" y="128"/>
                        </a:lnTo>
                        <a:lnTo>
                          <a:pt x="99" y="128"/>
                        </a:lnTo>
                        <a:lnTo>
                          <a:pt x="99" y="128"/>
                        </a:lnTo>
                        <a:close/>
                        <a:moveTo>
                          <a:pt x="79" y="115"/>
                        </a:moveTo>
                        <a:lnTo>
                          <a:pt x="78" y="118"/>
                        </a:lnTo>
                        <a:lnTo>
                          <a:pt x="81" y="118"/>
                        </a:lnTo>
                        <a:lnTo>
                          <a:pt x="84" y="117"/>
                        </a:lnTo>
                        <a:lnTo>
                          <a:pt x="89" y="117"/>
                        </a:lnTo>
                        <a:lnTo>
                          <a:pt x="88" y="115"/>
                        </a:lnTo>
                        <a:lnTo>
                          <a:pt x="86" y="112"/>
                        </a:lnTo>
                        <a:lnTo>
                          <a:pt x="84" y="113"/>
                        </a:lnTo>
                        <a:lnTo>
                          <a:pt x="79" y="115"/>
                        </a:lnTo>
                        <a:lnTo>
                          <a:pt x="79" y="115"/>
                        </a:lnTo>
                        <a:close/>
                        <a:moveTo>
                          <a:pt x="50" y="223"/>
                        </a:moveTo>
                        <a:lnTo>
                          <a:pt x="51" y="221"/>
                        </a:lnTo>
                        <a:lnTo>
                          <a:pt x="55" y="223"/>
                        </a:lnTo>
                        <a:lnTo>
                          <a:pt x="58" y="221"/>
                        </a:lnTo>
                        <a:lnTo>
                          <a:pt x="58" y="216"/>
                        </a:lnTo>
                        <a:lnTo>
                          <a:pt x="59" y="213"/>
                        </a:lnTo>
                        <a:lnTo>
                          <a:pt x="64" y="215"/>
                        </a:lnTo>
                        <a:lnTo>
                          <a:pt x="66" y="216"/>
                        </a:lnTo>
                        <a:lnTo>
                          <a:pt x="69" y="216"/>
                        </a:lnTo>
                        <a:lnTo>
                          <a:pt x="71" y="213"/>
                        </a:lnTo>
                        <a:lnTo>
                          <a:pt x="71" y="205"/>
                        </a:lnTo>
                        <a:lnTo>
                          <a:pt x="73" y="203"/>
                        </a:lnTo>
                        <a:lnTo>
                          <a:pt x="71" y="195"/>
                        </a:lnTo>
                        <a:lnTo>
                          <a:pt x="73" y="186"/>
                        </a:lnTo>
                        <a:lnTo>
                          <a:pt x="66" y="181"/>
                        </a:lnTo>
                        <a:lnTo>
                          <a:pt x="73" y="178"/>
                        </a:lnTo>
                        <a:lnTo>
                          <a:pt x="73" y="175"/>
                        </a:lnTo>
                        <a:lnTo>
                          <a:pt x="71" y="170"/>
                        </a:lnTo>
                        <a:lnTo>
                          <a:pt x="68" y="166"/>
                        </a:lnTo>
                        <a:lnTo>
                          <a:pt x="64" y="161"/>
                        </a:lnTo>
                        <a:lnTo>
                          <a:pt x="63" y="163"/>
                        </a:lnTo>
                        <a:lnTo>
                          <a:pt x="59" y="160"/>
                        </a:lnTo>
                        <a:lnTo>
                          <a:pt x="56" y="160"/>
                        </a:lnTo>
                        <a:lnTo>
                          <a:pt x="46" y="170"/>
                        </a:lnTo>
                        <a:lnTo>
                          <a:pt x="43" y="170"/>
                        </a:lnTo>
                        <a:lnTo>
                          <a:pt x="38" y="166"/>
                        </a:lnTo>
                        <a:lnTo>
                          <a:pt x="38" y="171"/>
                        </a:lnTo>
                        <a:lnTo>
                          <a:pt x="36" y="175"/>
                        </a:lnTo>
                        <a:lnTo>
                          <a:pt x="40" y="178"/>
                        </a:lnTo>
                        <a:lnTo>
                          <a:pt x="41" y="181"/>
                        </a:lnTo>
                        <a:lnTo>
                          <a:pt x="45" y="183"/>
                        </a:lnTo>
                        <a:lnTo>
                          <a:pt x="45" y="188"/>
                        </a:lnTo>
                        <a:lnTo>
                          <a:pt x="41" y="191"/>
                        </a:lnTo>
                        <a:lnTo>
                          <a:pt x="43" y="195"/>
                        </a:lnTo>
                        <a:lnTo>
                          <a:pt x="46" y="195"/>
                        </a:lnTo>
                        <a:lnTo>
                          <a:pt x="46" y="196"/>
                        </a:lnTo>
                        <a:lnTo>
                          <a:pt x="45" y="200"/>
                        </a:lnTo>
                        <a:lnTo>
                          <a:pt x="41" y="208"/>
                        </a:lnTo>
                        <a:lnTo>
                          <a:pt x="45" y="210"/>
                        </a:lnTo>
                        <a:lnTo>
                          <a:pt x="46" y="220"/>
                        </a:lnTo>
                        <a:lnTo>
                          <a:pt x="50" y="223"/>
                        </a:lnTo>
                        <a:lnTo>
                          <a:pt x="50" y="223"/>
                        </a:lnTo>
                        <a:close/>
                        <a:moveTo>
                          <a:pt x="202" y="281"/>
                        </a:moveTo>
                        <a:lnTo>
                          <a:pt x="202" y="274"/>
                        </a:lnTo>
                        <a:lnTo>
                          <a:pt x="206" y="273"/>
                        </a:lnTo>
                        <a:lnTo>
                          <a:pt x="204" y="268"/>
                        </a:lnTo>
                        <a:lnTo>
                          <a:pt x="201" y="263"/>
                        </a:lnTo>
                        <a:lnTo>
                          <a:pt x="204" y="251"/>
                        </a:lnTo>
                        <a:lnTo>
                          <a:pt x="209" y="248"/>
                        </a:lnTo>
                        <a:lnTo>
                          <a:pt x="211" y="243"/>
                        </a:lnTo>
                        <a:lnTo>
                          <a:pt x="206" y="238"/>
                        </a:lnTo>
                        <a:lnTo>
                          <a:pt x="201" y="243"/>
                        </a:lnTo>
                        <a:lnTo>
                          <a:pt x="197" y="243"/>
                        </a:lnTo>
                        <a:lnTo>
                          <a:pt x="192" y="241"/>
                        </a:lnTo>
                        <a:lnTo>
                          <a:pt x="187" y="246"/>
                        </a:lnTo>
                        <a:lnTo>
                          <a:pt x="176" y="245"/>
                        </a:lnTo>
                        <a:lnTo>
                          <a:pt x="167" y="248"/>
                        </a:lnTo>
                        <a:lnTo>
                          <a:pt x="161" y="246"/>
                        </a:lnTo>
                        <a:lnTo>
                          <a:pt x="156" y="243"/>
                        </a:lnTo>
                        <a:lnTo>
                          <a:pt x="151" y="245"/>
                        </a:lnTo>
                        <a:lnTo>
                          <a:pt x="148" y="246"/>
                        </a:lnTo>
                        <a:lnTo>
                          <a:pt x="146" y="245"/>
                        </a:lnTo>
                        <a:lnTo>
                          <a:pt x="141" y="246"/>
                        </a:lnTo>
                        <a:lnTo>
                          <a:pt x="139" y="253"/>
                        </a:lnTo>
                        <a:lnTo>
                          <a:pt x="144" y="258"/>
                        </a:lnTo>
                        <a:lnTo>
                          <a:pt x="151" y="258"/>
                        </a:lnTo>
                        <a:lnTo>
                          <a:pt x="159" y="263"/>
                        </a:lnTo>
                        <a:lnTo>
                          <a:pt x="164" y="264"/>
                        </a:lnTo>
                        <a:lnTo>
                          <a:pt x="169" y="268"/>
                        </a:lnTo>
                        <a:lnTo>
                          <a:pt x="179" y="271"/>
                        </a:lnTo>
                        <a:lnTo>
                          <a:pt x="182" y="271"/>
                        </a:lnTo>
                        <a:lnTo>
                          <a:pt x="186" y="274"/>
                        </a:lnTo>
                        <a:lnTo>
                          <a:pt x="187" y="278"/>
                        </a:lnTo>
                        <a:lnTo>
                          <a:pt x="199" y="281"/>
                        </a:lnTo>
                        <a:lnTo>
                          <a:pt x="202" y="281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51" name="Google Shape;3098;p98">
                    <a:extLst>
                      <a:ext uri="{FF2B5EF4-FFF2-40B4-BE49-F238E27FC236}">
                        <a16:creationId xmlns:a16="http://schemas.microsoft.com/office/drawing/2014/main" id="{7D9E1F08-4BA9-D38A-A902-CB2B87CA363F}"/>
                      </a:ext>
                    </a:extLst>
                  </p:cNvPr>
                  <p:cNvSpPr/>
                  <p:nvPr/>
                </p:nvSpPr>
                <p:spPr>
                  <a:xfrm>
                    <a:off x="6304778" y="2734319"/>
                    <a:ext cx="147694" cy="10583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6" h="204" extrusionOk="0">
                        <a:moveTo>
                          <a:pt x="170" y="10"/>
                        </a:moveTo>
                        <a:lnTo>
                          <a:pt x="175" y="12"/>
                        </a:lnTo>
                        <a:lnTo>
                          <a:pt x="175" y="13"/>
                        </a:lnTo>
                        <a:lnTo>
                          <a:pt x="178" y="13"/>
                        </a:lnTo>
                        <a:lnTo>
                          <a:pt x="178" y="18"/>
                        </a:lnTo>
                        <a:lnTo>
                          <a:pt x="178" y="22"/>
                        </a:lnTo>
                        <a:lnTo>
                          <a:pt x="185" y="22"/>
                        </a:lnTo>
                        <a:lnTo>
                          <a:pt x="195" y="25"/>
                        </a:lnTo>
                        <a:lnTo>
                          <a:pt x="200" y="30"/>
                        </a:lnTo>
                        <a:lnTo>
                          <a:pt x="205" y="27"/>
                        </a:lnTo>
                        <a:lnTo>
                          <a:pt x="210" y="32"/>
                        </a:lnTo>
                        <a:lnTo>
                          <a:pt x="216" y="32"/>
                        </a:lnTo>
                        <a:lnTo>
                          <a:pt x="219" y="33"/>
                        </a:lnTo>
                        <a:lnTo>
                          <a:pt x="224" y="30"/>
                        </a:lnTo>
                        <a:lnTo>
                          <a:pt x="234" y="30"/>
                        </a:lnTo>
                        <a:lnTo>
                          <a:pt x="239" y="32"/>
                        </a:lnTo>
                        <a:lnTo>
                          <a:pt x="246" y="30"/>
                        </a:lnTo>
                        <a:lnTo>
                          <a:pt x="253" y="35"/>
                        </a:lnTo>
                        <a:lnTo>
                          <a:pt x="264" y="33"/>
                        </a:lnTo>
                        <a:lnTo>
                          <a:pt x="273" y="38"/>
                        </a:lnTo>
                        <a:lnTo>
                          <a:pt x="274" y="38"/>
                        </a:lnTo>
                        <a:lnTo>
                          <a:pt x="276" y="42"/>
                        </a:lnTo>
                        <a:lnTo>
                          <a:pt x="271" y="43"/>
                        </a:lnTo>
                        <a:lnTo>
                          <a:pt x="273" y="50"/>
                        </a:lnTo>
                        <a:lnTo>
                          <a:pt x="273" y="55"/>
                        </a:lnTo>
                        <a:lnTo>
                          <a:pt x="269" y="60"/>
                        </a:lnTo>
                        <a:lnTo>
                          <a:pt x="261" y="65"/>
                        </a:lnTo>
                        <a:lnTo>
                          <a:pt x="261" y="65"/>
                        </a:lnTo>
                        <a:lnTo>
                          <a:pt x="256" y="70"/>
                        </a:lnTo>
                        <a:lnTo>
                          <a:pt x="256" y="70"/>
                        </a:lnTo>
                        <a:lnTo>
                          <a:pt x="249" y="71"/>
                        </a:lnTo>
                        <a:lnTo>
                          <a:pt x="239" y="71"/>
                        </a:lnTo>
                        <a:lnTo>
                          <a:pt x="233" y="76"/>
                        </a:lnTo>
                        <a:lnTo>
                          <a:pt x="228" y="78"/>
                        </a:lnTo>
                        <a:lnTo>
                          <a:pt x="231" y="80"/>
                        </a:lnTo>
                        <a:lnTo>
                          <a:pt x="229" y="85"/>
                        </a:lnTo>
                        <a:lnTo>
                          <a:pt x="226" y="88"/>
                        </a:lnTo>
                        <a:lnTo>
                          <a:pt x="224" y="86"/>
                        </a:lnTo>
                        <a:lnTo>
                          <a:pt x="226" y="86"/>
                        </a:lnTo>
                        <a:lnTo>
                          <a:pt x="223" y="85"/>
                        </a:lnTo>
                        <a:lnTo>
                          <a:pt x="216" y="96"/>
                        </a:lnTo>
                        <a:lnTo>
                          <a:pt x="211" y="98"/>
                        </a:lnTo>
                        <a:lnTo>
                          <a:pt x="203" y="113"/>
                        </a:lnTo>
                        <a:lnTo>
                          <a:pt x="200" y="116"/>
                        </a:lnTo>
                        <a:lnTo>
                          <a:pt x="203" y="121"/>
                        </a:lnTo>
                        <a:lnTo>
                          <a:pt x="205" y="126"/>
                        </a:lnTo>
                        <a:lnTo>
                          <a:pt x="208" y="128"/>
                        </a:lnTo>
                        <a:lnTo>
                          <a:pt x="214" y="135"/>
                        </a:lnTo>
                        <a:lnTo>
                          <a:pt x="210" y="140"/>
                        </a:lnTo>
                        <a:lnTo>
                          <a:pt x="201" y="141"/>
                        </a:lnTo>
                        <a:lnTo>
                          <a:pt x="201" y="146"/>
                        </a:lnTo>
                        <a:lnTo>
                          <a:pt x="193" y="156"/>
                        </a:lnTo>
                        <a:lnTo>
                          <a:pt x="193" y="163"/>
                        </a:lnTo>
                        <a:lnTo>
                          <a:pt x="195" y="164"/>
                        </a:lnTo>
                        <a:lnTo>
                          <a:pt x="193" y="168"/>
                        </a:lnTo>
                        <a:lnTo>
                          <a:pt x="185" y="168"/>
                        </a:lnTo>
                        <a:lnTo>
                          <a:pt x="170" y="174"/>
                        </a:lnTo>
                        <a:lnTo>
                          <a:pt x="170" y="179"/>
                        </a:lnTo>
                        <a:lnTo>
                          <a:pt x="165" y="188"/>
                        </a:lnTo>
                        <a:lnTo>
                          <a:pt x="160" y="184"/>
                        </a:lnTo>
                        <a:lnTo>
                          <a:pt x="155" y="181"/>
                        </a:lnTo>
                        <a:lnTo>
                          <a:pt x="151" y="184"/>
                        </a:lnTo>
                        <a:lnTo>
                          <a:pt x="148" y="188"/>
                        </a:lnTo>
                        <a:lnTo>
                          <a:pt x="145" y="186"/>
                        </a:lnTo>
                        <a:lnTo>
                          <a:pt x="140" y="184"/>
                        </a:lnTo>
                        <a:lnTo>
                          <a:pt x="138" y="188"/>
                        </a:lnTo>
                        <a:lnTo>
                          <a:pt x="131" y="186"/>
                        </a:lnTo>
                        <a:lnTo>
                          <a:pt x="121" y="184"/>
                        </a:lnTo>
                        <a:lnTo>
                          <a:pt x="118" y="186"/>
                        </a:lnTo>
                        <a:lnTo>
                          <a:pt x="108" y="186"/>
                        </a:lnTo>
                        <a:lnTo>
                          <a:pt x="102" y="194"/>
                        </a:lnTo>
                        <a:lnTo>
                          <a:pt x="93" y="194"/>
                        </a:lnTo>
                        <a:lnTo>
                          <a:pt x="88" y="198"/>
                        </a:lnTo>
                        <a:lnTo>
                          <a:pt x="88" y="201"/>
                        </a:lnTo>
                        <a:lnTo>
                          <a:pt x="82" y="204"/>
                        </a:lnTo>
                        <a:lnTo>
                          <a:pt x="73" y="203"/>
                        </a:lnTo>
                        <a:lnTo>
                          <a:pt x="67" y="196"/>
                        </a:lnTo>
                        <a:lnTo>
                          <a:pt x="62" y="186"/>
                        </a:lnTo>
                        <a:lnTo>
                          <a:pt x="62" y="184"/>
                        </a:lnTo>
                        <a:lnTo>
                          <a:pt x="52" y="176"/>
                        </a:lnTo>
                        <a:lnTo>
                          <a:pt x="45" y="176"/>
                        </a:lnTo>
                        <a:lnTo>
                          <a:pt x="42" y="174"/>
                        </a:lnTo>
                        <a:lnTo>
                          <a:pt x="42" y="169"/>
                        </a:lnTo>
                        <a:lnTo>
                          <a:pt x="38" y="164"/>
                        </a:lnTo>
                        <a:lnTo>
                          <a:pt x="43" y="155"/>
                        </a:lnTo>
                        <a:lnTo>
                          <a:pt x="48" y="150"/>
                        </a:lnTo>
                        <a:lnTo>
                          <a:pt x="50" y="146"/>
                        </a:lnTo>
                        <a:lnTo>
                          <a:pt x="45" y="146"/>
                        </a:lnTo>
                        <a:lnTo>
                          <a:pt x="42" y="140"/>
                        </a:lnTo>
                        <a:lnTo>
                          <a:pt x="48" y="133"/>
                        </a:lnTo>
                        <a:lnTo>
                          <a:pt x="48" y="123"/>
                        </a:lnTo>
                        <a:lnTo>
                          <a:pt x="43" y="121"/>
                        </a:lnTo>
                        <a:lnTo>
                          <a:pt x="37" y="110"/>
                        </a:lnTo>
                        <a:lnTo>
                          <a:pt x="42" y="108"/>
                        </a:lnTo>
                        <a:lnTo>
                          <a:pt x="47" y="110"/>
                        </a:lnTo>
                        <a:lnTo>
                          <a:pt x="53" y="101"/>
                        </a:lnTo>
                        <a:lnTo>
                          <a:pt x="48" y="98"/>
                        </a:lnTo>
                        <a:lnTo>
                          <a:pt x="53" y="93"/>
                        </a:lnTo>
                        <a:lnTo>
                          <a:pt x="55" y="78"/>
                        </a:lnTo>
                        <a:lnTo>
                          <a:pt x="53" y="73"/>
                        </a:lnTo>
                        <a:lnTo>
                          <a:pt x="63" y="65"/>
                        </a:lnTo>
                        <a:lnTo>
                          <a:pt x="67" y="65"/>
                        </a:lnTo>
                        <a:lnTo>
                          <a:pt x="68" y="62"/>
                        </a:lnTo>
                        <a:lnTo>
                          <a:pt x="63" y="55"/>
                        </a:lnTo>
                        <a:lnTo>
                          <a:pt x="62" y="50"/>
                        </a:lnTo>
                        <a:lnTo>
                          <a:pt x="50" y="48"/>
                        </a:lnTo>
                        <a:lnTo>
                          <a:pt x="47" y="52"/>
                        </a:lnTo>
                        <a:lnTo>
                          <a:pt x="33" y="50"/>
                        </a:lnTo>
                        <a:lnTo>
                          <a:pt x="25" y="53"/>
                        </a:lnTo>
                        <a:lnTo>
                          <a:pt x="22" y="50"/>
                        </a:lnTo>
                        <a:lnTo>
                          <a:pt x="23" y="45"/>
                        </a:lnTo>
                        <a:lnTo>
                          <a:pt x="18" y="45"/>
                        </a:lnTo>
                        <a:lnTo>
                          <a:pt x="9" y="47"/>
                        </a:lnTo>
                        <a:lnTo>
                          <a:pt x="9" y="45"/>
                        </a:lnTo>
                        <a:lnTo>
                          <a:pt x="13" y="40"/>
                        </a:lnTo>
                        <a:lnTo>
                          <a:pt x="10" y="40"/>
                        </a:lnTo>
                        <a:lnTo>
                          <a:pt x="13" y="37"/>
                        </a:lnTo>
                        <a:lnTo>
                          <a:pt x="10" y="35"/>
                        </a:lnTo>
                        <a:lnTo>
                          <a:pt x="12" y="30"/>
                        </a:lnTo>
                        <a:lnTo>
                          <a:pt x="9" y="33"/>
                        </a:lnTo>
                        <a:lnTo>
                          <a:pt x="7" y="33"/>
                        </a:lnTo>
                        <a:lnTo>
                          <a:pt x="7" y="27"/>
                        </a:lnTo>
                        <a:lnTo>
                          <a:pt x="5" y="27"/>
                        </a:lnTo>
                        <a:lnTo>
                          <a:pt x="5" y="23"/>
                        </a:lnTo>
                        <a:lnTo>
                          <a:pt x="2" y="25"/>
                        </a:lnTo>
                        <a:lnTo>
                          <a:pt x="0" y="20"/>
                        </a:lnTo>
                        <a:lnTo>
                          <a:pt x="4" y="15"/>
                        </a:lnTo>
                        <a:lnTo>
                          <a:pt x="12" y="12"/>
                        </a:lnTo>
                        <a:lnTo>
                          <a:pt x="15" y="13"/>
                        </a:lnTo>
                        <a:lnTo>
                          <a:pt x="23" y="13"/>
                        </a:lnTo>
                        <a:lnTo>
                          <a:pt x="27" y="10"/>
                        </a:lnTo>
                        <a:lnTo>
                          <a:pt x="23" y="8"/>
                        </a:lnTo>
                        <a:lnTo>
                          <a:pt x="23" y="5"/>
                        </a:lnTo>
                        <a:lnTo>
                          <a:pt x="32" y="2"/>
                        </a:lnTo>
                        <a:lnTo>
                          <a:pt x="33" y="3"/>
                        </a:lnTo>
                        <a:lnTo>
                          <a:pt x="37" y="0"/>
                        </a:lnTo>
                        <a:lnTo>
                          <a:pt x="43" y="2"/>
                        </a:lnTo>
                        <a:lnTo>
                          <a:pt x="48" y="7"/>
                        </a:lnTo>
                        <a:lnTo>
                          <a:pt x="52" y="3"/>
                        </a:lnTo>
                        <a:lnTo>
                          <a:pt x="57" y="3"/>
                        </a:lnTo>
                        <a:lnTo>
                          <a:pt x="63" y="7"/>
                        </a:lnTo>
                        <a:lnTo>
                          <a:pt x="70" y="3"/>
                        </a:lnTo>
                        <a:lnTo>
                          <a:pt x="77" y="2"/>
                        </a:lnTo>
                        <a:lnTo>
                          <a:pt x="78" y="3"/>
                        </a:lnTo>
                        <a:lnTo>
                          <a:pt x="85" y="7"/>
                        </a:lnTo>
                        <a:lnTo>
                          <a:pt x="102" y="10"/>
                        </a:lnTo>
                        <a:lnTo>
                          <a:pt x="110" y="12"/>
                        </a:lnTo>
                        <a:lnTo>
                          <a:pt x="121" y="7"/>
                        </a:lnTo>
                        <a:lnTo>
                          <a:pt x="130" y="7"/>
                        </a:lnTo>
                        <a:lnTo>
                          <a:pt x="131" y="10"/>
                        </a:lnTo>
                        <a:lnTo>
                          <a:pt x="141" y="12"/>
                        </a:lnTo>
                        <a:lnTo>
                          <a:pt x="145" y="8"/>
                        </a:lnTo>
                        <a:lnTo>
                          <a:pt x="150" y="8"/>
                        </a:lnTo>
                        <a:lnTo>
                          <a:pt x="163" y="15"/>
                        </a:lnTo>
                        <a:lnTo>
                          <a:pt x="165" y="12"/>
                        </a:lnTo>
                        <a:lnTo>
                          <a:pt x="168" y="12"/>
                        </a:lnTo>
                        <a:lnTo>
                          <a:pt x="170" y="10"/>
                        </a:lnTo>
                        <a:lnTo>
                          <a:pt x="170" y="10"/>
                        </a:lnTo>
                        <a:close/>
                        <a:moveTo>
                          <a:pt x="244" y="136"/>
                        </a:moveTo>
                        <a:lnTo>
                          <a:pt x="246" y="131"/>
                        </a:lnTo>
                        <a:lnTo>
                          <a:pt x="249" y="130"/>
                        </a:lnTo>
                        <a:lnTo>
                          <a:pt x="248" y="126"/>
                        </a:lnTo>
                        <a:lnTo>
                          <a:pt x="241" y="128"/>
                        </a:lnTo>
                        <a:lnTo>
                          <a:pt x="239" y="133"/>
                        </a:lnTo>
                        <a:lnTo>
                          <a:pt x="244" y="136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52" name="Google Shape;3099;p98">
                    <a:extLst>
                      <a:ext uri="{FF2B5EF4-FFF2-40B4-BE49-F238E27FC236}">
                        <a16:creationId xmlns:a16="http://schemas.microsoft.com/office/drawing/2014/main" id="{03E90D37-0A02-8028-C7C2-6CCF3A800814}"/>
                      </a:ext>
                    </a:extLst>
                  </p:cNvPr>
                  <p:cNvSpPr/>
                  <p:nvPr/>
                </p:nvSpPr>
                <p:spPr>
                  <a:xfrm>
                    <a:off x="6300497" y="2757146"/>
                    <a:ext cx="40669" cy="705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76" h="134" extrusionOk="0">
                        <a:moveTo>
                          <a:pt x="50" y="129"/>
                        </a:moveTo>
                        <a:lnTo>
                          <a:pt x="50" y="124"/>
                        </a:lnTo>
                        <a:lnTo>
                          <a:pt x="46" y="119"/>
                        </a:lnTo>
                        <a:lnTo>
                          <a:pt x="51" y="110"/>
                        </a:lnTo>
                        <a:lnTo>
                          <a:pt x="56" y="105"/>
                        </a:lnTo>
                        <a:lnTo>
                          <a:pt x="58" y="101"/>
                        </a:lnTo>
                        <a:lnTo>
                          <a:pt x="53" y="101"/>
                        </a:lnTo>
                        <a:lnTo>
                          <a:pt x="50" y="95"/>
                        </a:lnTo>
                        <a:lnTo>
                          <a:pt x="56" y="88"/>
                        </a:lnTo>
                        <a:lnTo>
                          <a:pt x="56" y="78"/>
                        </a:lnTo>
                        <a:lnTo>
                          <a:pt x="51" y="76"/>
                        </a:lnTo>
                        <a:lnTo>
                          <a:pt x="45" y="65"/>
                        </a:lnTo>
                        <a:lnTo>
                          <a:pt x="50" y="63"/>
                        </a:lnTo>
                        <a:lnTo>
                          <a:pt x="55" y="65"/>
                        </a:lnTo>
                        <a:lnTo>
                          <a:pt x="61" y="56"/>
                        </a:lnTo>
                        <a:lnTo>
                          <a:pt x="56" y="53"/>
                        </a:lnTo>
                        <a:lnTo>
                          <a:pt x="61" y="48"/>
                        </a:lnTo>
                        <a:lnTo>
                          <a:pt x="63" y="33"/>
                        </a:lnTo>
                        <a:lnTo>
                          <a:pt x="61" y="28"/>
                        </a:lnTo>
                        <a:lnTo>
                          <a:pt x="71" y="20"/>
                        </a:lnTo>
                        <a:lnTo>
                          <a:pt x="75" y="20"/>
                        </a:lnTo>
                        <a:lnTo>
                          <a:pt x="76" y="17"/>
                        </a:lnTo>
                        <a:lnTo>
                          <a:pt x="71" y="10"/>
                        </a:lnTo>
                        <a:lnTo>
                          <a:pt x="70" y="5"/>
                        </a:lnTo>
                        <a:lnTo>
                          <a:pt x="58" y="3"/>
                        </a:lnTo>
                        <a:lnTo>
                          <a:pt x="55" y="7"/>
                        </a:lnTo>
                        <a:lnTo>
                          <a:pt x="41" y="5"/>
                        </a:lnTo>
                        <a:lnTo>
                          <a:pt x="33" y="8"/>
                        </a:lnTo>
                        <a:lnTo>
                          <a:pt x="30" y="5"/>
                        </a:lnTo>
                        <a:lnTo>
                          <a:pt x="31" y="0"/>
                        </a:lnTo>
                        <a:lnTo>
                          <a:pt x="26" y="0"/>
                        </a:lnTo>
                        <a:lnTo>
                          <a:pt x="17" y="2"/>
                        </a:lnTo>
                        <a:lnTo>
                          <a:pt x="17" y="5"/>
                        </a:lnTo>
                        <a:lnTo>
                          <a:pt x="20" y="13"/>
                        </a:lnTo>
                        <a:lnTo>
                          <a:pt x="18" y="26"/>
                        </a:lnTo>
                        <a:lnTo>
                          <a:pt x="20" y="28"/>
                        </a:lnTo>
                        <a:lnTo>
                          <a:pt x="18" y="35"/>
                        </a:lnTo>
                        <a:lnTo>
                          <a:pt x="21" y="38"/>
                        </a:lnTo>
                        <a:lnTo>
                          <a:pt x="18" y="41"/>
                        </a:lnTo>
                        <a:lnTo>
                          <a:pt x="17" y="48"/>
                        </a:lnTo>
                        <a:lnTo>
                          <a:pt x="15" y="55"/>
                        </a:lnTo>
                        <a:lnTo>
                          <a:pt x="10" y="61"/>
                        </a:lnTo>
                        <a:lnTo>
                          <a:pt x="10" y="66"/>
                        </a:lnTo>
                        <a:lnTo>
                          <a:pt x="3" y="75"/>
                        </a:lnTo>
                        <a:lnTo>
                          <a:pt x="0" y="86"/>
                        </a:lnTo>
                        <a:lnTo>
                          <a:pt x="0" y="90"/>
                        </a:lnTo>
                        <a:lnTo>
                          <a:pt x="5" y="90"/>
                        </a:lnTo>
                        <a:lnTo>
                          <a:pt x="8" y="86"/>
                        </a:lnTo>
                        <a:lnTo>
                          <a:pt x="13" y="85"/>
                        </a:lnTo>
                        <a:lnTo>
                          <a:pt x="12" y="86"/>
                        </a:lnTo>
                        <a:lnTo>
                          <a:pt x="13" y="90"/>
                        </a:lnTo>
                        <a:lnTo>
                          <a:pt x="7" y="93"/>
                        </a:lnTo>
                        <a:lnTo>
                          <a:pt x="7" y="96"/>
                        </a:lnTo>
                        <a:lnTo>
                          <a:pt x="8" y="100"/>
                        </a:lnTo>
                        <a:lnTo>
                          <a:pt x="12" y="96"/>
                        </a:lnTo>
                        <a:lnTo>
                          <a:pt x="18" y="96"/>
                        </a:lnTo>
                        <a:lnTo>
                          <a:pt x="15" y="100"/>
                        </a:lnTo>
                        <a:lnTo>
                          <a:pt x="17" y="105"/>
                        </a:lnTo>
                        <a:lnTo>
                          <a:pt x="15" y="110"/>
                        </a:lnTo>
                        <a:lnTo>
                          <a:pt x="15" y="121"/>
                        </a:lnTo>
                        <a:lnTo>
                          <a:pt x="13" y="129"/>
                        </a:lnTo>
                        <a:lnTo>
                          <a:pt x="12" y="133"/>
                        </a:lnTo>
                        <a:lnTo>
                          <a:pt x="13" y="133"/>
                        </a:lnTo>
                        <a:lnTo>
                          <a:pt x="20" y="129"/>
                        </a:lnTo>
                        <a:lnTo>
                          <a:pt x="30" y="133"/>
                        </a:lnTo>
                        <a:lnTo>
                          <a:pt x="35" y="134"/>
                        </a:lnTo>
                        <a:lnTo>
                          <a:pt x="41" y="131"/>
                        </a:lnTo>
                        <a:lnTo>
                          <a:pt x="48" y="131"/>
                        </a:lnTo>
                        <a:lnTo>
                          <a:pt x="50" y="129"/>
                        </a:lnTo>
                        <a:lnTo>
                          <a:pt x="50" y="129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53" name="Google Shape;3100;p98">
                    <a:extLst>
                      <a:ext uri="{FF2B5EF4-FFF2-40B4-BE49-F238E27FC236}">
                        <a16:creationId xmlns:a16="http://schemas.microsoft.com/office/drawing/2014/main" id="{C6D3B551-9DB3-FBC5-67E1-1F5B76CD5FB1}"/>
                      </a:ext>
                    </a:extLst>
                  </p:cNvPr>
                  <p:cNvSpPr/>
                  <p:nvPr/>
                </p:nvSpPr>
                <p:spPr>
                  <a:xfrm>
                    <a:off x="6654750" y="2760258"/>
                    <a:ext cx="111306" cy="881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9" h="171" extrusionOk="0">
                        <a:moveTo>
                          <a:pt x="156" y="0"/>
                        </a:moveTo>
                        <a:lnTo>
                          <a:pt x="154" y="0"/>
                        </a:lnTo>
                        <a:lnTo>
                          <a:pt x="148" y="3"/>
                        </a:lnTo>
                        <a:lnTo>
                          <a:pt x="148" y="8"/>
                        </a:lnTo>
                        <a:lnTo>
                          <a:pt x="150" y="12"/>
                        </a:lnTo>
                        <a:lnTo>
                          <a:pt x="146" y="15"/>
                        </a:lnTo>
                        <a:lnTo>
                          <a:pt x="136" y="13"/>
                        </a:lnTo>
                        <a:lnTo>
                          <a:pt x="131" y="16"/>
                        </a:lnTo>
                        <a:lnTo>
                          <a:pt x="128" y="13"/>
                        </a:lnTo>
                        <a:lnTo>
                          <a:pt x="123" y="13"/>
                        </a:lnTo>
                        <a:lnTo>
                          <a:pt x="120" y="16"/>
                        </a:lnTo>
                        <a:lnTo>
                          <a:pt x="115" y="16"/>
                        </a:lnTo>
                        <a:lnTo>
                          <a:pt x="115" y="12"/>
                        </a:lnTo>
                        <a:lnTo>
                          <a:pt x="108" y="12"/>
                        </a:lnTo>
                        <a:lnTo>
                          <a:pt x="101" y="12"/>
                        </a:lnTo>
                        <a:lnTo>
                          <a:pt x="98" y="15"/>
                        </a:lnTo>
                        <a:lnTo>
                          <a:pt x="91" y="16"/>
                        </a:lnTo>
                        <a:lnTo>
                          <a:pt x="83" y="16"/>
                        </a:lnTo>
                        <a:lnTo>
                          <a:pt x="81" y="15"/>
                        </a:lnTo>
                        <a:lnTo>
                          <a:pt x="78" y="18"/>
                        </a:lnTo>
                        <a:lnTo>
                          <a:pt x="73" y="18"/>
                        </a:lnTo>
                        <a:lnTo>
                          <a:pt x="68" y="21"/>
                        </a:lnTo>
                        <a:lnTo>
                          <a:pt x="56" y="20"/>
                        </a:lnTo>
                        <a:lnTo>
                          <a:pt x="52" y="23"/>
                        </a:lnTo>
                        <a:lnTo>
                          <a:pt x="50" y="25"/>
                        </a:lnTo>
                        <a:lnTo>
                          <a:pt x="43" y="26"/>
                        </a:lnTo>
                        <a:lnTo>
                          <a:pt x="33" y="33"/>
                        </a:lnTo>
                        <a:lnTo>
                          <a:pt x="33" y="38"/>
                        </a:lnTo>
                        <a:lnTo>
                          <a:pt x="30" y="45"/>
                        </a:lnTo>
                        <a:lnTo>
                          <a:pt x="20" y="48"/>
                        </a:lnTo>
                        <a:lnTo>
                          <a:pt x="20" y="53"/>
                        </a:lnTo>
                        <a:lnTo>
                          <a:pt x="17" y="60"/>
                        </a:lnTo>
                        <a:lnTo>
                          <a:pt x="13" y="61"/>
                        </a:lnTo>
                        <a:lnTo>
                          <a:pt x="13" y="61"/>
                        </a:lnTo>
                        <a:lnTo>
                          <a:pt x="13" y="68"/>
                        </a:lnTo>
                        <a:lnTo>
                          <a:pt x="22" y="73"/>
                        </a:lnTo>
                        <a:lnTo>
                          <a:pt x="27" y="80"/>
                        </a:lnTo>
                        <a:lnTo>
                          <a:pt x="30" y="80"/>
                        </a:lnTo>
                        <a:lnTo>
                          <a:pt x="30" y="83"/>
                        </a:lnTo>
                        <a:lnTo>
                          <a:pt x="37" y="91"/>
                        </a:lnTo>
                        <a:lnTo>
                          <a:pt x="38" y="96"/>
                        </a:lnTo>
                        <a:lnTo>
                          <a:pt x="42" y="98"/>
                        </a:lnTo>
                        <a:lnTo>
                          <a:pt x="45" y="93"/>
                        </a:lnTo>
                        <a:lnTo>
                          <a:pt x="48" y="98"/>
                        </a:lnTo>
                        <a:lnTo>
                          <a:pt x="55" y="98"/>
                        </a:lnTo>
                        <a:lnTo>
                          <a:pt x="56" y="95"/>
                        </a:lnTo>
                        <a:lnTo>
                          <a:pt x="60" y="96"/>
                        </a:lnTo>
                        <a:lnTo>
                          <a:pt x="66" y="100"/>
                        </a:lnTo>
                        <a:lnTo>
                          <a:pt x="71" y="98"/>
                        </a:lnTo>
                        <a:lnTo>
                          <a:pt x="71" y="100"/>
                        </a:lnTo>
                        <a:lnTo>
                          <a:pt x="75" y="100"/>
                        </a:lnTo>
                        <a:lnTo>
                          <a:pt x="76" y="101"/>
                        </a:lnTo>
                        <a:lnTo>
                          <a:pt x="83" y="103"/>
                        </a:lnTo>
                        <a:lnTo>
                          <a:pt x="78" y="105"/>
                        </a:lnTo>
                        <a:lnTo>
                          <a:pt x="75" y="108"/>
                        </a:lnTo>
                        <a:lnTo>
                          <a:pt x="71" y="105"/>
                        </a:lnTo>
                        <a:lnTo>
                          <a:pt x="68" y="105"/>
                        </a:lnTo>
                        <a:lnTo>
                          <a:pt x="58" y="98"/>
                        </a:lnTo>
                        <a:lnTo>
                          <a:pt x="53" y="100"/>
                        </a:lnTo>
                        <a:lnTo>
                          <a:pt x="50" y="103"/>
                        </a:lnTo>
                        <a:lnTo>
                          <a:pt x="45" y="100"/>
                        </a:lnTo>
                        <a:lnTo>
                          <a:pt x="42" y="105"/>
                        </a:lnTo>
                        <a:lnTo>
                          <a:pt x="40" y="105"/>
                        </a:lnTo>
                        <a:lnTo>
                          <a:pt x="38" y="110"/>
                        </a:lnTo>
                        <a:lnTo>
                          <a:pt x="43" y="114"/>
                        </a:lnTo>
                        <a:lnTo>
                          <a:pt x="48" y="116"/>
                        </a:lnTo>
                        <a:lnTo>
                          <a:pt x="53" y="121"/>
                        </a:lnTo>
                        <a:lnTo>
                          <a:pt x="55" y="124"/>
                        </a:lnTo>
                        <a:lnTo>
                          <a:pt x="52" y="126"/>
                        </a:lnTo>
                        <a:lnTo>
                          <a:pt x="53" y="129"/>
                        </a:lnTo>
                        <a:lnTo>
                          <a:pt x="56" y="134"/>
                        </a:lnTo>
                        <a:lnTo>
                          <a:pt x="60" y="138"/>
                        </a:lnTo>
                        <a:lnTo>
                          <a:pt x="61" y="136"/>
                        </a:lnTo>
                        <a:lnTo>
                          <a:pt x="60" y="133"/>
                        </a:lnTo>
                        <a:lnTo>
                          <a:pt x="61" y="129"/>
                        </a:lnTo>
                        <a:lnTo>
                          <a:pt x="63" y="134"/>
                        </a:lnTo>
                        <a:lnTo>
                          <a:pt x="70" y="136"/>
                        </a:lnTo>
                        <a:lnTo>
                          <a:pt x="71" y="139"/>
                        </a:lnTo>
                        <a:lnTo>
                          <a:pt x="70" y="143"/>
                        </a:lnTo>
                        <a:lnTo>
                          <a:pt x="73" y="146"/>
                        </a:lnTo>
                        <a:lnTo>
                          <a:pt x="73" y="141"/>
                        </a:lnTo>
                        <a:lnTo>
                          <a:pt x="75" y="136"/>
                        </a:lnTo>
                        <a:lnTo>
                          <a:pt x="80" y="136"/>
                        </a:lnTo>
                        <a:lnTo>
                          <a:pt x="81" y="139"/>
                        </a:lnTo>
                        <a:lnTo>
                          <a:pt x="88" y="144"/>
                        </a:lnTo>
                        <a:lnTo>
                          <a:pt x="86" y="139"/>
                        </a:lnTo>
                        <a:lnTo>
                          <a:pt x="86" y="136"/>
                        </a:lnTo>
                        <a:lnTo>
                          <a:pt x="83" y="131"/>
                        </a:lnTo>
                        <a:lnTo>
                          <a:pt x="80" y="124"/>
                        </a:lnTo>
                        <a:lnTo>
                          <a:pt x="78" y="121"/>
                        </a:lnTo>
                        <a:lnTo>
                          <a:pt x="78" y="119"/>
                        </a:lnTo>
                        <a:lnTo>
                          <a:pt x="81" y="119"/>
                        </a:lnTo>
                        <a:lnTo>
                          <a:pt x="86" y="121"/>
                        </a:lnTo>
                        <a:lnTo>
                          <a:pt x="85" y="123"/>
                        </a:lnTo>
                        <a:lnTo>
                          <a:pt x="86" y="124"/>
                        </a:lnTo>
                        <a:lnTo>
                          <a:pt x="88" y="123"/>
                        </a:lnTo>
                        <a:lnTo>
                          <a:pt x="95" y="123"/>
                        </a:lnTo>
                        <a:lnTo>
                          <a:pt x="95" y="123"/>
                        </a:lnTo>
                        <a:lnTo>
                          <a:pt x="93" y="121"/>
                        </a:lnTo>
                        <a:lnTo>
                          <a:pt x="91" y="118"/>
                        </a:lnTo>
                        <a:lnTo>
                          <a:pt x="90" y="118"/>
                        </a:lnTo>
                        <a:lnTo>
                          <a:pt x="86" y="116"/>
                        </a:lnTo>
                        <a:lnTo>
                          <a:pt x="86" y="114"/>
                        </a:lnTo>
                        <a:lnTo>
                          <a:pt x="81" y="111"/>
                        </a:lnTo>
                        <a:lnTo>
                          <a:pt x="86" y="108"/>
                        </a:lnTo>
                        <a:lnTo>
                          <a:pt x="90" y="110"/>
                        </a:lnTo>
                        <a:lnTo>
                          <a:pt x="93" y="106"/>
                        </a:lnTo>
                        <a:lnTo>
                          <a:pt x="100" y="111"/>
                        </a:lnTo>
                        <a:lnTo>
                          <a:pt x="100" y="113"/>
                        </a:lnTo>
                        <a:lnTo>
                          <a:pt x="105" y="113"/>
                        </a:lnTo>
                        <a:lnTo>
                          <a:pt x="106" y="111"/>
                        </a:lnTo>
                        <a:lnTo>
                          <a:pt x="101" y="106"/>
                        </a:lnTo>
                        <a:lnTo>
                          <a:pt x="103" y="101"/>
                        </a:lnTo>
                        <a:lnTo>
                          <a:pt x="101" y="98"/>
                        </a:lnTo>
                        <a:lnTo>
                          <a:pt x="90" y="91"/>
                        </a:lnTo>
                        <a:lnTo>
                          <a:pt x="86" y="91"/>
                        </a:lnTo>
                        <a:lnTo>
                          <a:pt x="85" y="88"/>
                        </a:lnTo>
                        <a:lnTo>
                          <a:pt x="81" y="88"/>
                        </a:lnTo>
                        <a:lnTo>
                          <a:pt x="80" y="86"/>
                        </a:lnTo>
                        <a:lnTo>
                          <a:pt x="75" y="85"/>
                        </a:lnTo>
                        <a:lnTo>
                          <a:pt x="70" y="81"/>
                        </a:lnTo>
                        <a:lnTo>
                          <a:pt x="75" y="81"/>
                        </a:lnTo>
                        <a:lnTo>
                          <a:pt x="78" y="78"/>
                        </a:lnTo>
                        <a:lnTo>
                          <a:pt x="78" y="75"/>
                        </a:lnTo>
                        <a:lnTo>
                          <a:pt x="73" y="75"/>
                        </a:lnTo>
                        <a:lnTo>
                          <a:pt x="76" y="71"/>
                        </a:lnTo>
                        <a:lnTo>
                          <a:pt x="76" y="68"/>
                        </a:lnTo>
                        <a:lnTo>
                          <a:pt x="80" y="70"/>
                        </a:lnTo>
                        <a:lnTo>
                          <a:pt x="83" y="73"/>
                        </a:lnTo>
                        <a:lnTo>
                          <a:pt x="81" y="75"/>
                        </a:lnTo>
                        <a:lnTo>
                          <a:pt x="81" y="76"/>
                        </a:lnTo>
                        <a:lnTo>
                          <a:pt x="85" y="76"/>
                        </a:lnTo>
                        <a:lnTo>
                          <a:pt x="86" y="71"/>
                        </a:lnTo>
                        <a:lnTo>
                          <a:pt x="83" y="68"/>
                        </a:lnTo>
                        <a:lnTo>
                          <a:pt x="75" y="60"/>
                        </a:lnTo>
                        <a:lnTo>
                          <a:pt x="73" y="58"/>
                        </a:lnTo>
                        <a:lnTo>
                          <a:pt x="71" y="55"/>
                        </a:lnTo>
                        <a:lnTo>
                          <a:pt x="66" y="50"/>
                        </a:lnTo>
                        <a:lnTo>
                          <a:pt x="68" y="48"/>
                        </a:lnTo>
                        <a:lnTo>
                          <a:pt x="66" y="40"/>
                        </a:lnTo>
                        <a:lnTo>
                          <a:pt x="70" y="35"/>
                        </a:lnTo>
                        <a:lnTo>
                          <a:pt x="76" y="33"/>
                        </a:lnTo>
                        <a:lnTo>
                          <a:pt x="76" y="38"/>
                        </a:lnTo>
                        <a:lnTo>
                          <a:pt x="75" y="38"/>
                        </a:lnTo>
                        <a:lnTo>
                          <a:pt x="75" y="40"/>
                        </a:lnTo>
                        <a:lnTo>
                          <a:pt x="81" y="43"/>
                        </a:lnTo>
                        <a:lnTo>
                          <a:pt x="83" y="48"/>
                        </a:lnTo>
                        <a:lnTo>
                          <a:pt x="88" y="53"/>
                        </a:lnTo>
                        <a:lnTo>
                          <a:pt x="93" y="51"/>
                        </a:lnTo>
                        <a:lnTo>
                          <a:pt x="90" y="50"/>
                        </a:lnTo>
                        <a:lnTo>
                          <a:pt x="86" y="46"/>
                        </a:lnTo>
                        <a:lnTo>
                          <a:pt x="88" y="43"/>
                        </a:lnTo>
                        <a:lnTo>
                          <a:pt x="93" y="45"/>
                        </a:lnTo>
                        <a:lnTo>
                          <a:pt x="96" y="50"/>
                        </a:lnTo>
                        <a:lnTo>
                          <a:pt x="100" y="51"/>
                        </a:lnTo>
                        <a:lnTo>
                          <a:pt x="101" y="48"/>
                        </a:lnTo>
                        <a:lnTo>
                          <a:pt x="98" y="46"/>
                        </a:lnTo>
                        <a:lnTo>
                          <a:pt x="95" y="45"/>
                        </a:lnTo>
                        <a:lnTo>
                          <a:pt x="95" y="41"/>
                        </a:lnTo>
                        <a:lnTo>
                          <a:pt x="105" y="43"/>
                        </a:lnTo>
                        <a:lnTo>
                          <a:pt x="108" y="45"/>
                        </a:lnTo>
                        <a:lnTo>
                          <a:pt x="108" y="43"/>
                        </a:lnTo>
                        <a:lnTo>
                          <a:pt x="103" y="40"/>
                        </a:lnTo>
                        <a:lnTo>
                          <a:pt x="98" y="38"/>
                        </a:lnTo>
                        <a:lnTo>
                          <a:pt x="95" y="35"/>
                        </a:lnTo>
                        <a:lnTo>
                          <a:pt x="96" y="31"/>
                        </a:lnTo>
                        <a:lnTo>
                          <a:pt x="101" y="33"/>
                        </a:lnTo>
                        <a:lnTo>
                          <a:pt x="105" y="31"/>
                        </a:lnTo>
                        <a:lnTo>
                          <a:pt x="106" y="25"/>
                        </a:lnTo>
                        <a:lnTo>
                          <a:pt x="110" y="23"/>
                        </a:lnTo>
                        <a:lnTo>
                          <a:pt x="116" y="28"/>
                        </a:lnTo>
                        <a:lnTo>
                          <a:pt x="120" y="28"/>
                        </a:lnTo>
                        <a:lnTo>
                          <a:pt x="125" y="23"/>
                        </a:lnTo>
                        <a:lnTo>
                          <a:pt x="125" y="21"/>
                        </a:lnTo>
                        <a:lnTo>
                          <a:pt x="126" y="21"/>
                        </a:lnTo>
                        <a:lnTo>
                          <a:pt x="130" y="25"/>
                        </a:lnTo>
                        <a:lnTo>
                          <a:pt x="140" y="25"/>
                        </a:lnTo>
                        <a:lnTo>
                          <a:pt x="146" y="26"/>
                        </a:lnTo>
                        <a:lnTo>
                          <a:pt x="153" y="26"/>
                        </a:lnTo>
                        <a:lnTo>
                          <a:pt x="154" y="20"/>
                        </a:lnTo>
                        <a:lnTo>
                          <a:pt x="154" y="16"/>
                        </a:lnTo>
                        <a:lnTo>
                          <a:pt x="159" y="13"/>
                        </a:lnTo>
                        <a:lnTo>
                          <a:pt x="161" y="7"/>
                        </a:lnTo>
                        <a:lnTo>
                          <a:pt x="156" y="5"/>
                        </a:lnTo>
                        <a:lnTo>
                          <a:pt x="156" y="0"/>
                        </a:lnTo>
                        <a:lnTo>
                          <a:pt x="156" y="0"/>
                        </a:lnTo>
                        <a:close/>
                        <a:moveTo>
                          <a:pt x="5" y="58"/>
                        </a:moveTo>
                        <a:lnTo>
                          <a:pt x="5" y="63"/>
                        </a:lnTo>
                        <a:lnTo>
                          <a:pt x="8" y="66"/>
                        </a:lnTo>
                        <a:lnTo>
                          <a:pt x="12" y="66"/>
                        </a:lnTo>
                        <a:lnTo>
                          <a:pt x="12" y="68"/>
                        </a:lnTo>
                        <a:lnTo>
                          <a:pt x="10" y="70"/>
                        </a:lnTo>
                        <a:lnTo>
                          <a:pt x="7" y="68"/>
                        </a:lnTo>
                        <a:lnTo>
                          <a:pt x="2" y="63"/>
                        </a:lnTo>
                        <a:lnTo>
                          <a:pt x="2" y="61"/>
                        </a:lnTo>
                        <a:lnTo>
                          <a:pt x="0" y="61"/>
                        </a:lnTo>
                        <a:lnTo>
                          <a:pt x="0" y="60"/>
                        </a:lnTo>
                        <a:lnTo>
                          <a:pt x="3" y="58"/>
                        </a:lnTo>
                        <a:lnTo>
                          <a:pt x="5" y="58"/>
                        </a:lnTo>
                        <a:lnTo>
                          <a:pt x="5" y="58"/>
                        </a:lnTo>
                        <a:close/>
                        <a:moveTo>
                          <a:pt x="25" y="90"/>
                        </a:moveTo>
                        <a:lnTo>
                          <a:pt x="25" y="88"/>
                        </a:lnTo>
                        <a:lnTo>
                          <a:pt x="27" y="85"/>
                        </a:lnTo>
                        <a:lnTo>
                          <a:pt x="28" y="85"/>
                        </a:lnTo>
                        <a:lnTo>
                          <a:pt x="28" y="88"/>
                        </a:lnTo>
                        <a:lnTo>
                          <a:pt x="27" y="90"/>
                        </a:lnTo>
                        <a:lnTo>
                          <a:pt x="25" y="90"/>
                        </a:lnTo>
                        <a:lnTo>
                          <a:pt x="25" y="90"/>
                        </a:lnTo>
                        <a:lnTo>
                          <a:pt x="25" y="90"/>
                        </a:lnTo>
                        <a:close/>
                        <a:moveTo>
                          <a:pt x="25" y="96"/>
                        </a:moveTo>
                        <a:lnTo>
                          <a:pt x="25" y="91"/>
                        </a:lnTo>
                        <a:lnTo>
                          <a:pt x="28" y="95"/>
                        </a:lnTo>
                        <a:lnTo>
                          <a:pt x="30" y="96"/>
                        </a:lnTo>
                        <a:lnTo>
                          <a:pt x="28" y="98"/>
                        </a:lnTo>
                        <a:lnTo>
                          <a:pt x="30" y="101"/>
                        </a:lnTo>
                        <a:lnTo>
                          <a:pt x="32" y="103"/>
                        </a:lnTo>
                        <a:lnTo>
                          <a:pt x="32" y="105"/>
                        </a:lnTo>
                        <a:lnTo>
                          <a:pt x="30" y="106"/>
                        </a:lnTo>
                        <a:lnTo>
                          <a:pt x="28" y="105"/>
                        </a:lnTo>
                        <a:lnTo>
                          <a:pt x="25" y="105"/>
                        </a:lnTo>
                        <a:lnTo>
                          <a:pt x="25" y="101"/>
                        </a:lnTo>
                        <a:lnTo>
                          <a:pt x="23" y="101"/>
                        </a:lnTo>
                        <a:lnTo>
                          <a:pt x="23" y="103"/>
                        </a:lnTo>
                        <a:lnTo>
                          <a:pt x="22" y="105"/>
                        </a:lnTo>
                        <a:lnTo>
                          <a:pt x="20" y="101"/>
                        </a:lnTo>
                        <a:lnTo>
                          <a:pt x="20" y="98"/>
                        </a:lnTo>
                        <a:lnTo>
                          <a:pt x="23" y="96"/>
                        </a:lnTo>
                        <a:lnTo>
                          <a:pt x="25" y="96"/>
                        </a:lnTo>
                        <a:lnTo>
                          <a:pt x="25" y="96"/>
                        </a:lnTo>
                        <a:close/>
                        <a:moveTo>
                          <a:pt x="33" y="113"/>
                        </a:moveTo>
                        <a:lnTo>
                          <a:pt x="35" y="114"/>
                        </a:lnTo>
                        <a:lnTo>
                          <a:pt x="33" y="114"/>
                        </a:lnTo>
                        <a:lnTo>
                          <a:pt x="32" y="116"/>
                        </a:lnTo>
                        <a:lnTo>
                          <a:pt x="30" y="114"/>
                        </a:lnTo>
                        <a:lnTo>
                          <a:pt x="27" y="111"/>
                        </a:lnTo>
                        <a:lnTo>
                          <a:pt x="27" y="110"/>
                        </a:lnTo>
                        <a:lnTo>
                          <a:pt x="28" y="108"/>
                        </a:lnTo>
                        <a:lnTo>
                          <a:pt x="32" y="110"/>
                        </a:lnTo>
                        <a:lnTo>
                          <a:pt x="33" y="113"/>
                        </a:lnTo>
                        <a:lnTo>
                          <a:pt x="33" y="113"/>
                        </a:lnTo>
                        <a:close/>
                        <a:moveTo>
                          <a:pt x="184" y="161"/>
                        </a:moveTo>
                        <a:lnTo>
                          <a:pt x="184" y="159"/>
                        </a:lnTo>
                        <a:lnTo>
                          <a:pt x="184" y="158"/>
                        </a:lnTo>
                        <a:lnTo>
                          <a:pt x="184" y="159"/>
                        </a:lnTo>
                        <a:lnTo>
                          <a:pt x="184" y="161"/>
                        </a:lnTo>
                        <a:lnTo>
                          <a:pt x="184" y="161"/>
                        </a:lnTo>
                        <a:close/>
                        <a:moveTo>
                          <a:pt x="183" y="171"/>
                        </a:moveTo>
                        <a:lnTo>
                          <a:pt x="183" y="168"/>
                        </a:lnTo>
                        <a:lnTo>
                          <a:pt x="181" y="164"/>
                        </a:lnTo>
                        <a:lnTo>
                          <a:pt x="184" y="161"/>
                        </a:lnTo>
                        <a:lnTo>
                          <a:pt x="184" y="164"/>
                        </a:lnTo>
                        <a:lnTo>
                          <a:pt x="186" y="168"/>
                        </a:lnTo>
                        <a:lnTo>
                          <a:pt x="184" y="171"/>
                        </a:lnTo>
                        <a:lnTo>
                          <a:pt x="183" y="171"/>
                        </a:lnTo>
                        <a:lnTo>
                          <a:pt x="183" y="171"/>
                        </a:lnTo>
                        <a:close/>
                        <a:moveTo>
                          <a:pt x="196" y="159"/>
                        </a:moveTo>
                        <a:lnTo>
                          <a:pt x="194" y="158"/>
                        </a:lnTo>
                        <a:lnTo>
                          <a:pt x="196" y="154"/>
                        </a:lnTo>
                        <a:lnTo>
                          <a:pt x="194" y="154"/>
                        </a:lnTo>
                        <a:lnTo>
                          <a:pt x="194" y="151"/>
                        </a:lnTo>
                        <a:lnTo>
                          <a:pt x="201" y="148"/>
                        </a:lnTo>
                        <a:lnTo>
                          <a:pt x="206" y="146"/>
                        </a:lnTo>
                        <a:lnTo>
                          <a:pt x="209" y="144"/>
                        </a:lnTo>
                        <a:lnTo>
                          <a:pt x="209" y="146"/>
                        </a:lnTo>
                        <a:lnTo>
                          <a:pt x="208" y="148"/>
                        </a:lnTo>
                        <a:lnTo>
                          <a:pt x="206" y="151"/>
                        </a:lnTo>
                        <a:lnTo>
                          <a:pt x="204" y="153"/>
                        </a:lnTo>
                        <a:lnTo>
                          <a:pt x="204" y="154"/>
                        </a:lnTo>
                        <a:lnTo>
                          <a:pt x="203" y="154"/>
                        </a:lnTo>
                        <a:lnTo>
                          <a:pt x="199" y="156"/>
                        </a:lnTo>
                        <a:lnTo>
                          <a:pt x="198" y="158"/>
                        </a:lnTo>
                        <a:lnTo>
                          <a:pt x="196" y="159"/>
                        </a:lnTo>
                        <a:lnTo>
                          <a:pt x="196" y="159"/>
                        </a:lnTo>
                        <a:close/>
                        <a:moveTo>
                          <a:pt x="163" y="144"/>
                        </a:moveTo>
                        <a:lnTo>
                          <a:pt x="161" y="143"/>
                        </a:lnTo>
                        <a:lnTo>
                          <a:pt x="163" y="141"/>
                        </a:lnTo>
                        <a:lnTo>
                          <a:pt x="166" y="139"/>
                        </a:lnTo>
                        <a:lnTo>
                          <a:pt x="168" y="141"/>
                        </a:lnTo>
                        <a:lnTo>
                          <a:pt x="166" y="143"/>
                        </a:lnTo>
                        <a:lnTo>
                          <a:pt x="166" y="143"/>
                        </a:lnTo>
                        <a:lnTo>
                          <a:pt x="163" y="144"/>
                        </a:lnTo>
                        <a:lnTo>
                          <a:pt x="163" y="144"/>
                        </a:lnTo>
                        <a:close/>
                        <a:moveTo>
                          <a:pt x="163" y="113"/>
                        </a:moveTo>
                        <a:lnTo>
                          <a:pt x="168" y="110"/>
                        </a:lnTo>
                        <a:lnTo>
                          <a:pt x="169" y="111"/>
                        </a:lnTo>
                        <a:lnTo>
                          <a:pt x="173" y="113"/>
                        </a:lnTo>
                        <a:lnTo>
                          <a:pt x="173" y="111"/>
                        </a:lnTo>
                        <a:lnTo>
                          <a:pt x="174" y="113"/>
                        </a:lnTo>
                        <a:lnTo>
                          <a:pt x="176" y="114"/>
                        </a:lnTo>
                        <a:lnTo>
                          <a:pt x="173" y="114"/>
                        </a:lnTo>
                        <a:lnTo>
                          <a:pt x="171" y="116"/>
                        </a:lnTo>
                        <a:lnTo>
                          <a:pt x="169" y="116"/>
                        </a:lnTo>
                        <a:lnTo>
                          <a:pt x="168" y="114"/>
                        </a:lnTo>
                        <a:lnTo>
                          <a:pt x="164" y="114"/>
                        </a:lnTo>
                        <a:lnTo>
                          <a:pt x="161" y="114"/>
                        </a:lnTo>
                        <a:lnTo>
                          <a:pt x="163" y="113"/>
                        </a:lnTo>
                        <a:lnTo>
                          <a:pt x="163" y="113"/>
                        </a:lnTo>
                        <a:close/>
                        <a:moveTo>
                          <a:pt x="154" y="90"/>
                        </a:moveTo>
                        <a:lnTo>
                          <a:pt x="156" y="96"/>
                        </a:lnTo>
                        <a:lnTo>
                          <a:pt x="154" y="100"/>
                        </a:lnTo>
                        <a:lnTo>
                          <a:pt x="151" y="101"/>
                        </a:lnTo>
                        <a:lnTo>
                          <a:pt x="150" y="98"/>
                        </a:lnTo>
                        <a:lnTo>
                          <a:pt x="150" y="96"/>
                        </a:lnTo>
                        <a:lnTo>
                          <a:pt x="151" y="96"/>
                        </a:lnTo>
                        <a:lnTo>
                          <a:pt x="151" y="93"/>
                        </a:lnTo>
                        <a:lnTo>
                          <a:pt x="148" y="91"/>
                        </a:lnTo>
                        <a:lnTo>
                          <a:pt x="148" y="90"/>
                        </a:lnTo>
                        <a:lnTo>
                          <a:pt x="151" y="88"/>
                        </a:lnTo>
                        <a:lnTo>
                          <a:pt x="154" y="90"/>
                        </a:lnTo>
                        <a:lnTo>
                          <a:pt x="154" y="90"/>
                        </a:lnTo>
                        <a:lnTo>
                          <a:pt x="154" y="90"/>
                        </a:lnTo>
                        <a:close/>
                        <a:moveTo>
                          <a:pt x="148" y="78"/>
                        </a:moveTo>
                        <a:lnTo>
                          <a:pt x="145" y="75"/>
                        </a:lnTo>
                        <a:lnTo>
                          <a:pt x="146" y="71"/>
                        </a:lnTo>
                        <a:lnTo>
                          <a:pt x="153" y="70"/>
                        </a:lnTo>
                        <a:lnTo>
                          <a:pt x="154" y="68"/>
                        </a:lnTo>
                        <a:lnTo>
                          <a:pt x="159" y="68"/>
                        </a:lnTo>
                        <a:lnTo>
                          <a:pt x="161" y="68"/>
                        </a:lnTo>
                        <a:lnTo>
                          <a:pt x="159" y="71"/>
                        </a:lnTo>
                        <a:lnTo>
                          <a:pt x="161" y="71"/>
                        </a:lnTo>
                        <a:lnTo>
                          <a:pt x="161" y="75"/>
                        </a:lnTo>
                        <a:lnTo>
                          <a:pt x="161" y="80"/>
                        </a:lnTo>
                        <a:lnTo>
                          <a:pt x="156" y="80"/>
                        </a:lnTo>
                        <a:lnTo>
                          <a:pt x="153" y="78"/>
                        </a:lnTo>
                        <a:lnTo>
                          <a:pt x="154" y="76"/>
                        </a:lnTo>
                        <a:lnTo>
                          <a:pt x="156" y="75"/>
                        </a:lnTo>
                        <a:lnTo>
                          <a:pt x="158" y="71"/>
                        </a:lnTo>
                        <a:lnTo>
                          <a:pt x="154" y="71"/>
                        </a:lnTo>
                        <a:lnTo>
                          <a:pt x="153" y="75"/>
                        </a:lnTo>
                        <a:lnTo>
                          <a:pt x="151" y="78"/>
                        </a:lnTo>
                        <a:lnTo>
                          <a:pt x="150" y="78"/>
                        </a:lnTo>
                        <a:lnTo>
                          <a:pt x="148" y="78"/>
                        </a:lnTo>
                        <a:lnTo>
                          <a:pt x="148" y="78"/>
                        </a:lnTo>
                        <a:close/>
                        <a:moveTo>
                          <a:pt x="136" y="38"/>
                        </a:moveTo>
                        <a:lnTo>
                          <a:pt x="136" y="36"/>
                        </a:lnTo>
                        <a:lnTo>
                          <a:pt x="140" y="35"/>
                        </a:lnTo>
                        <a:lnTo>
                          <a:pt x="143" y="36"/>
                        </a:lnTo>
                        <a:lnTo>
                          <a:pt x="143" y="38"/>
                        </a:lnTo>
                        <a:lnTo>
                          <a:pt x="141" y="40"/>
                        </a:lnTo>
                        <a:lnTo>
                          <a:pt x="136" y="38"/>
                        </a:lnTo>
                        <a:lnTo>
                          <a:pt x="136" y="38"/>
                        </a:lnTo>
                        <a:close/>
                        <a:moveTo>
                          <a:pt x="126" y="48"/>
                        </a:moveTo>
                        <a:lnTo>
                          <a:pt x="130" y="48"/>
                        </a:lnTo>
                        <a:lnTo>
                          <a:pt x="131" y="50"/>
                        </a:lnTo>
                        <a:lnTo>
                          <a:pt x="133" y="48"/>
                        </a:lnTo>
                        <a:lnTo>
                          <a:pt x="136" y="50"/>
                        </a:lnTo>
                        <a:lnTo>
                          <a:pt x="133" y="51"/>
                        </a:lnTo>
                        <a:lnTo>
                          <a:pt x="133" y="56"/>
                        </a:lnTo>
                        <a:lnTo>
                          <a:pt x="130" y="55"/>
                        </a:lnTo>
                        <a:lnTo>
                          <a:pt x="128" y="55"/>
                        </a:lnTo>
                        <a:lnTo>
                          <a:pt x="126" y="53"/>
                        </a:lnTo>
                        <a:lnTo>
                          <a:pt x="125" y="50"/>
                        </a:lnTo>
                        <a:lnTo>
                          <a:pt x="126" y="48"/>
                        </a:lnTo>
                        <a:lnTo>
                          <a:pt x="126" y="48"/>
                        </a:lnTo>
                        <a:close/>
                        <a:moveTo>
                          <a:pt x="115" y="30"/>
                        </a:moveTo>
                        <a:lnTo>
                          <a:pt x="116" y="30"/>
                        </a:lnTo>
                        <a:lnTo>
                          <a:pt x="120" y="31"/>
                        </a:lnTo>
                        <a:lnTo>
                          <a:pt x="120" y="33"/>
                        </a:lnTo>
                        <a:lnTo>
                          <a:pt x="116" y="35"/>
                        </a:lnTo>
                        <a:lnTo>
                          <a:pt x="115" y="33"/>
                        </a:lnTo>
                        <a:lnTo>
                          <a:pt x="113" y="35"/>
                        </a:lnTo>
                        <a:lnTo>
                          <a:pt x="115" y="30"/>
                        </a:lnTo>
                        <a:lnTo>
                          <a:pt x="115" y="30"/>
                        </a:lnTo>
                        <a:close/>
                        <a:moveTo>
                          <a:pt x="91" y="75"/>
                        </a:moveTo>
                        <a:lnTo>
                          <a:pt x="93" y="73"/>
                        </a:lnTo>
                        <a:lnTo>
                          <a:pt x="96" y="75"/>
                        </a:lnTo>
                        <a:lnTo>
                          <a:pt x="96" y="78"/>
                        </a:lnTo>
                        <a:lnTo>
                          <a:pt x="96" y="80"/>
                        </a:lnTo>
                        <a:lnTo>
                          <a:pt x="91" y="75"/>
                        </a:lnTo>
                        <a:lnTo>
                          <a:pt x="91" y="75"/>
                        </a:lnTo>
                        <a:close/>
                        <a:moveTo>
                          <a:pt x="88" y="75"/>
                        </a:moveTo>
                        <a:lnTo>
                          <a:pt x="90" y="73"/>
                        </a:lnTo>
                        <a:lnTo>
                          <a:pt x="90" y="75"/>
                        </a:lnTo>
                        <a:lnTo>
                          <a:pt x="90" y="76"/>
                        </a:lnTo>
                        <a:lnTo>
                          <a:pt x="88" y="75"/>
                        </a:lnTo>
                        <a:lnTo>
                          <a:pt x="88" y="75"/>
                        </a:lnTo>
                        <a:close/>
                        <a:moveTo>
                          <a:pt x="115" y="80"/>
                        </a:moveTo>
                        <a:lnTo>
                          <a:pt x="116" y="78"/>
                        </a:lnTo>
                        <a:lnTo>
                          <a:pt x="120" y="81"/>
                        </a:lnTo>
                        <a:lnTo>
                          <a:pt x="121" y="81"/>
                        </a:lnTo>
                        <a:lnTo>
                          <a:pt x="121" y="85"/>
                        </a:lnTo>
                        <a:lnTo>
                          <a:pt x="120" y="86"/>
                        </a:lnTo>
                        <a:lnTo>
                          <a:pt x="120" y="83"/>
                        </a:lnTo>
                        <a:lnTo>
                          <a:pt x="118" y="83"/>
                        </a:lnTo>
                        <a:lnTo>
                          <a:pt x="115" y="80"/>
                        </a:lnTo>
                        <a:lnTo>
                          <a:pt x="115" y="80"/>
                        </a:lnTo>
                        <a:close/>
                        <a:moveTo>
                          <a:pt x="154" y="121"/>
                        </a:moveTo>
                        <a:lnTo>
                          <a:pt x="153" y="119"/>
                        </a:lnTo>
                        <a:lnTo>
                          <a:pt x="153" y="116"/>
                        </a:lnTo>
                        <a:lnTo>
                          <a:pt x="159" y="116"/>
                        </a:lnTo>
                        <a:lnTo>
                          <a:pt x="158" y="118"/>
                        </a:lnTo>
                        <a:lnTo>
                          <a:pt x="154" y="121"/>
                        </a:lnTo>
                        <a:lnTo>
                          <a:pt x="154" y="121"/>
                        </a:lnTo>
                        <a:close/>
                        <a:moveTo>
                          <a:pt x="115" y="143"/>
                        </a:moveTo>
                        <a:lnTo>
                          <a:pt x="116" y="139"/>
                        </a:lnTo>
                        <a:lnTo>
                          <a:pt x="120" y="139"/>
                        </a:lnTo>
                        <a:lnTo>
                          <a:pt x="120" y="143"/>
                        </a:lnTo>
                        <a:lnTo>
                          <a:pt x="116" y="143"/>
                        </a:lnTo>
                        <a:lnTo>
                          <a:pt x="115" y="143"/>
                        </a:lnTo>
                        <a:lnTo>
                          <a:pt x="115" y="143"/>
                        </a:lnTo>
                        <a:close/>
                        <a:moveTo>
                          <a:pt x="116" y="129"/>
                        </a:moveTo>
                        <a:lnTo>
                          <a:pt x="118" y="128"/>
                        </a:lnTo>
                        <a:lnTo>
                          <a:pt x="118" y="131"/>
                        </a:lnTo>
                        <a:lnTo>
                          <a:pt x="116" y="129"/>
                        </a:lnTo>
                        <a:lnTo>
                          <a:pt x="116" y="129"/>
                        </a:lnTo>
                        <a:close/>
                        <a:moveTo>
                          <a:pt x="116" y="126"/>
                        </a:moveTo>
                        <a:lnTo>
                          <a:pt x="116" y="121"/>
                        </a:lnTo>
                        <a:lnTo>
                          <a:pt x="118" y="123"/>
                        </a:lnTo>
                        <a:lnTo>
                          <a:pt x="118" y="124"/>
                        </a:lnTo>
                        <a:lnTo>
                          <a:pt x="118" y="124"/>
                        </a:lnTo>
                        <a:lnTo>
                          <a:pt x="116" y="126"/>
                        </a:lnTo>
                        <a:lnTo>
                          <a:pt x="116" y="126"/>
                        </a:lnTo>
                        <a:close/>
                        <a:moveTo>
                          <a:pt x="113" y="119"/>
                        </a:moveTo>
                        <a:lnTo>
                          <a:pt x="113" y="119"/>
                        </a:lnTo>
                        <a:lnTo>
                          <a:pt x="115" y="118"/>
                        </a:lnTo>
                        <a:lnTo>
                          <a:pt x="116" y="119"/>
                        </a:lnTo>
                        <a:lnTo>
                          <a:pt x="113" y="119"/>
                        </a:lnTo>
                        <a:lnTo>
                          <a:pt x="113" y="119"/>
                        </a:lnTo>
                        <a:close/>
                        <a:moveTo>
                          <a:pt x="135" y="133"/>
                        </a:moveTo>
                        <a:lnTo>
                          <a:pt x="133" y="131"/>
                        </a:lnTo>
                        <a:lnTo>
                          <a:pt x="135" y="128"/>
                        </a:lnTo>
                        <a:lnTo>
                          <a:pt x="136" y="128"/>
                        </a:lnTo>
                        <a:lnTo>
                          <a:pt x="138" y="131"/>
                        </a:lnTo>
                        <a:lnTo>
                          <a:pt x="135" y="133"/>
                        </a:lnTo>
                        <a:lnTo>
                          <a:pt x="135" y="133"/>
                        </a:lnTo>
                        <a:close/>
                        <a:moveTo>
                          <a:pt x="141" y="133"/>
                        </a:moveTo>
                        <a:lnTo>
                          <a:pt x="140" y="129"/>
                        </a:lnTo>
                        <a:lnTo>
                          <a:pt x="143" y="128"/>
                        </a:lnTo>
                        <a:lnTo>
                          <a:pt x="145" y="128"/>
                        </a:lnTo>
                        <a:lnTo>
                          <a:pt x="146" y="129"/>
                        </a:lnTo>
                        <a:lnTo>
                          <a:pt x="143" y="133"/>
                        </a:lnTo>
                        <a:lnTo>
                          <a:pt x="141" y="133"/>
                        </a:lnTo>
                        <a:lnTo>
                          <a:pt x="141" y="133"/>
                        </a:lnTo>
                        <a:close/>
                        <a:moveTo>
                          <a:pt x="140" y="123"/>
                        </a:moveTo>
                        <a:lnTo>
                          <a:pt x="140" y="121"/>
                        </a:lnTo>
                        <a:lnTo>
                          <a:pt x="141" y="121"/>
                        </a:lnTo>
                        <a:lnTo>
                          <a:pt x="140" y="123"/>
                        </a:lnTo>
                        <a:lnTo>
                          <a:pt x="140" y="123"/>
                        </a:lnTo>
                        <a:close/>
                        <a:moveTo>
                          <a:pt x="133" y="118"/>
                        </a:moveTo>
                        <a:lnTo>
                          <a:pt x="135" y="116"/>
                        </a:lnTo>
                        <a:lnTo>
                          <a:pt x="138" y="118"/>
                        </a:lnTo>
                        <a:lnTo>
                          <a:pt x="138" y="121"/>
                        </a:lnTo>
                        <a:lnTo>
                          <a:pt x="135" y="119"/>
                        </a:lnTo>
                        <a:lnTo>
                          <a:pt x="133" y="118"/>
                        </a:lnTo>
                        <a:lnTo>
                          <a:pt x="133" y="118"/>
                        </a:lnTo>
                        <a:close/>
                        <a:moveTo>
                          <a:pt x="121" y="108"/>
                        </a:moveTo>
                        <a:lnTo>
                          <a:pt x="125" y="108"/>
                        </a:lnTo>
                        <a:lnTo>
                          <a:pt x="126" y="111"/>
                        </a:lnTo>
                        <a:lnTo>
                          <a:pt x="130" y="114"/>
                        </a:lnTo>
                        <a:lnTo>
                          <a:pt x="130" y="116"/>
                        </a:lnTo>
                        <a:lnTo>
                          <a:pt x="128" y="116"/>
                        </a:lnTo>
                        <a:lnTo>
                          <a:pt x="123" y="113"/>
                        </a:lnTo>
                        <a:lnTo>
                          <a:pt x="121" y="111"/>
                        </a:lnTo>
                        <a:lnTo>
                          <a:pt x="121" y="108"/>
                        </a:lnTo>
                        <a:lnTo>
                          <a:pt x="121" y="108"/>
                        </a:lnTo>
                        <a:close/>
                        <a:moveTo>
                          <a:pt x="76" y="81"/>
                        </a:moveTo>
                        <a:lnTo>
                          <a:pt x="80" y="80"/>
                        </a:lnTo>
                        <a:lnTo>
                          <a:pt x="86" y="78"/>
                        </a:lnTo>
                        <a:lnTo>
                          <a:pt x="90" y="81"/>
                        </a:lnTo>
                        <a:lnTo>
                          <a:pt x="95" y="83"/>
                        </a:lnTo>
                        <a:lnTo>
                          <a:pt x="98" y="86"/>
                        </a:lnTo>
                        <a:lnTo>
                          <a:pt x="98" y="86"/>
                        </a:lnTo>
                        <a:lnTo>
                          <a:pt x="101" y="86"/>
                        </a:lnTo>
                        <a:lnTo>
                          <a:pt x="103" y="86"/>
                        </a:lnTo>
                        <a:lnTo>
                          <a:pt x="108" y="91"/>
                        </a:lnTo>
                        <a:lnTo>
                          <a:pt x="110" y="95"/>
                        </a:lnTo>
                        <a:lnTo>
                          <a:pt x="110" y="96"/>
                        </a:lnTo>
                        <a:lnTo>
                          <a:pt x="111" y="98"/>
                        </a:lnTo>
                        <a:lnTo>
                          <a:pt x="111" y="101"/>
                        </a:lnTo>
                        <a:lnTo>
                          <a:pt x="115" y="105"/>
                        </a:lnTo>
                        <a:lnTo>
                          <a:pt x="115" y="103"/>
                        </a:lnTo>
                        <a:lnTo>
                          <a:pt x="120" y="105"/>
                        </a:lnTo>
                        <a:lnTo>
                          <a:pt x="118" y="108"/>
                        </a:lnTo>
                        <a:lnTo>
                          <a:pt x="116" y="108"/>
                        </a:lnTo>
                        <a:lnTo>
                          <a:pt x="113" y="108"/>
                        </a:lnTo>
                        <a:lnTo>
                          <a:pt x="110" y="106"/>
                        </a:lnTo>
                        <a:lnTo>
                          <a:pt x="108" y="105"/>
                        </a:lnTo>
                        <a:lnTo>
                          <a:pt x="110" y="101"/>
                        </a:lnTo>
                        <a:lnTo>
                          <a:pt x="106" y="100"/>
                        </a:lnTo>
                        <a:lnTo>
                          <a:pt x="105" y="96"/>
                        </a:lnTo>
                        <a:lnTo>
                          <a:pt x="103" y="95"/>
                        </a:lnTo>
                        <a:lnTo>
                          <a:pt x="100" y="95"/>
                        </a:lnTo>
                        <a:lnTo>
                          <a:pt x="95" y="91"/>
                        </a:lnTo>
                        <a:lnTo>
                          <a:pt x="93" y="90"/>
                        </a:lnTo>
                        <a:lnTo>
                          <a:pt x="90" y="88"/>
                        </a:lnTo>
                        <a:lnTo>
                          <a:pt x="88" y="86"/>
                        </a:lnTo>
                        <a:lnTo>
                          <a:pt x="86" y="86"/>
                        </a:lnTo>
                        <a:lnTo>
                          <a:pt x="85" y="85"/>
                        </a:lnTo>
                        <a:lnTo>
                          <a:pt x="83" y="83"/>
                        </a:lnTo>
                        <a:lnTo>
                          <a:pt x="80" y="83"/>
                        </a:lnTo>
                        <a:lnTo>
                          <a:pt x="76" y="81"/>
                        </a:lnTo>
                        <a:lnTo>
                          <a:pt x="76" y="81"/>
                        </a:lnTo>
                        <a:close/>
                        <a:moveTo>
                          <a:pt x="83" y="146"/>
                        </a:moveTo>
                        <a:lnTo>
                          <a:pt x="85" y="146"/>
                        </a:lnTo>
                        <a:lnTo>
                          <a:pt x="85" y="149"/>
                        </a:lnTo>
                        <a:lnTo>
                          <a:pt x="88" y="151"/>
                        </a:lnTo>
                        <a:lnTo>
                          <a:pt x="86" y="154"/>
                        </a:lnTo>
                        <a:lnTo>
                          <a:pt x="83" y="154"/>
                        </a:lnTo>
                        <a:lnTo>
                          <a:pt x="83" y="151"/>
                        </a:lnTo>
                        <a:lnTo>
                          <a:pt x="83" y="149"/>
                        </a:lnTo>
                        <a:lnTo>
                          <a:pt x="83" y="146"/>
                        </a:lnTo>
                        <a:lnTo>
                          <a:pt x="83" y="146"/>
                        </a:lnTo>
                        <a:close/>
                        <a:moveTo>
                          <a:pt x="83" y="143"/>
                        </a:moveTo>
                        <a:lnTo>
                          <a:pt x="85" y="144"/>
                        </a:lnTo>
                        <a:lnTo>
                          <a:pt x="83" y="144"/>
                        </a:lnTo>
                        <a:lnTo>
                          <a:pt x="83" y="143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54" name="Google Shape;3101;p98">
                    <a:extLst>
                      <a:ext uri="{FF2B5EF4-FFF2-40B4-BE49-F238E27FC236}">
                        <a16:creationId xmlns:a16="http://schemas.microsoft.com/office/drawing/2014/main" id="{E25B93D8-3EFE-2CCE-E53E-51897C5E4736}"/>
                      </a:ext>
                    </a:extLst>
                  </p:cNvPr>
                  <p:cNvSpPr/>
                  <p:nvPr/>
                </p:nvSpPr>
                <p:spPr>
                  <a:xfrm>
                    <a:off x="6944787" y="2763372"/>
                    <a:ext cx="46020" cy="3424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7" h="66" extrusionOk="0">
                        <a:moveTo>
                          <a:pt x="0" y="5"/>
                        </a:moveTo>
                        <a:lnTo>
                          <a:pt x="7" y="3"/>
                        </a:lnTo>
                        <a:lnTo>
                          <a:pt x="18" y="0"/>
                        </a:lnTo>
                        <a:lnTo>
                          <a:pt x="22" y="1"/>
                        </a:lnTo>
                        <a:lnTo>
                          <a:pt x="35" y="1"/>
                        </a:lnTo>
                        <a:lnTo>
                          <a:pt x="40" y="6"/>
                        </a:lnTo>
                        <a:lnTo>
                          <a:pt x="50" y="6"/>
                        </a:lnTo>
                        <a:lnTo>
                          <a:pt x="55" y="11"/>
                        </a:lnTo>
                        <a:lnTo>
                          <a:pt x="53" y="16"/>
                        </a:lnTo>
                        <a:lnTo>
                          <a:pt x="53" y="19"/>
                        </a:lnTo>
                        <a:lnTo>
                          <a:pt x="63" y="28"/>
                        </a:lnTo>
                        <a:lnTo>
                          <a:pt x="63" y="33"/>
                        </a:lnTo>
                        <a:lnTo>
                          <a:pt x="60" y="34"/>
                        </a:lnTo>
                        <a:lnTo>
                          <a:pt x="63" y="41"/>
                        </a:lnTo>
                        <a:lnTo>
                          <a:pt x="73" y="48"/>
                        </a:lnTo>
                        <a:lnTo>
                          <a:pt x="82" y="48"/>
                        </a:lnTo>
                        <a:lnTo>
                          <a:pt x="87" y="53"/>
                        </a:lnTo>
                        <a:lnTo>
                          <a:pt x="80" y="53"/>
                        </a:lnTo>
                        <a:lnTo>
                          <a:pt x="85" y="59"/>
                        </a:lnTo>
                        <a:lnTo>
                          <a:pt x="83" y="61"/>
                        </a:lnTo>
                        <a:lnTo>
                          <a:pt x="83" y="66"/>
                        </a:lnTo>
                        <a:lnTo>
                          <a:pt x="77" y="66"/>
                        </a:lnTo>
                        <a:lnTo>
                          <a:pt x="67" y="53"/>
                        </a:lnTo>
                        <a:lnTo>
                          <a:pt x="60" y="51"/>
                        </a:lnTo>
                        <a:lnTo>
                          <a:pt x="57" y="43"/>
                        </a:lnTo>
                        <a:lnTo>
                          <a:pt x="52" y="43"/>
                        </a:lnTo>
                        <a:lnTo>
                          <a:pt x="50" y="46"/>
                        </a:lnTo>
                        <a:lnTo>
                          <a:pt x="43" y="39"/>
                        </a:lnTo>
                        <a:lnTo>
                          <a:pt x="38" y="43"/>
                        </a:lnTo>
                        <a:lnTo>
                          <a:pt x="35" y="43"/>
                        </a:lnTo>
                        <a:lnTo>
                          <a:pt x="33" y="39"/>
                        </a:lnTo>
                        <a:lnTo>
                          <a:pt x="28" y="36"/>
                        </a:lnTo>
                        <a:lnTo>
                          <a:pt x="23" y="36"/>
                        </a:lnTo>
                        <a:lnTo>
                          <a:pt x="17" y="36"/>
                        </a:lnTo>
                        <a:lnTo>
                          <a:pt x="10" y="33"/>
                        </a:lnTo>
                        <a:lnTo>
                          <a:pt x="10" y="23"/>
                        </a:lnTo>
                        <a:lnTo>
                          <a:pt x="10" y="16"/>
                        </a:lnTo>
                        <a:lnTo>
                          <a:pt x="8" y="11"/>
                        </a:lnTo>
                        <a:lnTo>
                          <a:pt x="4" y="11"/>
                        </a:lnTo>
                        <a:lnTo>
                          <a:pt x="4" y="8"/>
                        </a:lnTo>
                        <a:lnTo>
                          <a:pt x="0" y="5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55" name="Google Shape;3102;p98">
                    <a:extLst>
                      <a:ext uri="{FF2B5EF4-FFF2-40B4-BE49-F238E27FC236}">
                        <a16:creationId xmlns:a16="http://schemas.microsoft.com/office/drawing/2014/main" id="{E6E14D1F-B040-3343-B825-78219F507335}"/>
                      </a:ext>
                    </a:extLst>
                  </p:cNvPr>
                  <p:cNvSpPr/>
                  <p:nvPr/>
                </p:nvSpPr>
                <p:spPr>
                  <a:xfrm>
                    <a:off x="6728597" y="2756108"/>
                    <a:ext cx="240806" cy="84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50" h="162" extrusionOk="0">
                        <a:moveTo>
                          <a:pt x="6" y="34"/>
                        </a:moveTo>
                        <a:lnTo>
                          <a:pt x="13" y="34"/>
                        </a:lnTo>
                        <a:lnTo>
                          <a:pt x="14" y="28"/>
                        </a:lnTo>
                        <a:lnTo>
                          <a:pt x="14" y="24"/>
                        </a:lnTo>
                        <a:lnTo>
                          <a:pt x="19" y="21"/>
                        </a:lnTo>
                        <a:lnTo>
                          <a:pt x="21" y="15"/>
                        </a:lnTo>
                        <a:lnTo>
                          <a:pt x="16" y="13"/>
                        </a:lnTo>
                        <a:lnTo>
                          <a:pt x="16" y="8"/>
                        </a:lnTo>
                        <a:lnTo>
                          <a:pt x="21" y="3"/>
                        </a:lnTo>
                        <a:lnTo>
                          <a:pt x="24" y="3"/>
                        </a:lnTo>
                        <a:lnTo>
                          <a:pt x="28" y="0"/>
                        </a:lnTo>
                        <a:lnTo>
                          <a:pt x="34" y="0"/>
                        </a:lnTo>
                        <a:lnTo>
                          <a:pt x="41" y="5"/>
                        </a:lnTo>
                        <a:lnTo>
                          <a:pt x="44" y="3"/>
                        </a:lnTo>
                        <a:lnTo>
                          <a:pt x="49" y="3"/>
                        </a:lnTo>
                        <a:lnTo>
                          <a:pt x="51" y="11"/>
                        </a:lnTo>
                        <a:lnTo>
                          <a:pt x="58" y="18"/>
                        </a:lnTo>
                        <a:lnTo>
                          <a:pt x="63" y="18"/>
                        </a:lnTo>
                        <a:lnTo>
                          <a:pt x="69" y="23"/>
                        </a:lnTo>
                        <a:lnTo>
                          <a:pt x="74" y="26"/>
                        </a:lnTo>
                        <a:lnTo>
                          <a:pt x="74" y="28"/>
                        </a:lnTo>
                        <a:lnTo>
                          <a:pt x="69" y="33"/>
                        </a:lnTo>
                        <a:lnTo>
                          <a:pt x="63" y="31"/>
                        </a:lnTo>
                        <a:lnTo>
                          <a:pt x="59" y="29"/>
                        </a:lnTo>
                        <a:lnTo>
                          <a:pt x="54" y="29"/>
                        </a:lnTo>
                        <a:lnTo>
                          <a:pt x="53" y="31"/>
                        </a:lnTo>
                        <a:lnTo>
                          <a:pt x="44" y="31"/>
                        </a:lnTo>
                        <a:lnTo>
                          <a:pt x="39" y="33"/>
                        </a:lnTo>
                        <a:lnTo>
                          <a:pt x="36" y="39"/>
                        </a:lnTo>
                        <a:lnTo>
                          <a:pt x="24" y="44"/>
                        </a:lnTo>
                        <a:lnTo>
                          <a:pt x="14" y="53"/>
                        </a:lnTo>
                        <a:lnTo>
                          <a:pt x="13" y="49"/>
                        </a:lnTo>
                        <a:lnTo>
                          <a:pt x="16" y="43"/>
                        </a:lnTo>
                        <a:lnTo>
                          <a:pt x="18" y="43"/>
                        </a:lnTo>
                        <a:lnTo>
                          <a:pt x="23" y="41"/>
                        </a:lnTo>
                        <a:lnTo>
                          <a:pt x="19" y="41"/>
                        </a:lnTo>
                        <a:lnTo>
                          <a:pt x="16" y="39"/>
                        </a:lnTo>
                        <a:lnTo>
                          <a:pt x="13" y="41"/>
                        </a:lnTo>
                        <a:lnTo>
                          <a:pt x="10" y="39"/>
                        </a:lnTo>
                        <a:lnTo>
                          <a:pt x="8" y="34"/>
                        </a:lnTo>
                        <a:lnTo>
                          <a:pt x="6" y="34"/>
                        </a:lnTo>
                        <a:lnTo>
                          <a:pt x="6" y="34"/>
                        </a:lnTo>
                        <a:close/>
                        <a:moveTo>
                          <a:pt x="362" y="8"/>
                        </a:moveTo>
                        <a:lnTo>
                          <a:pt x="362" y="10"/>
                        </a:lnTo>
                        <a:lnTo>
                          <a:pt x="358" y="15"/>
                        </a:lnTo>
                        <a:lnTo>
                          <a:pt x="352" y="18"/>
                        </a:lnTo>
                        <a:lnTo>
                          <a:pt x="343" y="23"/>
                        </a:lnTo>
                        <a:lnTo>
                          <a:pt x="342" y="26"/>
                        </a:lnTo>
                        <a:lnTo>
                          <a:pt x="335" y="26"/>
                        </a:lnTo>
                        <a:lnTo>
                          <a:pt x="332" y="28"/>
                        </a:lnTo>
                        <a:lnTo>
                          <a:pt x="322" y="26"/>
                        </a:lnTo>
                        <a:lnTo>
                          <a:pt x="318" y="24"/>
                        </a:lnTo>
                        <a:lnTo>
                          <a:pt x="315" y="24"/>
                        </a:lnTo>
                        <a:lnTo>
                          <a:pt x="313" y="23"/>
                        </a:lnTo>
                        <a:lnTo>
                          <a:pt x="310" y="24"/>
                        </a:lnTo>
                        <a:lnTo>
                          <a:pt x="300" y="26"/>
                        </a:lnTo>
                        <a:lnTo>
                          <a:pt x="290" y="29"/>
                        </a:lnTo>
                        <a:lnTo>
                          <a:pt x="282" y="28"/>
                        </a:lnTo>
                        <a:lnTo>
                          <a:pt x="277" y="24"/>
                        </a:lnTo>
                        <a:lnTo>
                          <a:pt x="274" y="26"/>
                        </a:lnTo>
                        <a:lnTo>
                          <a:pt x="264" y="23"/>
                        </a:lnTo>
                        <a:lnTo>
                          <a:pt x="260" y="21"/>
                        </a:lnTo>
                        <a:lnTo>
                          <a:pt x="250" y="16"/>
                        </a:lnTo>
                        <a:lnTo>
                          <a:pt x="249" y="16"/>
                        </a:lnTo>
                        <a:lnTo>
                          <a:pt x="247" y="20"/>
                        </a:lnTo>
                        <a:lnTo>
                          <a:pt x="242" y="18"/>
                        </a:lnTo>
                        <a:lnTo>
                          <a:pt x="239" y="13"/>
                        </a:lnTo>
                        <a:lnTo>
                          <a:pt x="237" y="8"/>
                        </a:lnTo>
                        <a:lnTo>
                          <a:pt x="234" y="5"/>
                        </a:lnTo>
                        <a:lnTo>
                          <a:pt x="230" y="5"/>
                        </a:lnTo>
                        <a:lnTo>
                          <a:pt x="224" y="11"/>
                        </a:lnTo>
                        <a:lnTo>
                          <a:pt x="222" y="10"/>
                        </a:lnTo>
                        <a:lnTo>
                          <a:pt x="220" y="11"/>
                        </a:lnTo>
                        <a:lnTo>
                          <a:pt x="212" y="5"/>
                        </a:lnTo>
                        <a:lnTo>
                          <a:pt x="211" y="0"/>
                        </a:lnTo>
                        <a:lnTo>
                          <a:pt x="209" y="0"/>
                        </a:lnTo>
                        <a:lnTo>
                          <a:pt x="204" y="1"/>
                        </a:lnTo>
                        <a:lnTo>
                          <a:pt x="196" y="1"/>
                        </a:lnTo>
                        <a:lnTo>
                          <a:pt x="192" y="1"/>
                        </a:lnTo>
                        <a:lnTo>
                          <a:pt x="187" y="1"/>
                        </a:lnTo>
                        <a:lnTo>
                          <a:pt x="176" y="1"/>
                        </a:lnTo>
                        <a:lnTo>
                          <a:pt x="169" y="3"/>
                        </a:lnTo>
                        <a:lnTo>
                          <a:pt x="159" y="6"/>
                        </a:lnTo>
                        <a:lnTo>
                          <a:pt x="154" y="8"/>
                        </a:lnTo>
                        <a:lnTo>
                          <a:pt x="144" y="10"/>
                        </a:lnTo>
                        <a:lnTo>
                          <a:pt x="142" y="11"/>
                        </a:lnTo>
                        <a:lnTo>
                          <a:pt x="137" y="13"/>
                        </a:lnTo>
                        <a:lnTo>
                          <a:pt x="134" y="16"/>
                        </a:lnTo>
                        <a:lnTo>
                          <a:pt x="131" y="18"/>
                        </a:lnTo>
                        <a:lnTo>
                          <a:pt x="129" y="23"/>
                        </a:lnTo>
                        <a:lnTo>
                          <a:pt x="127" y="24"/>
                        </a:lnTo>
                        <a:lnTo>
                          <a:pt x="127" y="26"/>
                        </a:lnTo>
                        <a:lnTo>
                          <a:pt x="119" y="28"/>
                        </a:lnTo>
                        <a:lnTo>
                          <a:pt x="106" y="23"/>
                        </a:lnTo>
                        <a:lnTo>
                          <a:pt x="101" y="23"/>
                        </a:lnTo>
                        <a:lnTo>
                          <a:pt x="99" y="24"/>
                        </a:lnTo>
                        <a:lnTo>
                          <a:pt x="94" y="24"/>
                        </a:lnTo>
                        <a:lnTo>
                          <a:pt x="86" y="26"/>
                        </a:lnTo>
                        <a:lnTo>
                          <a:pt x="83" y="24"/>
                        </a:lnTo>
                        <a:lnTo>
                          <a:pt x="76" y="26"/>
                        </a:lnTo>
                        <a:lnTo>
                          <a:pt x="76" y="29"/>
                        </a:lnTo>
                        <a:lnTo>
                          <a:pt x="79" y="36"/>
                        </a:lnTo>
                        <a:lnTo>
                          <a:pt x="86" y="36"/>
                        </a:lnTo>
                        <a:lnTo>
                          <a:pt x="93" y="36"/>
                        </a:lnTo>
                        <a:lnTo>
                          <a:pt x="91" y="39"/>
                        </a:lnTo>
                        <a:lnTo>
                          <a:pt x="81" y="39"/>
                        </a:lnTo>
                        <a:lnTo>
                          <a:pt x="73" y="41"/>
                        </a:lnTo>
                        <a:lnTo>
                          <a:pt x="69" y="44"/>
                        </a:lnTo>
                        <a:lnTo>
                          <a:pt x="71" y="48"/>
                        </a:lnTo>
                        <a:lnTo>
                          <a:pt x="76" y="46"/>
                        </a:lnTo>
                        <a:lnTo>
                          <a:pt x="78" y="48"/>
                        </a:lnTo>
                        <a:lnTo>
                          <a:pt x="74" y="49"/>
                        </a:lnTo>
                        <a:lnTo>
                          <a:pt x="63" y="49"/>
                        </a:lnTo>
                        <a:lnTo>
                          <a:pt x="58" y="48"/>
                        </a:lnTo>
                        <a:lnTo>
                          <a:pt x="53" y="49"/>
                        </a:lnTo>
                        <a:lnTo>
                          <a:pt x="49" y="46"/>
                        </a:lnTo>
                        <a:lnTo>
                          <a:pt x="46" y="46"/>
                        </a:lnTo>
                        <a:lnTo>
                          <a:pt x="43" y="51"/>
                        </a:lnTo>
                        <a:lnTo>
                          <a:pt x="38" y="51"/>
                        </a:lnTo>
                        <a:lnTo>
                          <a:pt x="33" y="46"/>
                        </a:lnTo>
                        <a:lnTo>
                          <a:pt x="26" y="46"/>
                        </a:lnTo>
                        <a:lnTo>
                          <a:pt x="16" y="54"/>
                        </a:lnTo>
                        <a:lnTo>
                          <a:pt x="14" y="58"/>
                        </a:lnTo>
                        <a:lnTo>
                          <a:pt x="13" y="61"/>
                        </a:lnTo>
                        <a:lnTo>
                          <a:pt x="14" y="64"/>
                        </a:lnTo>
                        <a:lnTo>
                          <a:pt x="14" y="69"/>
                        </a:lnTo>
                        <a:lnTo>
                          <a:pt x="13" y="71"/>
                        </a:lnTo>
                        <a:lnTo>
                          <a:pt x="14" y="73"/>
                        </a:lnTo>
                        <a:lnTo>
                          <a:pt x="21" y="71"/>
                        </a:lnTo>
                        <a:lnTo>
                          <a:pt x="23" y="73"/>
                        </a:lnTo>
                        <a:lnTo>
                          <a:pt x="28" y="71"/>
                        </a:lnTo>
                        <a:lnTo>
                          <a:pt x="33" y="71"/>
                        </a:lnTo>
                        <a:lnTo>
                          <a:pt x="28" y="76"/>
                        </a:lnTo>
                        <a:lnTo>
                          <a:pt x="28" y="79"/>
                        </a:lnTo>
                        <a:lnTo>
                          <a:pt x="29" y="83"/>
                        </a:lnTo>
                        <a:lnTo>
                          <a:pt x="29" y="86"/>
                        </a:lnTo>
                        <a:lnTo>
                          <a:pt x="29" y="88"/>
                        </a:lnTo>
                        <a:lnTo>
                          <a:pt x="31" y="88"/>
                        </a:lnTo>
                        <a:lnTo>
                          <a:pt x="36" y="86"/>
                        </a:lnTo>
                        <a:lnTo>
                          <a:pt x="36" y="88"/>
                        </a:lnTo>
                        <a:lnTo>
                          <a:pt x="33" y="91"/>
                        </a:lnTo>
                        <a:lnTo>
                          <a:pt x="28" y="94"/>
                        </a:lnTo>
                        <a:lnTo>
                          <a:pt x="29" y="96"/>
                        </a:lnTo>
                        <a:lnTo>
                          <a:pt x="33" y="96"/>
                        </a:lnTo>
                        <a:lnTo>
                          <a:pt x="29" y="98"/>
                        </a:lnTo>
                        <a:lnTo>
                          <a:pt x="28" y="101"/>
                        </a:lnTo>
                        <a:lnTo>
                          <a:pt x="24" y="101"/>
                        </a:lnTo>
                        <a:lnTo>
                          <a:pt x="21" y="96"/>
                        </a:lnTo>
                        <a:lnTo>
                          <a:pt x="19" y="94"/>
                        </a:lnTo>
                        <a:lnTo>
                          <a:pt x="19" y="99"/>
                        </a:lnTo>
                        <a:lnTo>
                          <a:pt x="21" y="103"/>
                        </a:lnTo>
                        <a:lnTo>
                          <a:pt x="19" y="104"/>
                        </a:lnTo>
                        <a:lnTo>
                          <a:pt x="19" y="108"/>
                        </a:lnTo>
                        <a:lnTo>
                          <a:pt x="23" y="111"/>
                        </a:lnTo>
                        <a:lnTo>
                          <a:pt x="24" y="109"/>
                        </a:lnTo>
                        <a:lnTo>
                          <a:pt x="29" y="113"/>
                        </a:lnTo>
                        <a:lnTo>
                          <a:pt x="33" y="111"/>
                        </a:lnTo>
                        <a:lnTo>
                          <a:pt x="38" y="114"/>
                        </a:lnTo>
                        <a:lnTo>
                          <a:pt x="39" y="119"/>
                        </a:lnTo>
                        <a:lnTo>
                          <a:pt x="36" y="122"/>
                        </a:lnTo>
                        <a:lnTo>
                          <a:pt x="39" y="126"/>
                        </a:lnTo>
                        <a:lnTo>
                          <a:pt x="39" y="129"/>
                        </a:lnTo>
                        <a:lnTo>
                          <a:pt x="43" y="129"/>
                        </a:lnTo>
                        <a:lnTo>
                          <a:pt x="48" y="134"/>
                        </a:lnTo>
                        <a:lnTo>
                          <a:pt x="46" y="137"/>
                        </a:lnTo>
                        <a:lnTo>
                          <a:pt x="43" y="136"/>
                        </a:lnTo>
                        <a:lnTo>
                          <a:pt x="41" y="139"/>
                        </a:lnTo>
                        <a:lnTo>
                          <a:pt x="44" y="139"/>
                        </a:lnTo>
                        <a:lnTo>
                          <a:pt x="53" y="137"/>
                        </a:lnTo>
                        <a:lnTo>
                          <a:pt x="63" y="137"/>
                        </a:lnTo>
                        <a:lnTo>
                          <a:pt x="61" y="141"/>
                        </a:lnTo>
                        <a:lnTo>
                          <a:pt x="59" y="142"/>
                        </a:lnTo>
                        <a:lnTo>
                          <a:pt x="54" y="144"/>
                        </a:lnTo>
                        <a:lnTo>
                          <a:pt x="46" y="144"/>
                        </a:lnTo>
                        <a:lnTo>
                          <a:pt x="44" y="147"/>
                        </a:lnTo>
                        <a:lnTo>
                          <a:pt x="48" y="147"/>
                        </a:lnTo>
                        <a:lnTo>
                          <a:pt x="51" y="146"/>
                        </a:lnTo>
                        <a:lnTo>
                          <a:pt x="56" y="146"/>
                        </a:lnTo>
                        <a:lnTo>
                          <a:pt x="59" y="144"/>
                        </a:lnTo>
                        <a:lnTo>
                          <a:pt x="59" y="147"/>
                        </a:lnTo>
                        <a:lnTo>
                          <a:pt x="61" y="149"/>
                        </a:lnTo>
                        <a:lnTo>
                          <a:pt x="63" y="146"/>
                        </a:lnTo>
                        <a:lnTo>
                          <a:pt x="66" y="142"/>
                        </a:lnTo>
                        <a:lnTo>
                          <a:pt x="69" y="142"/>
                        </a:lnTo>
                        <a:lnTo>
                          <a:pt x="73" y="144"/>
                        </a:lnTo>
                        <a:lnTo>
                          <a:pt x="76" y="144"/>
                        </a:lnTo>
                        <a:lnTo>
                          <a:pt x="79" y="147"/>
                        </a:lnTo>
                        <a:lnTo>
                          <a:pt x="83" y="144"/>
                        </a:lnTo>
                        <a:lnTo>
                          <a:pt x="86" y="146"/>
                        </a:lnTo>
                        <a:lnTo>
                          <a:pt x="86" y="147"/>
                        </a:lnTo>
                        <a:lnTo>
                          <a:pt x="84" y="147"/>
                        </a:lnTo>
                        <a:lnTo>
                          <a:pt x="86" y="151"/>
                        </a:lnTo>
                        <a:lnTo>
                          <a:pt x="86" y="154"/>
                        </a:lnTo>
                        <a:lnTo>
                          <a:pt x="91" y="157"/>
                        </a:lnTo>
                        <a:lnTo>
                          <a:pt x="93" y="157"/>
                        </a:lnTo>
                        <a:lnTo>
                          <a:pt x="99" y="159"/>
                        </a:lnTo>
                        <a:lnTo>
                          <a:pt x="104" y="159"/>
                        </a:lnTo>
                        <a:lnTo>
                          <a:pt x="108" y="156"/>
                        </a:lnTo>
                        <a:lnTo>
                          <a:pt x="113" y="156"/>
                        </a:lnTo>
                        <a:lnTo>
                          <a:pt x="114" y="154"/>
                        </a:lnTo>
                        <a:lnTo>
                          <a:pt x="119" y="156"/>
                        </a:lnTo>
                        <a:lnTo>
                          <a:pt x="122" y="154"/>
                        </a:lnTo>
                        <a:lnTo>
                          <a:pt x="121" y="149"/>
                        </a:lnTo>
                        <a:lnTo>
                          <a:pt x="122" y="147"/>
                        </a:lnTo>
                        <a:lnTo>
                          <a:pt x="121" y="142"/>
                        </a:lnTo>
                        <a:lnTo>
                          <a:pt x="132" y="141"/>
                        </a:lnTo>
                        <a:lnTo>
                          <a:pt x="141" y="142"/>
                        </a:lnTo>
                        <a:lnTo>
                          <a:pt x="152" y="147"/>
                        </a:lnTo>
                        <a:lnTo>
                          <a:pt x="156" y="147"/>
                        </a:lnTo>
                        <a:lnTo>
                          <a:pt x="164" y="157"/>
                        </a:lnTo>
                        <a:lnTo>
                          <a:pt x="171" y="161"/>
                        </a:lnTo>
                        <a:lnTo>
                          <a:pt x="192" y="157"/>
                        </a:lnTo>
                        <a:lnTo>
                          <a:pt x="199" y="156"/>
                        </a:lnTo>
                        <a:lnTo>
                          <a:pt x="202" y="156"/>
                        </a:lnTo>
                        <a:lnTo>
                          <a:pt x="202" y="156"/>
                        </a:lnTo>
                        <a:lnTo>
                          <a:pt x="206" y="154"/>
                        </a:lnTo>
                        <a:lnTo>
                          <a:pt x="207" y="151"/>
                        </a:lnTo>
                        <a:lnTo>
                          <a:pt x="217" y="141"/>
                        </a:lnTo>
                        <a:lnTo>
                          <a:pt x="220" y="139"/>
                        </a:lnTo>
                        <a:lnTo>
                          <a:pt x="230" y="142"/>
                        </a:lnTo>
                        <a:lnTo>
                          <a:pt x="235" y="146"/>
                        </a:lnTo>
                        <a:lnTo>
                          <a:pt x="244" y="144"/>
                        </a:lnTo>
                        <a:lnTo>
                          <a:pt x="244" y="142"/>
                        </a:lnTo>
                        <a:lnTo>
                          <a:pt x="249" y="139"/>
                        </a:lnTo>
                        <a:lnTo>
                          <a:pt x="254" y="139"/>
                        </a:lnTo>
                        <a:lnTo>
                          <a:pt x="254" y="142"/>
                        </a:lnTo>
                        <a:lnTo>
                          <a:pt x="250" y="147"/>
                        </a:lnTo>
                        <a:lnTo>
                          <a:pt x="245" y="151"/>
                        </a:lnTo>
                        <a:lnTo>
                          <a:pt x="245" y="154"/>
                        </a:lnTo>
                        <a:lnTo>
                          <a:pt x="250" y="159"/>
                        </a:lnTo>
                        <a:lnTo>
                          <a:pt x="249" y="161"/>
                        </a:lnTo>
                        <a:lnTo>
                          <a:pt x="254" y="162"/>
                        </a:lnTo>
                        <a:lnTo>
                          <a:pt x="259" y="161"/>
                        </a:lnTo>
                        <a:lnTo>
                          <a:pt x="264" y="159"/>
                        </a:lnTo>
                        <a:lnTo>
                          <a:pt x="264" y="156"/>
                        </a:lnTo>
                        <a:lnTo>
                          <a:pt x="265" y="152"/>
                        </a:lnTo>
                        <a:lnTo>
                          <a:pt x="267" y="146"/>
                        </a:lnTo>
                        <a:lnTo>
                          <a:pt x="267" y="141"/>
                        </a:lnTo>
                        <a:lnTo>
                          <a:pt x="275" y="142"/>
                        </a:lnTo>
                        <a:lnTo>
                          <a:pt x="279" y="144"/>
                        </a:lnTo>
                        <a:lnTo>
                          <a:pt x="290" y="139"/>
                        </a:lnTo>
                        <a:lnTo>
                          <a:pt x="294" y="139"/>
                        </a:lnTo>
                        <a:lnTo>
                          <a:pt x="297" y="137"/>
                        </a:lnTo>
                        <a:lnTo>
                          <a:pt x="310" y="136"/>
                        </a:lnTo>
                        <a:lnTo>
                          <a:pt x="313" y="137"/>
                        </a:lnTo>
                        <a:lnTo>
                          <a:pt x="317" y="139"/>
                        </a:lnTo>
                        <a:lnTo>
                          <a:pt x="323" y="141"/>
                        </a:lnTo>
                        <a:lnTo>
                          <a:pt x="335" y="141"/>
                        </a:lnTo>
                        <a:lnTo>
                          <a:pt x="337" y="139"/>
                        </a:lnTo>
                        <a:lnTo>
                          <a:pt x="342" y="137"/>
                        </a:lnTo>
                        <a:lnTo>
                          <a:pt x="347" y="134"/>
                        </a:lnTo>
                        <a:lnTo>
                          <a:pt x="355" y="132"/>
                        </a:lnTo>
                        <a:lnTo>
                          <a:pt x="362" y="132"/>
                        </a:lnTo>
                        <a:lnTo>
                          <a:pt x="365" y="131"/>
                        </a:lnTo>
                        <a:lnTo>
                          <a:pt x="378" y="132"/>
                        </a:lnTo>
                        <a:lnTo>
                          <a:pt x="387" y="129"/>
                        </a:lnTo>
                        <a:lnTo>
                          <a:pt x="395" y="129"/>
                        </a:lnTo>
                        <a:lnTo>
                          <a:pt x="397" y="131"/>
                        </a:lnTo>
                        <a:lnTo>
                          <a:pt x="403" y="126"/>
                        </a:lnTo>
                        <a:lnTo>
                          <a:pt x="408" y="126"/>
                        </a:lnTo>
                        <a:lnTo>
                          <a:pt x="411" y="124"/>
                        </a:lnTo>
                        <a:lnTo>
                          <a:pt x="421" y="124"/>
                        </a:lnTo>
                        <a:lnTo>
                          <a:pt x="430" y="126"/>
                        </a:lnTo>
                        <a:lnTo>
                          <a:pt x="435" y="124"/>
                        </a:lnTo>
                        <a:lnTo>
                          <a:pt x="438" y="126"/>
                        </a:lnTo>
                        <a:lnTo>
                          <a:pt x="438" y="129"/>
                        </a:lnTo>
                        <a:lnTo>
                          <a:pt x="443" y="131"/>
                        </a:lnTo>
                        <a:lnTo>
                          <a:pt x="448" y="131"/>
                        </a:lnTo>
                        <a:lnTo>
                          <a:pt x="450" y="126"/>
                        </a:lnTo>
                        <a:lnTo>
                          <a:pt x="446" y="121"/>
                        </a:lnTo>
                        <a:lnTo>
                          <a:pt x="441" y="113"/>
                        </a:lnTo>
                        <a:lnTo>
                          <a:pt x="435" y="111"/>
                        </a:lnTo>
                        <a:lnTo>
                          <a:pt x="436" y="108"/>
                        </a:lnTo>
                        <a:lnTo>
                          <a:pt x="435" y="103"/>
                        </a:lnTo>
                        <a:lnTo>
                          <a:pt x="438" y="96"/>
                        </a:lnTo>
                        <a:lnTo>
                          <a:pt x="436" y="93"/>
                        </a:lnTo>
                        <a:lnTo>
                          <a:pt x="431" y="93"/>
                        </a:lnTo>
                        <a:lnTo>
                          <a:pt x="431" y="86"/>
                        </a:lnTo>
                        <a:lnTo>
                          <a:pt x="431" y="81"/>
                        </a:lnTo>
                        <a:lnTo>
                          <a:pt x="430" y="73"/>
                        </a:lnTo>
                        <a:lnTo>
                          <a:pt x="426" y="69"/>
                        </a:lnTo>
                        <a:lnTo>
                          <a:pt x="426" y="68"/>
                        </a:lnTo>
                        <a:lnTo>
                          <a:pt x="433" y="66"/>
                        </a:lnTo>
                        <a:lnTo>
                          <a:pt x="436" y="61"/>
                        </a:lnTo>
                        <a:lnTo>
                          <a:pt x="438" y="59"/>
                        </a:lnTo>
                        <a:lnTo>
                          <a:pt x="436" y="54"/>
                        </a:lnTo>
                        <a:lnTo>
                          <a:pt x="431" y="51"/>
                        </a:lnTo>
                        <a:lnTo>
                          <a:pt x="426" y="51"/>
                        </a:lnTo>
                        <a:lnTo>
                          <a:pt x="420" y="51"/>
                        </a:lnTo>
                        <a:lnTo>
                          <a:pt x="413" y="48"/>
                        </a:lnTo>
                        <a:lnTo>
                          <a:pt x="413" y="38"/>
                        </a:lnTo>
                        <a:lnTo>
                          <a:pt x="413" y="31"/>
                        </a:lnTo>
                        <a:lnTo>
                          <a:pt x="411" y="26"/>
                        </a:lnTo>
                        <a:lnTo>
                          <a:pt x="407" y="26"/>
                        </a:lnTo>
                        <a:lnTo>
                          <a:pt x="407" y="23"/>
                        </a:lnTo>
                        <a:lnTo>
                          <a:pt x="403" y="20"/>
                        </a:lnTo>
                        <a:lnTo>
                          <a:pt x="398" y="18"/>
                        </a:lnTo>
                        <a:lnTo>
                          <a:pt x="388" y="11"/>
                        </a:lnTo>
                        <a:lnTo>
                          <a:pt x="383" y="10"/>
                        </a:lnTo>
                        <a:lnTo>
                          <a:pt x="380" y="13"/>
                        </a:lnTo>
                        <a:lnTo>
                          <a:pt x="378" y="13"/>
                        </a:lnTo>
                        <a:lnTo>
                          <a:pt x="372" y="11"/>
                        </a:lnTo>
                        <a:lnTo>
                          <a:pt x="368" y="13"/>
                        </a:lnTo>
                        <a:lnTo>
                          <a:pt x="367" y="13"/>
                        </a:lnTo>
                        <a:lnTo>
                          <a:pt x="365" y="8"/>
                        </a:lnTo>
                        <a:lnTo>
                          <a:pt x="362" y="8"/>
                        </a:lnTo>
                        <a:lnTo>
                          <a:pt x="362" y="8"/>
                        </a:lnTo>
                        <a:close/>
                        <a:moveTo>
                          <a:pt x="53" y="151"/>
                        </a:moveTo>
                        <a:lnTo>
                          <a:pt x="54" y="149"/>
                        </a:lnTo>
                        <a:lnTo>
                          <a:pt x="58" y="149"/>
                        </a:lnTo>
                        <a:lnTo>
                          <a:pt x="58" y="151"/>
                        </a:lnTo>
                        <a:lnTo>
                          <a:pt x="56" y="151"/>
                        </a:lnTo>
                        <a:lnTo>
                          <a:pt x="53" y="151"/>
                        </a:lnTo>
                        <a:lnTo>
                          <a:pt x="53" y="151"/>
                        </a:lnTo>
                        <a:close/>
                        <a:moveTo>
                          <a:pt x="0" y="53"/>
                        </a:moveTo>
                        <a:lnTo>
                          <a:pt x="3" y="53"/>
                        </a:lnTo>
                        <a:lnTo>
                          <a:pt x="8" y="53"/>
                        </a:lnTo>
                        <a:lnTo>
                          <a:pt x="10" y="49"/>
                        </a:lnTo>
                        <a:lnTo>
                          <a:pt x="6" y="49"/>
                        </a:lnTo>
                        <a:lnTo>
                          <a:pt x="5" y="51"/>
                        </a:lnTo>
                        <a:lnTo>
                          <a:pt x="1" y="51"/>
                        </a:lnTo>
                        <a:lnTo>
                          <a:pt x="0" y="53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56" name="Google Shape;3103;p98">
                    <a:extLst>
                      <a:ext uri="{FF2B5EF4-FFF2-40B4-BE49-F238E27FC236}">
                        <a16:creationId xmlns:a16="http://schemas.microsoft.com/office/drawing/2014/main" id="{7324E8A5-0D66-DA21-69A0-06FDC4E24F93}"/>
                      </a:ext>
                    </a:extLst>
                  </p:cNvPr>
                  <p:cNvSpPr/>
                  <p:nvPr/>
                </p:nvSpPr>
                <p:spPr>
                  <a:xfrm>
                    <a:off x="6156014" y="2358712"/>
                    <a:ext cx="114516" cy="6329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14" h="123" extrusionOk="0">
                        <a:moveTo>
                          <a:pt x="75" y="123"/>
                        </a:moveTo>
                        <a:lnTo>
                          <a:pt x="73" y="119"/>
                        </a:lnTo>
                        <a:lnTo>
                          <a:pt x="75" y="118"/>
                        </a:lnTo>
                        <a:lnTo>
                          <a:pt x="77" y="116"/>
                        </a:lnTo>
                        <a:lnTo>
                          <a:pt x="78" y="121"/>
                        </a:lnTo>
                        <a:lnTo>
                          <a:pt x="75" y="123"/>
                        </a:lnTo>
                        <a:lnTo>
                          <a:pt x="75" y="123"/>
                        </a:lnTo>
                        <a:close/>
                        <a:moveTo>
                          <a:pt x="63" y="104"/>
                        </a:moveTo>
                        <a:lnTo>
                          <a:pt x="68" y="103"/>
                        </a:lnTo>
                        <a:lnTo>
                          <a:pt x="68" y="106"/>
                        </a:lnTo>
                        <a:lnTo>
                          <a:pt x="73" y="111"/>
                        </a:lnTo>
                        <a:lnTo>
                          <a:pt x="78" y="113"/>
                        </a:lnTo>
                        <a:lnTo>
                          <a:pt x="82" y="111"/>
                        </a:lnTo>
                        <a:lnTo>
                          <a:pt x="87" y="111"/>
                        </a:lnTo>
                        <a:lnTo>
                          <a:pt x="93" y="118"/>
                        </a:lnTo>
                        <a:lnTo>
                          <a:pt x="103" y="118"/>
                        </a:lnTo>
                        <a:lnTo>
                          <a:pt x="108" y="119"/>
                        </a:lnTo>
                        <a:lnTo>
                          <a:pt x="115" y="118"/>
                        </a:lnTo>
                        <a:lnTo>
                          <a:pt x="113" y="113"/>
                        </a:lnTo>
                        <a:lnTo>
                          <a:pt x="115" y="109"/>
                        </a:lnTo>
                        <a:lnTo>
                          <a:pt x="116" y="113"/>
                        </a:lnTo>
                        <a:lnTo>
                          <a:pt x="121" y="114"/>
                        </a:lnTo>
                        <a:lnTo>
                          <a:pt x="126" y="109"/>
                        </a:lnTo>
                        <a:lnTo>
                          <a:pt x="126" y="104"/>
                        </a:lnTo>
                        <a:lnTo>
                          <a:pt x="133" y="103"/>
                        </a:lnTo>
                        <a:lnTo>
                          <a:pt x="131" y="106"/>
                        </a:lnTo>
                        <a:lnTo>
                          <a:pt x="133" y="108"/>
                        </a:lnTo>
                        <a:lnTo>
                          <a:pt x="135" y="106"/>
                        </a:lnTo>
                        <a:lnTo>
                          <a:pt x="138" y="106"/>
                        </a:lnTo>
                        <a:lnTo>
                          <a:pt x="143" y="100"/>
                        </a:lnTo>
                        <a:lnTo>
                          <a:pt x="145" y="101"/>
                        </a:lnTo>
                        <a:lnTo>
                          <a:pt x="146" y="101"/>
                        </a:lnTo>
                        <a:lnTo>
                          <a:pt x="151" y="101"/>
                        </a:lnTo>
                        <a:lnTo>
                          <a:pt x="151" y="103"/>
                        </a:lnTo>
                        <a:lnTo>
                          <a:pt x="153" y="101"/>
                        </a:lnTo>
                        <a:lnTo>
                          <a:pt x="163" y="93"/>
                        </a:lnTo>
                        <a:lnTo>
                          <a:pt x="166" y="88"/>
                        </a:lnTo>
                        <a:lnTo>
                          <a:pt x="178" y="86"/>
                        </a:lnTo>
                        <a:lnTo>
                          <a:pt x="181" y="83"/>
                        </a:lnTo>
                        <a:lnTo>
                          <a:pt x="180" y="81"/>
                        </a:lnTo>
                        <a:lnTo>
                          <a:pt x="181" y="80"/>
                        </a:lnTo>
                        <a:lnTo>
                          <a:pt x="183" y="80"/>
                        </a:lnTo>
                        <a:lnTo>
                          <a:pt x="185" y="83"/>
                        </a:lnTo>
                        <a:lnTo>
                          <a:pt x="190" y="85"/>
                        </a:lnTo>
                        <a:lnTo>
                          <a:pt x="193" y="81"/>
                        </a:lnTo>
                        <a:lnTo>
                          <a:pt x="194" y="78"/>
                        </a:lnTo>
                        <a:lnTo>
                          <a:pt x="193" y="76"/>
                        </a:lnTo>
                        <a:lnTo>
                          <a:pt x="193" y="73"/>
                        </a:lnTo>
                        <a:lnTo>
                          <a:pt x="196" y="73"/>
                        </a:lnTo>
                        <a:lnTo>
                          <a:pt x="194" y="68"/>
                        </a:lnTo>
                        <a:lnTo>
                          <a:pt x="196" y="66"/>
                        </a:lnTo>
                        <a:lnTo>
                          <a:pt x="199" y="68"/>
                        </a:lnTo>
                        <a:lnTo>
                          <a:pt x="201" y="71"/>
                        </a:lnTo>
                        <a:lnTo>
                          <a:pt x="204" y="71"/>
                        </a:lnTo>
                        <a:lnTo>
                          <a:pt x="208" y="66"/>
                        </a:lnTo>
                        <a:lnTo>
                          <a:pt x="206" y="63"/>
                        </a:lnTo>
                        <a:lnTo>
                          <a:pt x="201" y="58"/>
                        </a:lnTo>
                        <a:lnTo>
                          <a:pt x="201" y="55"/>
                        </a:lnTo>
                        <a:lnTo>
                          <a:pt x="204" y="51"/>
                        </a:lnTo>
                        <a:lnTo>
                          <a:pt x="203" y="48"/>
                        </a:lnTo>
                        <a:lnTo>
                          <a:pt x="208" y="46"/>
                        </a:lnTo>
                        <a:lnTo>
                          <a:pt x="211" y="46"/>
                        </a:lnTo>
                        <a:lnTo>
                          <a:pt x="214" y="43"/>
                        </a:lnTo>
                        <a:lnTo>
                          <a:pt x="209" y="40"/>
                        </a:lnTo>
                        <a:lnTo>
                          <a:pt x="199" y="38"/>
                        </a:lnTo>
                        <a:lnTo>
                          <a:pt x="198" y="41"/>
                        </a:lnTo>
                        <a:lnTo>
                          <a:pt x="199" y="36"/>
                        </a:lnTo>
                        <a:lnTo>
                          <a:pt x="199" y="33"/>
                        </a:lnTo>
                        <a:lnTo>
                          <a:pt x="193" y="33"/>
                        </a:lnTo>
                        <a:lnTo>
                          <a:pt x="193" y="35"/>
                        </a:lnTo>
                        <a:lnTo>
                          <a:pt x="191" y="30"/>
                        </a:lnTo>
                        <a:lnTo>
                          <a:pt x="194" y="26"/>
                        </a:lnTo>
                        <a:lnTo>
                          <a:pt x="198" y="25"/>
                        </a:lnTo>
                        <a:lnTo>
                          <a:pt x="196" y="20"/>
                        </a:lnTo>
                        <a:lnTo>
                          <a:pt x="194" y="18"/>
                        </a:lnTo>
                        <a:lnTo>
                          <a:pt x="191" y="21"/>
                        </a:lnTo>
                        <a:lnTo>
                          <a:pt x="188" y="20"/>
                        </a:lnTo>
                        <a:lnTo>
                          <a:pt x="185" y="15"/>
                        </a:lnTo>
                        <a:lnTo>
                          <a:pt x="190" y="13"/>
                        </a:lnTo>
                        <a:lnTo>
                          <a:pt x="190" y="10"/>
                        </a:lnTo>
                        <a:lnTo>
                          <a:pt x="193" y="8"/>
                        </a:lnTo>
                        <a:lnTo>
                          <a:pt x="196" y="8"/>
                        </a:lnTo>
                        <a:lnTo>
                          <a:pt x="191" y="5"/>
                        </a:lnTo>
                        <a:lnTo>
                          <a:pt x="188" y="6"/>
                        </a:lnTo>
                        <a:lnTo>
                          <a:pt x="181" y="13"/>
                        </a:lnTo>
                        <a:lnTo>
                          <a:pt x="180" y="16"/>
                        </a:lnTo>
                        <a:lnTo>
                          <a:pt x="176" y="16"/>
                        </a:lnTo>
                        <a:lnTo>
                          <a:pt x="173" y="13"/>
                        </a:lnTo>
                        <a:lnTo>
                          <a:pt x="175" y="10"/>
                        </a:lnTo>
                        <a:lnTo>
                          <a:pt x="173" y="8"/>
                        </a:lnTo>
                        <a:lnTo>
                          <a:pt x="171" y="5"/>
                        </a:lnTo>
                        <a:lnTo>
                          <a:pt x="168" y="3"/>
                        </a:lnTo>
                        <a:lnTo>
                          <a:pt x="163" y="5"/>
                        </a:lnTo>
                        <a:lnTo>
                          <a:pt x="161" y="3"/>
                        </a:lnTo>
                        <a:lnTo>
                          <a:pt x="158" y="8"/>
                        </a:lnTo>
                        <a:lnTo>
                          <a:pt x="161" y="11"/>
                        </a:lnTo>
                        <a:lnTo>
                          <a:pt x="158" y="15"/>
                        </a:lnTo>
                        <a:lnTo>
                          <a:pt x="155" y="15"/>
                        </a:lnTo>
                        <a:lnTo>
                          <a:pt x="150" y="16"/>
                        </a:lnTo>
                        <a:lnTo>
                          <a:pt x="150" y="13"/>
                        </a:lnTo>
                        <a:lnTo>
                          <a:pt x="146" y="11"/>
                        </a:lnTo>
                        <a:lnTo>
                          <a:pt x="143" y="15"/>
                        </a:lnTo>
                        <a:lnTo>
                          <a:pt x="141" y="21"/>
                        </a:lnTo>
                        <a:lnTo>
                          <a:pt x="136" y="21"/>
                        </a:lnTo>
                        <a:lnTo>
                          <a:pt x="131" y="13"/>
                        </a:lnTo>
                        <a:lnTo>
                          <a:pt x="128" y="15"/>
                        </a:lnTo>
                        <a:lnTo>
                          <a:pt x="126" y="13"/>
                        </a:lnTo>
                        <a:lnTo>
                          <a:pt x="123" y="13"/>
                        </a:lnTo>
                        <a:lnTo>
                          <a:pt x="121" y="21"/>
                        </a:lnTo>
                        <a:lnTo>
                          <a:pt x="126" y="28"/>
                        </a:lnTo>
                        <a:lnTo>
                          <a:pt x="121" y="40"/>
                        </a:lnTo>
                        <a:lnTo>
                          <a:pt x="123" y="30"/>
                        </a:lnTo>
                        <a:lnTo>
                          <a:pt x="118" y="23"/>
                        </a:lnTo>
                        <a:lnTo>
                          <a:pt x="118" y="20"/>
                        </a:lnTo>
                        <a:lnTo>
                          <a:pt x="116" y="18"/>
                        </a:lnTo>
                        <a:lnTo>
                          <a:pt x="116" y="15"/>
                        </a:lnTo>
                        <a:lnTo>
                          <a:pt x="111" y="11"/>
                        </a:lnTo>
                        <a:lnTo>
                          <a:pt x="101" y="16"/>
                        </a:lnTo>
                        <a:lnTo>
                          <a:pt x="101" y="21"/>
                        </a:lnTo>
                        <a:lnTo>
                          <a:pt x="103" y="25"/>
                        </a:lnTo>
                        <a:lnTo>
                          <a:pt x="98" y="31"/>
                        </a:lnTo>
                        <a:lnTo>
                          <a:pt x="95" y="31"/>
                        </a:lnTo>
                        <a:lnTo>
                          <a:pt x="95" y="25"/>
                        </a:lnTo>
                        <a:lnTo>
                          <a:pt x="92" y="23"/>
                        </a:lnTo>
                        <a:lnTo>
                          <a:pt x="90" y="15"/>
                        </a:lnTo>
                        <a:lnTo>
                          <a:pt x="87" y="11"/>
                        </a:lnTo>
                        <a:lnTo>
                          <a:pt x="82" y="16"/>
                        </a:lnTo>
                        <a:lnTo>
                          <a:pt x="82" y="26"/>
                        </a:lnTo>
                        <a:lnTo>
                          <a:pt x="85" y="30"/>
                        </a:lnTo>
                        <a:lnTo>
                          <a:pt x="83" y="36"/>
                        </a:lnTo>
                        <a:lnTo>
                          <a:pt x="82" y="40"/>
                        </a:lnTo>
                        <a:lnTo>
                          <a:pt x="77" y="40"/>
                        </a:lnTo>
                        <a:lnTo>
                          <a:pt x="77" y="35"/>
                        </a:lnTo>
                        <a:lnTo>
                          <a:pt x="72" y="38"/>
                        </a:lnTo>
                        <a:lnTo>
                          <a:pt x="70" y="43"/>
                        </a:lnTo>
                        <a:lnTo>
                          <a:pt x="67" y="45"/>
                        </a:lnTo>
                        <a:lnTo>
                          <a:pt x="67" y="51"/>
                        </a:lnTo>
                        <a:lnTo>
                          <a:pt x="63" y="45"/>
                        </a:lnTo>
                        <a:lnTo>
                          <a:pt x="60" y="45"/>
                        </a:lnTo>
                        <a:lnTo>
                          <a:pt x="60" y="41"/>
                        </a:lnTo>
                        <a:lnTo>
                          <a:pt x="63" y="36"/>
                        </a:lnTo>
                        <a:lnTo>
                          <a:pt x="63" y="33"/>
                        </a:lnTo>
                        <a:lnTo>
                          <a:pt x="58" y="33"/>
                        </a:lnTo>
                        <a:lnTo>
                          <a:pt x="62" y="30"/>
                        </a:lnTo>
                        <a:lnTo>
                          <a:pt x="58" y="25"/>
                        </a:lnTo>
                        <a:lnTo>
                          <a:pt x="62" y="28"/>
                        </a:lnTo>
                        <a:lnTo>
                          <a:pt x="65" y="23"/>
                        </a:lnTo>
                        <a:lnTo>
                          <a:pt x="65" y="21"/>
                        </a:lnTo>
                        <a:lnTo>
                          <a:pt x="60" y="20"/>
                        </a:lnTo>
                        <a:lnTo>
                          <a:pt x="63" y="16"/>
                        </a:lnTo>
                        <a:lnTo>
                          <a:pt x="60" y="13"/>
                        </a:lnTo>
                        <a:lnTo>
                          <a:pt x="58" y="15"/>
                        </a:lnTo>
                        <a:lnTo>
                          <a:pt x="55" y="11"/>
                        </a:lnTo>
                        <a:lnTo>
                          <a:pt x="50" y="8"/>
                        </a:lnTo>
                        <a:lnTo>
                          <a:pt x="50" y="5"/>
                        </a:lnTo>
                        <a:lnTo>
                          <a:pt x="47" y="1"/>
                        </a:lnTo>
                        <a:lnTo>
                          <a:pt x="42" y="1"/>
                        </a:lnTo>
                        <a:lnTo>
                          <a:pt x="37" y="0"/>
                        </a:lnTo>
                        <a:lnTo>
                          <a:pt x="30" y="1"/>
                        </a:lnTo>
                        <a:lnTo>
                          <a:pt x="30" y="3"/>
                        </a:lnTo>
                        <a:lnTo>
                          <a:pt x="32" y="5"/>
                        </a:lnTo>
                        <a:lnTo>
                          <a:pt x="35" y="5"/>
                        </a:lnTo>
                        <a:lnTo>
                          <a:pt x="35" y="3"/>
                        </a:lnTo>
                        <a:lnTo>
                          <a:pt x="38" y="3"/>
                        </a:lnTo>
                        <a:lnTo>
                          <a:pt x="42" y="5"/>
                        </a:lnTo>
                        <a:lnTo>
                          <a:pt x="45" y="6"/>
                        </a:lnTo>
                        <a:lnTo>
                          <a:pt x="43" y="8"/>
                        </a:lnTo>
                        <a:lnTo>
                          <a:pt x="38" y="6"/>
                        </a:lnTo>
                        <a:lnTo>
                          <a:pt x="35" y="8"/>
                        </a:lnTo>
                        <a:lnTo>
                          <a:pt x="35" y="8"/>
                        </a:lnTo>
                        <a:lnTo>
                          <a:pt x="42" y="13"/>
                        </a:lnTo>
                        <a:lnTo>
                          <a:pt x="47" y="18"/>
                        </a:lnTo>
                        <a:lnTo>
                          <a:pt x="45" y="20"/>
                        </a:lnTo>
                        <a:lnTo>
                          <a:pt x="43" y="21"/>
                        </a:lnTo>
                        <a:lnTo>
                          <a:pt x="43" y="18"/>
                        </a:lnTo>
                        <a:lnTo>
                          <a:pt x="38" y="15"/>
                        </a:lnTo>
                        <a:lnTo>
                          <a:pt x="35" y="18"/>
                        </a:lnTo>
                        <a:lnTo>
                          <a:pt x="32" y="16"/>
                        </a:lnTo>
                        <a:lnTo>
                          <a:pt x="33" y="15"/>
                        </a:lnTo>
                        <a:lnTo>
                          <a:pt x="30" y="10"/>
                        </a:lnTo>
                        <a:lnTo>
                          <a:pt x="25" y="8"/>
                        </a:lnTo>
                        <a:lnTo>
                          <a:pt x="22" y="10"/>
                        </a:lnTo>
                        <a:lnTo>
                          <a:pt x="25" y="15"/>
                        </a:lnTo>
                        <a:lnTo>
                          <a:pt x="23" y="16"/>
                        </a:lnTo>
                        <a:lnTo>
                          <a:pt x="20" y="13"/>
                        </a:lnTo>
                        <a:lnTo>
                          <a:pt x="17" y="11"/>
                        </a:lnTo>
                        <a:lnTo>
                          <a:pt x="15" y="15"/>
                        </a:lnTo>
                        <a:lnTo>
                          <a:pt x="18" y="18"/>
                        </a:lnTo>
                        <a:lnTo>
                          <a:pt x="22" y="18"/>
                        </a:lnTo>
                        <a:lnTo>
                          <a:pt x="23" y="21"/>
                        </a:lnTo>
                        <a:lnTo>
                          <a:pt x="18" y="20"/>
                        </a:lnTo>
                        <a:lnTo>
                          <a:pt x="13" y="21"/>
                        </a:lnTo>
                        <a:lnTo>
                          <a:pt x="17" y="25"/>
                        </a:lnTo>
                        <a:lnTo>
                          <a:pt x="23" y="26"/>
                        </a:lnTo>
                        <a:lnTo>
                          <a:pt x="20" y="26"/>
                        </a:lnTo>
                        <a:lnTo>
                          <a:pt x="18" y="28"/>
                        </a:lnTo>
                        <a:lnTo>
                          <a:pt x="20" y="30"/>
                        </a:lnTo>
                        <a:lnTo>
                          <a:pt x="18" y="30"/>
                        </a:lnTo>
                        <a:lnTo>
                          <a:pt x="12" y="25"/>
                        </a:lnTo>
                        <a:lnTo>
                          <a:pt x="10" y="25"/>
                        </a:lnTo>
                        <a:lnTo>
                          <a:pt x="7" y="26"/>
                        </a:lnTo>
                        <a:lnTo>
                          <a:pt x="10" y="31"/>
                        </a:lnTo>
                        <a:lnTo>
                          <a:pt x="12" y="35"/>
                        </a:lnTo>
                        <a:lnTo>
                          <a:pt x="10" y="35"/>
                        </a:lnTo>
                        <a:lnTo>
                          <a:pt x="7" y="30"/>
                        </a:lnTo>
                        <a:lnTo>
                          <a:pt x="2" y="30"/>
                        </a:lnTo>
                        <a:lnTo>
                          <a:pt x="0" y="33"/>
                        </a:lnTo>
                        <a:lnTo>
                          <a:pt x="5" y="35"/>
                        </a:lnTo>
                        <a:lnTo>
                          <a:pt x="8" y="40"/>
                        </a:lnTo>
                        <a:lnTo>
                          <a:pt x="15" y="40"/>
                        </a:lnTo>
                        <a:lnTo>
                          <a:pt x="17" y="36"/>
                        </a:lnTo>
                        <a:lnTo>
                          <a:pt x="23" y="35"/>
                        </a:lnTo>
                        <a:lnTo>
                          <a:pt x="25" y="31"/>
                        </a:lnTo>
                        <a:lnTo>
                          <a:pt x="27" y="33"/>
                        </a:lnTo>
                        <a:lnTo>
                          <a:pt x="27" y="35"/>
                        </a:lnTo>
                        <a:lnTo>
                          <a:pt x="30" y="35"/>
                        </a:lnTo>
                        <a:lnTo>
                          <a:pt x="32" y="33"/>
                        </a:lnTo>
                        <a:lnTo>
                          <a:pt x="33" y="38"/>
                        </a:lnTo>
                        <a:lnTo>
                          <a:pt x="35" y="38"/>
                        </a:lnTo>
                        <a:lnTo>
                          <a:pt x="38" y="35"/>
                        </a:lnTo>
                        <a:lnTo>
                          <a:pt x="40" y="33"/>
                        </a:lnTo>
                        <a:lnTo>
                          <a:pt x="40" y="36"/>
                        </a:lnTo>
                        <a:lnTo>
                          <a:pt x="42" y="36"/>
                        </a:lnTo>
                        <a:lnTo>
                          <a:pt x="47" y="33"/>
                        </a:lnTo>
                        <a:lnTo>
                          <a:pt x="47" y="35"/>
                        </a:lnTo>
                        <a:lnTo>
                          <a:pt x="45" y="38"/>
                        </a:lnTo>
                        <a:lnTo>
                          <a:pt x="47" y="40"/>
                        </a:lnTo>
                        <a:lnTo>
                          <a:pt x="50" y="38"/>
                        </a:lnTo>
                        <a:lnTo>
                          <a:pt x="55" y="41"/>
                        </a:lnTo>
                        <a:lnTo>
                          <a:pt x="53" y="41"/>
                        </a:lnTo>
                        <a:lnTo>
                          <a:pt x="50" y="41"/>
                        </a:lnTo>
                        <a:lnTo>
                          <a:pt x="47" y="45"/>
                        </a:lnTo>
                        <a:lnTo>
                          <a:pt x="43" y="45"/>
                        </a:lnTo>
                        <a:lnTo>
                          <a:pt x="37" y="46"/>
                        </a:lnTo>
                        <a:lnTo>
                          <a:pt x="37" y="48"/>
                        </a:lnTo>
                        <a:lnTo>
                          <a:pt x="43" y="50"/>
                        </a:lnTo>
                        <a:lnTo>
                          <a:pt x="48" y="50"/>
                        </a:lnTo>
                        <a:lnTo>
                          <a:pt x="50" y="46"/>
                        </a:lnTo>
                        <a:lnTo>
                          <a:pt x="53" y="46"/>
                        </a:lnTo>
                        <a:lnTo>
                          <a:pt x="53" y="50"/>
                        </a:lnTo>
                        <a:lnTo>
                          <a:pt x="50" y="53"/>
                        </a:lnTo>
                        <a:lnTo>
                          <a:pt x="42" y="55"/>
                        </a:lnTo>
                        <a:lnTo>
                          <a:pt x="38" y="53"/>
                        </a:lnTo>
                        <a:lnTo>
                          <a:pt x="35" y="56"/>
                        </a:lnTo>
                        <a:lnTo>
                          <a:pt x="33" y="55"/>
                        </a:lnTo>
                        <a:lnTo>
                          <a:pt x="32" y="53"/>
                        </a:lnTo>
                        <a:lnTo>
                          <a:pt x="32" y="51"/>
                        </a:lnTo>
                        <a:lnTo>
                          <a:pt x="28" y="51"/>
                        </a:lnTo>
                        <a:lnTo>
                          <a:pt x="28" y="51"/>
                        </a:lnTo>
                        <a:lnTo>
                          <a:pt x="30" y="53"/>
                        </a:lnTo>
                        <a:lnTo>
                          <a:pt x="25" y="56"/>
                        </a:lnTo>
                        <a:lnTo>
                          <a:pt x="23" y="55"/>
                        </a:lnTo>
                        <a:lnTo>
                          <a:pt x="18" y="55"/>
                        </a:lnTo>
                        <a:lnTo>
                          <a:pt x="15" y="56"/>
                        </a:lnTo>
                        <a:lnTo>
                          <a:pt x="10" y="55"/>
                        </a:lnTo>
                        <a:lnTo>
                          <a:pt x="7" y="56"/>
                        </a:lnTo>
                        <a:lnTo>
                          <a:pt x="3" y="56"/>
                        </a:lnTo>
                        <a:lnTo>
                          <a:pt x="7" y="60"/>
                        </a:lnTo>
                        <a:lnTo>
                          <a:pt x="8" y="65"/>
                        </a:lnTo>
                        <a:lnTo>
                          <a:pt x="15" y="65"/>
                        </a:lnTo>
                        <a:lnTo>
                          <a:pt x="15" y="63"/>
                        </a:lnTo>
                        <a:lnTo>
                          <a:pt x="23" y="65"/>
                        </a:lnTo>
                        <a:lnTo>
                          <a:pt x="32" y="65"/>
                        </a:lnTo>
                        <a:lnTo>
                          <a:pt x="38" y="65"/>
                        </a:lnTo>
                        <a:lnTo>
                          <a:pt x="37" y="66"/>
                        </a:lnTo>
                        <a:lnTo>
                          <a:pt x="33" y="70"/>
                        </a:lnTo>
                        <a:lnTo>
                          <a:pt x="33" y="71"/>
                        </a:lnTo>
                        <a:lnTo>
                          <a:pt x="38" y="75"/>
                        </a:lnTo>
                        <a:lnTo>
                          <a:pt x="40" y="76"/>
                        </a:lnTo>
                        <a:lnTo>
                          <a:pt x="42" y="76"/>
                        </a:lnTo>
                        <a:lnTo>
                          <a:pt x="48" y="73"/>
                        </a:lnTo>
                        <a:lnTo>
                          <a:pt x="47" y="75"/>
                        </a:lnTo>
                        <a:lnTo>
                          <a:pt x="43" y="78"/>
                        </a:lnTo>
                        <a:lnTo>
                          <a:pt x="40" y="81"/>
                        </a:lnTo>
                        <a:lnTo>
                          <a:pt x="45" y="85"/>
                        </a:lnTo>
                        <a:lnTo>
                          <a:pt x="50" y="80"/>
                        </a:lnTo>
                        <a:lnTo>
                          <a:pt x="57" y="81"/>
                        </a:lnTo>
                        <a:lnTo>
                          <a:pt x="57" y="83"/>
                        </a:lnTo>
                        <a:lnTo>
                          <a:pt x="53" y="81"/>
                        </a:lnTo>
                        <a:lnTo>
                          <a:pt x="50" y="83"/>
                        </a:lnTo>
                        <a:lnTo>
                          <a:pt x="47" y="86"/>
                        </a:lnTo>
                        <a:lnTo>
                          <a:pt x="42" y="86"/>
                        </a:lnTo>
                        <a:lnTo>
                          <a:pt x="42" y="88"/>
                        </a:lnTo>
                        <a:lnTo>
                          <a:pt x="38" y="91"/>
                        </a:lnTo>
                        <a:lnTo>
                          <a:pt x="37" y="91"/>
                        </a:lnTo>
                        <a:lnTo>
                          <a:pt x="33" y="93"/>
                        </a:lnTo>
                        <a:lnTo>
                          <a:pt x="32" y="90"/>
                        </a:lnTo>
                        <a:lnTo>
                          <a:pt x="28" y="86"/>
                        </a:lnTo>
                        <a:lnTo>
                          <a:pt x="27" y="90"/>
                        </a:lnTo>
                        <a:lnTo>
                          <a:pt x="25" y="90"/>
                        </a:lnTo>
                        <a:lnTo>
                          <a:pt x="27" y="95"/>
                        </a:lnTo>
                        <a:lnTo>
                          <a:pt x="28" y="95"/>
                        </a:lnTo>
                        <a:lnTo>
                          <a:pt x="27" y="96"/>
                        </a:lnTo>
                        <a:lnTo>
                          <a:pt x="27" y="103"/>
                        </a:lnTo>
                        <a:lnTo>
                          <a:pt x="32" y="103"/>
                        </a:lnTo>
                        <a:lnTo>
                          <a:pt x="33" y="101"/>
                        </a:lnTo>
                        <a:lnTo>
                          <a:pt x="38" y="103"/>
                        </a:lnTo>
                        <a:lnTo>
                          <a:pt x="45" y="104"/>
                        </a:lnTo>
                        <a:lnTo>
                          <a:pt x="52" y="101"/>
                        </a:lnTo>
                        <a:lnTo>
                          <a:pt x="57" y="103"/>
                        </a:lnTo>
                        <a:lnTo>
                          <a:pt x="60" y="101"/>
                        </a:lnTo>
                        <a:lnTo>
                          <a:pt x="60" y="103"/>
                        </a:lnTo>
                        <a:lnTo>
                          <a:pt x="63" y="104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</p:grpSp>
            <p:grpSp>
              <p:nvGrpSpPr>
                <p:cNvPr id="517" name="Google Shape;3104;p98">
                  <a:extLst>
                    <a:ext uri="{FF2B5EF4-FFF2-40B4-BE49-F238E27FC236}">
                      <a16:creationId xmlns:a16="http://schemas.microsoft.com/office/drawing/2014/main" id="{5C99210C-F33A-C08B-A62E-28B4D4AFE209}"/>
                    </a:ext>
                  </a:extLst>
                </p:cNvPr>
                <p:cNvGrpSpPr/>
                <p:nvPr/>
              </p:nvGrpSpPr>
              <p:grpSpPr>
                <a:xfrm>
                  <a:off x="4480610" y="1823826"/>
                  <a:ext cx="1840006" cy="1294536"/>
                  <a:chOff x="4480005" y="1824354"/>
                  <a:chExt cx="1839757" cy="1294911"/>
                </a:xfrm>
                <a:grpFill/>
              </p:grpSpPr>
              <p:sp>
                <p:nvSpPr>
                  <p:cNvPr id="600" name="Google Shape;3105;p98">
                    <a:extLst>
                      <a:ext uri="{FF2B5EF4-FFF2-40B4-BE49-F238E27FC236}">
                        <a16:creationId xmlns:a16="http://schemas.microsoft.com/office/drawing/2014/main" id="{61A488FE-EBC2-94B2-01D0-DC5166C4D827}"/>
                      </a:ext>
                    </a:extLst>
                  </p:cNvPr>
                  <p:cNvSpPr/>
                  <p:nvPr/>
                </p:nvSpPr>
                <p:spPr>
                  <a:xfrm>
                    <a:off x="6200965" y="3107851"/>
                    <a:ext cx="40669" cy="1037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76" h="20" extrusionOk="0">
                        <a:moveTo>
                          <a:pt x="2" y="20"/>
                        </a:moveTo>
                        <a:lnTo>
                          <a:pt x="5" y="19"/>
                        </a:lnTo>
                        <a:lnTo>
                          <a:pt x="20" y="19"/>
                        </a:lnTo>
                        <a:lnTo>
                          <a:pt x="23" y="14"/>
                        </a:lnTo>
                        <a:lnTo>
                          <a:pt x="28" y="14"/>
                        </a:lnTo>
                        <a:lnTo>
                          <a:pt x="33" y="10"/>
                        </a:lnTo>
                        <a:lnTo>
                          <a:pt x="36" y="10"/>
                        </a:lnTo>
                        <a:lnTo>
                          <a:pt x="38" y="12"/>
                        </a:lnTo>
                        <a:lnTo>
                          <a:pt x="41" y="9"/>
                        </a:lnTo>
                        <a:lnTo>
                          <a:pt x="45" y="9"/>
                        </a:lnTo>
                        <a:lnTo>
                          <a:pt x="50" y="12"/>
                        </a:lnTo>
                        <a:lnTo>
                          <a:pt x="55" y="12"/>
                        </a:lnTo>
                        <a:lnTo>
                          <a:pt x="61" y="14"/>
                        </a:lnTo>
                        <a:lnTo>
                          <a:pt x="70" y="17"/>
                        </a:lnTo>
                        <a:lnTo>
                          <a:pt x="75" y="17"/>
                        </a:lnTo>
                        <a:lnTo>
                          <a:pt x="76" y="14"/>
                        </a:lnTo>
                        <a:lnTo>
                          <a:pt x="75" y="12"/>
                        </a:lnTo>
                        <a:lnTo>
                          <a:pt x="73" y="12"/>
                        </a:lnTo>
                        <a:lnTo>
                          <a:pt x="61" y="5"/>
                        </a:lnTo>
                        <a:lnTo>
                          <a:pt x="58" y="5"/>
                        </a:lnTo>
                        <a:lnTo>
                          <a:pt x="50" y="2"/>
                        </a:lnTo>
                        <a:lnTo>
                          <a:pt x="43" y="2"/>
                        </a:lnTo>
                        <a:lnTo>
                          <a:pt x="40" y="0"/>
                        </a:lnTo>
                        <a:lnTo>
                          <a:pt x="33" y="2"/>
                        </a:lnTo>
                        <a:lnTo>
                          <a:pt x="25" y="9"/>
                        </a:lnTo>
                        <a:lnTo>
                          <a:pt x="20" y="9"/>
                        </a:lnTo>
                        <a:lnTo>
                          <a:pt x="16" y="10"/>
                        </a:lnTo>
                        <a:lnTo>
                          <a:pt x="7" y="10"/>
                        </a:lnTo>
                        <a:lnTo>
                          <a:pt x="7" y="14"/>
                        </a:lnTo>
                        <a:lnTo>
                          <a:pt x="13" y="15"/>
                        </a:lnTo>
                        <a:lnTo>
                          <a:pt x="18" y="15"/>
                        </a:lnTo>
                        <a:lnTo>
                          <a:pt x="15" y="19"/>
                        </a:lnTo>
                        <a:lnTo>
                          <a:pt x="8" y="19"/>
                        </a:lnTo>
                        <a:lnTo>
                          <a:pt x="3" y="12"/>
                        </a:lnTo>
                        <a:lnTo>
                          <a:pt x="0" y="17"/>
                        </a:lnTo>
                        <a:lnTo>
                          <a:pt x="2" y="19"/>
                        </a:lnTo>
                        <a:lnTo>
                          <a:pt x="2" y="20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01" name="Google Shape;3106;p98">
                    <a:extLst>
                      <a:ext uri="{FF2B5EF4-FFF2-40B4-BE49-F238E27FC236}">
                        <a16:creationId xmlns:a16="http://schemas.microsoft.com/office/drawing/2014/main" id="{3B604064-EA02-6D21-0031-3239AAD3B82C}"/>
                      </a:ext>
                    </a:extLst>
                  </p:cNvPr>
                  <p:cNvSpPr/>
                  <p:nvPr/>
                </p:nvSpPr>
                <p:spPr>
                  <a:xfrm>
                    <a:off x="5558816" y="3053896"/>
                    <a:ext cx="27826" cy="830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1" h="15" extrusionOk="0">
                        <a:moveTo>
                          <a:pt x="41" y="14"/>
                        </a:moveTo>
                        <a:lnTo>
                          <a:pt x="44" y="9"/>
                        </a:lnTo>
                        <a:lnTo>
                          <a:pt x="51" y="10"/>
                        </a:lnTo>
                        <a:lnTo>
                          <a:pt x="49" y="12"/>
                        </a:lnTo>
                        <a:lnTo>
                          <a:pt x="41" y="14"/>
                        </a:lnTo>
                        <a:lnTo>
                          <a:pt x="41" y="14"/>
                        </a:lnTo>
                        <a:close/>
                        <a:moveTo>
                          <a:pt x="36" y="2"/>
                        </a:moveTo>
                        <a:lnTo>
                          <a:pt x="33" y="0"/>
                        </a:lnTo>
                        <a:lnTo>
                          <a:pt x="23" y="2"/>
                        </a:lnTo>
                        <a:lnTo>
                          <a:pt x="5" y="0"/>
                        </a:lnTo>
                        <a:lnTo>
                          <a:pt x="3" y="4"/>
                        </a:lnTo>
                        <a:lnTo>
                          <a:pt x="0" y="5"/>
                        </a:lnTo>
                        <a:lnTo>
                          <a:pt x="0" y="9"/>
                        </a:lnTo>
                        <a:lnTo>
                          <a:pt x="0" y="10"/>
                        </a:lnTo>
                        <a:lnTo>
                          <a:pt x="1" y="14"/>
                        </a:lnTo>
                        <a:lnTo>
                          <a:pt x="13" y="15"/>
                        </a:lnTo>
                        <a:lnTo>
                          <a:pt x="16" y="15"/>
                        </a:lnTo>
                        <a:lnTo>
                          <a:pt x="24" y="14"/>
                        </a:lnTo>
                        <a:lnTo>
                          <a:pt x="28" y="15"/>
                        </a:lnTo>
                        <a:lnTo>
                          <a:pt x="34" y="12"/>
                        </a:lnTo>
                        <a:lnTo>
                          <a:pt x="41" y="5"/>
                        </a:lnTo>
                        <a:lnTo>
                          <a:pt x="38" y="4"/>
                        </a:lnTo>
                        <a:lnTo>
                          <a:pt x="36" y="2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02" name="Google Shape;3107;p98">
                    <a:extLst>
                      <a:ext uri="{FF2B5EF4-FFF2-40B4-BE49-F238E27FC236}">
                        <a16:creationId xmlns:a16="http://schemas.microsoft.com/office/drawing/2014/main" id="{D2ED3A4B-009B-729A-921A-295B7A6733C8}"/>
                      </a:ext>
                    </a:extLst>
                  </p:cNvPr>
                  <p:cNvSpPr/>
                  <p:nvPr/>
                </p:nvSpPr>
                <p:spPr>
                  <a:xfrm>
                    <a:off x="5496741" y="3037295"/>
                    <a:ext cx="50301" cy="2905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5" h="57" extrusionOk="0">
                        <a:moveTo>
                          <a:pt x="85" y="40"/>
                        </a:moveTo>
                        <a:lnTo>
                          <a:pt x="87" y="42"/>
                        </a:lnTo>
                        <a:lnTo>
                          <a:pt x="92" y="42"/>
                        </a:lnTo>
                        <a:lnTo>
                          <a:pt x="88" y="45"/>
                        </a:lnTo>
                        <a:lnTo>
                          <a:pt x="85" y="43"/>
                        </a:lnTo>
                        <a:lnTo>
                          <a:pt x="83" y="40"/>
                        </a:lnTo>
                        <a:lnTo>
                          <a:pt x="85" y="40"/>
                        </a:lnTo>
                        <a:lnTo>
                          <a:pt x="85" y="40"/>
                        </a:lnTo>
                        <a:close/>
                        <a:moveTo>
                          <a:pt x="10" y="5"/>
                        </a:moveTo>
                        <a:lnTo>
                          <a:pt x="12" y="7"/>
                        </a:lnTo>
                        <a:lnTo>
                          <a:pt x="9" y="12"/>
                        </a:lnTo>
                        <a:lnTo>
                          <a:pt x="10" y="15"/>
                        </a:lnTo>
                        <a:lnTo>
                          <a:pt x="10" y="20"/>
                        </a:lnTo>
                        <a:lnTo>
                          <a:pt x="5" y="22"/>
                        </a:lnTo>
                        <a:lnTo>
                          <a:pt x="5" y="23"/>
                        </a:lnTo>
                        <a:lnTo>
                          <a:pt x="7" y="28"/>
                        </a:lnTo>
                        <a:lnTo>
                          <a:pt x="7" y="32"/>
                        </a:lnTo>
                        <a:lnTo>
                          <a:pt x="7" y="35"/>
                        </a:lnTo>
                        <a:lnTo>
                          <a:pt x="0" y="40"/>
                        </a:lnTo>
                        <a:lnTo>
                          <a:pt x="2" y="42"/>
                        </a:lnTo>
                        <a:lnTo>
                          <a:pt x="4" y="42"/>
                        </a:lnTo>
                        <a:lnTo>
                          <a:pt x="7" y="47"/>
                        </a:lnTo>
                        <a:lnTo>
                          <a:pt x="5" y="52"/>
                        </a:lnTo>
                        <a:lnTo>
                          <a:pt x="9" y="53"/>
                        </a:lnTo>
                        <a:lnTo>
                          <a:pt x="10" y="55"/>
                        </a:lnTo>
                        <a:lnTo>
                          <a:pt x="14" y="57"/>
                        </a:lnTo>
                        <a:lnTo>
                          <a:pt x="17" y="50"/>
                        </a:lnTo>
                        <a:lnTo>
                          <a:pt x="22" y="43"/>
                        </a:lnTo>
                        <a:lnTo>
                          <a:pt x="22" y="40"/>
                        </a:lnTo>
                        <a:lnTo>
                          <a:pt x="24" y="37"/>
                        </a:lnTo>
                        <a:lnTo>
                          <a:pt x="27" y="40"/>
                        </a:lnTo>
                        <a:lnTo>
                          <a:pt x="30" y="40"/>
                        </a:lnTo>
                        <a:lnTo>
                          <a:pt x="34" y="35"/>
                        </a:lnTo>
                        <a:lnTo>
                          <a:pt x="37" y="37"/>
                        </a:lnTo>
                        <a:lnTo>
                          <a:pt x="37" y="40"/>
                        </a:lnTo>
                        <a:lnTo>
                          <a:pt x="40" y="42"/>
                        </a:lnTo>
                        <a:lnTo>
                          <a:pt x="47" y="40"/>
                        </a:lnTo>
                        <a:lnTo>
                          <a:pt x="53" y="35"/>
                        </a:lnTo>
                        <a:lnTo>
                          <a:pt x="60" y="35"/>
                        </a:lnTo>
                        <a:lnTo>
                          <a:pt x="67" y="35"/>
                        </a:lnTo>
                        <a:lnTo>
                          <a:pt x="72" y="33"/>
                        </a:lnTo>
                        <a:lnTo>
                          <a:pt x="75" y="37"/>
                        </a:lnTo>
                        <a:lnTo>
                          <a:pt x="82" y="37"/>
                        </a:lnTo>
                        <a:lnTo>
                          <a:pt x="88" y="38"/>
                        </a:lnTo>
                        <a:lnTo>
                          <a:pt x="90" y="35"/>
                        </a:lnTo>
                        <a:lnTo>
                          <a:pt x="92" y="35"/>
                        </a:lnTo>
                        <a:lnTo>
                          <a:pt x="95" y="32"/>
                        </a:lnTo>
                        <a:lnTo>
                          <a:pt x="92" y="28"/>
                        </a:lnTo>
                        <a:lnTo>
                          <a:pt x="83" y="23"/>
                        </a:lnTo>
                        <a:lnTo>
                          <a:pt x="78" y="23"/>
                        </a:lnTo>
                        <a:lnTo>
                          <a:pt x="73" y="22"/>
                        </a:lnTo>
                        <a:lnTo>
                          <a:pt x="68" y="22"/>
                        </a:lnTo>
                        <a:lnTo>
                          <a:pt x="62" y="18"/>
                        </a:lnTo>
                        <a:lnTo>
                          <a:pt x="55" y="15"/>
                        </a:lnTo>
                        <a:lnTo>
                          <a:pt x="52" y="15"/>
                        </a:lnTo>
                        <a:lnTo>
                          <a:pt x="53" y="13"/>
                        </a:lnTo>
                        <a:lnTo>
                          <a:pt x="62" y="15"/>
                        </a:lnTo>
                        <a:lnTo>
                          <a:pt x="72" y="17"/>
                        </a:lnTo>
                        <a:lnTo>
                          <a:pt x="75" y="15"/>
                        </a:lnTo>
                        <a:lnTo>
                          <a:pt x="73" y="13"/>
                        </a:lnTo>
                        <a:lnTo>
                          <a:pt x="70" y="13"/>
                        </a:lnTo>
                        <a:lnTo>
                          <a:pt x="62" y="12"/>
                        </a:lnTo>
                        <a:lnTo>
                          <a:pt x="58" y="5"/>
                        </a:lnTo>
                        <a:lnTo>
                          <a:pt x="53" y="5"/>
                        </a:lnTo>
                        <a:lnTo>
                          <a:pt x="52" y="5"/>
                        </a:lnTo>
                        <a:lnTo>
                          <a:pt x="48" y="3"/>
                        </a:lnTo>
                        <a:lnTo>
                          <a:pt x="29" y="0"/>
                        </a:lnTo>
                        <a:lnTo>
                          <a:pt x="25" y="2"/>
                        </a:lnTo>
                        <a:lnTo>
                          <a:pt x="22" y="0"/>
                        </a:lnTo>
                        <a:lnTo>
                          <a:pt x="14" y="2"/>
                        </a:lnTo>
                        <a:lnTo>
                          <a:pt x="10" y="5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03" name="Google Shape;3108;p98">
                    <a:extLst>
                      <a:ext uri="{FF2B5EF4-FFF2-40B4-BE49-F238E27FC236}">
                        <a16:creationId xmlns:a16="http://schemas.microsoft.com/office/drawing/2014/main" id="{7D03E301-12C0-FB74-B74B-BE47B9FEADBC}"/>
                      </a:ext>
                    </a:extLst>
                  </p:cNvPr>
                  <p:cNvSpPr/>
                  <p:nvPr/>
                </p:nvSpPr>
                <p:spPr>
                  <a:xfrm>
                    <a:off x="5771795" y="1857557"/>
                    <a:ext cx="547967" cy="61736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024" h="1189" extrusionOk="0">
                        <a:moveTo>
                          <a:pt x="304" y="1177"/>
                        </a:moveTo>
                        <a:lnTo>
                          <a:pt x="292" y="1172"/>
                        </a:lnTo>
                        <a:lnTo>
                          <a:pt x="287" y="1172"/>
                        </a:lnTo>
                        <a:lnTo>
                          <a:pt x="285" y="1171"/>
                        </a:lnTo>
                        <a:lnTo>
                          <a:pt x="287" y="1167"/>
                        </a:lnTo>
                        <a:lnTo>
                          <a:pt x="289" y="1167"/>
                        </a:lnTo>
                        <a:lnTo>
                          <a:pt x="287" y="1166"/>
                        </a:lnTo>
                        <a:lnTo>
                          <a:pt x="285" y="1166"/>
                        </a:lnTo>
                        <a:lnTo>
                          <a:pt x="284" y="1167"/>
                        </a:lnTo>
                        <a:lnTo>
                          <a:pt x="282" y="1167"/>
                        </a:lnTo>
                        <a:lnTo>
                          <a:pt x="282" y="1174"/>
                        </a:lnTo>
                        <a:lnTo>
                          <a:pt x="279" y="1172"/>
                        </a:lnTo>
                        <a:lnTo>
                          <a:pt x="277" y="1172"/>
                        </a:lnTo>
                        <a:lnTo>
                          <a:pt x="275" y="1174"/>
                        </a:lnTo>
                        <a:lnTo>
                          <a:pt x="275" y="1177"/>
                        </a:lnTo>
                        <a:lnTo>
                          <a:pt x="274" y="1179"/>
                        </a:lnTo>
                        <a:lnTo>
                          <a:pt x="272" y="1177"/>
                        </a:lnTo>
                        <a:lnTo>
                          <a:pt x="272" y="1174"/>
                        </a:lnTo>
                        <a:lnTo>
                          <a:pt x="274" y="1171"/>
                        </a:lnTo>
                        <a:lnTo>
                          <a:pt x="274" y="1167"/>
                        </a:lnTo>
                        <a:lnTo>
                          <a:pt x="279" y="1163"/>
                        </a:lnTo>
                        <a:lnTo>
                          <a:pt x="277" y="1161"/>
                        </a:lnTo>
                        <a:lnTo>
                          <a:pt x="275" y="1164"/>
                        </a:lnTo>
                        <a:lnTo>
                          <a:pt x="272" y="1171"/>
                        </a:lnTo>
                        <a:lnTo>
                          <a:pt x="267" y="1174"/>
                        </a:lnTo>
                        <a:lnTo>
                          <a:pt x="265" y="1172"/>
                        </a:lnTo>
                        <a:lnTo>
                          <a:pt x="267" y="1171"/>
                        </a:lnTo>
                        <a:lnTo>
                          <a:pt x="270" y="1167"/>
                        </a:lnTo>
                        <a:lnTo>
                          <a:pt x="272" y="1163"/>
                        </a:lnTo>
                        <a:lnTo>
                          <a:pt x="274" y="1159"/>
                        </a:lnTo>
                        <a:lnTo>
                          <a:pt x="272" y="1159"/>
                        </a:lnTo>
                        <a:lnTo>
                          <a:pt x="269" y="1159"/>
                        </a:lnTo>
                        <a:lnTo>
                          <a:pt x="267" y="1163"/>
                        </a:lnTo>
                        <a:lnTo>
                          <a:pt x="264" y="1164"/>
                        </a:lnTo>
                        <a:lnTo>
                          <a:pt x="264" y="1163"/>
                        </a:lnTo>
                        <a:lnTo>
                          <a:pt x="264" y="1159"/>
                        </a:lnTo>
                        <a:lnTo>
                          <a:pt x="267" y="1156"/>
                        </a:lnTo>
                        <a:lnTo>
                          <a:pt x="267" y="1156"/>
                        </a:lnTo>
                        <a:lnTo>
                          <a:pt x="264" y="1156"/>
                        </a:lnTo>
                        <a:lnTo>
                          <a:pt x="264" y="1158"/>
                        </a:lnTo>
                        <a:lnTo>
                          <a:pt x="260" y="1159"/>
                        </a:lnTo>
                        <a:lnTo>
                          <a:pt x="259" y="1163"/>
                        </a:lnTo>
                        <a:lnTo>
                          <a:pt x="257" y="1159"/>
                        </a:lnTo>
                        <a:lnTo>
                          <a:pt x="257" y="1158"/>
                        </a:lnTo>
                        <a:lnTo>
                          <a:pt x="255" y="1158"/>
                        </a:lnTo>
                        <a:lnTo>
                          <a:pt x="254" y="1159"/>
                        </a:lnTo>
                        <a:lnTo>
                          <a:pt x="250" y="1159"/>
                        </a:lnTo>
                        <a:lnTo>
                          <a:pt x="252" y="1158"/>
                        </a:lnTo>
                        <a:lnTo>
                          <a:pt x="259" y="1153"/>
                        </a:lnTo>
                        <a:lnTo>
                          <a:pt x="259" y="1149"/>
                        </a:lnTo>
                        <a:lnTo>
                          <a:pt x="262" y="1149"/>
                        </a:lnTo>
                        <a:lnTo>
                          <a:pt x="267" y="1146"/>
                        </a:lnTo>
                        <a:lnTo>
                          <a:pt x="265" y="1144"/>
                        </a:lnTo>
                        <a:lnTo>
                          <a:pt x="260" y="1148"/>
                        </a:lnTo>
                        <a:lnTo>
                          <a:pt x="257" y="1149"/>
                        </a:lnTo>
                        <a:lnTo>
                          <a:pt x="255" y="1148"/>
                        </a:lnTo>
                        <a:lnTo>
                          <a:pt x="257" y="1148"/>
                        </a:lnTo>
                        <a:lnTo>
                          <a:pt x="260" y="1146"/>
                        </a:lnTo>
                        <a:lnTo>
                          <a:pt x="265" y="1143"/>
                        </a:lnTo>
                        <a:lnTo>
                          <a:pt x="269" y="1141"/>
                        </a:lnTo>
                        <a:lnTo>
                          <a:pt x="272" y="1139"/>
                        </a:lnTo>
                        <a:lnTo>
                          <a:pt x="272" y="1136"/>
                        </a:lnTo>
                        <a:lnTo>
                          <a:pt x="270" y="1134"/>
                        </a:lnTo>
                        <a:lnTo>
                          <a:pt x="269" y="1134"/>
                        </a:lnTo>
                        <a:lnTo>
                          <a:pt x="264" y="1139"/>
                        </a:lnTo>
                        <a:lnTo>
                          <a:pt x="257" y="1144"/>
                        </a:lnTo>
                        <a:lnTo>
                          <a:pt x="252" y="1144"/>
                        </a:lnTo>
                        <a:lnTo>
                          <a:pt x="250" y="1144"/>
                        </a:lnTo>
                        <a:lnTo>
                          <a:pt x="254" y="1143"/>
                        </a:lnTo>
                        <a:lnTo>
                          <a:pt x="255" y="1141"/>
                        </a:lnTo>
                        <a:lnTo>
                          <a:pt x="259" y="1138"/>
                        </a:lnTo>
                        <a:lnTo>
                          <a:pt x="260" y="1134"/>
                        </a:lnTo>
                        <a:lnTo>
                          <a:pt x="259" y="1131"/>
                        </a:lnTo>
                        <a:lnTo>
                          <a:pt x="255" y="1129"/>
                        </a:lnTo>
                        <a:lnTo>
                          <a:pt x="254" y="1131"/>
                        </a:lnTo>
                        <a:lnTo>
                          <a:pt x="254" y="1133"/>
                        </a:lnTo>
                        <a:lnTo>
                          <a:pt x="255" y="1134"/>
                        </a:lnTo>
                        <a:lnTo>
                          <a:pt x="255" y="1136"/>
                        </a:lnTo>
                        <a:lnTo>
                          <a:pt x="252" y="1139"/>
                        </a:lnTo>
                        <a:lnTo>
                          <a:pt x="249" y="1138"/>
                        </a:lnTo>
                        <a:lnTo>
                          <a:pt x="245" y="1138"/>
                        </a:lnTo>
                        <a:lnTo>
                          <a:pt x="244" y="1138"/>
                        </a:lnTo>
                        <a:lnTo>
                          <a:pt x="240" y="1139"/>
                        </a:lnTo>
                        <a:lnTo>
                          <a:pt x="239" y="1143"/>
                        </a:lnTo>
                        <a:lnTo>
                          <a:pt x="235" y="1144"/>
                        </a:lnTo>
                        <a:lnTo>
                          <a:pt x="234" y="1143"/>
                        </a:lnTo>
                        <a:lnTo>
                          <a:pt x="232" y="1141"/>
                        </a:lnTo>
                        <a:lnTo>
                          <a:pt x="227" y="1141"/>
                        </a:lnTo>
                        <a:lnTo>
                          <a:pt x="225" y="1144"/>
                        </a:lnTo>
                        <a:lnTo>
                          <a:pt x="222" y="1143"/>
                        </a:lnTo>
                        <a:lnTo>
                          <a:pt x="220" y="1144"/>
                        </a:lnTo>
                        <a:lnTo>
                          <a:pt x="220" y="1146"/>
                        </a:lnTo>
                        <a:lnTo>
                          <a:pt x="220" y="1148"/>
                        </a:lnTo>
                        <a:lnTo>
                          <a:pt x="219" y="1148"/>
                        </a:lnTo>
                        <a:lnTo>
                          <a:pt x="212" y="1148"/>
                        </a:lnTo>
                        <a:lnTo>
                          <a:pt x="212" y="1144"/>
                        </a:lnTo>
                        <a:lnTo>
                          <a:pt x="214" y="1143"/>
                        </a:lnTo>
                        <a:lnTo>
                          <a:pt x="217" y="1141"/>
                        </a:lnTo>
                        <a:lnTo>
                          <a:pt x="220" y="1139"/>
                        </a:lnTo>
                        <a:lnTo>
                          <a:pt x="219" y="1138"/>
                        </a:lnTo>
                        <a:lnTo>
                          <a:pt x="215" y="1136"/>
                        </a:lnTo>
                        <a:lnTo>
                          <a:pt x="215" y="1133"/>
                        </a:lnTo>
                        <a:lnTo>
                          <a:pt x="212" y="1129"/>
                        </a:lnTo>
                        <a:lnTo>
                          <a:pt x="211" y="1128"/>
                        </a:lnTo>
                        <a:lnTo>
                          <a:pt x="209" y="1129"/>
                        </a:lnTo>
                        <a:lnTo>
                          <a:pt x="202" y="1133"/>
                        </a:lnTo>
                        <a:lnTo>
                          <a:pt x="199" y="1133"/>
                        </a:lnTo>
                        <a:lnTo>
                          <a:pt x="197" y="1129"/>
                        </a:lnTo>
                        <a:lnTo>
                          <a:pt x="202" y="1126"/>
                        </a:lnTo>
                        <a:lnTo>
                          <a:pt x="201" y="1124"/>
                        </a:lnTo>
                        <a:lnTo>
                          <a:pt x="197" y="1124"/>
                        </a:lnTo>
                        <a:lnTo>
                          <a:pt x="197" y="1123"/>
                        </a:lnTo>
                        <a:lnTo>
                          <a:pt x="202" y="1121"/>
                        </a:lnTo>
                        <a:lnTo>
                          <a:pt x="206" y="1121"/>
                        </a:lnTo>
                        <a:lnTo>
                          <a:pt x="207" y="1119"/>
                        </a:lnTo>
                        <a:lnTo>
                          <a:pt x="206" y="1116"/>
                        </a:lnTo>
                        <a:lnTo>
                          <a:pt x="204" y="1116"/>
                        </a:lnTo>
                        <a:lnTo>
                          <a:pt x="199" y="1118"/>
                        </a:lnTo>
                        <a:lnTo>
                          <a:pt x="196" y="1119"/>
                        </a:lnTo>
                        <a:lnTo>
                          <a:pt x="191" y="1121"/>
                        </a:lnTo>
                        <a:lnTo>
                          <a:pt x="187" y="1119"/>
                        </a:lnTo>
                        <a:lnTo>
                          <a:pt x="187" y="1118"/>
                        </a:lnTo>
                        <a:lnTo>
                          <a:pt x="191" y="1116"/>
                        </a:lnTo>
                        <a:lnTo>
                          <a:pt x="194" y="1114"/>
                        </a:lnTo>
                        <a:lnTo>
                          <a:pt x="192" y="1111"/>
                        </a:lnTo>
                        <a:lnTo>
                          <a:pt x="199" y="1109"/>
                        </a:lnTo>
                        <a:lnTo>
                          <a:pt x="201" y="1108"/>
                        </a:lnTo>
                        <a:lnTo>
                          <a:pt x="199" y="1106"/>
                        </a:lnTo>
                        <a:lnTo>
                          <a:pt x="194" y="1104"/>
                        </a:lnTo>
                        <a:lnTo>
                          <a:pt x="192" y="1106"/>
                        </a:lnTo>
                        <a:lnTo>
                          <a:pt x="189" y="1108"/>
                        </a:lnTo>
                        <a:lnTo>
                          <a:pt x="186" y="1106"/>
                        </a:lnTo>
                        <a:lnTo>
                          <a:pt x="187" y="1104"/>
                        </a:lnTo>
                        <a:lnTo>
                          <a:pt x="191" y="1103"/>
                        </a:lnTo>
                        <a:lnTo>
                          <a:pt x="194" y="1104"/>
                        </a:lnTo>
                        <a:lnTo>
                          <a:pt x="196" y="1101"/>
                        </a:lnTo>
                        <a:lnTo>
                          <a:pt x="199" y="1099"/>
                        </a:lnTo>
                        <a:lnTo>
                          <a:pt x="199" y="1098"/>
                        </a:lnTo>
                        <a:lnTo>
                          <a:pt x="201" y="1096"/>
                        </a:lnTo>
                        <a:lnTo>
                          <a:pt x="199" y="1094"/>
                        </a:lnTo>
                        <a:lnTo>
                          <a:pt x="192" y="1096"/>
                        </a:lnTo>
                        <a:lnTo>
                          <a:pt x="191" y="1098"/>
                        </a:lnTo>
                        <a:lnTo>
                          <a:pt x="189" y="1099"/>
                        </a:lnTo>
                        <a:lnTo>
                          <a:pt x="186" y="1099"/>
                        </a:lnTo>
                        <a:lnTo>
                          <a:pt x="187" y="1098"/>
                        </a:lnTo>
                        <a:lnTo>
                          <a:pt x="191" y="1096"/>
                        </a:lnTo>
                        <a:lnTo>
                          <a:pt x="191" y="1094"/>
                        </a:lnTo>
                        <a:lnTo>
                          <a:pt x="189" y="1093"/>
                        </a:lnTo>
                        <a:lnTo>
                          <a:pt x="191" y="1091"/>
                        </a:lnTo>
                        <a:lnTo>
                          <a:pt x="191" y="1089"/>
                        </a:lnTo>
                        <a:lnTo>
                          <a:pt x="189" y="1088"/>
                        </a:lnTo>
                        <a:lnTo>
                          <a:pt x="186" y="1088"/>
                        </a:lnTo>
                        <a:lnTo>
                          <a:pt x="186" y="1086"/>
                        </a:lnTo>
                        <a:lnTo>
                          <a:pt x="187" y="1084"/>
                        </a:lnTo>
                        <a:lnTo>
                          <a:pt x="186" y="1083"/>
                        </a:lnTo>
                        <a:lnTo>
                          <a:pt x="184" y="1081"/>
                        </a:lnTo>
                        <a:lnTo>
                          <a:pt x="182" y="1083"/>
                        </a:lnTo>
                        <a:lnTo>
                          <a:pt x="179" y="1083"/>
                        </a:lnTo>
                        <a:lnTo>
                          <a:pt x="177" y="1081"/>
                        </a:lnTo>
                        <a:lnTo>
                          <a:pt x="181" y="1078"/>
                        </a:lnTo>
                        <a:lnTo>
                          <a:pt x="182" y="1076"/>
                        </a:lnTo>
                        <a:lnTo>
                          <a:pt x="184" y="1076"/>
                        </a:lnTo>
                        <a:lnTo>
                          <a:pt x="189" y="1071"/>
                        </a:lnTo>
                        <a:lnTo>
                          <a:pt x="186" y="1068"/>
                        </a:lnTo>
                        <a:lnTo>
                          <a:pt x="187" y="1066"/>
                        </a:lnTo>
                        <a:lnTo>
                          <a:pt x="189" y="1065"/>
                        </a:lnTo>
                        <a:lnTo>
                          <a:pt x="187" y="1063"/>
                        </a:lnTo>
                        <a:lnTo>
                          <a:pt x="186" y="1065"/>
                        </a:lnTo>
                        <a:lnTo>
                          <a:pt x="184" y="1066"/>
                        </a:lnTo>
                        <a:lnTo>
                          <a:pt x="182" y="1063"/>
                        </a:lnTo>
                        <a:lnTo>
                          <a:pt x="179" y="1063"/>
                        </a:lnTo>
                        <a:lnTo>
                          <a:pt x="177" y="1065"/>
                        </a:lnTo>
                        <a:lnTo>
                          <a:pt x="176" y="1065"/>
                        </a:lnTo>
                        <a:lnTo>
                          <a:pt x="174" y="1060"/>
                        </a:lnTo>
                        <a:lnTo>
                          <a:pt x="176" y="1058"/>
                        </a:lnTo>
                        <a:lnTo>
                          <a:pt x="181" y="1056"/>
                        </a:lnTo>
                        <a:lnTo>
                          <a:pt x="182" y="1055"/>
                        </a:lnTo>
                        <a:lnTo>
                          <a:pt x="179" y="1053"/>
                        </a:lnTo>
                        <a:lnTo>
                          <a:pt x="176" y="1053"/>
                        </a:lnTo>
                        <a:lnTo>
                          <a:pt x="171" y="1055"/>
                        </a:lnTo>
                        <a:lnTo>
                          <a:pt x="169" y="1055"/>
                        </a:lnTo>
                        <a:lnTo>
                          <a:pt x="167" y="1053"/>
                        </a:lnTo>
                        <a:lnTo>
                          <a:pt x="169" y="1050"/>
                        </a:lnTo>
                        <a:lnTo>
                          <a:pt x="172" y="1050"/>
                        </a:lnTo>
                        <a:lnTo>
                          <a:pt x="176" y="1050"/>
                        </a:lnTo>
                        <a:lnTo>
                          <a:pt x="182" y="1050"/>
                        </a:lnTo>
                        <a:lnTo>
                          <a:pt x="184" y="1048"/>
                        </a:lnTo>
                        <a:lnTo>
                          <a:pt x="181" y="1048"/>
                        </a:lnTo>
                        <a:lnTo>
                          <a:pt x="179" y="1046"/>
                        </a:lnTo>
                        <a:lnTo>
                          <a:pt x="174" y="1046"/>
                        </a:lnTo>
                        <a:lnTo>
                          <a:pt x="172" y="1048"/>
                        </a:lnTo>
                        <a:lnTo>
                          <a:pt x="169" y="1048"/>
                        </a:lnTo>
                        <a:lnTo>
                          <a:pt x="167" y="1045"/>
                        </a:lnTo>
                        <a:lnTo>
                          <a:pt x="171" y="1043"/>
                        </a:lnTo>
                        <a:lnTo>
                          <a:pt x="177" y="1041"/>
                        </a:lnTo>
                        <a:lnTo>
                          <a:pt x="179" y="1041"/>
                        </a:lnTo>
                        <a:lnTo>
                          <a:pt x="177" y="1040"/>
                        </a:lnTo>
                        <a:lnTo>
                          <a:pt x="174" y="1040"/>
                        </a:lnTo>
                        <a:lnTo>
                          <a:pt x="171" y="1038"/>
                        </a:lnTo>
                        <a:lnTo>
                          <a:pt x="172" y="1038"/>
                        </a:lnTo>
                        <a:lnTo>
                          <a:pt x="176" y="1038"/>
                        </a:lnTo>
                        <a:lnTo>
                          <a:pt x="179" y="1040"/>
                        </a:lnTo>
                        <a:lnTo>
                          <a:pt x="184" y="1036"/>
                        </a:lnTo>
                        <a:lnTo>
                          <a:pt x="186" y="1035"/>
                        </a:lnTo>
                        <a:lnTo>
                          <a:pt x="184" y="1035"/>
                        </a:lnTo>
                        <a:lnTo>
                          <a:pt x="182" y="1035"/>
                        </a:lnTo>
                        <a:lnTo>
                          <a:pt x="179" y="1036"/>
                        </a:lnTo>
                        <a:lnTo>
                          <a:pt x="177" y="1036"/>
                        </a:lnTo>
                        <a:lnTo>
                          <a:pt x="176" y="1035"/>
                        </a:lnTo>
                        <a:lnTo>
                          <a:pt x="171" y="1035"/>
                        </a:lnTo>
                        <a:lnTo>
                          <a:pt x="169" y="1038"/>
                        </a:lnTo>
                        <a:lnTo>
                          <a:pt x="167" y="1040"/>
                        </a:lnTo>
                        <a:lnTo>
                          <a:pt x="164" y="1036"/>
                        </a:lnTo>
                        <a:lnTo>
                          <a:pt x="162" y="1035"/>
                        </a:lnTo>
                        <a:lnTo>
                          <a:pt x="166" y="1031"/>
                        </a:lnTo>
                        <a:lnTo>
                          <a:pt x="171" y="1031"/>
                        </a:lnTo>
                        <a:lnTo>
                          <a:pt x="174" y="1028"/>
                        </a:lnTo>
                        <a:lnTo>
                          <a:pt x="172" y="1028"/>
                        </a:lnTo>
                        <a:lnTo>
                          <a:pt x="169" y="1028"/>
                        </a:lnTo>
                        <a:lnTo>
                          <a:pt x="164" y="1028"/>
                        </a:lnTo>
                        <a:lnTo>
                          <a:pt x="164" y="1025"/>
                        </a:lnTo>
                        <a:lnTo>
                          <a:pt x="164" y="1021"/>
                        </a:lnTo>
                        <a:lnTo>
                          <a:pt x="169" y="1021"/>
                        </a:lnTo>
                        <a:lnTo>
                          <a:pt x="177" y="1021"/>
                        </a:lnTo>
                        <a:lnTo>
                          <a:pt x="184" y="1020"/>
                        </a:lnTo>
                        <a:lnTo>
                          <a:pt x="189" y="1020"/>
                        </a:lnTo>
                        <a:lnTo>
                          <a:pt x="192" y="1016"/>
                        </a:lnTo>
                        <a:lnTo>
                          <a:pt x="194" y="1016"/>
                        </a:lnTo>
                        <a:lnTo>
                          <a:pt x="189" y="1016"/>
                        </a:lnTo>
                        <a:lnTo>
                          <a:pt x="186" y="1015"/>
                        </a:lnTo>
                        <a:lnTo>
                          <a:pt x="182" y="1018"/>
                        </a:lnTo>
                        <a:lnTo>
                          <a:pt x="176" y="1018"/>
                        </a:lnTo>
                        <a:lnTo>
                          <a:pt x="171" y="1020"/>
                        </a:lnTo>
                        <a:lnTo>
                          <a:pt x="167" y="1020"/>
                        </a:lnTo>
                        <a:lnTo>
                          <a:pt x="166" y="1018"/>
                        </a:lnTo>
                        <a:lnTo>
                          <a:pt x="166" y="1018"/>
                        </a:lnTo>
                        <a:lnTo>
                          <a:pt x="174" y="1018"/>
                        </a:lnTo>
                        <a:lnTo>
                          <a:pt x="177" y="1016"/>
                        </a:lnTo>
                        <a:lnTo>
                          <a:pt x="181" y="1011"/>
                        </a:lnTo>
                        <a:lnTo>
                          <a:pt x="186" y="1010"/>
                        </a:lnTo>
                        <a:lnTo>
                          <a:pt x="187" y="1011"/>
                        </a:lnTo>
                        <a:lnTo>
                          <a:pt x="191" y="1013"/>
                        </a:lnTo>
                        <a:lnTo>
                          <a:pt x="192" y="1013"/>
                        </a:lnTo>
                        <a:lnTo>
                          <a:pt x="194" y="1011"/>
                        </a:lnTo>
                        <a:lnTo>
                          <a:pt x="192" y="1011"/>
                        </a:lnTo>
                        <a:lnTo>
                          <a:pt x="187" y="1008"/>
                        </a:lnTo>
                        <a:lnTo>
                          <a:pt x="186" y="1008"/>
                        </a:lnTo>
                        <a:lnTo>
                          <a:pt x="184" y="1006"/>
                        </a:lnTo>
                        <a:lnTo>
                          <a:pt x="186" y="1005"/>
                        </a:lnTo>
                        <a:lnTo>
                          <a:pt x="187" y="1005"/>
                        </a:lnTo>
                        <a:lnTo>
                          <a:pt x="189" y="1003"/>
                        </a:lnTo>
                        <a:lnTo>
                          <a:pt x="191" y="1003"/>
                        </a:lnTo>
                        <a:lnTo>
                          <a:pt x="194" y="1006"/>
                        </a:lnTo>
                        <a:lnTo>
                          <a:pt x="197" y="1010"/>
                        </a:lnTo>
                        <a:lnTo>
                          <a:pt x="201" y="1011"/>
                        </a:lnTo>
                        <a:lnTo>
                          <a:pt x="201" y="1011"/>
                        </a:lnTo>
                        <a:lnTo>
                          <a:pt x="199" y="1008"/>
                        </a:lnTo>
                        <a:lnTo>
                          <a:pt x="197" y="1006"/>
                        </a:lnTo>
                        <a:lnTo>
                          <a:pt x="197" y="1000"/>
                        </a:lnTo>
                        <a:lnTo>
                          <a:pt x="199" y="996"/>
                        </a:lnTo>
                        <a:lnTo>
                          <a:pt x="201" y="995"/>
                        </a:lnTo>
                        <a:lnTo>
                          <a:pt x="197" y="995"/>
                        </a:lnTo>
                        <a:lnTo>
                          <a:pt x="194" y="996"/>
                        </a:lnTo>
                        <a:lnTo>
                          <a:pt x="192" y="998"/>
                        </a:lnTo>
                        <a:lnTo>
                          <a:pt x="189" y="995"/>
                        </a:lnTo>
                        <a:lnTo>
                          <a:pt x="189" y="996"/>
                        </a:lnTo>
                        <a:lnTo>
                          <a:pt x="182" y="1001"/>
                        </a:lnTo>
                        <a:lnTo>
                          <a:pt x="179" y="1003"/>
                        </a:lnTo>
                        <a:lnTo>
                          <a:pt x="179" y="1001"/>
                        </a:lnTo>
                        <a:lnTo>
                          <a:pt x="179" y="1000"/>
                        </a:lnTo>
                        <a:lnTo>
                          <a:pt x="181" y="998"/>
                        </a:lnTo>
                        <a:lnTo>
                          <a:pt x="181" y="998"/>
                        </a:lnTo>
                        <a:lnTo>
                          <a:pt x="177" y="998"/>
                        </a:lnTo>
                        <a:lnTo>
                          <a:pt x="176" y="1001"/>
                        </a:lnTo>
                        <a:lnTo>
                          <a:pt x="174" y="1001"/>
                        </a:lnTo>
                        <a:lnTo>
                          <a:pt x="167" y="1006"/>
                        </a:lnTo>
                        <a:lnTo>
                          <a:pt x="166" y="1008"/>
                        </a:lnTo>
                        <a:lnTo>
                          <a:pt x="162" y="1013"/>
                        </a:lnTo>
                        <a:lnTo>
                          <a:pt x="161" y="1013"/>
                        </a:lnTo>
                        <a:lnTo>
                          <a:pt x="159" y="1008"/>
                        </a:lnTo>
                        <a:lnTo>
                          <a:pt x="159" y="1005"/>
                        </a:lnTo>
                        <a:lnTo>
                          <a:pt x="162" y="1001"/>
                        </a:lnTo>
                        <a:lnTo>
                          <a:pt x="159" y="1000"/>
                        </a:lnTo>
                        <a:lnTo>
                          <a:pt x="159" y="996"/>
                        </a:lnTo>
                        <a:lnTo>
                          <a:pt x="159" y="995"/>
                        </a:lnTo>
                        <a:lnTo>
                          <a:pt x="162" y="993"/>
                        </a:lnTo>
                        <a:lnTo>
                          <a:pt x="169" y="990"/>
                        </a:lnTo>
                        <a:lnTo>
                          <a:pt x="172" y="991"/>
                        </a:lnTo>
                        <a:lnTo>
                          <a:pt x="177" y="988"/>
                        </a:lnTo>
                        <a:lnTo>
                          <a:pt x="179" y="986"/>
                        </a:lnTo>
                        <a:lnTo>
                          <a:pt x="177" y="985"/>
                        </a:lnTo>
                        <a:lnTo>
                          <a:pt x="174" y="985"/>
                        </a:lnTo>
                        <a:lnTo>
                          <a:pt x="172" y="986"/>
                        </a:lnTo>
                        <a:lnTo>
                          <a:pt x="169" y="986"/>
                        </a:lnTo>
                        <a:lnTo>
                          <a:pt x="167" y="988"/>
                        </a:lnTo>
                        <a:lnTo>
                          <a:pt x="164" y="991"/>
                        </a:lnTo>
                        <a:lnTo>
                          <a:pt x="161" y="990"/>
                        </a:lnTo>
                        <a:lnTo>
                          <a:pt x="159" y="988"/>
                        </a:lnTo>
                        <a:lnTo>
                          <a:pt x="159" y="981"/>
                        </a:lnTo>
                        <a:lnTo>
                          <a:pt x="162" y="980"/>
                        </a:lnTo>
                        <a:lnTo>
                          <a:pt x="162" y="976"/>
                        </a:lnTo>
                        <a:lnTo>
                          <a:pt x="161" y="973"/>
                        </a:lnTo>
                        <a:lnTo>
                          <a:pt x="159" y="973"/>
                        </a:lnTo>
                        <a:lnTo>
                          <a:pt x="157" y="976"/>
                        </a:lnTo>
                        <a:lnTo>
                          <a:pt x="154" y="975"/>
                        </a:lnTo>
                        <a:lnTo>
                          <a:pt x="154" y="973"/>
                        </a:lnTo>
                        <a:lnTo>
                          <a:pt x="157" y="970"/>
                        </a:lnTo>
                        <a:lnTo>
                          <a:pt x="162" y="970"/>
                        </a:lnTo>
                        <a:lnTo>
                          <a:pt x="164" y="968"/>
                        </a:lnTo>
                        <a:lnTo>
                          <a:pt x="171" y="966"/>
                        </a:lnTo>
                        <a:lnTo>
                          <a:pt x="172" y="965"/>
                        </a:lnTo>
                        <a:lnTo>
                          <a:pt x="176" y="963"/>
                        </a:lnTo>
                        <a:lnTo>
                          <a:pt x="177" y="960"/>
                        </a:lnTo>
                        <a:lnTo>
                          <a:pt x="179" y="958"/>
                        </a:lnTo>
                        <a:lnTo>
                          <a:pt x="181" y="960"/>
                        </a:lnTo>
                        <a:lnTo>
                          <a:pt x="182" y="958"/>
                        </a:lnTo>
                        <a:lnTo>
                          <a:pt x="189" y="958"/>
                        </a:lnTo>
                        <a:lnTo>
                          <a:pt x="192" y="960"/>
                        </a:lnTo>
                        <a:lnTo>
                          <a:pt x="196" y="960"/>
                        </a:lnTo>
                        <a:lnTo>
                          <a:pt x="194" y="957"/>
                        </a:lnTo>
                        <a:lnTo>
                          <a:pt x="189" y="957"/>
                        </a:lnTo>
                        <a:lnTo>
                          <a:pt x="189" y="953"/>
                        </a:lnTo>
                        <a:lnTo>
                          <a:pt x="186" y="953"/>
                        </a:lnTo>
                        <a:lnTo>
                          <a:pt x="177" y="958"/>
                        </a:lnTo>
                        <a:lnTo>
                          <a:pt x="174" y="958"/>
                        </a:lnTo>
                        <a:lnTo>
                          <a:pt x="172" y="958"/>
                        </a:lnTo>
                        <a:lnTo>
                          <a:pt x="171" y="962"/>
                        </a:lnTo>
                        <a:lnTo>
                          <a:pt x="169" y="963"/>
                        </a:lnTo>
                        <a:lnTo>
                          <a:pt x="164" y="965"/>
                        </a:lnTo>
                        <a:lnTo>
                          <a:pt x="161" y="968"/>
                        </a:lnTo>
                        <a:lnTo>
                          <a:pt x="159" y="968"/>
                        </a:lnTo>
                        <a:lnTo>
                          <a:pt x="159" y="966"/>
                        </a:lnTo>
                        <a:lnTo>
                          <a:pt x="159" y="963"/>
                        </a:lnTo>
                        <a:lnTo>
                          <a:pt x="156" y="963"/>
                        </a:lnTo>
                        <a:lnTo>
                          <a:pt x="156" y="962"/>
                        </a:lnTo>
                        <a:lnTo>
                          <a:pt x="159" y="958"/>
                        </a:lnTo>
                        <a:lnTo>
                          <a:pt x="156" y="957"/>
                        </a:lnTo>
                        <a:lnTo>
                          <a:pt x="154" y="957"/>
                        </a:lnTo>
                        <a:lnTo>
                          <a:pt x="151" y="953"/>
                        </a:lnTo>
                        <a:lnTo>
                          <a:pt x="151" y="953"/>
                        </a:lnTo>
                        <a:lnTo>
                          <a:pt x="156" y="950"/>
                        </a:lnTo>
                        <a:lnTo>
                          <a:pt x="159" y="948"/>
                        </a:lnTo>
                        <a:lnTo>
                          <a:pt x="161" y="947"/>
                        </a:lnTo>
                        <a:lnTo>
                          <a:pt x="162" y="950"/>
                        </a:lnTo>
                        <a:lnTo>
                          <a:pt x="167" y="950"/>
                        </a:lnTo>
                        <a:lnTo>
                          <a:pt x="171" y="948"/>
                        </a:lnTo>
                        <a:lnTo>
                          <a:pt x="174" y="945"/>
                        </a:lnTo>
                        <a:lnTo>
                          <a:pt x="177" y="947"/>
                        </a:lnTo>
                        <a:lnTo>
                          <a:pt x="179" y="943"/>
                        </a:lnTo>
                        <a:lnTo>
                          <a:pt x="177" y="942"/>
                        </a:lnTo>
                        <a:lnTo>
                          <a:pt x="174" y="942"/>
                        </a:lnTo>
                        <a:lnTo>
                          <a:pt x="169" y="945"/>
                        </a:lnTo>
                        <a:lnTo>
                          <a:pt x="167" y="947"/>
                        </a:lnTo>
                        <a:lnTo>
                          <a:pt x="164" y="947"/>
                        </a:lnTo>
                        <a:lnTo>
                          <a:pt x="161" y="943"/>
                        </a:lnTo>
                        <a:lnTo>
                          <a:pt x="159" y="943"/>
                        </a:lnTo>
                        <a:lnTo>
                          <a:pt x="157" y="945"/>
                        </a:lnTo>
                        <a:lnTo>
                          <a:pt x="152" y="948"/>
                        </a:lnTo>
                        <a:lnTo>
                          <a:pt x="154" y="947"/>
                        </a:lnTo>
                        <a:lnTo>
                          <a:pt x="151" y="945"/>
                        </a:lnTo>
                        <a:lnTo>
                          <a:pt x="149" y="947"/>
                        </a:lnTo>
                        <a:lnTo>
                          <a:pt x="146" y="945"/>
                        </a:lnTo>
                        <a:lnTo>
                          <a:pt x="146" y="945"/>
                        </a:lnTo>
                        <a:lnTo>
                          <a:pt x="149" y="943"/>
                        </a:lnTo>
                        <a:lnTo>
                          <a:pt x="156" y="942"/>
                        </a:lnTo>
                        <a:lnTo>
                          <a:pt x="162" y="938"/>
                        </a:lnTo>
                        <a:lnTo>
                          <a:pt x="166" y="937"/>
                        </a:lnTo>
                        <a:lnTo>
                          <a:pt x="172" y="935"/>
                        </a:lnTo>
                        <a:lnTo>
                          <a:pt x="177" y="932"/>
                        </a:lnTo>
                        <a:lnTo>
                          <a:pt x="184" y="923"/>
                        </a:lnTo>
                        <a:lnTo>
                          <a:pt x="192" y="920"/>
                        </a:lnTo>
                        <a:lnTo>
                          <a:pt x="197" y="918"/>
                        </a:lnTo>
                        <a:lnTo>
                          <a:pt x="202" y="918"/>
                        </a:lnTo>
                        <a:lnTo>
                          <a:pt x="204" y="917"/>
                        </a:lnTo>
                        <a:lnTo>
                          <a:pt x="204" y="915"/>
                        </a:lnTo>
                        <a:lnTo>
                          <a:pt x="201" y="915"/>
                        </a:lnTo>
                        <a:lnTo>
                          <a:pt x="194" y="915"/>
                        </a:lnTo>
                        <a:lnTo>
                          <a:pt x="182" y="922"/>
                        </a:lnTo>
                        <a:lnTo>
                          <a:pt x="177" y="927"/>
                        </a:lnTo>
                        <a:lnTo>
                          <a:pt x="172" y="932"/>
                        </a:lnTo>
                        <a:lnTo>
                          <a:pt x="169" y="933"/>
                        </a:lnTo>
                        <a:lnTo>
                          <a:pt x="161" y="935"/>
                        </a:lnTo>
                        <a:lnTo>
                          <a:pt x="157" y="937"/>
                        </a:lnTo>
                        <a:lnTo>
                          <a:pt x="149" y="940"/>
                        </a:lnTo>
                        <a:lnTo>
                          <a:pt x="144" y="940"/>
                        </a:lnTo>
                        <a:lnTo>
                          <a:pt x="144" y="938"/>
                        </a:lnTo>
                        <a:lnTo>
                          <a:pt x="146" y="937"/>
                        </a:lnTo>
                        <a:lnTo>
                          <a:pt x="146" y="928"/>
                        </a:lnTo>
                        <a:lnTo>
                          <a:pt x="147" y="925"/>
                        </a:lnTo>
                        <a:lnTo>
                          <a:pt x="151" y="925"/>
                        </a:lnTo>
                        <a:lnTo>
                          <a:pt x="154" y="928"/>
                        </a:lnTo>
                        <a:lnTo>
                          <a:pt x="157" y="927"/>
                        </a:lnTo>
                        <a:lnTo>
                          <a:pt x="162" y="927"/>
                        </a:lnTo>
                        <a:lnTo>
                          <a:pt x="167" y="927"/>
                        </a:lnTo>
                        <a:lnTo>
                          <a:pt x="166" y="925"/>
                        </a:lnTo>
                        <a:lnTo>
                          <a:pt x="162" y="923"/>
                        </a:lnTo>
                        <a:lnTo>
                          <a:pt x="157" y="923"/>
                        </a:lnTo>
                        <a:lnTo>
                          <a:pt x="156" y="925"/>
                        </a:lnTo>
                        <a:lnTo>
                          <a:pt x="152" y="925"/>
                        </a:lnTo>
                        <a:lnTo>
                          <a:pt x="151" y="922"/>
                        </a:lnTo>
                        <a:lnTo>
                          <a:pt x="152" y="920"/>
                        </a:lnTo>
                        <a:lnTo>
                          <a:pt x="156" y="918"/>
                        </a:lnTo>
                        <a:lnTo>
                          <a:pt x="161" y="922"/>
                        </a:lnTo>
                        <a:lnTo>
                          <a:pt x="164" y="922"/>
                        </a:lnTo>
                        <a:lnTo>
                          <a:pt x="169" y="920"/>
                        </a:lnTo>
                        <a:lnTo>
                          <a:pt x="167" y="918"/>
                        </a:lnTo>
                        <a:lnTo>
                          <a:pt x="164" y="917"/>
                        </a:lnTo>
                        <a:lnTo>
                          <a:pt x="162" y="918"/>
                        </a:lnTo>
                        <a:lnTo>
                          <a:pt x="162" y="917"/>
                        </a:lnTo>
                        <a:lnTo>
                          <a:pt x="162" y="915"/>
                        </a:lnTo>
                        <a:lnTo>
                          <a:pt x="166" y="913"/>
                        </a:lnTo>
                        <a:lnTo>
                          <a:pt x="167" y="915"/>
                        </a:lnTo>
                        <a:lnTo>
                          <a:pt x="169" y="913"/>
                        </a:lnTo>
                        <a:lnTo>
                          <a:pt x="172" y="915"/>
                        </a:lnTo>
                        <a:lnTo>
                          <a:pt x="174" y="913"/>
                        </a:lnTo>
                        <a:lnTo>
                          <a:pt x="174" y="912"/>
                        </a:lnTo>
                        <a:lnTo>
                          <a:pt x="174" y="908"/>
                        </a:lnTo>
                        <a:lnTo>
                          <a:pt x="172" y="908"/>
                        </a:lnTo>
                        <a:lnTo>
                          <a:pt x="171" y="907"/>
                        </a:lnTo>
                        <a:lnTo>
                          <a:pt x="169" y="908"/>
                        </a:lnTo>
                        <a:lnTo>
                          <a:pt x="164" y="910"/>
                        </a:lnTo>
                        <a:lnTo>
                          <a:pt x="154" y="907"/>
                        </a:lnTo>
                        <a:lnTo>
                          <a:pt x="149" y="907"/>
                        </a:lnTo>
                        <a:lnTo>
                          <a:pt x="147" y="903"/>
                        </a:lnTo>
                        <a:lnTo>
                          <a:pt x="147" y="903"/>
                        </a:lnTo>
                        <a:lnTo>
                          <a:pt x="152" y="903"/>
                        </a:lnTo>
                        <a:lnTo>
                          <a:pt x="156" y="903"/>
                        </a:lnTo>
                        <a:lnTo>
                          <a:pt x="157" y="903"/>
                        </a:lnTo>
                        <a:lnTo>
                          <a:pt x="156" y="902"/>
                        </a:lnTo>
                        <a:lnTo>
                          <a:pt x="152" y="902"/>
                        </a:lnTo>
                        <a:lnTo>
                          <a:pt x="151" y="900"/>
                        </a:lnTo>
                        <a:lnTo>
                          <a:pt x="151" y="898"/>
                        </a:lnTo>
                        <a:lnTo>
                          <a:pt x="157" y="898"/>
                        </a:lnTo>
                        <a:lnTo>
                          <a:pt x="159" y="897"/>
                        </a:lnTo>
                        <a:lnTo>
                          <a:pt x="164" y="897"/>
                        </a:lnTo>
                        <a:lnTo>
                          <a:pt x="179" y="897"/>
                        </a:lnTo>
                        <a:lnTo>
                          <a:pt x="182" y="897"/>
                        </a:lnTo>
                        <a:lnTo>
                          <a:pt x="187" y="897"/>
                        </a:lnTo>
                        <a:lnTo>
                          <a:pt x="191" y="897"/>
                        </a:lnTo>
                        <a:lnTo>
                          <a:pt x="189" y="895"/>
                        </a:lnTo>
                        <a:lnTo>
                          <a:pt x="184" y="892"/>
                        </a:lnTo>
                        <a:lnTo>
                          <a:pt x="177" y="892"/>
                        </a:lnTo>
                        <a:lnTo>
                          <a:pt x="169" y="893"/>
                        </a:lnTo>
                        <a:lnTo>
                          <a:pt x="164" y="893"/>
                        </a:lnTo>
                        <a:lnTo>
                          <a:pt x="162" y="893"/>
                        </a:lnTo>
                        <a:lnTo>
                          <a:pt x="161" y="892"/>
                        </a:lnTo>
                        <a:lnTo>
                          <a:pt x="156" y="893"/>
                        </a:lnTo>
                        <a:lnTo>
                          <a:pt x="152" y="895"/>
                        </a:lnTo>
                        <a:lnTo>
                          <a:pt x="151" y="895"/>
                        </a:lnTo>
                        <a:lnTo>
                          <a:pt x="152" y="892"/>
                        </a:lnTo>
                        <a:lnTo>
                          <a:pt x="154" y="888"/>
                        </a:lnTo>
                        <a:lnTo>
                          <a:pt x="159" y="887"/>
                        </a:lnTo>
                        <a:lnTo>
                          <a:pt x="162" y="885"/>
                        </a:lnTo>
                        <a:lnTo>
                          <a:pt x="166" y="883"/>
                        </a:lnTo>
                        <a:lnTo>
                          <a:pt x="167" y="878"/>
                        </a:lnTo>
                        <a:lnTo>
                          <a:pt x="172" y="877"/>
                        </a:lnTo>
                        <a:lnTo>
                          <a:pt x="174" y="877"/>
                        </a:lnTo>
                        <a:lnTo>
                          <a:pt x="176" y="877"/>
                        </a:lnTo>
                        <a:lnTo>
                          <a:pt x="179" y="877"/>
                        </a:lnTo>
                        <a:lnTo>
                          <a:pt x="182" y="877"/>
                        </a:lnTo>
                        <a:lnTo>
                          <a:pt x="186" y="877"/>
                        </a:lnTo>
                        <a:lnTo>
                          <a:pt x="187" y="877"/>
                        </a:lnTo>
                        <a:lnTo>
                          <a:pt x="192" y="878"/>
                        </a:lnTo>
                        <a:lnTo>
                          <a:pt x="196" y="883"/>
                        </a:lnTo>
                        <a:lnTo>
                          <a:pt x="201" y="882"/>
                        </a:lnTo>
                        <a:lnTo>
                          <a:pt x="206" y="883"/>
                        </a:lnTo>
                        <a:lnTo>
                          <a:pt x="211" y="888"/>
                        </a:lnTo>
                        <a:lnTo>
                          <a:pt x="215" y="892"/>
                        </a:lnTo>
                        <a:lnTo>
                          <a:pt x="222" y="893"/>
                        </a:lnTo>
                        <a:lnTo>
                          <a:pt x="225" y="892"/>
                        </a:lnTo>
                        <a:lnTo>
                          <a:pt x="227" y="892"/>
                        </a:lnTo>
                        <a:lnTo>
                          <a:pt x="227" y="890"/>
                        </a:lnTo>
                        <a:lnTo>
                          <a:pt x="227" y="888"/>
                        </a:lnTo>
                        <a:lnTo>
                          <a:pt x="224" y="890"/>
                        </a:lnTo>
                        <a:lnTo>
                          <a:pt x="222" y="890"/>
                        </a:lnTo>
                        <a:lnTo>
                          <a:pt x="219" y="890"/>
                        </a:lnTo>
                        <a:lnTo>
                          <a:pt x="212" y="887"/>
                        </a:lnTo>
                        <a:lnTo>
                          <a:pt x="209" y="882"/>
                        </a:lnTo>
                        <a:lnTo>
                          <a:pt x="209" y="880"/>
                        </a:lnTo>
                        <a:lnTo>
                          <a:pt x="211" y="880"/>
                        </a:lnTo>
                        <a:lnTo>
                          <a:pt x="219" y="880"/>
                        </a:lnTo>
                        <a:lnTo>
                          <a:pt x="224" y="877"/>
                        </a:lnTo>
                        <a:lnTo>
                          <a:pt x="227" y="875"/>
                        </a:lnTo>
                        <a:lnTo>
                          <a:pt x="225" y="873"/>
                        </a:lnTo>
                        <a:lnTo>
                          <a:pt x="219" y="872"/>
                        </a:lnTo>
                        <a:lnTo>
                          <a:pt x="217" y="873"/>
                        </a:lnTo>
                        <a:lnTo>
                          <a:pt x="217" y="875"/>
                        </a:lnTo>
                        <a:lnTo>
                          <a:pt x="219" y="877"/>
                        </a:lnTo>
                        <a:lnTo>
                          <a:pt x="217" y="877"/>
                        </a:lnTo>
                        <a:lnTo>
                          <a:pt x="211" y="877"/>
                        </a:lnTo>
                        <a:lnTo>
                          <a:pt x="209" y="875"/>
                        </a:lnTo>
                        <a:lnTo>
                          <a:pt x="207" y="872"/>
                        </a:lnTo>
                        <a:lnTo>
                          <a:pt x="211" y="872"/>
                        </a:lnTo>
                        <a:lnTo>
                          <a:pt x="212" y="872"/>
                        </a:lnTo>
                        <a:lnTo>
                          <a:pt x="214" y="870"/>
                        </a:lnTo>
                        <a:lnTo>
                          <a:pt x="212" y="868"/>
                        </a:lnTo>
                        <a:lnTo>
                          <a:pt x="209" y="868"/>
                        </a:lnTo>
                        <a:lnTo>
                          <a:pt x="207" y="868"/>
                        </a:lnTo>
                        <a:lnTo>
                          <a:pt x="206" y="868"/>
                        </a:lnTo>
                        <a:lnTo>
                          <a:pt x="204" y="868"/>
                        </a:lnTo>
                        <a:lnTo>
                          <a:pt x="204" y="870"/>
                        </a:lnTo>
                        <a:lnTo>
                          <a:pt x="204" y="872"/>
                        </a:lnTo>
                        <a:lnTo>
                          <a:pt x="204" y="875"/>
                        </a:lnTo>
                        <a:lnTo>
                          <a:pt x="202" y="878"/>
                        </a:lnTo>
                        <a:lnTo>
                          <a:pt x="199" y="880"/>
                        </a:lnTo>
                        <a:lnTo>
                          <a:pt x="196" y="878"/>
                        </a:lnTo>
                        <a:lnTo>
                          <a:pt x="191" y="873"/>
                        </a:lnTo>
                        <a:lnTo>
                          <a:pt x="187" y="873"/>
                        </a:lnTo>
                        <a:lnTo>
                          <a:pt x="186" y="872"/>
                        </a:lnTo>
                        <a:lnTo>
                          <a:pt x="184" y="870"/>
                        </a:lnTo>
                        <a:lnTo>
                          <a:pt x="182" y="870"/>
                        </a:lnTo>
                        <a:lnTo>
                          <a:pt x="181" y="872"/>
                        </a:lnTo>
                        <a:lnTo>
                          <a:pt x="176" y="873"/>
                        </a:lnTo>
                        <a:lnTo>
                          <a:pt x="171" y="873"/>
                        </a:lnTo>
                        <a:lnTo>
                          <a:pt x="169" y="875"/>
                        </a:lnTo>
                        <a:lnTo>
                          <a:pt x="164" y="880"/>
                        </a:lnTo>
                        <a:lnTo>
                          <a:pt x="161" y="882"/>
                        </a:lnTo>
                        <a:lnTo>
                          <a:pt x="159" y="880"/>
                        </a:lnTo>
                        <a:lnTo>
                          <a:pt x="159" y="878"/>
                        </a:lnTo>
                        <a:lnTo>
                          <a:pt x="164" y="873"/>
                        </a:lnTo>
                        <a:lnTo>
                          <a:pt x="166" y="872"/>
                        </a:lnTo>
                        <a:lnTo>
                          <a:pt x="167" y="870"/>
                        </a:lnTo>
                        <a:lnTo>
                          <a:pt x="167" y="868"/>
                        </a:lnTo>
                        <a:lnTo>
                          <a:pt x="169" y="868"/>
                        </a:lnTo>
                        <a:lnTo>
                          <a:pt x="172" y="867"/>
                        </a:lnTo>
                        <a:lnTo>
                          <a:pt x="172" y="865"/>
                        </a:lnTo>
                        <a:lnTo>
                          <a:pt x="174" y="862"/>
                        </a:lnTo>
                        <a:lnTo>
                          <a:pt x="176" y="862"/>
                        </a:lnTo>
                        <a:lnTo>
                          <a:pt x="179" y="865"/>
                        </a:lnTo>
                        <a:lnTo>
                          <a:pt x="184" y="867"/>
                        </a:lnTo>
                        <a:lnTo>
                          <a:pt x="191" y="867"/>
                        </a:lnTo>
                        <a:lnTo>
                          <a:pt x="189" y="865"/>
                        </a:lnTo>
                        <a:lnTo>
                          <a:pt x="187" y="864"/>
                        </a:lnTo>
                        <a:lnTo>
                          <a:pt x="184" y="864"/>
                        </a:lnTo>
                        <a:lnTo>
                          <a:pt x="182" y="862"/>
                        </a:lnTo>
                        <a:lnTo>
                          <a:pt x="176" y="857"/>
                        </a:lnTo>
                        <a:lnTo>
                          <a:pt x="174" y="855"/>
                        </a:lnTo>
                        <a:lnTo>
                          <a:pt x="172" y="854"/>
                        </a:lnTo>
                        <a:lnTo>
                          <a:pt x="171" y="852"/>
                        </a:lnTo>
                        <a:lnTo>
                          <a:pt x="174" y="850"/>
                        </a:lnTo>
                        <a:lnTo>
                          <a:pt x="179" y="852"/>
                        </a:lnTo>
                        <a:lnTo>
                          <a:pt x="184" y="857"/>
                        </a:lnTo>
                        <a:lnTo>
                          <a:pt x="187" y="862"/>
                        </a:lnTo>
                        <a:lnTo>
                          <a:pt x="189" y="860"/>
                        </a:lnTo>
                        <a:lnTo>
                          <a:pt x="187" y="857"/>
                        </a:lnTo>
                        <a:lnTo>
                          <a:pt x="186" y="854"/>
                        </a:lnTo>
                        <a:lnTo>
                          <a:pt x="187" y="854"/>
                        </a:lnTo>
                        <a:lnTo>
                          <a:pt x="189" y="857"/>
                        </a:lnTo>
                        <a:lnTo>
                          <a:pt x="191" y="860"/>
                        </a:lnTo>
                        <a:lnTo>
                          <a:pt x="199" y="864"/>
                        </a:lnTo>
                        <a:lnTo>
                          <a:pt x="202" y="864"/>
                        </a:lnTo>
                        <a:lnTo>
                          <a:pt x="204" y="862"/>
                        </a:lnTo>
                        <a:lnTo>
                          <a:pt x="209" y="862"/>
                        </a:lnTo>
                        <a:lnTo>
                          <a:pt x="211" y="864"/>
                        </a:lnTo>
                        <a:lnTo>
                          <a:pt x="215" y="867"/>
                        </a:lnTo>
                        <a:lnTo>
                          <a:pt x="220" y="868"/>
                        </a:lnTo>
                        <a:lnTo>
                          <a:pt x="220" y="870"/>
                        </a:lnTo>
                        <a:lnTo>
                          <a:pt x="224" y="870"/>
                        </a:lnTo>
                        <a:lnTo>
                          <a:pt x="224" y="868"/>
                        </a:lnTo>
                        <a:lnTo>
                          <a:pt x="220" y="865"/>
                        </a:lnTo>
                        <a:lnTo>
                          <a:pt x="211" y="859"/>
                        </a:lnTo>
                        <a:lnTo>
                          <a:pt x="209" y="855"/>
                        </a:lnTo>
                        <a:lnTo>
                          <a:pt x="211" y="854"/>
                        </a:lnTo>
                        <a:lnTo>
                          <a:pt x="215" y="852"/>
                        </a:lnTo>
                        <a:lnTo>
                          <a:pt x="215" y="850"/>
                        </a:lnTo>
                        <a:lnTo>
                          <a:pt x="217" y="847"/>
                        </a:lnTo>
                        <a:lnTo>
                          <a:pt x="219" y="847"/>
                        </a:lnTo>
                        <a:lnTo>
                          <a:pt x="219" y="845"/>
                        </a:lnTo>
                        <a:lnTo>
                          <a:pt x="215" y="845"/>
                        </a:lnTo>
                        <a:lnTo>
                          <a:pt x="214" y="845"/>
                        </a:lnTo>
                        <a:lnTo>
                          <a:pt x="207" y="845"/>
                        </a:lnTo>
                        <a:lnTo>
                          <a:pt x="206" y="847"/>
                        </a:lnTo>
                        <a:lnTo>
                          <a:pt x="206" y="849"/>
                        </a:lnTo>
                        <a:lnTo>
                          <a:pt x="209" y="852"/>
                        </a:lnTo>
                        <a:lnTo>
                          <a:pt x="207" y="854"/>
                        </a:lnTo>
                        <a:lnTo>
                          <a:pt x="202" y="852"/>
                        </a:lnTo>
                        <a:lnTo>
                          <a:pt x="201" y="854"/>
                        </a:lnTo>
                        <a:lnTo>
                          <a:pt x="197" y="852"/>
                        </a:lnTo>
                        <a:lnTo>
                          <a:pt x="192" y="854"/>
                        </a:lnTo>
                        <a:lnTo>
                          <a:pt x="191" y="850"/>
                        </a:lnTo>
                        <a:lnTo>
                          <a:pt x="187" y="850"/>
                        </a:lnTo>
                        <a:lnTo>
                          <a:pt x="186" y="847"/>
                        </a:lnTo>
                        <a:lnTo>
                          <a:pt x="189" y="847"/>
                        </a:lnTo>
                        <a:lnTo>
                          <a:pt x="191" y="845"/>
                        </a:lnTo>
                        <a:lnTo>
                          <a:pt x="187" y="845"/>
                        </a:lnTo>
                        <a:lnTo>
                          <a:pt x="184" y="845"/>
                        </a:lnTo>
                        <a:lnTo>
                          <a:pt x="182" y="845"/>
                        </a:lnTo>
                        <a:lnTo>
                          <a:pt x="187" y="844"/>
                        </a:lnTo>
                        <a:lnTo>
                          <a:pt x="194" y="840"/>
                        </a:lnTo>
                        <a:lnTo>
                          <a:pt x="197" y="839"/>
                        </a:lnTo>
                        <a:lnTo>
                          <a:pt x="202" y="840"/>
                        </a:lnTo>
                        <a:lnTo>
                          <a:pt x="204" y="840"/>
                        </a:lnTo>
                        <a:lnTo>
                          <a:pt x="209" y="840"/>
                        </a:lnTo>
                        <a:lnTo>
                          <a:pt x="212" y="840"/>
                        </a:lnTo>
                        <a:lnTo>
                          <a:pt x="217" y="840"/>
                        </a:lnTo>
                        <a:lnTo>
                          <a:pt x="217" y="839"/>
                        </a:lnTo>
                        <a:lnTo>
                          <a:pt x="220" y="837"/>
                        </a:lnTo>
                        <a:lnTo>
                          <a:pt x="222" y="835"/>
                        </a:lnTo>
                        <a:lnTo>
                          <a:pt x="225" y="834"/>
                        </a:lnTo>
                        <a:lnTo>
                          <a:pt x="225" y="832"/>
                        </a:lnTo>
                        <a:lnTo>
                          <a:pt x="225" y="830"/>
                        </a:lnTo>
                        <a:lnTo>
                          <a:pt x="222" y="834"/>
                        </a:lnTo>
                        <a:lnTo>
                          <a:pt x="219" y="834"/>
                        </a:lnTo>
                        <a:lnTo>
                          <a:pt x="219" y="832"/>
                        </a:lnTo>
                        <a:lnTo>
                          <a:pt x="220" y="829"/>
                        </a:lnTo>
                        <a:lnTo>
                          <a:pt x="224" y="820"/>
                        </a:lnTo>
                        <a:lnTo>
                          <a:pt x="224" y="817"/>
                        </a:lnTo>
                        <a:lnTo>
                          <a:pt x="225" y="815"/>
                        </a:lnTo>
                        <a:lnTo>
                          <a:pt x="227" y="817"/>
                        </a:lnTo>
                        <a:lnTo>
                          <a:pt x="229" y="820"/>
                        </a:lnTo>
                        <a:lnTo>
                          <a:pt x="227" y="822"/>
                        </a:lnTo>
                        <a:lnTo>
                          <a:pt x="227" y="824"/>
                        </a:lnTo>
                        <a:lnTo>
                          <a:pt x="232" y="824"/>
                        </a:lnTo>
                        <a:lnTo>
                          <a:pt x="235" y="824"/>
                        </a:lnTo>
                        <a:lnTo>
                          <a:pt x="237" y="825"/>
                        </a:lnTo>
                        <a:lnTo>
                          <a:pt x="239" y="825"/>
                        </a:lnTo>
                        <a:lnTo>
                          <a:pt x="240" y="825"/>
                        </a:lnTo>
                        <a:lnTo>
                          <a:pt x="242" y="825"/>
                        </a:lnTo>
                        <a:lnTo>
                          <a:pt x="244" y="825"/>
                        </a:lnTo>
                        <a:lnTo>
                          <a:pt x="244" y="824"/>
                        </a:lnTo>
                        <a:lnTo>
                          <a:pt x="240" y="822"/>
                        </a:lnTo>
                        <a:lnTo>
                          <a:pt x="235" y="822"/>
                        </a:lnTo>
                        <a:lnTo>
                          <a:pt x="235" y="820"/>
                        </a:lnTo>
                        <a:lnTo>
                          <a:pt x="239" y="819"/>
                        </a:lnTo>
                        <a:lnTo>
                          <a:pt x="244" y="819"/>
                        </a:lnTo>
                        <a:lnTo>
                          <a:pt x="244" y="817"/>
                        </a:lnTo>
                        <a:lnTo>
                          <a:pt x="240" y="815"/>
                        </a:lnTo>
                        <a:lnTo>
                          <a:pt x="239" y="815"/>
                        </a:lnTo>
                        <a:lnTo>
                          <a:pt x="237" y="814"/>
                        </a:lnTo>
                        <a:lnTo>
                          <a:pt x="235" y="814"/>
                        </a:lnTo>
                        <a:lnTo>
                          <a:pt x="234" y="814"/>
                        </a:lnTo>
                        <a:lnTo>
                          <a:pt x="232" y="814"/>
                        </a:lnTo>
                        <a:lnTo>
                          <a:pt x="229" y="814"/>
                        </a:lnTo>
                        <a:lnTo>
                          <a:pt x="229" y="812"/>
                        </a:lnTo>
                        <a:lnTo>
                          <a:pt x="230" y="809"/>
                        </a:lnTo>
                        <a:lnTo>
                          <a:pt x="232" y="809"/>
                        </a:lnTo>
                        <a:lnTo>
                          <a:pt x="235" y="804"/>
                        </a:lnTo>
                        <a:lnTo>
                          <a:pt x="239" y="802"/>
                        </a:lnTo>
                        <a:lnTo>
                          <a:pt x="240" y="804"/>
                        </a:lnTo>
                        <a:lnTo>
                          <a:pt x="242" y="802"/>
                        </a:lnTo>
                        <a:lnTo>
                          <a:pt x="245" y="802"/>
                        </a:lnTo>
                        <a:lnTo>
                          <a:pt x="245" y="800"/>
                        </a:lnTo>
                        <a:lnTo>
                          <a:pt x="242" y="800"/>
                        </a:lnTo>
                        <a:lnTo>
                          <a:pt x="239" y="800"/>
                        </a:lnTo>
                        <a:lnTo>
                          <a:pt x="237" y="799"/>
                        </a:lnTo>
                        <a:lnTo>
                          <a:pt x="239" y="797"/>
                        </a:lnTo>
                        <a:lnTo>
                          <a:pt x="242" y="795"/>
                        </a:lnTo>
                        <a:lnTo>
                          <a:pt x="245" y="792"/>
                        </a:lnTo>
                        <a:lnTo>
                          <a:pt x="249" y="792"/>
                        </a:lnTo>
                        <a:lnTo>
                          <a:pt x="249" y="790"/>
                        </a:lnTo>
                        <a:lnTo>
                          <a:pt x="252" y="789"/>
                        </a:lnTo>
                        <a:lnTo>
                          <a:pt x="249" y="785"/>
                        </a:lnTo>
                        <a:lnTo>
                          <a:pt x="247" y="785"/>
                        </a:lnTo>
                        <a:lnTo>
                          <a:pt x="247" y="784"/>
                        </a:lnTo>
                        <a:lnTo>
                          <a:pt x="250" y="784"/>
                        </a:lnTo>
                        <a:lnTo>
                          <a:pt x="252" y="784"/>
                        </a:lnTo>
                        <a:lnTo>
                          <a:pt x="252" y="780"/>
                        </a:lnTo>
                        <a:lnTo>
                          <a:pt x="250" y="779"/>
                        </a:lnTo>
                        <a:lnTo>
                          <a:pt x="245" y="780"/>
                        </a:lnTo>
                        <a:lnTo>
                          <a:pt x="242" y="782"/>
                        </a:lnTo>
                        <a:lnTo>
                          <a:pt x="237" y="782"/>
                        </a:lnTo>
                        <a:lnTo>
                          <a:pt x="235" y="780"/>
                        </a:lnTo>
                        <a:lnTo>
                          <a:pt x="232" y="780"/>
                        </a:lnTo>
                        <a:lnTo>
                          <a:pt x="229" y="780"/>
                        </a:lnTo>
                        <a:lnTo>
                          <a:pt x="225" y="779"/>
                        </a:lnTo>
                        <a:lnTo>
                          <a:pt x="224" y="779"/>
                        </a:lnTo>
                        <a:lnTo>
                          <a:pt x="220" y="779"/>
                        </a:lnTo>
                        <a:lnTo>
                          <a:pt x="217" y="775"/>
                        </a:lnTo>
                        <a:lnTo>
                          <a:pt x="214" y="775"/>
                        </a:lnTo>
                        <a:lnTo>
                          <a:pt x="211" y="774"/>
                        </a:lnTo>
                        <a:lnTo>
                          <a:pt x="211" y="772"/>
                        </a:lnTo>
                        <a:lnTo>
                          <a:pt x="209" y="769"/>
                        </a:lnTo>
                        <a:lnTo>
                          <a:pt x="204" y="766"/>
                        </a:lnTo>
                        <a:lnTo>
                          <a:pt x="196" y="762"/>
                        </a:lnTo>
                        <a:lnTo>
                          <a:pt x="189" y="761"/>
                        </a:lnTo>
                        <a:lnTo>
                          <a:pt x="184" y="756"/>
                        </a:lnTo>
                        <a:lnTo>
                          <a:pt x="184" y="754"/>
                        </a:lnTo>
                        <a:lnTo>
                          <a:pt x="182" y="747"/>
                        </a:lnTo>
                        <a:lnTo>
                          <a:pt x="179" y="744"/>
                        </a:lnTo>
                        <a:lnTo>
                          <a:pt x="177" y="742"/>
                        </a:lnTo>
                        <a:lnTo>
                          <a:pt x="177" y="741"/>
                        </a:lnTo>
                        <a:lnTo>
                          <a:pt x="182" y="737"/>
                        </a:lnTo>
                        <a:lnTo>
                          <a:pt x="187" y="736"/>
                        </a:lnTo>
                        <a:lnTo>
                          <a:pt x="189" y="736"/>
                        </a:lnTo>
                        <a:lnTo>
                          <a:pt x="192" y="737"/>
                        </a:lnTo>
                        <a:lnTo>
                          <a:pt x="196" y="737"/>
                        </a:lnTo>
                        <a:lnTo>
                          <a:pt x="201" y="741"/>
                        </a:lnTo>
                        <a:lnTo>
                          <a:pt x="206" y="741"/>
                        </a:lnTo>
                        <a:lnTo>
                          <a:pt x="209" y="742"/>
                        </a:lnTo>
                        <a:lnTo>
                          <a:pt x="211" y="742"/>
                        </a:lnTo>
                        <a:lnTo>
                          <a:pt x="215" y="742"/>
                        </a:lnTo>
                        <a:lnTo>
                          <a:pt x="219" y="744"/>
                        </a:lnTo>
                        <a:lnTo>
                          <a:pt x="222" y="746"/>
                        </a:lnTo>
                        <a:lnTo>
                          <a:pt x="224" y="747"/>
                        </a:lnTo>
                        <a:lnTo>
                          <a:pt x="227" y="749"/>
                        </a:lnTo>
                        <a:lnTo>
                          <a:pt x="230" y="757"/>
                        </a:lnTo>
                        <a:lnTo>
                          <a:pt x="234" y="761"/>
                        </a:lnTo>
                        <a:lnTo>
                          <a:pt x="237" y="764"/>
                        </a:lnTo>
                        <a:lnTo>
                          <a:pt x="240" y="767"/>
                        </a:lnTo>
                        <a:lnTo>
                          <a:pt x="245" y="769"/>
                        </a:lnTo>
                        <a:lnTo>
                          <a:pt x="247" y="767"/>
                        </a:lnTo>
                        <a:lnTo>
                          <a:pt x="250" y="764"/>
                        </a:lnTo>
                        <a:lnTo>
                          <a:pt x="249" y="764"/>
                        </a:lnTo>
                        <a:lnTo>
                          <a:pt x="247" y="764"/>
                        </a:lnTo>
                        <a:lnTo>
                          <a:pt x="244" y="764"/>
                        </a:lnTo>
                        <a:lnTo>
                          <a:pt x="242" y="762"/>
                        </a:lnTo>
                        <a:lnTo>
                          <a:pt x="237" y="757"/>
                        </a:lnTo>
                        <a:lnTo>
                          <a:pt x="237" y="756"/>
                        </a:lnTo>
                        <a:lnTo>
                          <a:pt x="239" y="756"/>
                        </a:lnTo>
                        <a:lnTo>
                          <a:pt x="242" y="759"/>
                        </a:lnTo>
                        <a:lnTo>
                          <a:pt x="245" y="759"/>
                        </a:lnTo>
                        <a:lnTo>
                          <a:pt x="245" y="757"/>
                        </a:lnTo>
                        <a:lnTo>
                          <a:pt x="247" y="757"/>
                        </a:lnTo>
                        <a:lnTo>
                          <a:pt x="249" y="756"/>
                        </a:lnTo>
                        <a:lnTo>
                          <a:pt x="242" y="752"/>
                        </a:lnTo>
                        <a:lnTo>
                          <a:pt x="237" y="747"/>
                        </a:lnTo>
                        <a:lnTo>
                          <a:pt x="235" y="746"/>
                        </a:lnTo>
                        <a:lnTo>
                          <a:pt x="237" y="744"/>
                        </a:lnTo>
                        <a:lnTo>
                          <a:pt x="239" y="744"/>
                        </a:lnTo>
                        <a:lnTo>
                          <a:pt x="240" y="747"/>
                        </a:lnTo>
                        <a:lnTo>
                          <a:pt x="244" y="749"/>
                        </a:lnTo>
                        <a:lnTo>
                          <a:pt x="242" y="744"/>
                        </a:lnTo>
                        <a:lnTo>
                          <a:pt x="237" y="739"/>
                        </a:lnTo>
                        <a:lnTo>
                          <a:pt x="234" y="737"/>
                        </a:lnTo>
                        <a:lnTo>
                          <a:pt x="232" y="734"/>
                        </a:lnTo>
                        <a:lnTo>
                          <a:pt x="232" y="732"/>
                        </a:lnTo>
                        <a:lnTo>
                          <a:pt x="237" y="734"/>
                        </a:lnTo>
                        <a:lnTo>
                          <a:pt x="247" y="737"/>
                        </a:lnTo>
                        <a:lnTo>
                          <a:pt x="249" y="736"/>
                        </a:lnTo>
                        <a:lnTo>
                          <a:pt x="249" y="734"/>
                        </a:lnTo>
                        <a:lnTo>
                          <a:pt x="245" y="729"/>
                        </a:lnTo>
                        <a:lnTo>
                          <a:pt x="244" y="729"/>
                        </a:lnTo>
                        <a:lnTo>
                          <a:pt x="240" y="731"/>
                        </a:lnTo>
                        <a:lnTo>
                          <a:pt x="237" y="731"/>
                        </a:lnTo>
                        <a:lnTo>
                          <a:pt x="232" y="731"/>
                        </a:lnTo>
                        <a:lnTo>
                          <a:pt x="232" y="729"/>
                        </a:lnTo>
                        <a:lnTo>
                          <a:pt x="234" y="727"/>
                        </a:lnTo>
                        <a:lnTo>
                          <a:pt x="239" y="724"/>
                        </a:lnTo>
                        <a:lnTo>
                          <a:pt x="240" y="726"/>
                        </a:lnTo>
                        <a:lnTo>
                          <a:pt x="244" y="727"/>
                        </a:lnTo>
                        <a:lnTo>
                          <a:pt x="245" y="726"/>
                        </a:lnTo>
                        <a:lnTo>
                          <a:pt x="245" y="722"/>
                        </a:lnTo>
                        <a:lnTo>
                          <a:pt x="242" y="719"/>
                        </a:lnTo>
                        <a:lnTo>
                          <a:pt x="240" y="721"/>
                        </a:lnTo>
                        <a:lnTo>
                          <a:pt x="239" y="721"/>
                        </a:lnTo>
                        <a:lnTo>
                          <a:pt x="235" y="722"/>
                        </a:lnTo>
                        <a:lnTo>
                          <a:pt x="234" y="722"/>
                        </a:lnTo>
                        <a:lnTo>
                          <a:pt x="227" y="727"/>
                        </a:lnTo>
                        <a:lnTo>
                          <a:pt x="225" y="727"/>
                        </a:lnTo>
                        <a:lnTo>
                          <a:pt x="225" y="726"/>
                        </a:lnTo>
                        <a:lnTo>
                          <a:pt x="227" y="724"/>
                        </a:lnTo>
                        <a:lnTo>
                          <a:pt x="229" y="721"/>
                        </a:lnTo>
                        <a:lnTo>
                          <a:pt x="232" y="717"/>
                        </a:lnTo>
                        <a:lnTo>
                          <a:pt x="234" y="717"/>
                        </a:lnTo>
                        <a:lnTo>
                          <a:pt x="237" y="717"/>
                        </a:lnTo>
                        <a:lnTo>
                          <a:pt x="240" y="716"/>
                        </a:lnTo>
                        <a:lnTo>
                          <a:pt x="242" y="714"/>
                        </a:lnTo>
                        <a:lnTo>
                          <a:pt x="244" y="712"/>
                        </a:lnTo>
                        <a:lnTo>
                          <a:pt x="244" y="712"/>
                        </a:lnTo>
                        <a:lnTo>
                          <a:pt x="237" y="712"/>
                        </a:lnTo>
                        <a:lnTo>
                          <a:pt x="235" y="714"/>
                        </a:lnTo>
                        <a:lnTo>
                          <a:pt x="232" y="716"/>
                        </a:lnTo>
                        <a:lnTo>
                          <a:pt x="229" y="714"/>
                        </a:lnTo>
                        <a:lnTo>
                          <a:pt x="224" y="714"/>
                        </a:lnTo>
                        <a:lnTo>
                          <a:pt x="222" y="714"/>
                        </a:lnTo>
                        <a:lnTo>
                          <a:pt x="222" y="711"/>
                        </a:lnTo>
                        <a:lnTo>
                          <a:pt x="225" y="709"/>
                        </a:lnTo>
                        <a:lnTo>
                          <a:pt x="229" y="707"/>
                        </a:lnTo>
                        <a:lnTo>
                          <a:pt x="234" y="707"/>
                        </a:lnTo>
                        <a:lnTo>
                          <a:pt x="242" y="706"/>
                        </a:lnTo>
                        <a:lnTo>
                          <a:pt x="247" y="702"/>
                        </a:lnTo>
                        <a:lnTo>
                          <a:pt x="247" y="701"/>
                        </a:lnTo>
                        <a:lnTo>
                          <a:pt x="245" y="701"/>
                        </a:lnTo>
                        <a:lnTo>
                          <a:pt x="244" y="701"/>
                        </a:lnTo>
                        <a:lnTo>
                          <a:pt x="240" y="702"/>
                        </a:lnTo>
                        <a:lnTo>
                          <a:pt x="237" y="704"/>
                        </a:lnTo>
                        <a:lnTo>
                          <a:pt x="234" y="702"/>
                        </a:lnTo>
                        <a:lnTo>
                          <a:pt x="232" y="699"/>
                        </a:lnTo>
                        <a:lnTo>
                          <a:pt x="229" y="699"/>
                        </a:lnTo>
                        <a:lnTo>
                          <a:pt x="225" y="699"/>
                        </a:lnTo>
                        <a:lnTo>
                          <a:pt x="224" y="697"/>
                        </a:lnTo>
                        <a:lnTo>
                          <a:pt x="224" y="696"/>
                        </a:lnTo>
                        <a:lnTo>
                          <a:pt x="227" y="694"/>
                        </a:lnTo>
                        <a:lnTo>
                          <a:pt x="229" y="689"/>
                        </a:lnTo>
                        <a:lnTo>
                          <a:pt x="232" y="687"/>
                        </a:lnTo>
                        <a:lnTo>
                          <a:pt x="235" y="686"/>
                        </a:lnTo>
                        <a:lnTo>
                          <a:pt x="234" y="684"/>
                        </a:lnTo>
                        <a:lnTo>
                          <a:pt x="232" y="684"/>
                        </a:lnTo>
                        <a:lnTo>
                          <a:pt x="229" y="686"/>
                        </a:lnTo>
                        <a:lnTo>
                          <a:pt x="225" y="691"/>
                        </a:lnTo>
                        <a:lnTo>
                          <a:pt x="224" y="692"/>
                        </a:lnTo>
                        <a:lnTo>
                          <a:pt x="220" y="696"/>
                        </a:lnTo>
                        <a:lnTo>
                          <a:pt x="220" y="696"/>
                        </a:lnTo>
                        <a:lnTo>
                          <a:pt x="217" y="696"/>
                        </a:lnTo>
                        <a:lnTo>
                          <a:pt x="219" y="692"/>
                        </a:lnTo>
                        <a:lnTo>
                          <a:pt x="219" y="687"/>
                        </a:lnTo>
                        <a:lnTo>
                          <a:pt x="219" y="682"/>
                        </a:lnTo>
                        <a:lnTo>
                          <a:pt x="217" y="677"/>
                        </a:lnTo>
                        <a:lnTo>
                          <a:pt x="217" y="674"/>
                        </a:lnTo>
                        <a:lnTo>
                          <a:pt x="219" y="671"/>
                        </a:lnTo>
                        <a:lnTo>
                          <a:pt x="219" y="668"/>
                        </a:lnTo>
                        <a:lnTo>
                          <a:pt x="217" y="668"/>
                        </a:lnTo>
                        <a:lnTo>
                          <a:pt x="215" y="669"/>
                        </a:lnTo>
                        <a:lnTo>
                          <a:pt x="214" y="677"/>
                        </a:lnTo>
                        <a:lnTo>
                          <a:pt x="215" y="681"/>
                        </a:lnTo>
                        <a:lnTo>
                          <a:pt x="217" y="684"/>
                        </a:lnTo>
                        <a:lnTo>
                          <a:pt x="217" y="687"/>
                        </a:lnTo>
                        <a:lnTo>
                          <a:pt x="217" y="694"/>
                        </a:lnTo>
                        <a:lnTo>
                          <a:pt x="215" y="697"/>
                        </a:lnTo>
                        <a:lnTo>
                          <a:pt x="214" y="697"/>
                        </a:lnTo>
                        <a:lnTo>
                          <a:pt x="211" y="694"/>
                        </a:lnTo>
                        <a:lnTo>
                          <a:pt x="209" y="692"/>
                        </a:lnTo>
                        <a:lnTo>
                          <a:pt x="207" y="697"/>
                        </a:lnTo>
                        <a:lnTo>
                          <a:pt x="207" y="699"/>
                        </a:lnTo>
                        <a:lnTo>
                          <a:pt x="206" y="699"/>
                        </a:lnTo>
                        <a:lnTo>
                          <a:pt x="202" y="699"/>
                        </a:lnTo>
                        <a:lnTo>
                          <a:pt x="206" y="701"/>
                        </a:lnTo>
                        <a:lnTo>
                          <a:pt x="206" y="704"/>
                        </a:lnTo>
                        <a:lnTo>
                          <a:pt x="204" y="707"/>
                        </a:lnTo>
                        <a:lnTo>
                          <a:pt x="202" y="709"/>
                        </a:lnTo>
                        <a:lnTo>
                          <a:pt x="199" y="711"/>
                        </a:lnTo>
                        <a:lnTo>
                          <a:pt x="197" y="709"/>
                        </a:lnTo>
                        <a:lnTo>
                          <a:pt x="196" y="711"/>
                        </a:lnTo>
                        <a:lnTo>
                          <a:pt x="192" y="712"/>
                        </a:lnTo>
                        <a:lnTo>
                          <a:pt x="186" y="712"/>
                        </a:lnTo>
                        <a:lnTo>
                          <a:pt x="184" y="711"/>
                        </a:lnTo>
                        <a:lnTo>
                          <a:pt x="184" y="707"/>
                        </a:lnTo>
                        <a:lnTo>
                          <a:pt x="182" y="706"/>
                        </a:lnTo>
                        <a:lnTo>
                          <a:pt x="181" y="704"/>
                        </a:lnTo>
                        <a:lnTo>
                          <a:pt x="179" y="704"/>
                        </a:lnTo>
                        <a:lnTo>
                          <a:pt x="177" y="707"/>
                        </a:lnTo>
                        <a:lnTo>
                          <a:pt x="177" y="707"/>
                        </a:lnTo>
                        <a:lnTo>
                          <a:pt x="176" y="702"/>
                        </a:lnTo>
                        <a:lnTo>
                          <a:pt x="176" y="699"/>
                        </a:lnTo>
                        <a:lnTo>
                          <a:pt x="176" y="696"/>
                        </a:lnTo>
                        <a:lnTo>
                          <a:pt x="174" y="694"/>
                        </a:lnTo>
                        <a:lnTo>
                          <a:pt x="174" y="692"/>
                        </a:lnTo>
                        <a:lnTo>
                          <a:pt x="177" y="691"/>
                        </a:lnTo>
                        <a:lnTo>
                          <a:pt x="182" y="691"/>
                        </a:lnTo>
                        <a:lnTo>
                          <a:pt x="184" y="691"/>
                        </a:lnTo>
                        <a:lnTo>
                          <a:pt x="186" y="687"/>
                        </a:lnTo>
                        <a:lnTo>
                          <a:pt x="187" y="687"/>
                        </a:lnTo>
                        <a:lnTo>
                          <a:pt x="196" y="686"/>
                        </a:lnTo>
                        <a:lnTo>
                          <a:pt x="197" y="687"/>
                        </a:lnTo>
                        <a:lnTo>
                          <a:pt x="202" y="681"/>
                        </a:lnTo>
                        <a:lnTo>
                          <a:pt x="207" y="676"/>
                        </a:lnTo>
                        <a:lnTo>
                          <a:pt x="207" y="674"/>
                        </a:lnTo>
                        <a:lnTo>
                          <a:pt x="206" y="672"/>
                        </a:lnTo>
                        <a:lnTo>
                          <a:pt x="202" y="674"/>
                        </a:lnTo>
                        <a:lnTo>
                          <a:pt x="201" y="679"/>
                        </a:lnTo>
                        <a:lnTo>
                          <a:pt x="197" y="682"/>
                        </a:lnTo>
                        <a:lnTo>
                          <a:pt x="192" y="684"/>
                        </a:lnTo>
                        <a:lnTo>
                          <a:pt x="186" y="682"/>
                        </a:lnTo>
                        <a:lnTo>
                          <a:pt x="182" y="681"/>
                        </a:lnTo>
                        <a:lnTo>
                          <a:pt x="182" y="677"/>
                        </a:lnTo>
                        <a:lnTo>
                          <a:pt x="187" y="676"/>
                        </a:lnTo>
                        <a:lnTo>
                          <a:pt x="192" y="671"/>
                        </a:lnTo>
                        <a:lnTo>
                          <a:pt x="196" y="671"/>
                        </a:lnTo>
                        <a:lnTo>
                          <a:pt x="196" y="669"/>
                        </a:lnTo>
                        <a:lnTo>
                          <a:pt x="196" y="668"/>
                        </a:lnTo>
                        <a:lnTo>
                          <a:pt x="197" y="666"/>
                        </a:lnTo>
                        <a:lnTo>
                          <a:pt x="199" y="664"/>
                        </a:lnTo>
                        <a:lnTo>
                          <a:pt x="201" y="664"/>
                        </a:lnTo>
                        <a:lnTo>
                          <a:pt x="201" y="663"/>
                        </a:lnTo>
                        <a:lnTo>
                          <a:pt x="199" y="661"/>
                        </a:lnTo>
                        <a:lnTo>
                          <a:pt x="199" y="659"/>
                        </a:lnTo>
                        <a:lnTo>
                          <a:pt x="197" y="661"/>
                        </a:lnTo>
                        <a:lnTo>
                          <a:pt x="196" y="663"/>
                        </a:lnTo>
                        <a:lnTo>
                          <a:pt x="189" y="661"/>
                        </a:lnTo>
                        <a:lnTo>
                          <a:pt x="187" y="661"/>
                        </a:lnTo>
                        <a:lnTo>
                          <a:pt x="186" y="661"/>
                        </a:lnTo>
                        <a:lnTo>
                          <a:pt x="187" y="658"/>
                        </a:lnTo>
                        <a:lnTo>
                          <a:pt x="192" y="654"/>
                        </a:lnTo>
                        <a:lnTo>
                          <a:pt x="194" y="654"/>
                        </a:lnTo>
                        <a:lnTo>
                          <a:pt x="197" y="658"/>
                        </a:lnTo>
                        <a:lnTo>
                          <a:pt x="201" y="656"/>
                        </a:lnTo>
                        <a:lnTo>
                          <a:pt x="206" y="654"/>
                        </a:lnTo>
                        <a:lnTo>
                          <a:pt x="207" y="649"/>
                        </a:lnTo>
                        <a:lnTo>
                          <a:pt x="206" y="648"/>
                        </a:lnTo>
                        <a:lnTo>
                          <a:pt x="207" y="644"/>
                        </a:lnTo>
                        <a:lnTo>
                          <a:pt x="211" y="639"/>
                        </a:lnTo>
                        <a:lnTo>
                          <a:pt x="211" y="636"/>
                        </a:lnTo>
                        <a:lnTo>
                          <a:pt x="211" y="631"/>
                        </a:lnTo>
                        <a:lnTo>
                          <a:pt x="209" y="629"/>
                        </a:lnTo>
                        <a:lnTo>
                          <a:pt x="207" y="628"/>
                        </a:lnTo>
                        <a:lnTo>
                          <a:pt x="204" y="628"/>
                        </a:lnTo>
                        <a:lnTo>
                          <a:pt x="202" y="626"/>
                        </a:lnTo>
                        <a:lnTo>
                          <a:pt x="199" y="626"/>
                        </a:lnTo>
                        <a:lnTo>
                          <a:pt x="196" y="624"/>
                        </a:lnTo>
                        <a:lnTo>
                          <a:pt x="196" y="623"/>
                        </a:lnTo>
                        <a:lnTo>
                          <a:pt x="197" y="621"/>
                        </a:lnTo>
                        <a:lnTo>
                          <a:pt x="201" y="623"/>
                        </a:lnTo>
                        <a:lnTo>
                          <a:pt x="204" y="621"/>
                        </a:lnTo>
                        <a:lnTo>
                          <a:pt x="206" y="618"/>
                        </a:lnTo>
                        <a:lnTo>
                          <a:pt x="206" y="614"/>
                        </a:lnTo>
                        <a:lnTo>
                          <a:pt x="209" y="613"/>
                        </a:lnTo>
                        <a:lnTo>
                          <a:pt x="209" y="609"/>
                        </a:lnTo>
                        <a:lnTo>
                          <a:pt x="207" y="608"/>
                        </a:lnTo>
                        <a:lnTo>
                          <a:pt x="204" y="608"/>
                        </a:lnTo>
                        <a:lnTo>
                          <a:pt x="202" y="606"/>
                        </a:lnTo>
                        <a:lnTo>
                          <a:pt x="202" y="603"/>
                        </a:lnTo>
                        <a:lnTo>
                          <a:pt x="204" y="601"/>
                        </a:lnTo>
                        <a:lnTo>
                          <a:pt x="206" y="603"/>
                        </a:lnTo>
                        <a:lnTo>
                          <a:pt x="206" y="601"/>
                        </a:lnTo>
                        <a:lnTo>
                          <a:pt x="202" y="596"/>
                        </a:lnTo>
                        <a:lnTo>
                          <a:pt x="202" y="593"/>
                        </a:lnTo>
                        <a:lnTo>
                          <a:pt x="204" y="591"/>
                        </a:lnTo>
                        <a:lnTo>
                          <a:pt x="206" y="594"/>
                        </a:lnTo>
                        <a:lnTo>
                          <a:pt x="206" y="593"/>
                        </a:lnTo>
                        <a:lnTo>
                          <a:pt x="204" y="589"/>
                        </a:lnTo>
                        <a:lnTo>
                          <a:pt x="204" y="588"/>
                        </a:lnTo>
                        <a:lnTo>
                          <a:pt x="207" y="584"/>
                        </a:lnTo>
                        <a:lnTo>
                          <a:pt x="206" y="579"/>
                        </a:lnTo>
                        <a:lnTo>
                          <a:pt x="204" y="576"/>
                        </a:lnTo>
                        <a:lnTo>
                          <a:pt x="204" y="574"/>
                        </a:lnTo>
                        <a:lnTo>
                          <a:pt x="202" y="571"/>
                        </a:lnTo>
                        <a:lnTo>
                          <a:pt x="204" y="570"/>
                        </a:lnTo>
                        <a:lnTo>
                          <a:pt x="206" y="565"/>
                        </a:lnTo>
                        <a:lnTo>
                          <a:pt x="204" y="565"/>
                        </a:lnTo>
                        <a:lnTo>
                          <a:pt x="202" y="565"/>
                        </a:lnTo>
                        <a:lnTo>
                          <a:pt x="197" y="568"/>
                        </a:lnTo>
                        <a:lnTo>
                          <a:pt x="196" y="568"/>
                        </a:lnTo>
                        <a:lnTo>
                          <a:pt x="192" y="570"/>
                        </a:lnTo>
                        <a:lnTo>
                          <a:pt x="191" y="571"/>
                        </a:lnTo>
                        <a:lnTo>
                          <a:pt x="189" y="570"/>
                        </a:lnTo>
                        <a:lnTo>
                          <a:pt x="191" y="568"/>
                        </a:lnTo>
                        <a:lnTo>
                          <a:pt x="194" y="565"/>
                        </a:lnTo>
                        <a:lnTo>
                          <a:pt x="197" y="565"/>
                        </a:lnTo>
                        <a:lnTo>
                          <a:pt x="199" y="561"/>
                        </a:lnTo>
                        <a:lnTo>
                          <a:pt x="201" y="560"/>
                        </a:lnTo>
                        <a:lnTo>
                          <a:pt x="204" y="556"/>
                        </a:lnTo>
                        <a:lnTo>
                          <a:pt x="207" y="555"/>
                        </a:lnTo>
                        <a:lnTo>
                          <a:pt x="209" y="551"/>
                        </a:lnTo>
                        <a:lnTo>
                          <a:pt x="209" y="548"/>
                        </a:lnTo>
                        <a:lnTo>
                          <a:pt x="207" y="546"/>
                        </a:lnTo>
                        <a:lnTo>
                          <a:pt x="204" y="543"/>
                        </a:lnTo>
                        <a:lnTo>
                          <a:pt x="202" y="540"/>
                        </a:lnTo>
                        <a:lnTo>
                          <a:pt x="201" y="538"/>
                        </a:lnTo>
                        <a:lnTo>
                          <a:pt x="199" y="538"/>
                        </a:lnTo>
                        <a:lnTo>
                          <a:pt x="197" y="535"/>
                        </a:lnTo>
                        <a:lnTo>
                          <a:pt x="197" y="533"/>
                        </a:lnTo>
                        <a:lnTo>
                          <a:pt x="199" y="531"/>
                        </a:lnTo>
                        <a:lnTo>
                          <a:pt x="197" y="530"/>
                        </a:lnTo>
                        <a:lnTo>
                          <a:pt x="197" y="525"/>
                        </a:lnTo>
                        <a:lnTo>
                          <a:pt x="196" y="521"/>
                        </a:lnTo>
                        <a:lnTo>
                          <a:pt x="187" y="515"/>
                        </a:lnTo>
                        <a:lnTo>
                          <a:pt x="187" y="513"/>
                        </a:lnTo>
                        <a:lnTo>
                          <a:pt x="186" y="511"/>
                        </a:lnTo>
                        <a:lnTo>
                          <a:pt x="184" y="510"/>
                        </a:lnTo>
                        <a:lnTo>
                          <a:pt x="184" y="508"/>
                        </a:lnTo>
                        <a:lnTo>
                          <a:pt x="186" y="506"/>
                        </a:lnTo>
                        <a:lnTo>
                          <a:pt x="191" y="503"/>
                        </a:lnTo>
                        <a:lnTo>
                          <a:pt x="192" y="501"/>
                        </a:lnTo>
                        <a:lnTo>
                          <a:pt x="194" y="500"/>
                        </a:lnTo>
                        <a:lnTo>
                          <a:pt x="192" y="498"/>
                        </a:lnTo>
                        <a:lnTo>
                          <a:pt x="189" y="498"/>
                        </a:lnTo>
                        <a:lnTo>
                          <a:pt x="189" y="496"/>
                        </a:lnTo>
                        <a:lnTo>
                          <a:pt x="192" y="495"/>
                        </a:lnTo>
                        <a:lnTo>
                          <a:pt x="194" y="491"/>
                        </a:lnTo>
                        <a:lnTo>
                          <a:pt x="196" y="488"/>
                        </a:lnTo>
                        <a:lnTo>
                          <a:pt x="196" y="486"/>
                        </a:lnTo>
                        <a:lnTo>
                          <a:pt x="196" y="485"/>
                        </a:lnTo>
                        <a:lnTo>
                          <a:pt x="197" y="483"/>
                        </a:lnTo>
                        <a:lnTo>
                          <a:pt x="196" y="480"/>
                        </a:lnTo>
                        <a:lnTo>
                          <a:pt x="192" y="480"/>
                        </a:lnTo>
                        <a:lnTo>
                          <a:pt x="189" y="475"/>
                        </a:lnTo>
                        <a:lnTo>
                          <a:pt x="184" y="472"/>
                        </a:lnTo>
                        <a:lnTo>
                          <a:pt x="182" y="468"/>
                        </a:lnTo>
                        <a:lnTo>
                          <a:pt x="181" y="467"/>
                        </a:lnTo>
                        <a:lnTo>
                          <a:pt x="179" y="468"/>
                        </a:lnTo>
                        <a:lnTo>
                          <a:pt x="177" y="470"/>
                        </a:lnTo>
                        <a:lnTo>
                          <a:pt x="176" y="470"/>
                        </a:lnTo>
                        <a:lnTo>
                          <a:pt x="174" y="468"/>
                        </a:lnTo>
                        <a:lnTo>
                          <a:pt x="174" y="465"/>
                        </a:lnTo>
                        <a:lnTo>
                          <a:pt x="171" y="463"/>
                        </a:lnTo>
                        <a:lnTo>
                          <a:pt x="167" y="462"/>
                        </a:lnTo>
                        <a:lnTo>
                          <a:pt x="166" y="458"/>
                        </a:lnTo>
                        <a:lnTo>
                          <a:pt x="164" y="458"/>
                        </a:lnTo>
                        <a:lnTo>
                          <a:pt x="162" y="460"/>
                        </a:lnTo>
                        <a:lnTo>
                          <a:pt x="161" y="460"/>
                        </a:lnTo>
                        <a:lnTo>
                          <a:pt x="161" y="458"/>
                        </a:lnTo>
                        <a:lnTo>
                          <a:pt x="161" y="455"/>
                        </a:lnTo>
                        <a:lnTo>
                          <a:pt x="156" y="450"/>
                        </a:lnTo>
                        <a:lnTo>
                          <a:pt x="151" y="447"/>
                        </a:lnTo>
                        <a:lnTo>
                          <a:pt x="149" y="447"/>
                        </a:lnTo>
                        <a:lnTo>
                          <a:pt x="147" y="448"/>
                        </a:lnTo>
                        <a:lnTo>
                          <a:pt x="142" y="448"/>
                        </a:lnTo>
                        <a:lnTo>
                          <a:pt x="136" y="442"/>
                        </a:lnTo>
                        <a:lnTo>
                          <a:pt x="131" y="440"/>
                        </a:lnTo>
                        <a:lnTo>
                          <a:pt x="127" y="438"/>
                        </a:lnTo>
                        <a:lnTo>
                          <a:pt x="124" y="437"/>
                        </a:lnTo>
                        <a:lnTo>
                          <a:pt x="117" y="437"/>
                        </a:lnTo>
                        <a:lnTo>
                          <a:pt x="116" y="440"/>
                        </a:lnTo>
                        <a:lnTo>
                          <a:pt x="113" y="443"/>
                        </a:lnTo>
                        <a:lnTo>
                          <a:pt x="108" y="447"/>
                        </a:lnTo>
                        <a:lnTo>
                          <a:pt x="106" y="448"/>
                        </a:lnTo>
                        <a:lnTo>
                          <a:pt x="106" y="445"/>
                        </a:lnTo>
                        <a:lnTo>
                          <a:pt x="108" y="442"/>
                        </a:lnTo>
                        <a:lnTo>
                          <a:pt x="108" y="437"/>
                        </a:lnTo>
                        <a:lnTo>
                          <a:pt x="106" y="437"/>
                        </a:lnTo>
                        <a:lnTo>
                          <a:pt x="103" y="437"/>
                        </a:lnTo>
                        <a:lnTo>
                          <a:pt x="99" y="438"/>
                        </a:lnTo>
                        <a:lnTo>
                          <a:pt x="99" y="442"/>
                        </a:lnTo>
                        <a:lnTo>
                          <a:pt x="96" y="443"/>
                        </a:lnTo>
                        <a:lnTo>
                          <a:pt x="94" y="442"/>
                        </a:lnTo>
                        <a:lnTo>
                          <a:pt x="91" y="437"/>
                        </a:lnTo>
                        <a:lnTo>
                          <a:pt x="88" y="435"/>
                        </a:lnTo>
                        <a:lnTo>
                          <a:pt x="88" y="438"/>
                        </a:lnTo>
                        <a:lnTo>
                          <a:pt x="84" y="445"/>
                        </a:lnTo>
                        <a:lnTo>
                          <a:pt x="83" y="447"/>
                        </a:lnTo>
                        <a:lnTo>
                          <a:pt x="79" y="445"/>
                        </a:lnTo>
                        <a:lnTo>
                          <a:pt x="79" y="442"/>
                        </a:lnTo>
                        <a:lnTo>
                          <a:pt x="81" y="437"/>
                        </a:lnTo>
                        <a:lnTo>
                          <a:pt x="86" y="435"/>
                        </a:lnTo>
                        <a:lnTo>
                          <a:pt x="84" y="433"/>
                        </a:lnTo>
                        <a:lnTo>
                          <a:pt x="81" y="433"/>
                        </a:lnTo>
                        <a:lnTo>
                          <a:pt x="79" y="432"/>
                        </a:lnTo>
                        <a:lnTo>
                          <a:pt x="76" y="435"/>
                        </a:lnTo>
                        <a:lnTo>
                          <a:pt x="73" y="435"/>
                        </a:lnTo>
                        <a:lnTo>
                          <a:pt x="71" y="438"/>
                        </a:lnTo>
                        <a:lnTo>
                          <a:pt x="69" y="438"/>
                        </a:lnTo>
                        <a:lnTo>
                          <a:pt x="68" y="437"/>
                        </a:lnTo>
                        <a:lnTo>
                          <a:pt x="68" y="433"/>
                        </a:lnTo>
                        <a:lnTo>
                          <a:pt x="66" y="430"/>
                        </a:lnTo>
                        <a:lnTo>
                          <a:pt x="66" y="427"/>
                        </a:lnTo>
                        <a:lnTo>
                          <a:pt x="64" y="427"/>
                        </a:lnTo>
                        <a:lnTo>
                          <a:pt x="61" y="427"/>
                        </a:lnTo>
                        <a:lnTo>
                          <a:pt x="61" y="430"/>
                        </a:lnTo>
                        <a:lnTo>
                          <a:pt x="59" y="433"/>
                        </a:lnTo>
                        <a:lnTo>
                          <a:pt x="58" y="435"/>
                        </a:lnTo>
                        <a:lnTo>
                          <a:pt x="58" y="438"/>
                        </a:lnTo>
                        <a:lnTo>
                          <a:pt x="59" y="445"/>
                        </a:lnTo>
                        <a:lnTo>
                          <a:pt x="58" y="447"/>
                        </a:lnTo>
                        <a:lnTo>
                          <a:pt x="58" y="448"/>
                        </a:lnTo>
                        <a:lnTo>
                          <a:pt x="54" y="447"/>
                        </a:lnTo>
                        <a:lnTo>
                          <a:pt x="49" y="443"/>
                        </a:lnTo>
                        <a:lnTo>
                          <a:pt x="44" y="442"/>
                        </a:lnTo>
                        <a:lnTo>
                          <a:pt x="41" y="438"/>
                        </a:lnTo>
                        <a:lnTo>
                          <a:pt x="36" y="435"/>
                        </a:lnTo>
                        <a:lnTo>
                          <a:pt x="34" y="433"/>
                        </a:lnTo>
                        <a:lnTo>
                          <a:pt x="34" y="432"/>
                        </a:lnTo>
                        <a:lnTo>
                          <a:pt x="36" y="430"/>
                        </a:lnTo>
                        <a:lnTo>
                          <a:pt x="31" y="428"/>
                        </a:lnTo>
                        <a:lnTo>
                          <a:pt x="28" y="422"/>
                        </a:lnTo>
                        <a:lnTo>
                          <a:pt x="24" y="420"/>
                        </a:lnTo>
                        <a:lnTo>
                          <a:pt x="21" y="415"/>
                        </a:lnTo>
                        <a:lnTo>
                          <a:pt x="21" y="410"/>
                        </a:lnTo>
                        <a:lnTo>
                          <a:pt x="23" y="408"/>
                        </a:lnTo>
                        <a:lnTo>
                          <a:pt x="29" y="408"/>
                        </a:lnTo>
                        <a:lnTo>
                          <a:pt x="33" y="405"/>
                        </a:lnTo>
                        <a:lnTo>
                          <a:pt x="36" y="405"/>
                        </a:lnTo>
                        <a:lnTo>
                          <a:pt x="43" y="405"/>
                        </a:lnTo>
                        <a:lnTo>
                          <a:pt x="44" y="405"/>
                        </a:lnTo>
                        <a:lnTo>
                          <a:pt x="48" y="403"/>
                        </a:lnTo>
                        <a:lnTo>
                          <a:pt x="49" y="402"/>
                        </a:lnTo>
                        <a:lnTo>
                          <a:pt x="49" y="398"/>
                        </a:lnTo>
                        <a:lnTo>
                          <a:pt x="44" y="400"/>
                        </a:lnTo>
                        <a:lnTo>
                          <a:pt x="38" y="397"/>
                        </a:lnTo>
                        <a:lnTo>
                          <a:pt x="36" y="397"/>
                        </a:lnTo>
                        <a:lnTo>
                          <a:pt x="34" y="398"/>
                        </a:lnTo>
                        <a:lnTo>
                          <a:pt x="26" y="392"/>
                        </a:lnTo>
                        <a:lnTo>
                          <a:pt x="26" y="387"/>
                        </a:lnTo>
                        <a:lnTo>
                          <a:pt x="28" y="385"/>
                        </a:lnTo>
                        <a:lnTo>
                          <a:pt x="33" y="383"/>
                        </a:lnTo>
                        <a:lnTo>
                          <a:pt x="34" y="378"/>
                        </a:lnTo>
                        <a:lnTo>
                          <a:pt x="36" y="375"/>
                        </a:lnTo>
                        <a:lnTo>
                          <a:pt x="33" y="375"/>
                        </a:lnTo>
                        <a:lnTo>
                          <a:pt x="31" y="377"/>
                        </a:lnTo>
                        <a:lnTo>
                          <a:pt x="28" y="382"/>
                        </a:lnTo>
                        <a:lnTo>
                          <a:pt x="24" y="382"/>
                        </a:lnTo>
                        <a:lnTo>
                          <a:pt x="23" y="383"/>
                        </a:lnTo>
                        <a:lnTo>
                          <a:pt x="19" y="387"/>
                        </a:lnTo>
                        <a:lnTo>
                          <a:pt x="15" y="385"/>
                        </a:lnTo>
                        <a:lnTo>
                          <a:pt x="15" y="380"/>
                        </a:lnTo>
                        <a:lnTo>
                          <a:pt x="15" y="377"/>
                        </a:lnTo>
                        <a:lnTo>
                          <a:pt x="18" y="375"/>
                        </a:lnTo>
                        <a:lnTo>
                          <a:pt x="16" y="374"/>
                        </a:lnTo>
                        <a:lnTo>
                          <a:pt x="15" y="374"/>
                        </a:lnTo>
                        <a:lnTo>
                          <a:pt x="13" y="375"/>
                        </a:lnTo>
                        <a:lnTo>
                          <a:pt x="13" y="372"/>
                        </a:lnTo>
                        <a:lnTo>
                          <a:pt x="13" y="369"/>
                        </a:lnTo>
                        <a:lnTo>
                          <a:pt x="15" y="367"/>
                        </a:lnTo>
                        <a:lnTo>
                          <a:pt x="16" y="365"/>
                        </a:lnTo>
                        <a:lnTo>
                          <a:pt x="18" y="364"/>
                        </a:lnTo>
                        <a:lnTo>
                          <a:pt x="21" y="365"/>
                        </a:lnTo>
                        <a:lnTo>
                          <a:pt x="23" y="367"/>
                        </a:lnTo>
                        <a:lnTo>
                          <a:pt x="23" y="362"/>
                        </a:lnTo>
                        <a:lnTo>
                          <a:pt x="31" y="359"/>
                        </a:lnTo>
                        <a:lnTo>
                          <a:pt x="39" y="360"/>
                        </a:lnTo>
                        <a:lnTo>
                          <a:pt x="44" y="364"/>
                        </a:lnTo>
                        <a:lnTo>
                          <a:pt x="53" y="364"/>
                        </a:lnTo>
                        <a:lnTo>
                          <a:pt x="61" y="369"/>
                        </a:lnTo>
                        <a:lnTo>
                          <a:pt x="68" y="369"/>
                        </a:lnTo>
                        <a:lnTo>
                          <a:pt x="71" y="370"/>
                        </a:lnTo>
                        <a:lnTo>
                          <a:pt x="81" y="375"/>
                        </a:lnTo>
                        <a:lnTo>
                          <a:pt x="84" y="375"/>
                        </a:lnTo>
                        <a:lnTo>
                          <a:pt x="86" y="375"/>
                        </a:lnTo>
                        <a:lnTo>
                          <a:pt x="93" y="374"/>
                        </a:lnTo>
                        <a:lnTo>
                          <a:pt x="88" y="372"/>
                        </a:lnTo>
                        <a:lnTo>
                          <a:pt x="84" y="372"/>
                        </a:lnTo>
                        <a:lnTo>
                          <a:pt x="76" y="369"/>
                        </a:lnTo>
                        <a:lnTo>
                          <a:pt x="71" y="365"/>
                        </a:lnTo>
                        <a:lnTo>
                          <a:pt x="66" y="364"/>
                        </a:lnTo>
                        <a:lnTo>
                          <a:pt x="58" y="364"/>
                        </a:lnTo>
                        <a:lnTo>
                          <a:pt x="54" y="360"/>
                        </a:lnTo>
                        <a:lnTo>
                          <a:pt x="54" y="359"/>
                        </a:lnTo>
                        <a:lnTo>
                          <a:pt x="63" y="355"/>
                        </a:lnTo>
                        <a:lnTo>
                          <a:pt x="69" y="357"/>
                        </a:lnTo>
                        <a:lnTo>
                          <a:pt x="79" y="357"/>
                        </a:lnTo>
                        <a:lnTo>
                          <a:pt x="86" y="360"/>
                        </a:lnTo>
                        <a:lnTo>
                          <a:pt x="89" y="364"/>
                        </a:lnTo>
                        <a:lnTo>
                          <a:pt x="93" y="364"/>
                        </a:lnTo>
                        <a:lnTo>
                          <a:pt x="94" y="365"/>
                        </a:lnTo>
                        <a:lnTo>
                          <a:pt x="98" y="367"/>
                        </a:lnTo>
                        <a:lnTo>
                          <a:pt x="98" y="365"/>
                        </a:lnTo>
                        <a:lnTo>
                          <a:pt x="98" y="364"/>
                        </a:lnTo>
                        <a:lnTo>
                          <a:pt x="96" y="360"/>
                        </a:lnTo>
                        <a:lnTo>
                          <a:pt x="103" y="357"/>
                        </a:lnTo>
                        <a:lnTo>
                          <a:pt x="104" y="357"/>
                        </a:lnTo>
                        <a:lnTo>
                          <a:pt x="103" y="350"/>
                        </a:lnTo>
                        <a:lnTo>
                          <a:pt x="101" y="350"/>
                        </a:lnTo>
                        <a:lnTo>
                          <a:pt x="98" y="350"/>
                        </a:lnTo>
                        <a:lnTo>
                          <a:pt x="96" y="349"/>
                        </a:lnTo>
                        <a:lnTo>
                          <a:pt x="96" y="345"/>
                        </a:lnTo>
                        <a:lnTo>
                          <a:pt x="93" y="344"/>
                        </a:lnTo>
                        <a:lnTo>
                          <a:pt x="91" y="345"/>
                        </a:lnTo>
                        <a:lnTo>
                          <a:pt x="86" y="349"/>
                        </a:lnTo>
                        <a:lnTo>
                          <a:pt x="81" y="349"/>
                        </a:lnTo>
                        <a:lnTo>
                          <a:pt x="74" y="347"/>
                        </a:lnTo>
                        <a:lnTo>
                          <a:pt x="69" y="345"/>
                        </a:lnTo>
                        <a:lnTo>
                          <a:pt x="71" y="344"/>
                        </a:lnTo>
                        <a:lnTo>
                          <a:pt x="69" y="342"/>
                        </a:lnTo>
                        <a:lnTo>
                          <a:pt x="66" y="337"/>
                        </a:lnTo>
                        <a:lnTo>
                          <a:pt x="63" y="337"/>
                        </a:lnTo>
                        <a:lnTo>
                          <a:pt x="63" y="339"/>
                        </a:lnTo>
                        <a:lnTo>
                          <a:pt x="63" y="340"/>
                        </a:lnTo>
                        <a:lnTo>
                          <a:pt x="64" y="342"/>
                        </a:lnTo>
                        <a:lnTo>
                          <a:pt x="64" y="347"/>
                        </a:lnTo>
                        <a:lnTo>
                          <a:pt x="63" y="349"/>
                        </a:lnTo>
                        <a:lnTo>
                          <a:pt x="56" y="349"/>
                        </a:lnTo>
                        <a:lnTo>
                          <a:pt x="49" y="347"/>
                        </a:lnTo>
                        <a:lnTo>
                          <a:pt x="43" y="340"/>
                        </a:lnTo>
                        <a:lnTo>
                          <a:pt x="43" y="339"/>
                        </a:lnTo>
                        <a:lnTo>
                          <a:pt x="48" y="337"/>
                        </a:lnTo>
                        <a:lnTo>
                          <a:pt x="56" y="334"/>
                        </a:lnTo>
                        <a:lnTo>
                          <a:pt x="56" y="334"/>
                        </a:lnTo>
                        <a:lnTo>
                          <a:pt x="54" y="332"/>
                        </a:lnTo>
                        <a:lnTo>
                          <a:pt x="48" y="334"/>
                        </a:lnTo>
                        <a:lnTo>
                          <a:pt x="44" y="335"/>
                        </a:lnTo>
                        <a:lnTo>
                          <a:pt x="39" y="335"/>
                        </a:lnTo>
                        <a:lnTo>
                          <a:pt x="39" y="332"/>
                        </a:lnTo>
                        <a:lnTo>
                          <a:pt x="41" y="330"/>
                        </a:lnTo>
                        <a:lnTo>
                          <a:pt x="46" y="329"/>
                        </a:lnTo>
                        <a:lnTo>
                          <a:pt x="49" y="327"/>
                        </a:lnTo>
                        <a:lnTo>
                          <a:pt x="53" y="322"/>
                        </a:lnTo>
                        <a:lnTo>
                          <a:pt x="51" y="319"/>
                        </a:lnTo>
                        <a:lnTo>
                          <a:pt x="49" y="319"/>
                        </a:lnTo>
                        <a:lnTo>
                          <a:pt x="48" y="320"/>
                        </a:lnTo>
                        <a:lnTo>
                          <a:pt x="46" y="322"/>
                        </a:lnTo>
                        <a:lnTo>
                          <a:pt x="41" y="325"/>
                        </a:lnTo>
                        <a:lnTo>
                          <a:pt x="36" y="325"/>
                        </a:lnTo>
                        <a:lnTo>
                          <a:pt x="31" y="325"/>
                        </a:lnTo>
                        <a:lnTo>
                          <a:pt x="29" y="322"/>
                        </a:lnTo>
                        <a:lnTo>
                          <a:pt x="31" y="320"/>
                        </a:lnTo>
                        <a:lnTo>
                          <a:pt x="33" y="317"/>
                        </a:lnTo>
                        <a:lnTo>
                          <a:pt x="36" y="315"/>
                        </a:lnTo>
                        <a:lnTo>
                          <a:pt x="34" y="314"/>
                        </a:lnTo>
                        <a:lnTo>
                          <a:pt x="33" y="314"/>
                        </a:lnTo>
                        <a:lnTo>
                          <a:pt x="28" y="314"/>
                        </a:lnTo>
                        <a:lnTo>
                          <a:pt x="26" y="312"/>
                        </a:lnTo>
                        <a:lnTo>
                          <a:pt x="21" y="302"/>
                        </a:lnTo>
                        <a:lnTo>
                          <a:pt x="19" y="300"/>
                        </a:lnTo>
                        <a:lnTo>
                          <a:pt x="15" y="299"/>
                        </a:lnTo>
                        <a:lnTo>
                          <a:pt x="13" y="295"/>
                        </a:lnTo>
                        <a:lnTo>
                          <a:pt x="16" y="295"/>
                        </a:lnTo>
                        <a:lnTo>
                          <a:pt x="19" y="294"/>
                        </a:lnTo>
                        <a:lnTo>
                          <a:pt x="23" y="290"/>
                        </a:lnTo>
                        <a:lnTo>
                          <a:pt x="24" y="289"/>
                        </a:lnTo>
                        <a:lnTo>
                          <a:pt x="24" y="289"/>
                        </a:lnTo>
                        <a:lnTo>
                          <a:pt x="28" y="289"/>
                        </a:lnTo>
                        <a:lnTo>
                          <a:pt x="28" y="287"/>
                        </a:lnTo>
                        <a:lnTo>
                          <a:pt x="24" y="287"/>
                        </a:lnTo>
                        <a:lnTo>
                          <a:pt x="21" y="285"/>
                        </a:lnTo>
                        <a:lnTo>
                          <a:pt x="19" y="284"/>
                        </a:lnTo>
                        <a:lnTo>
                          <a:pt x="21" y="282"/>
                        </a:lnTo>
                        <a:lnTo>
                          <a:pt x="24" y="282"/>
                        </a:lnTo>
                        <a:lnTo>
                          <a:pt x="33" y="279"/>
                        </a:lnTo>
                        <a:lnTo>
                          <a:pt x="33" y="277"/>
                        </a:lnTo>
                        <a:lnTo>
                          <a:pt x="33" y="276"/>
                        </a:lnTo>
                        <a:lnTo>
                          <a:pt x="36" y="274"/>
                        </a:lnTo>
                        <a:lnTo>
                          <a:pt x="39" y="272"/>
                        </a:lnTo>
                        <a:lnTo>
                          <a:pt x="43" y="272"/>
                        </a:lnTo>
                        <a:lnTo>
                          <a:pt x="44" y="272"/>
                        </a:lnTo>
                        <a:lnTo>
                          <a:pt x="48" y="272"/>
                        </a:lnTo>
                        <a:lnTo>
                          <a:pt x="51" y="271"/>
                        </a:lnTo>
                        <a:lnTo>
                          <a:pt x="54" y="271"/>
                        </a:lnTo>
                        <a:lnTo>
                          <a:pt x="58" y="272"/>
                        </a:lnTo>
                        <a:lnTo>
                          <a:pt x="58" y="272"/>
                        </a:lnTo>
                        <a:lnTo>
                          <a:pt x="59" y="274"/>
                        </a:lnTo>
                        <a:lnTo>
                          <a:pt x="61" y="272"/>
                        </a:lnTo>
                        <a:lnTo>
                          <a:pt x="63" y="271"/>
                        </a:lnTo>
                        <a:lnTo>
                          <a:pt x="66" y="269"/>
                        </a:lnTo>
                        <a:lnTo>
                          <a:pt x="69" y="269"/>
                        </a:lnTo>
                        <a:lnTo>
                          <a:pt x="71" y="269"/>
                        </a:lnTo>
                        <a:lnTo>
                          <a:pt x="74" y="267"/>
                        </a:lnTo>
                        <a:lnTo>
                          <a:pt x="74" y="267"/>
                        </a:lnTo>
                        <a:lnTo>
                          <a:pt x="79" y="267"/>
                        </a:lnTo>
                        <a:lnTo>
                          <a:pt x="98" y="264"/>
                        </a:lnTo>
                        <a:lnTo>
                          <a:pt x="101" y="264"/>
                        </a:lnTo>
                        <a:lnTo>
                          <a:pt x="103" y="266"/>
                        </a:lnTo>
                        <a:lnTo>
                          <a:pt x="103" y="262"/>
                        </a:lnTo>
                        <a:lnTo>
                          <a:pt x="101" y="261"/>
                        </a:lnTo>
                        <a:lnTo>
                          <a:pt x="103" y="259"/>
                        </a:lnTo>
                        <a:lnTo>
                          <a:pt x="109" y="256"/>
                        </a:lnTo>
                        <a:lnTo>
                          <a:pt x="116" y="256"/>
                        </a:lnTo>
                        <a:lnTo>
                          <a:pt x="121" y="256"/>
                        </a:lnTo>
                        <a:lnTo>
                          <a:pt x="124" y="256"/>
                        </a:lnTo>
                        <a:lnTo>
                          <a:pt x="129" y="257"/>
                        </a:lnTo>
                        <a:lnTo>
                          <a:pt x="132" y="254"/>
                        </a:lnTo>
                        <a:lnTo>
                          <a:pt x="137" y="254"/>
                        </a:lnTo>
                        <a:lnTo>
                          <a:pt x="144" y="256"/>
                        </a:lnTo>
                        <a:lnTo>
                          <a:pt x="146" y="257"/>
                        </a:lnTo>
                        <a:lnTo>
                          <a:pt x="149" y="257"/>
                        </a:lnTo>
                        <a:lnTo>
                          <a:pt x="152" y="259"/>
                        </a:lnTo>
                        <a:lnTo>
                          <a:pt x="157" y="262"/>
                        </a:lnTo>
                        <a:lnTo>
                          <a:pt x="161" y="262"/>
                        </a:lnTo>
                        <a:lnTo>
                          <a:pt x="164" y="261"/>
                        </a:lnTo>
                        <a:lnTo>
                          <a:pt x="164" y="259"/>
                        </a:lnTo>
                        <a:lnTo>
                          <a:pt x="167" y="256"/>
                        </a:lnTo>
                        <a:lnTo>
                          <a:pt x="171" y="251"/>
                        </a:lnTo>
                        <a:lnTo>
                          <a:pt x="174" y="246"/>
                        </a:lnTo>
                        <a:lnTo>
                          <a:pt x="181" y="244"/>
                        </a:lnTo>
                        <a:lnTo>
                          <a:pt x="182" y="242"/>
                        </a:lnTo>
                        <a:lnTo>
                          <a:pt x="186" y="236"/>
                        </a:lnTo>
                        <a:lnTo>
                          <a:pt x="191" y="234"/>
                        </a:lnTo>
                        <a:lnTo>
                          <a:pt x="192" y="231"/>
                        </a:lnTo>
                        <a:lnTo>
                          <a:pt x="189" y="229"/>
                        </a:lnTo>
                        <a:lnTo>
                          <a:pt x="187" y="226"/>
                        </a:lnTo>
                        <a:lnTo>
                          <a:pt x="192" y="221"/>
                        </a:lnTo>
                        <a:lnTo>
                          <a:pt x="196" y="221"/>
                        </a:lnTo>
                        <a:lnTo>
                          <a:pt x="202" y="221"/>
                        </a:lnTo>
                        <a:lnTo>
                          <a:pt x="207" y="217"/>
                        </a:lnTo>
                        <a:lnTo>
                          <a:pt x="209" y="216"/>
                        </a:lnTo>
                        <a:lnTo>
                          <a:pt x="207" y="214"/>
                        </a:lnTo>
                        <a:lnTo>
                          <a:pt x="202" y="214"/>
                        </a:lnTo>
                        <a:lnTo>
                          <a:pt x="197" y="211"/>
                        </a:lnTo>
                        <a:lnTo>
                          <a:pt x="197" y="209"/>
                        </a:lnTo>
                        <a:lnTo>
                          <a:pt x="197" y="207"/>
                        </a:lnTo>
                        <a:lnTo>
                          <a:pt x="202" y="206"/>
                        </a:lnTo>
                        <a:lnTo>
                          <a:pt x="209" y="207"/>
                        </a:lnTo>
                        <a:lnTo>
                          <a:pt x="214" y="204"/>
                        </a:lnTo>
                        <a:lnTo>
                          <a:pt x="219" y="202"/>
                        </a:lnTo>
                        <a:lnTo>
                          <a:pt x="219" y="199"/>
                        </a:lnTo>
                        <a:lnTo>
                          <a:pt x="219" y="199"/>
                        </a:lnTo>
                        <a:lnTo>
                          <a:pt x="219" y="194"/>
                        </a:lnTo>
                        <a:lnTo>
                          <a:pt x="217" y="194"/>
                        </a:lnTo>
                        <a:lnTo>
                          <a:pt x="214" y="197"/>
                        </a:lnTo>
                        <a:lnTo>
                          <a:pt x="214" y="201"/>
                        </a:lnTo>
                        <a:lnTo>
                          <a:pt x="211" y="202"/>
                        </a:lnTo>
                        <a:lnTo>
                          <a:pt x="204" y="202"/>
                        </a:lnTo>
                        <a:lnTo>
                          <a:pt x="201" y="201"/>
                        </a:lnTo>
                        <a:lnTo>
                          <a:pt x="197" y="201"/>
                        </a:lnTo>
                        <a:lnTo>
                          <a:pt x="194" y="204"/>
                        </a:lnTo>
                        <a:lnTo>
                          <a:pt x="189" y="204"/>
                        </a:lnTo>
                        <a:lnTo>
                          <a:pt x="187" y="202"/>
                        </a:lnTo>
                        <a:lnTo>
                          <a:pt x="184" y="199"/>
                        </a:lnTo>
                        <a:lnTo>
                          <a:pt x="181" y="199"/>
                        </a:lnTo>
                        <a:lnTo>
                          <a:pt x="179" y="202"/>
                        </a:lnTo>
                        <a:lnTo>
                          <a:pt x="176" y="202"/>
                        </a:lnTo>
                        <a:lnTo>
                          <a:pt x="174" y="199"/>
                        </a:lnTo>
                        <a:lnTo>
                          <a:pt x="171" y="201"/>
                        </a:lnTo>
                        <a:lnTo>
                          <a:pt x="169" y="199"/>
                        </a:lnTo>
                        <a:lnTo>
                          <a:pt x="169" y="197"/>
                        </a:lnTo>
                        <a:lnTo>
                          <a:pt x="169" y="194"/>
                        </a:lnTo>
                        <a:lnTo>
                          <a:pt x="167" y="194"/>
                        </a:lnTo>
                        <a:lnTo>
                          <a:pt x="167" y="192"/>
                        </a:lnTo>
                        <a:lnTo>
                          <a:pt x="167" y="189"/>
                        </a:lnTo>
                        <a:lnTo>
                          <a:pt x="171" y="187"/>
                        </a:lnTo>
                        <a:lnTo>
                          <a:pt x="174" y="184"/>
                        </a:lnTo>
                        <a:lnTo>
                          <a:pt x="176" y="182"/>
                        </a:lnTo>
                        <a:lnTo>
                          <a:pt x="179" y="181"/>
                        </a:lnTo>
                        <a:lnTo>
                          <a:pt x="179" y="179"/>
                        </a:lnTo>
                        <a:lnTo>
                          <a:pt x="177" y="178"/>
                        </a:lnTo>
                        <a:lnTo>
                          <a:pt x="177" y="174"/>
                        </a:lnTo>
                        <a:lnTo>
                          <a:pt x="179" y="173"/>
                        </a:lnTo>
                        <a:lnTo>
                          <a:pt x="182" y="173"/>
                        </a:lnTo>
                        <a:lnTo>
                          <a:pt x="186" y="171"/>
                        </a:lnTo>
                        <a:lnTo>
                          <a:pt x="189" y="169"/>
                        </a:lnTo>
                        <a:lnTo>
                          <a:pt x="189" y="166"/>
                        </a:lnTo>
                        <a:lnTo>
                          <a:pt x="196" y="164"/>
                        </a:lnTo>
                        <a:lnTo>
                          <a:pt x="199" y="161"/>
                        </a:lnTo>
                        <a:lnTo>
                          <a:pt x="202" y="159"/>
                        </a:lnTo>
                        <a:lnTo>
                          <a:pt x="209" y="159"/>
                        </a:lnTo>
                        <a:lnTo>
                          <a:pt x="212" y="159"/>
                        </a:lnTo>
                        <a:lnTo>
                          <a:pt x="211" y="158"/>
                        </a:lnTo>
                        <a:lnTo>
                          <a:pt x="209" y="158"/>
                        </a:lnTo>
                        <a:lnTo>
                          <a:pt x="209" y="154"/>
                        </a:lnTo>
                        <a:lnTo>
                          <a:pt x="211" y="154"/>
                        </a:lnTo>
                        <a:lnTo>
                          <a:pt x="215" y="154"/>
                        </a:lnTo>
                        <a:lnTo>
                          <a:pt x="217" y="156"/>
                        </a:lnTo>
                        <a:lnTo>
                          <a:pt x="219" y="156"/>
                        </a:lnTo>
                        <a:lnTo>
                          <a:pt x="224" y="149"/>
                        </a:lnTo>
                        <a:lnTo>
                          <a:pt x="224" y="148"/>
                        </a:lnTo>
                        <a:lnTo>
                          <a:pt x="225" y="144"/>
                        </a:lnTo>
                        <a:lnTo>
                          <a:pt x="230" y="141"/>
                        </a:lnTo>
                        <a:lnTo>
                          <a:pt x="234" y="139"/>
                        </a:lnTo>
                        <a:lnTo>
                          <a:pt x="237" y="136"/>
                        </a:lnTo>
                        <a:lnTo>
                          <a:pt x="240" y="136"/>
                        </a:lnTo>
                        <a:lnTo>
                          <a:pt x="242" y="134"/>
                        </a:lnTo>
                        <a:lnTo>
                          <a:pt x="244" y="136"/>
                        </a:lnTo>
                        <a:lnTo>
                          <a:pt x="245" y="141"/>
                        </a:lnTo>
                        <a:lnTo>
                          <a:pt x="245" y="148"/>
                        </a:lnTo>
                        <a:lnTo>
                          <a:pt x="245" y="151"/>
                        </a:lnTo>
                        <a:lnTo>
                          <a:pt x="245" y="158"/>
                        </a:lnTo>
                        <a:lnTo>
                          <a:pt x="245" y="166"/>
                        </a:lnTo>
                        <a:lnTo>
                          <a:pt x="247" y="166"/>
                        </a:lnTo>
                        <a:lnTo>
                          <a:pt x="249" y="163"/>
                        </a:lnTo>
                        <a:lnTo>
                          <a:pt x="250" y="156"/>
                        </a:lnTo>
                        <a:lnTo>
                          <a:pt x="249" y="149"/>
                        </a:lnTo>
                        <a:lnTo>
                          <a:pt x="247" y="146"/>
                        </a:lnTo>
                        <a:lnTo>
                          <a:pt x="249" y="143"/>
                        </a:lnTo>
                        <a:lnTo>
                          <a:pt x="249" y="138"/>
                        </a:lnTo>
                        <a:lnTo>
                          <a:pt x="250" y="136"/>
                        </a:lnTo>
                        <a:lnTo>
                          <a:pt x="254" y="136"/>
                        </a:lnTo>
                        <a:lnTo>
                          <a:pt x="255" y="134"/>
                        </a:lnTo>
                        <a:lnTo>
                          <a:pt x="257" y="133"/>
                        </a:lnTo>
                        <a:lnTo>
                          <a:pt x="259" y="133"/>
                        </a:lnTo>
                        <a:lnTo>
                          <a:pt x="259" y="134"/>
                        </a:lnTo>
                        <a:lnTo>
                          <a:pt x="260" y="136"/>
                        </a:lnTo>
                        <a:lnTo>
                          <a:pt x="264" y="136"/>
                        </a:lnTo>
                        <a:lnTo>
                          <a:pt x="265" y="138"/>
                        </a:lnTo>
                        <a:lnTo>
                          <a:pt x="264" y="141"/>
                        </a:lnTo>
                        <a:lnTo>
                          <a:pt x="265" y="143"/>
                        </a:lnTo>
                        <a:lnTo>
                          <a:pt x="269" y="144"/>
                        </a:lnTo>
                        <a:lnTo>
                          <a:pt x="277" y="144"/>
                        </a:lnTo>
                        <a:lnTo>
                          <a:pt x="277" y="143"/>
                        </a:lnTo>
                        <a:lnTo>
                          <a:pt x="282" y="143"/>
                        </a:lnTo>
                        <a:lnTo>
                          <a:pt x="282" y="141"/>
                        </a:lnTo>
                        <a:lnTo>
                          <a:pt x="280" y="138"/>
                        </a:lnTo>
                        <a:lnTo>
                          <a:pt x="282" y="136"/>
                        </a:lnTo>
                        <a:lnTo>
                          <a:pt x="284" y="134"/>
                        </a:lnTo>
                        <a:lnTo>
                          <a:pt x="285" y="129"/>
                        </a:lnTo>
                        <a:lnTo>
                          <a:pt x="287" y="129"/>
                        </a:lnTo>
                        <a:lnTo>
                          <a:pt x="290" y="128"/>
                        </a:lnTo>
                        <a:lnTo>
                          <a:pt x="297" y="124"/>
                        </a:lnTo>
                        <a:lnTo>
                          <a:pt x="300" y="121"/>
                        </a:lnTo>
                        <a:lnTo>
                          <a:pt x="299" y="116"/>
                        </a:lnTo>
                        <a:lnTo>
                          <a:pt x="297" y="116"/>
                        </a:lnTo>
                        <a:lnTo>
                          <a:pt x="295" y="116"/>
                        </a:lnTo>
                        <a:lnTo>
                          <a:pt x="295" y="113"/>
                        </a:lnTo>
                        <a:lnTo>
                          <a:pt x="295" y="111"/>
                        </a:lnTo>
                        <a:lnTo>
                          <a:pt x="299" y="108"/>
                        </a:lnTo>
                        <a:lnTo>
                          <a:pt x="299" y="103"/>
                        </a:lnTo>
                        <a:lnTo>
                          <a:pt x="299" y="99"/>
                        </a:lnTo>
                        <a:lnTo>
                          <a:pt x="300" y="94"/>
                        </a:lnTo>
                        <a:lnTo>
                          <a:pt x="304" y="91"/>
                        </a:lnTo>
                        <a:lnTo>
                          <a:pt x="310" y="91"/>
                        </a:lnTo>
                        <a:lnTo>
                          <a:pt x="315" y="88"/>
                        </a:lnTo>
                        <a:lnTo>
                          <a:pt x="322" y="86"/>
                        </a:lnTo>
                        <a:lnTo>
                          <a:pt x="323" y="88"/>
                        </a:lnTo>
                        <a:lnTo>
                          <a:pt x="323" y="89"/>
                        </a:lnTo>
                        <a:lnTo>
                          <a:pt x="323" y="93"/>
                        </a:lnTo>
                        <a:lnTo>
                          <a:pt x="328" y="99"/>
                        </a:lnTo>
                        <a:lnTo>
                          <a:pt x="328" y="103"/>
                        </a:lnTo>
                        <a:lnTo>
                          <a:pt x="327" y="111"/>
                        </a:lnTo>
                        <a:lnTo>
                          <a:pt x="327" y="119"/>
                        </a:lnTo>
                        <a:lnTo>
                          <a:pt x="330" y="121"/>
                        </a:lnTo>
                        <a:lnTo>
                          <a:pt x="335" y="126"/>
                        </a:lnTo>
                        <a:lnTo>
                          <a:pt x="338" y="129"/>
                        </a:lnTo>
                        <a:lnTo>
                          <a:pt x="340" y="131"/>
                        </a:lnTo>
                        <a:lnTo>
                          <a:pt x="342" y="129"/>
                        </a:lnTo>
                        <a:lnTo>
                          <a:pt x="340" y="123"/>
                        </a:lnTo>
                        <a:lnTo>
                          <a:pt x="340" y="118"/>
                        </a:lnTo>
                        <a:lnTo>
                          <a:pt x="335" y="111"/>
                        </a:lnTo>
                        <a:lnTo>
                          <a:pt x="333" y="104"/>
                        </a:lnTo>
                        <a:lnTo>
                          <a:pt x="337" y="99"/>
                        </a:lnTo>
                        <a:lnTo>
                          <a:pt x="337" y="96"/>
                        </a:lnTo>
                        <a:lnTo>
                          <a:pt x="335" y="94"/>
                        </a:lnTo>
                        <a:lnTo>
                          <a:pt x="333" y="89"/>
                        </a:lnTo>
                        <a:lnTo>
                          <a:pt x="333" y="86"/>
                        </a:lnTo>
                        <a:lnTo>
                          <a:pt x="332" y="83"/>
                        </a:lnTo>
                        <a:lnTo>
                          <a:pt x="333" y="81"/>
                        </a:lnTo>
                        <a:lnTo>
                          <a:pt x="337" y="78"/>
                        </a:lnTo>
                        <a:lnTo>
                          <a:pt x="342" y="78"/>
                        </a:lnTo>
                        <a:lnTo>
                          <a:pt x="345" y="80"/>
                        </a:lnTo>
                        <a:lnTo>
                          <a:pt x="348" y="78"/>
                        </a:lnTo>
                        <a:lnTo>
                          <a:pt x="352" y="78"/>
                        </a:lnTo>
                        <a:lnTo>
                          <a:pt x="358" y="80"/>
                        </a:lnTo>
                        <a:lnTo>
                          <a:pt x="368" y="78"/>
                        </a:lnTo>
                        <a:lnTo>
                          <a:pt x="377" y="76"/>
                        </a:lnTo>
                        <a:lnTo>
                          <a:pt x="387" y="75"/>
                        </a:lnTo>
                        <a:lnTo>
                          <a:pt x="388" y="78"/>
                        </a:lnTo>
                        <a:lnTo>
                          <a:pt x="390" y="81"/>
                        </a:lnTo>
                        <a:lnTo>
                          <a:pt x="390" y="84"/>
                        </a:lnTo>
                        <a:lnTo>
                          <a:pt x="390" y="86"/>
                        </a:lnTo>
                        <a:lnTo>
                          <a:pt x="393" y="86"/>
                        </a:lnTo>
                        <a:lnTo>
                          <a:pt x="397" y="83"/>
                        </a:lnTo>
                        <a:lnTo>
                          <a:pt x="393" y="80"/>
                        </a:lnTo>
                        <a:lnTo>
                          <a:pt x="393" y="76"/>
                        </a:lnTo>
                        <a:lnTo>
                          <a:pt x="400" y="71"/>
                        </a:lnTo>
                        <a:lnTo>
                          <a:pt x="405" y="73"/>
                        </a:lnTo>
                        <a:lnTo>
                          <a:pt x="407" y="76"/>
                        </a:lnTo>
                        <a:lnTo>
                          <a:pt x="408" y="81"/>
                        </a:lnTo>
                        <a:lnTo>
                          <a:pt x="410" y="83"/>
                        </a:lnTo>
                        <a:lnTo>
                          <a:pt x="412" y="80"/>
                        </a:lnTo>
                        <a:lnTo>
                          <a:pt x="412" y="73"/>
                        </a:lnTo>
                        <a:lnTo>
                          <a:pt x="408" y="71"/>
                        </a:lnTo>
                        <a:lnTo>
                          <a:pt x="407" y="68"/>
                        </a:lnTo>
                        <a:lnTo>
                          <a:pt x="408" y="66"/>
                        </a:lnTo>
                        <a:lnTo>
                          <a:pt x="413" y="68"/>
                        </a:lnTo>
                        <a:lnTo>
                          <a:pt x="416" y="70"/>
                        </a:lnTo>
                        <a:lnTo>
                          <a:pt x="421" y="66"/>
                        </a:lnTo>
                        <a:lnTo>
                          <a:pt x="425" y="65"/>
                        </a:lnTo>
                        <a:lnTo>
                          <a:pt x="431" y="66"/>
                        </a:lnTo>
                        <a:lnTo>
                          <a:pt x="433" y="70"/>
                        </a:lnTo>
                        <a:lnTo>
                          <a:pt x="433" y="80"/>
                        </a:lnTo>
                        <a:lnTo>
                          <a:pt x="430" y="84"/>
                        </a:lnTo>
                        <a:lnTo>
                          <a:pt x="430" y="89"/>
                        </a:lnTo>
                        <a:lnTo>
                          <a:pt x="426" y="96"/>
                        </a:lnTo>
                        <a:lnTo>
                          <a:pt x="425" y="99"/>
                        </a:lnTo>
                        <a:lnTo>
                          <a:pt x="425" y="103"/>
                        </a:lnTo>
                        <a:lnTo>
                          <a:pt x="423" y="106"/>
                        </a:lnTo>
                        <a:lnTo>
                          <a:pt x="420" y="106"/>
                        </a:lnTo>
                        <a:lnTo>
                          <a:pt x="420" y="109"/>
                        </a:lnTo>
                        <a:lnTo>
                          <a:pt x="421" y="111"/>
                        </a:lnTo>
                        <a:lnTo>
                          <a:pt x="421" y="113"/>
                        </a:lnTo>
                        <a:lnTo>
                          <a:pt x="421" y="116"/>
                        </a:lnTo>
                        <a:lnTo>
                          <a:pt x="416" y="119"/>
                        </a:lnTo>
                        <a:lnTo>
                          <a:pt x="415" y="124"/>
                        </a:lnTo>
                        <a:lnTo>
                          <a:pt x="410" y="128"/>
                        </a:lnTo>
                        <a:lnTo>
                          <a:pt x="408" y="129"/>
                        </a:lnTo>
                        <a:lnTo>
                          <a:pt x="408" y="134"/>
                        </a:lnTo>
                        <a:lnTo>
                          <a:pt x="405" y="138"/>
                        </a:lnTo>
                        <a:lnTo>
                          <a:pt x="403" y="143"/>
                        </a:lnTo>
                        <a:lnTo>
                          <a:pt x="405" y="143"/>
                        </a:lnTo>
                        <a:lnTo>
                          <a:pt x="408" y="143"/>
                        </a:lnTo>
                        <a:lnTo>
                          <a:pt x="412" y="138"/>
                        </a:lnTo>
                        <a:lnTo>
                          <a:pt x="413" y="136"/>
                        </a:lnTo>
                        <a:lnTo>
                          <a:pt x="413" y="134"/>
                        </a:lnTo>
                        <a:lnTo>
                          <a:pt x="416" y="131"/>
                        </a:lnTo>
                        <a:lnTo>
                          <a:pt x="421" y="124"/>
                        </a:lnTo>
                        <a:lnTo>
                          <a:pt x="423" y="121"/>
                        </a:lnTo>
                        <a:lnTo>
                          <a:pt x="426" y="119"/>
                        </a:lnTo>
                        <a:lnTo>
                          <a:pt x="428" y="118"/>
                        </a:lnTo>
                        <a:lnTo>
                          <a:pt x="430" y="114"/>
                        </a:lnTo>
                        <a:lnTo>
                          <a:pt x="430" y="113"/>
                        </a:lnTo>
                        <a:lnTo>
                          <a:pt x="433" y="111"/>
                        </a:lnTo>
                        <a:lnTo>
                          <a:pt x="435" y="106"/>
                        </a:lnTo>
                        <a:lnTo>
                          <a:pt x="438" y="104"/>
                        </a:lnTo>
                        <a:lnTo>
                          <a:pt x="440" y="106"/>
                        </a:lnTo>
                        <a:lnTo>
                          <a:pt x="438" y="109"/>
                        </a:lnTo>
                        <a:lnTo>
                          <a:pt x="441" y="113"/>
                        </a:lnTo>
                        <a:lnTo>
                          <a:pt x="443" y="116"/>
                        </a:lnTo>
                        <a:lnTo>
                          <a:pt x="445" y="121"/>
                        </a:lnTo>
                        <a:lnTo>
                          <a:pt x="448" y="126"/>
                        </a:lnTo>
                        <a:lnTo>
                          <a:pt x="448" y="131"/>
                        </a:lnTo>
                        <a:lnTo>
                          <a:pt x="451" y="133"/>
                        </a:lnTo>
                        <a:lnTo>
                          <a:pt x="455" y="134"/>
                        </a:lnTo>
                        <a:lnTo>
                          <a:pt x="455" y="134"/>
                        </a:lnTo>
                        <a:lnTo>
                          <a:pt x="458" y="134"/>
                        </a:lnTo>
                        <a:lnTo>
                          <a:pt x="458" y="133"/>
                        </a:lnTo>
                        <a:lnTo>
                          <a:pt x="460" y="131"/>
                        </a:lnTo>
                        <a:lnTo>
                          <a:pt x="460" y="129"/>
                        </a:lnTo>
                        <a:lnTo>
                          <a:pt x="456" y="126"/>
                        </a:lnTo>
                        <a:lnTo>
                          <a:pt x="455" y="124"/>
                        </a:lnTo>
                        <a:lnTo>
                          <a:pt x="456" y="123"/>
                        </a:lnTo>
                        <a:lnTo>
                          <a:pt x="458" y="123"/>
                        </a:lnTo>
                        <a:lnTo>
                          <a:pt x="461" y="126"/>
                        </a:lnTo>
                        <a:lnTo>
                          <a:pt x="466" y="126"/>
                        </a:lnTo>
                        <a:lnTo>
                          <a:pt x="470" y="128"/>
                        </a:lnTo>
                        <a:lnTo>
                          <a:pt x="470" y="129"/>
                        </a:lnTo>
                        <a:lnTo>
                          <a:pt x="473" y="129"/>
                        </a:lnTo>
                        <a:lnTo>
                          <a:pt x="475" y="128"/>
                        </a:lnTo>
                        <a:lnTo>
                          <a:pt x="476" y="128"/>
                        </a:lnTo>
                        <a:lnTo>
                          <a:pt x="478" y="129"/>
                        </a:lnTo>
                        <a:lnTo>
                          <a:pt x="481" y="129"/>
                        </a:lnTo>
                        <a:lnTo>
                          <a:pt x="480" y="121"/>
                        </a:lnTo>
                        <a:lnTo>
                          <a:pt x="480" y="118"/>
                        </a:lnTo>
                        <a:lnTo>
                          <a:pt x="481" y="111"/>
                        </a:lnTo>
                        <a:lnTo>
                          <a:pt x="481" y="106"/>
                        </a:lnTo>
                        <a:lnTo>
                          <a:pt x="480" y="103"/>
                        </a:lnTo>
                        <a:lnTo>
                          <a:pt x="478" y="98"/>
                        </a:lnTo>
                        <a:lnTo>
                          <a:pt x="478" y="93"/>
                        </a:lnTo>
                        <a:lnTo>
                          <a:pt x="483" y="84"/>
                        </a:lnTo>
                        <a:lnTo>
                          <a:pt x="483" y="83"/>
                        </a:lnTo>
                        <a:lnTo>
                          <a:pt x="481" y="80"/>
                        </a:lnTo>
                        <a:lnTo>
                          <a:pt x="483" y="78"/>
                        </a:lnTo>
                        <a:lnTo>
                          <a:pt x="483" y="71"/>
                        </a:lnTo>
                        <a:lnTo>
                          <a:pt x="486" y="70"/>
                        </a:lnTo>
                        <a:lnTo>
                          <a:pt x="490" y="70"/>
                        </a:lnTo>
                        <a:lnTo>
                          <a:pt x="493" y="71"/>
                        </a:lnTo>
                        <a:lnTo>
                          <a:pt x="496" y="71"/>
                        </a:lnTo>
                        <a:lnTo>
                          <a:pt x="500" y="73"/>
                        </a:lnTo>
                        <a:lnTo>
                          <a:pt x="501" y="75"/>
                        </a:lnTo>
                        <a:lnTo>
                          <a:pt x="505" y="78"/>
                        </a:lnTo>
                        <a:lnTo>
                          <a:pt x="506" y="81"/>
                        </a:lnTo>
                        <a:lnTo>
                          <a:pt x="511" y="89"/>
                        </a:lnTo>
                        <a:lnTo>
                          <a:pt x="511" y="93"/>
                        </a:lnTo>
                        <a:lnTo>
                          <a:pt x="514" y="99"/>
                        </a:lnTo>
                        <a:lnTo>
                          <a:pt x="518" y="104"/>
                        </a:lnTo>
                        <a:lnTo>
                          <a:pt x="519" y="114"/>
                        </a:lnTo>
                        <a:lnTo>
                          <a:pt x="518" y="118"/>
                        </a:lnTo>
                        <a:lnTo>
                          <a:pt x="516" y="119"/>
                        </a:lnTo>
                        <a:lnTo>
                          <a:pt x="516" y="123"/>
                        </a:lnTo>
                        <a:lnTo>
                          <a:pt x="516" y="128"/>
                        </a:lnTo>
                        <a:lnTo>
                          <a:pt x="519" y="129"/>
                        </a:lnTo>
                        <a:lnTo>
                          <a:pt x="521" y="136"/>
                        </a:lnTo>
                        <a:lnTo>
                          <a:pt x="521" y="141"/>
                        </a:lnTo>
                        <a:lnTo>
                          <a:pt x="521" y="146"/>
                        </a:lnTo>
                        <a:lnTo>
                          <a:pt x="523" y="149"/>
                        </a:lnTo>
                        <a:lnTo>
                          <a:pt x="528" y="149"/>
                        </a:lnTo>
                        <a:lnTo>
                          <a:pt x="533" y="153"/>
                        </a:lnTo>
                        <a:lnTo>
                          <a:pt x="536" y="153"/>
                        </a:lnTo>
                        <a:lnTo>
                          <a:pt x="541" y="151"/>
                        </a:lnTo>
                        <a:lnTo>
                          <a:pt x="544" y="144"/>
                        </a:lnTo>
                        <a:lnTo>
                          <a:pt x="548" y="143"/>
                        </a:lnTo>
                        <a:lnTo>
                          <a:pt x="548" y="144"/>
                        </a:lnTo>
                        <a:lnTo>
                          <a:pt x="548" y="148"/>
                        </a:lnTo>
                        <a:lnTo>
                          <a:pt x="549" y="149"/>
                        </a:lnTo>
                        <a:lnTo>
                          <a:pt x="551" y="149"/>
                        </a:lnTo>
                        <a:lnTo>
                          <a:pt x="554" y="148"/>
                        </a:lnTo>
                        <a:lnTo>
                          <a:pt x="556" y="149"/>
                        </a:lnTo>
                        <a:lnTo>
                          <a:pt x="558" y="153"/>
                        </a:lnTo>
                        <a:lnTo>
                          <a:pt x="558" y="154"/>
                        </a:lnTo>
                        <a:lnTo>
                          <a:pt x="559" y="158"/>
                        </a:lnTo>
                        <a:lnTo>
                          <a:pt x="563" y="158"/>
                        </a:lnTo>
                        <a:lnTo>
                          <a:pt x="566" y="158"/>
                        </a:lnTo>
                        <a:lnTo>
                          <a:pt x="571" y="158"/>
                        </a:lnTo>
                        <a:lnTo>
                          <a:pt x="571" y="156"/>
                        </a:lnTo>
                        <a:lnTo>
                          <a:pt x="569" y="156"/>
                        </a:lnTo>
                        <a:lnTo>
                          <a:pt x="566" y="153"/>
                        </a:lnTo>
                        <a:lnTo>
                          <a:pt x="564" y="151"/>
                        </a:lnTo>
                        <a:lnTo>
                          <a:pt x="564" y="148"/>
                        </a:lnTo>
                        <a:lnTo>
                          <a:pt x="561" y="148"/>
                        </a:lnTo>
                        <a:lnTo>
                          <a:pt x="559" y="146"/>
                        </a:lnTo>
                        <a:lnTo>
                          <a:pt x="559" y="143"/>
                        </a:lnTo>
                        <a:lnTo>
                          <a:pt x="558" y="139"/>
                        </a:lnTo>
                        <a:lnTo>
                          <a:pt x="553" y="134"/>
                        </a:lnTo>
                        <a:lnTo>
                          <a:pt x="553" y="133"/>
                        </a:lnTo>
                        <a:lnTo>
                          <a:pt x="551" y="128"/>
                        </a:lnTo>
                        <a:lnTo>
                          <a:pt x="548" y="123"/>
                        </a:lnTo>
                        <a:lnTo>
                          <a:pt x="548" y="121"/>
                        </a:lnTo>
                        <a:lnTo>
                          <a:pt x="549" y="114"/>
                        </a:lnTo>
                        <a:lnTo>
                          <a:pt x="548" y="111"/>
                        </a:lnTo>
                        <a:lnTo>
                          <a:pt x="544" y="106"/>
                        </a:lnTo>
                        <a:lnTo>
                          <a:pt x="544" y="101"/>
                        </a:lnTo>
                        <a:lnTo>
                          <a:pt x="546" y="99"/>
                        </a:lnTo>
                        <a:lnTo>
                          <a:pt x="544" y="94"/>
                        </a:lnTo>
                        <a:lnTo>
                          <a:pt x="543" y="93"/>
                        </a:lnTo>
                        <a:lnTo>
                          <a:pt x="543" y="88"/>
                        </a:lnTo>
                        <a:lnTo>
                          <a:pt x="541" y="81"/>
                        </a:lnTo>
                        <a:lnTo>
                          <a:pt x="538" y="78"/>
                        </a:lnTo>
                        <a:lnTo>
                          <a:pt x="541" y="75"/>
                        </a:lnTo>
                        <a:lnTo>
                          <a:pt x="538" y="70"/>
                        </a:lnTo>
                        <a:lnTo>
                          <a:pt x="538" y="66"/>
                        </a:lnTo>
                        <a:lnTo>
                          <a:pt x="539" y="63"/>
                        </a:lnTo>
                        <a:lnTo>
                          <a:pt x="548" y="65"/>
                        </a:lnTo>
                        <a:lnTo>
                          <a:pt x="549" y="68"/>
                        </a:lnTo>
                        <a:lnTo>
                          <a:pt x="551" y="68"/>
                        </a:lnTo>
                        <a:lnTo>
                          <a:pt x="553" y="66"/>
                        </a:lnTo>
                        <a:lnTo>
                          <a:pt x="556" y="66"/>
                        </a:lnTo>
                        <a:lnTo>
                          <a:pt x="563" y="73"/>
                        </a:lnTo>
                        <a:lnTo>
                          <a:pt x="569" y="76"/>
                        </a:lnTo>
                        <a:lnTo>
                          <a:pt x="573" y="75"/>
                        </a:lnTo>
                        <a:lnTo>
                          <a:pt x="573" y="70"/>
                        </a:lnTo>
                        <a:lnTo>
                          <a:pt x="571" y="68"/>
                        </a:lnTo>
                        <a:lnTo>
                          <a:pt x="573" y="61"/>
                        </a:lnTo>
                        <a:lnTo>
                          <a:pt x="576" y="61"/>
                        </a:lnTo>
                        <a:lnTo>
                          <a:pt x="579" y="63"/>
                        </a:lnTo>
                        <a:lnTo>
                          <a:pt x="584" y="63"/>
                        </a:lnTo>
                        <a:lnTo>
                          <a:pt x="589" y="60"/>
                        </a:lnTo>
                        <a:lnTo>
                          <a:pt x="593" y="61"/>
                        </a:lnTo>
                        <a:lnTo>
                          <a:pt x="596" y="63"/>
                        </a:lnTo>
                        <a:lnTo>
                          <a:pt x="601" y="65"/>
                        </a:lnTo>
                        <a:lnTo>
                          <a:pt x="603" y="66"/>
                        </a:lnTo>
                        <a:lnTo>
                          <a:pt x="604" y="73"/>
                        </a:lnTo>
                        <a:lnTo>
                          <a:pt x="604" y="75"/>
                        </a:lnTo>
                        <a:lnTo>
                          <a:pt x="609" y="80"/>
                        </a:lnTo>
                        <a:lnTo>
                          <a:pt x="609" y="83"/>
                        </a:lnTo>
                        <a:lnTo>
                          <a:pt x="608" y="86"/>
                        </a:lnTo>
                        <a:lnTo>
                          <a:pt x="611" y="94"/>
                        </a:lnTo>
                        <a:lnTo>
                          <a:pt x="611" y="99"/>
                        </a:lnTo>
                        <a:lnTo>
                          <a:pt x="611" y="103"/>
                        </a:lnTo>
                        <a:lnTo>
                          <a:pt x="616" y="104"/>
                        </a:lnTo>
                        <a:lnTo>
                          <a:pt x="621" y="104"/>
                        </a:lnTo>
                        <a:lnTo>
                          <a:pt x="627" y="108"/>
                        </a:lnTo>
                        <a:lnTo>
                          <a:pt x="632" y="111"/>
                        </a:lnTo>
                        <a:lnTo>
                          <a:pt x="632" y="108"/>
                        </a:lnTo>
                        <a:lnTo>
                          <a:pt x="632" y="106"/>
                        </a:lnTo>
                        <a:lnTo>
                          <a:pt x="627" y="104"/>
                        </a:lnTo>
                        <a:lnTo>
                          <a:pt x="624" y="101"/>
                        </a:lnTo>
                        <a:lnTo>
                          <a:pt x="621" y="101"/>
                        </a:lnTo>
                        <a:lnTo>
                          <a:pt x="616" y="98"/>
                        </a:lnTo>
                        <a:lnTo>
                          <a:pt x="614" y="96"/>
                        </a:lnTo>
                        <a:lnTo>
                          <a:pt x="616" y="91"/>
                        </a:lnTo>
                        <a:lnTo>
                          <a:pt x="612" y="86"/>
                        </a:lnTo>
                        <a:lnTo>
                          <a:pt x="612" y="83"/>
                        </a:lnTo>
                        <a:lnTo>
                          <a:pt x="614" y="78"/>
                        </a:lnTo>
                        <a:lnTo>
                          <a:pt x="614" y="73"/>
                        </a:lnTo>
                        <a:lnTo>
                          <a:pt x="614" y="70"/>
                        </a:lnTo>
                        <a:lnTo>
                          <a:pt x="614" y="68"/>
                        </a:lnTo>
                        <a:lnTo>
                          <a:pt x="612" y="65"/>
                        </a:lnTo>
                        <a:lnTo>
                          <a:pt x="609" y="63"/>
                        </a:lnTo>
                        <a:lnTo>
                          <a:pt x="604" y="56"/>
                        </a:lnTo>
                        <a:lnTo>
                          <a:pt x="601" y="56"/>
                        </a:lnTo>
                        <a:lnTo>
                          <a:pt x="596" y="56"/>
                        </a:lnTo>
                        <a:lnTo>
                          <a:pt x="593" y="58"/>
                        </a:lnTo>
                        <a:lnTo>
                          <a:pt x="589" y="58"/>
                        </a:lnTo>
                        <a:lnTo>
                          <a:pt x="584" y="56"/>
                        </a:lnTo>
                        <a:lnTo>
                          <a:pt x="584" y="51"/>
                        </a:lnTo>
                        <a:lnTo>
                          <a:pt x="586" y="46"/>
                        </a:lnTo>
                        <a:lnTo>
                          <a:pt x="591" y="46"/>
                        </a:lnTo>
                        <a:lnTo>
                          <a:pt x="591" y="43"/>
                        </a:lnTo>
                        <a:lnTo>
                          <a:pt x="584" y="40"/>
                        </a:lnTo>
                        <a:lnTo>
                          <a:pt x="583" y="35"/>
                        </a:lnTo>
                        <a:lnTo>
                          <a:pt x="584" y="31"/>
                        </a:lnTo>
                        <a:lnTo>
                          <a:pt x="584" y="28"/>
                        </a:lnTo>
                        <a:lnTo>
                          <a:pt x="588" y="28"/>
                        </a:lnTo>
                        <a:lnTo>
                          <a:pt x="591" y="31"/>
                        </a:lnTo>
                        <a:lnTo>
                          <a:pt x="593" y="35"/>
                        </a:lnTo>
                        <a:lnTo>
                          <a:pt x="594" y="35"/>
                        </a:lnTo>
                        <a:lnTo>
                          <a:pt x="599" y="28"/>
                        </a:lnTo>
                        <a:lnTo>
                          <a:pt x="603" y="28"/>
                        </a:lnTo>
                        <a:lnTo>
                          <a:pt x="608" y="25"/>
                        </a:lnTo>
                        <a:lnTo>
                          <a:pt x="609" y="23"/>
                        </a:lnTo>
                        <a:lnTo>
                          <a:pt x="612" y="18"/>
                        </a:lnTo>
                        <a:lnTo>
                          <a:pt x="617" y="18"/>
                        </a:lnTo>
                        <a:lnTo>
                          <a:pt x="614" y="20"/>
                        </a:lnTo>
                        <a:lnTo>
                          <a:pt x="612" y="23"/>
                        </a:lnTo>
                        <a:lnTo>
                          <a:pt x="614" y="25"/>
                        </a:lnTo>
                        <a:lnTo>
                          <a:pt x="617" y="23"/>
                        </a:lnTo>
                        <a:lnTo>
                          <a:pt x="621" y="23"/>
                        </a:lnTo>
                        <a:lnTo>
                          <a:pt x="622" y="25"/>
                        </a:lnTo>
                        <a:lnTo>
                          <a:pt x="624" y="28"/>
                        </a:lnTo>
                        <a:lnTo>
                          <a:pt x="627" y="30"/>
                        </a:lnTo>
                        <a:lnTo>
                          <a:pt x="626" y="33"/>
                        </a:lnTo>
                        <a:lnTo>
                          <a:pt x="624" y="36"/>
                        </a:lnTo>
                        <a:lnTo>
                          <a:pt x="626" y="38"/>
                        </a:lnTo>
                        <a:lnTo>
                          <a:pt x="627" y="35"/>
                        </a:lnTo>
                        <a:lnTo>
                          <a:pt x="631" y="31"/>
                        </a:lnTo>
                        <a:lnTo>
                          <a:pt x="636" y="33"/>
                        </a:lnTo>
                        <a:lnTo>
                          <a:pt x="639" y="36"/>
                        </a:lnTo>
                        <a:lnTo>
                          <a:pt x="639" y="40"/>
                        </a:lnTo>
                        <a:lnTo>
                          <a:pt x="642" y="45"/>
                        </a:lnTo>
                        <a:lnTo>
                          <a:pt x="644" y="50"/>
                        </a:lnTo>
                        <a:lnTo>
                          <a:pt x="644" y="56"/>
                        </a:lnTo>
                        <a:lnTo>
                          <a:pt x="647" y="53"/>
                        </a:lnTo>
                        <a:lnTo>
                          <a:pt x="647" y="48"/>
                        </a:lnTo>
                        <a:lnTo>
                          <a:pt x="646" y="45"/>
                        </a:lnTo>
                        <a:lnTo>
                          <a:pt x="644" y="41"/>
                        </a:lnTo>
                        <a:lnTo>
                          <a:pt x="644" y="38"/>
                        </a:lnTo>
                        <a:lnTo>
                          <a:pt x="644" y="36"/>
                        </a:lnTo>
                        <a:lnTo>
                          <a:pt x="644" y="35"/>
                        </a:lnTo>
                        <a:lnTo>
                          <a:pt x="647" y="36"/>
                        </a:lnTo>
                        <a:lnTo>
                          <a:pt x="654" y="41"/>
                        </a:lnTo>
                        <a:lnTo>
                          <a:pt x="659" y="48"/>
                        </a:lnTo>
                        <a:lnTo>
                          <a:pt x="664" y="51"/>
                        </a:lnTo>
                        <a:lnTo>
                          <a:pt x="671" y="51"/>
                        </a:lnTo>
                        <a:lnTo>
                          <a:pt x="671" y="50"/>
                        </a:lnTo>
                        <a:lnTo>
                          <a:pt x="667" y="48"/>
                        </a:lnTo>
                        <a:lnTo>
                          <a:pt x="662" y="46"/>
                        </a:lnTo>
                        <a:lnTo>
                          <a:pt x="659" y="40"/>
                        </a:lnTo>
                        <a:lnTo>
                          <a:pt x="657" y="35"/>
                        </a:lnTo>
                        <a:lnTo>
                          <a:pt x="659" y="28"/>
                        </a:lnTo>
                        <a:lnTo>
                          <a:pt x="664" y="28"/>
                        </a:lnTo>
                        <a:lnTo>
                          <a:pt x="667" y="28"/>
                        </a:lnTo>
                        <a:lnTo>
                          <a:pt x="674" y="31"/>
                        </a:lnTo>
                        <a:lnTo>
                          <a:pt x="679" y="31"/>
                        </a:lnTo>
                        <a:lnTo>
                          <a:pt x="681" y="30"/>
                        </a:lnTo>
                        <a:lnTo>
                          <a:pt x="679" y="28"/>
                        </a:lnTo>
                        <a:lnTo>
                          <a:pt x="676" y="26"/>
                        </a:lnTo>
                        <a:lnTo>
                          <a:pt x="676" y="25"/>
                        </a:lnTo>
                        <a:lnTo>
                          <a:pt x="681" y="20"/>
                        </a:lnTo>
                        <a:lnTo>
                          <a:pt x="684" y="16"/>
                        </a:lnTo>
                        <a:lnTo>
                          <a:pt x="682" y="15"/>
                        </a:lnTo>
                        <a:lnTo>
                          <a:pt x="681" y="13"/>
                        </a:lnTo>
                        <a:lnTo>
                          <a:pt x="682" y="8"/>
                        </a:lnTo>
                        <a:lnTo>
                          <a:pt x="684" y="8"/>
                        </a:lnTo>
                        <a:lnTo>
                          <a:pt x="687" y="8"/>
                        </a:lnTo>
                        <a:lnTo>
                          <a:pt x="689" y="6"/>
                        </a:lnTo>
                        <a:lnTo>
                          <a:pt x="691" y="1"/>
                        </a:lnTo>
                        <a:lnTo>
                          <a:pt x="692" y="0"/>
                        </a:lnTo>
                        <a:lnTo>
                          <a:pt x="696" y="1"/>
                        </a:lnTo>
                        <a:lnTo>
                          <a:pt x="697" y="3"/>
                        </a:lnTo>
                        <a:lnTo>
                          <a:pt x="699" y="3"/>
                        </a:lnTo>
                        <a:lnTo>
                          <a:pt x="701" y="6"/>
                        </a:lnTo>
                        <a:lnTo>
                          <a:pt x="702" y="11"/>
                        </a:lnTo>
                        <a:lnTo>
                          <a:pt x="706" y="13"/>
                        </a:lnTo>
                        <a:lnTo>
                          <a:pt x="707" y="11"/>
                        </a:lnTo>
                        <a:lnTo>
                          <a:pt x="707" y="8"/>
                        </a:lnTo>
                        <a:lnTo>
                          <a:pt x="706" y="5"/>
                        </a:lnTo>
                        <a:lnTo>
                          <a:pt x="706" y="1"/>
                        </a:lnTo>
                        <a:lnTo>
                          <a:pt x="707" y="0"/>
                        </a:lnTo>
                        <a:lnTo>
                          <a:pt x="711" y="0"/>
                        </a:lnTo>
                        <a:lnTo>
                          <a:pt x="715" y="0"/>
                        </a:lnTo>
                        <a:lnTo>
                          <a:pt x="724" y="0"/>
                        </a:lnTo>
                        <a:lnTo>
                          <a:pt x="727" y="1"/>
                        </a:lnTo>
                        <a:lnTo>
                          <a:pt x="729" y="3"/>
                        </a:lnTo>
                        <a:lnTo>
                          <a:pt x="730" y="3"/>
                        </a:lnTo>
                        <a:lnTo>
                          <a:pt x="734" y="1"/>
                        </a:lnTo>
                        <a:lnTo>
                          <a:pt x="737" y="3"/>
                        </a:lnTo>
                        <a:lnTo>
                          <a:pt x="747" y="3"/>
                        </a:lnTo>
                        <a:lnTo>
                          <a:pt x="749" y="5"/>
                        </a:lnTo>
                        <a:lnTo>
                          <a:pt x="752" y="5"/>
                        </a:lnTo>
                        <a:lnTo>
                          <a:pt x="755" y="3"/>
                        </a:lnTo>
                        <a:lnTo>
                          <a:pt x="757" y="5"/>
                        </a:lnTo>
                        <a:lnTo>
                          <a:pt x="759" y="8"/>
                        </a:lnTo>
                        <a:lnTo>
                          <a:pt x="765" y="11"/>
                        </a:lnTo>
                        <a:lnTo>
                          <a:pt x="769" y="11"/>
                        </a:lnTo>
                        <a:lnTo>
                          <a:pt x="769" y="10"/>
                        </a:lnTo>
                        <a:lnTo>
                          <a:pt x="770" y="10"/>
                        </a:lnTo>
                        <a:lnTo>
                          <a:pt x="779" y="13"/>
                        </a:lnTo>
                        <a:lnTo>
                          <a:pt x="782" y="13"/>
                        </a:lnTo>
                        <a:lnTo>
                          <a:pt x="787" y="18"/>
                        </a:lnTo>
                        <a:lnTo>
                          <a:pt x="795" y="18"/>
                        </a:lnTo>
                        <a:lnTo>
                          <a:pt x="799" y="20"/>
                        </a:lnTo>
                        <a:lnTo>
                          <a:pt x="804" y="18"/>
                        </a:lnTo>
                        <a:lnTo>
                          <a:pt x="805" y="20"/>
                        </a:lnTo>
                        <a:lnTo>
                          <a:pt x="807" y="23"/>
                        </a:lnTo>
                        <a:lnTo>
                          <a:pt x="812" y="21"/>
                        </a:lnTo>
                        <a:lnTo>
                          <a:pt x="815" y="21"/>
                        </a:lnTo>
                        <a:lnTo>
                          <a:pt x="820" y="25"/>
                        </a:lnTo>
                        <a:lnTo>
                          <a:pt x="827" y="26"/>
                        </a:lnTo>
                        <a:lnTo>
                          <a:pt x="832" y="30"/>
                        </a:lnTo>
                        <a:lnTo>
                          <a:pt x="833" y="35"/>
                        </a:lnTo>
                        <a:lnTo>
                          <a:pt x="838" y="36"/>
                        </a:lnTo>
                        <a:lnTo>
                          <a:pt x="845" y="40"/>
                        </a:lnTo>
                        <a:lnTo>
                          <a:pt x="843" y="43"/>
                        </a:lnTo>
                        <a:lnTo>
                          <a:pt x="842" y="46"/>
                        </a:lnTo>
                        <a:lnTo>
                          <a:pt x="837" y="46"/>
                        </a:lnTo>
                        <a:lnTo>
                          <a:pt x="833" y="45"/>
                        </a:lnTo>
                        <a:lnTo>
                          <a:pt x="830" y="46"/>
                        </a:lnTo>
                        <a:lnTo>
                          <a:pt x="828" y="50"/>
                        </a:lnTo>
                        <a:lnTo>
                          <a:pt x="823" y="50"/>
                        </a:lnTo>
                        <a:lnTo>
                          <a:pt x="822" y="50"/>
                        </a:lnTo>
                        <a:lnTo>
                          <a:pt x="817" y="50"/>
                        </a:lnTo>
                        <a:lnTo>
                          <a:pt x="812" y="50"/>
                        </a:lnTo>
                        <a:lnTo>
                          <a:pt x="804" y="46"/>
                        </a:lnTo>
                        <a:lnTo>
                          <a:pt x="799" y="45"/>
                        </a:lnTo>
                        <a:lnTo>
                          <a:pt x="795" y="45"/>
                        </a:lnTo>
                        <a:lnTo>
                          <a:pt x="792" y="43"/>
                        </a:lnTo>
                        <a:lnTo>
                          <a:pt x="787" y="43"/>
                        </a:lnTo>
                        <a:lnTo>
                          <a:pt x="784" y="45"/>
                        </a:lnTo>
                        <a:lnTo>
                          <a:pt x="780" y="45"/>
                        </a:lnTo>
                        <a:lnTo>
                          <a:pt x="779" y="43"/>
                        </a:lnTo>
                        <a:lnTo>
                          <a:pt x="774" y="43"/>
                        </a:lnTo>
                        <a:lnTo>
                          <a:pt x="767" y="46"/>
                        </a:lnTo>
                        <a:lnTo>
                          <a:pt x="764" y="48"/>
                        </a:lnTo>
                        <a:lnTo>
                          <a:pt x="760" y="46"/>
                        </a:lnTo>
                        <a:lnTo>
                          <a:pt x="755" y="46"/>
                        </a:lnTo>
                        <a:lnTo>
                          <a:pt x="750" y="48"/>
                        </a:lnTo>
                        <a:lnTo>
                          <a:pt x="744" y="48"/>
                        </a:lnTo>
                        <a:lnTo>
                          <a:pt x="742" y="45"/>
                        </a:lnTo>
                        <a:lnTo>
                          <a:pt x="740" y="41"/>
                        </a:lnTo>
                        <a:lnTo>
                          <a:pt x="744" y="40"/>
                        </a:lnTo>
                        <a:lnTo>
                          <a:pt x="745" y="40"/>
                        </a:lnTo>
                        <a:lnTo>
                          <a:pt x="747" y="36"/>
                        </a:lnTo>
                        <a:lnTo>
                          <a:pt x="745" y="35"/>
                        </a:lnTo>
                        <a:lnTo>
                          <a:pt x="742" y="35"/>
                        </a:lnTo>
                        <a:lnTo>
                          <a:pt x="739" y="36"/>
                        </a:lnTo>
                        <a:lnTo>
                          <a:pt x="734" y="40"/>
                        </a:lnTo>
                        <a:lnTo>
                          <a:pt x="734" y="43"/>
                        </a:lnTo>
                        <a:lnTo>
                          <a:pt x="737" y="46"/>
                        </a:lnTo>
                        <a:lnTo>
                          <a:pt x="740" y="46"/>
                        </a:lnTo>
                        <a:lnTo>
                          <a:pt x="739" y="50"/>
                        </a:lnTo>
                        <a:lnTo>
                          <a:pt x="735" y="51"/>
                        </a:lnTo>
                        <a:lnTo>
                          <a:pt x="732" y="51"/>
                        </a:lnTo>
                        <a:lnTo>
                          <a:pt x="729" y="51"/>
                        </a:lnTo>
                        <a:lnTo>
                          <a:pt x="724" y="51"/>
                        </a:lnTo>
                        <a:lnTo>
                          <a:pt x="722" y="53"/>
                        </a:lnTo>
                        <a:lnTo>
                          <a:pt x="717" y="53"/>
                        </a:lnTo>
                        <a:lnTo>
                          <a:pt x="712" y="51"/>
                        </a:lnTo>
                        <a:lnTo>
                          <a:pt x="707" y="51"/>
                        </a:lnTo>
                        <a:lnTo>
                          <a:pt x="701" y="55"/>
                        </a:lnTo>
                        <a:lnTo>
                          <a:pt x="692" y="60"/>
                        </a:lnTo>
                        <a:lnTo>
                          <a:pt x="691" y="63"/>
                        </a:lnTo>
                        <a:lnTo>
                          <a:pt x="691" y="68"/>
                        </a:lnTo>
                        <a:lnTo>
                          <a:pt x="689" y="71"/>
                        </a:lnTo>
                        <a:lnTo>
                          <a:pt x="689" y="75"/>
                        </a:lnTo>
                        <a:lnTo>
                          <a:pt x="691" y="76"/>
                        </a:lnTo>
                        <a:lnTo>
                          <a:pt x="694" y="75"/>
                        </a:lnTo>
                        <a:lnTo>
                          <a:pt x="694" y="70"/>
                        </a:lnTo>
                        <a:lnTo>
                          <a:pt x="696" y="68"/>
                        </a:lnTo>
                        <a:lnTo>
                          <a:pt x="696" y="66"/>
                        </a:lnTo>
                        <a:lnTo>
                          <a:pt x="697" y="65"/>
                        </a:lnTo>
                        <a:lnTo>
                          <a:pt x="702" y="65"/>
                        </a:lnTo>
                        <a:lnTo>
                          <a:pt x="706" y="63"/>
                        </a:lnTo>
                        <a:lnTo>
                          <a:pt x="706" y="65"/>
                        </a:lnTo>
                        <a:lnTo>
                          <a:pt x="706" y="68"/>
                        </a:lnTo>
                        <a:lnTo>
                          <a:pt x="704" y="71"/>
                        </a:lnTo>
                        <a:lnTo>
                          <a:pt x="704" y="73"/>
                        </a:lnTo>
                        <a:lnTo>
                          <a:pt x="706" y="73"/>
                        </a:lnTo>
                        <a:lnTo>
                          <a:pt x="707" y="70"/>
                        </a:lnTo>
                        <a:lnTo>
                          <a:pt x="709" y="65"/>
                        </a:lnTo>
                        <a:lnTo>
                          <a:pt x="709" y="65"/>
                        </a:lnTo>
                        <a:lnTo>
                          <a:pt x="712" y="60"/>
                        </a:lnTo>
                        <a:lnTo>
                          <a:pt x="712" y="60"/>
                        </a:lnTo>
                        <a:lnTo>
                          <a:pt x="717" y="58"/>
                        </a:lnTo>
                        <a:lnTo>
                          <a:pt x="720" y="58"/>
                        </a:lnTo>
                        <a:lnTo>
                          <a:pt x="727" y="58"/>
                        </a:lnTo>
                        <a:lnTo>
                          <a:pt x="730" y="56"/>
                        </a:lnTo>
                        <a:lnTo>
                          <a:pt x="734" y="56"/>
                        </a:lnTo>
                        <a:lnTo>
                          <a:pt x="735" y="56"/>
                        </a:lnTo>
                        <a:lnTo>
                          <a:pt x="737" y="60"/>
                        </a:lnTo>
                        <a:lnTo>
                          <a:pt x="740" y="65"/>
                        </a:lnTo>
                        <a:lnTo>
                          <a:pt x="742" y="66"/>
                        </a:lnTo>
                        <a:lnTo>
                          <a:pt x="744" y="66"/>
                        </a:lnTo>
                        <a:lnTo>
                          <a:pt x="744" y="63"/>
                        </a:lnTo>
                        <a:lnTo>
                          <a:pt x="742" y="58"/>
                        </a:lnTo>
                        <a:lnTo>
                          <a:pt x="744" y="56"/>
                        </a:lnTo>
                        <a:lnTo>
                          <a:pt x="749" y="56"/>
                        </a:lnTo>
                        <a:lnTo>
                          <a:pt x="754" y="56"/>
                        </a:lnTo>
                        <a:lnTo>
                          <a:pt x="759" y="56"/>
                        </a:lnTo>
                        <a:lnTo>
                          <a:pt x="765" y="55"/>
                        </a:lnTo>
                        <a:lnTo>
                          <a:pt x="772" y="53"/>
                        </a:lnTo>
                        <a:lnTo>
                          <a:pt x="777" y="51"/>
                        </a:lnTo>
                        <a:lnTo>
                          <a:pt x="785" y="51"/>
                        </a:lnTo>
                        <a:lnTo>
                          <a:pt x="792" y="53"/>
                        </a:lnTo>
                        <a:lnTo>
                          <a:pt x="797" y="55"/>
                        </a:lnTo>
                        <a:lnTo>
                          <a:pt x="800" y="56"/>
                        </a:lnTo>
                        <a:lnTo>
                          <a:pt x="804" y="58"/>
                        </a:lnTo>
                        <a:lnTo>
                          <a:pt x="809" y="58"/>
                        </a:lnTo>
                        <a:lnTo>
                          <a:pt x="812" y="61"/>
                        </a:lnTo>
                        <a:lnTo>
                          <a:pt x="815" y="61"/>
                        </a:lnTo>
                        <a:lnTo>
                          <a:pt x="817" y="61"/>
                        </a:lnTo>
                        <a:lnTo>
                          <a:pt x="822" y="60"/>
                        </a:lnTo>
                        <a:lnTo>
                          <a:pt x="823" y="61"/>
                        </a:lnTo>
                        <a:lnTo>
                          <a:pt x="825" y="63"/>
                        </a:lnTo>
                        <a:lnTo>
                          <a:pt x="827" y="63"/>
                        </a:lnTo>
                        <a:lnTo>
                          <a:pt x="832" y="60"/>
                        </a:lnTo>
                        <a:lnTo>
                          <a:pt x="833" y="60"/>
                        </a:lnTo>
                        <a:lnTo>
                          <a:pt x="838" y="60"/>
                        </a:lnTo>
                        <a:lnTo>
                          <a:pt x="845" y="56"/>
                        </a:lnTo>
                        <a:lnTo>
                          <a:pt x="848" y="53"/>
                        </a:lnTo>
                        <a:lnTo>
                          <a:pt x="852" y="53"/>
                        </a:lnTo>
                        <a:lnTo>
                          <a:pt x="853" y="55"/>
                        </a:lnTo>
                        <a:lnTo>
                          <a:pt x="857" y="58"/>
                        </a:lnTo>
                        <a:lnTo>
                          <a:pt x="860" y="60"/>
                        </a:lnTo>
                        <a:lnTo>
                          <a:pt x="860" y="61"/>
                        </a:lnTo>
                        <a:lnTo>
                          <a:pt x="858" y="63"/>
                        </a:lnTo>
                        <a:lnTo>
                          <a:pt x="858" y="66"/>
                        </a:lnTo>
                        <a:lnTo>
                          <a:pt x="860" y="68"/>
                        </a:lnTo>
                        <a:lnTo>
                          <a:pt x="862" y="70"/>
                        </a:lnTo>
                        <a:lnTo>
                          <a:pt x="862" y="71"/>
                        </a:lnTo>
                        <a:lnTo>
                          <a:pt x="855" y="76"/>
                        </a:lnTo>
                        <a:lnTo>
                          <a:pt x="848" y="78"/>
                        </a:lnTo>
                        <a:lnTo>
                          <a:pt x="843" y="78"/>
                        </a:lnTo>
                        <a:lnTo>
                          <a:pt x="840" y="76"/>
                        </a:lnTo>
                        <a:lnTo>
                          <a:pt x="837" y="73"/>
                        </a:lnTo>
                        <a:lnTo>
                          <a:pt x="835" y="75"/>
                        </a:lnTo>
                        <a:lnTo>
                          <a:pt x="837" y="76"/>
                        </a:lnTo>
                        <a:lnTo>
                          <a:pt x="840" y="80"/>
                        </a:lnTo>
                        <a:lnTo>
                          <a:pt x="840" y="81"/>
                        </a:lnTo>
                        <a:lnTo>
                          <a:pt x="840" y="83"/>
                        </a:lnTo>
                        <a:lnTo>
                          <a:pt x="835" y="81"/>
                        </a:lnTo>
                        <a:lnTo>
                          <a:pt x="833" y="80"/>
                        </a:lnTo>
                        <a:lnTo>
                          <a:pt x="830" y="80"/>
                        </a:lnTo>
                        <a:lnTo>
                          <a:pt x="830" y="81"/>
                        </a:lnTo>
                        <a:lnTo>
                          <a:pt x="832" y="84"/>
                        </a:lnTo>
                        <a:lnTo>
                          <a:pt x="835" y="86"/>
                        </a:lnTo>
                        <a:lnTo>
                          <a:pt x="840" y="86"/>
                        </a:lnTo>
                        <a:lnTo>
                          <a:pt x="845" y="88"/>
                        </a:lnTo>
                        <a:lnTo>
                          <a:pt x="848" y="88"/>
                        </a:lnTo>
                        <a:lnTo>
                          <a:pt x="857" y="84"/>
                        </a:lnTo>
                        <a:lnTo>
                          <a:pt x="858" y="84"/>
                        </a:lnTo>
                        <a:lnTo>
                          <a:pt x="860" y="86"/>
                        </a:lnTo>
                        <a:lnTo>
                          <a:pt x="860" y="84"/>
                        </a:lnTo>
                        <a:lnTo>
                          <a:pt x="862" y="81"/>
                        </a:lnTo>
                        <a:lnTo>
                          <a:pt x="865" y="81"/>
                        </a:lnTo>
                        <a:lnTo>
                          <a:pt x="875" y="81"/>
                        </a:lnTo>
                        <a:lnTo>
                          <a:pt x="877" y="83"/>
                        </a:lnTo>
                        <a:lnTo>
                          <a:pt x="878" y="84"/>
                        </a:lnTo>
                        <a:lnTo>
                          <a:pt x="880" y="86"/>
                        </a:lnTo>
                        <a:lnTo>
                          <a:pt x="883" y="86"/>
                        </a:lnTo>
                        <a:lnTo>
                          <a:pt x="883" y="84"/>
                        </a:lnTo>
                        <a:lnTo>
                          <a:pt x="887" y="84"/>
                        </a:lnTo>
                        <a:lnTo>
                          <a:pt x="888" y="88"/>
                        </a:lnTo>
                        <a:lnTo>
                          <a:pt x="890" y="91"/>
                        </a:lnTo>
                        <a:lnTo>
                          <a:pt x="897" y="91"/>
                        </a:lnTo>
                        <a:lnTo>
                          <a:pt x="900" y="94"/>
                        </a:lnTo>
                        <a:lnTo>
                          <a:pt x="900" y="96"/>
                        </a:lnTo>
                        <a:lnTo>
                          <a:pt x="905" y="99"/>
                        </a:lnTo>
                        <a:lnTo>
                          <a:pt x="910" y="103"/>
                        </a:lnTo>
                        <a:lnTo>
                          <a:pt x="915" y="106"/>
                        </a:lnTo>
                        <a:lnTo>
                          <a:pt x="916" y="108"/>
                        </a:lnTo>
                        <a:lnTo>
                          <a:pt x="916" y="111"/>
                        </a:lnTo>
                        <a:lnTo>
                          <a:pt x="913" y="113"/>
                        </a:lnTo>
                        <a:lnTo>
                          <a:pt x="913" y="114"/>
                        </a:lnTo>
                        <a:lnTo>
                          <a:pt x="913" y="118"/>
                        </a:lnTo>
                        <a:lnTo>
                          <a:pt x="910" y="119"/>
                        </a:lnTo>
                        <a:lnTo>
                          <a:pt x="907" y="123"/>
                        </a:lnTo>
                        <a:lnTo>
                          <a:pt x="902" y="123"/>
                        </a:lnTo>
                        <a:lnTo>
                          <a:pt x="900" y="123"/>
                        </a:lnTo>
                        <a:lnTo>
                          <a:pt x="898" y="123"/>
                        </a:lnTo>
                        <a:lnTo>
                          <a:pt x="898" y="126"/>
                        </a:lnTo>
                        <a:lnTo>
                          <a:pt x="897" y="128"/>
                        </a:lnTo>
                        <a:lnTo>
                          <a:pt x="893" y="129"/>
                        </a:lnTo>
                        <a:lnTo>
                          <a:pt x="885" y="133"/>
                        </a:lnTo>
                        <a:lnTo>
                          <a:pt x="878" y="133"/>
                        </a:lnTo>
                        <a:lnTo>
                          <a:pt x="877" y="134"/>
                        </a:lnTo>
                        <a:lnTo>
                          <a:pt x="873" y="134"/>
                        </a:lnTo>
                        <a:lnTo>
                          <a:pt x="872" y="131"/>
                        </a:lnTo>
                        <a:lnTo>
                          <a:pt x="868" y="129"/>
                        </a:lnTo>
                        <a:lnTo>
                          <a:pt x="867" y="129"/>
                        </a:lnTo>
                        <a:lnTo>
                          <a:pt x="867" y="133"/>
                        </a:lnTo>
                        <a:lnTo>
                          <a:pt x="870" y="134"/>
                        </a:lnTo>
                        <a:lnTo>
                          <a:pt x="870" y="136"/>
                        </a:lnTo>
                        <a:lnTo>
                          <a:pt x="865" y="136"/>
                        </a:lnTo>
                        <a:lnTo>
                          <a:pt x="860" y="134"/>
                        </a:lnTo>
                        <a:lnTo>
                          <a:pt x="857" y="136"/>
                        </a:lnTo>
                        <a:lnTo>
                          <a:pt x="855" y="136"/>
                        </a:lnTo>
                        <a:lnTo>
                          <a:pt x="852" y="134"/>
                        </a:lnTo>
                        <a:lnTo>
                          <a:pt x="847" y="134"/>
                        </a:lnTo>
                        <a:lnTo>
                          <a:pt x="843" y="136"/>
                        </a:lnTo>
                        <a:lnTo>
                          <a:pt x="838" y="139"/>
                        </a:lnTo>
                        <a:lnTo>
                          <a:pt x="835" y="139"/>
                        </a:lnTo>
                        <a:lnTo>
                          <a:pt x="832" y="138"/>
                        </a:lnTo>
                        <a:lnTo>
                          <a:pt x="828" y="138"/>
                        </a:lnTo>
                        <a:lnTo>
                          <a:pt x="825" y="136"/>
                        </a:lnTo>
                        <a:lnTo>
                          <a:pt x="822" y="136"/>
                        </a:lnTo>
                        <a:lnTo>
                          <a:pt x="820" y="138"/>
                        </a:lnTo>
                        <a:lnTo>
                          <a:pt x="815" y="138"/>
                        </a:lnTo>
                        <a:lnTo>
                          <a:pt x="812" y="138"/>
                        </a:lnTo>
                        <a:lnTo>
                          <a:pt x="805" y="133"/>
                        </a:lnTo>
                        <a:lnTo>
                          <a:pt x="804" y="133"/>
                        </a:lnTo>
                        <a:lnTo>
                          <a:pt x="802" y="133"/>
                        </a:lnTo>
                        <a:lnTo>
                          <a:pt x="795" y="133"/>
                        </a:lnTo>
                        <a:lnTo>
                          <a:pt x="792" y="131"/>
                        </a:lnTo>
                        <a:lnTo>
                          <a:pt x="789" y="131"/>
                        </a:lnTo>
                        <a:lnTo>
                          <a:pt x="784" y="131"/>
                        </a:lnTo>
                        <a:lnTo>
                          <a:pt x="780" y="131"/>
                        </a:lnTo>
                        <a:lnTo>
                          <a:pt x="775" y="129"/>
                        </a:lnTo>
                        <a:lnTo>
                          <a:pt x="774" y="131"/>
                        </a:lnTo>
                        <a:lnTo>
                          <a:pt x="770" y="133"/>
                        </a:lnTo>
                        <a:lnTo>
                          <a:pt x="767" y="134"/>
                        </a:lnTo>
                        <a:lnTo>
                          <a:pt x="760" y="133"/>
                        </a:lnTo>
                        <a:lnTo>
                          <a:pt x="757" y="134"/>
                        </a:lnTo>
                        <a:lnTo>
                          <a:pt x="757" y="136"/>
                        </a:lnTo>
                        <a:lnTo>
                          <a:pt x="755" y="136"/>
                        </a:lnTo>
                        <a:lnTo>
                          <a:pt x="754" y="133"/>
                        </a:lnTo>
                        <a:lnTo>
                          <a:pt x="752" y="131"/>
                        </a:lnTo>
                        <a:lnTo>
                          <a:pt x="747" y="131"/>
                        </a:lnTo>
                        <a:lnTo>
                          <a:pt x="747" y="131"/>
                        </a:lnTo>
                        <a:lnTo>
                          <a:pt x="744" y="131"/>
                        </a:lnTo>
                        <a:lnTo>
                          <a:pt x="742" y="133"/>
                        </a:lnTo>
                        <a:lnTo>
                          <a:pt x="744" y="133"/>
                        </a:lnTo>
                        <a:lnTo>
                          <a:pt x="749" y="133"/>
                        </a:lnTo>
                        <a:lnTo>
                          <a:pt x="750" y="134"/>
                        </a:lnTo>
                        <a:lnTo>
                          <a:pt x="752" y="136"/>
                        </a:lnTo>
                        <a:lnTo>
                          <a:pt x="750" y="139"/>
                        </a:lnTo>
                        <a:lnTo>
                          <a:pt x="747" y="141"/>
                        </a:lnTo>
                        <a:lnTo>
                          <a:pt x="745" y="141"/>
                        </a:lnTo>
                        <a:lnTo>
                          <a:pt x="742" y="141"/>
                        </a:lnTo>
                        <a:lnTo>
                          <a:pt x="739" y="143"/>
                        </a:lnTo>
                        <a:lnTo>
                          <a:pt x="734" y="144"/>
                        </a:lnTo>
                        <a:lnTo>
                          <a:pt x="727" y="144"/>
                        </a:lnTo>
                        <a:lnTo>
                          <a:pt x="724" y="146"/>
                        </a:lnTo>
                        <a:lnTo>
                          <a:pt x="722" y="149"/>
                        </a:lnTo>
                        <a:lnTo>
                          <a:pt x="719" y="149"/>
                        </a:lnTo>
                        <a:lnTo>
                          <a:pt x="714" y="149"/>
                        </a:lnTo>
                        <a:lnTo>
                          <a:pt x="709" y="153"/>
                        </a:lnTo>
                        <a:lnTo>
                          <a:pt x="706" y="153"/>
                        </a:lnTo>
                        <a:lnTo>
                          <a:pt x="704" y="154"/>
                        </a:lnTo>
                        <a:lnTo>
                          <a:pt x="704" y="158"/>
                        </a:lnTo>
                        <a:lnTo>
                          <a:pt x="706" y="161"/>
                        </a:lnTo>
                        <a:lnTo>
                          <a:pt x="707" y="163"/>
                        </a:lnTo>
                        <a:lnTo>
                          <a:pt x="707" y="166"/>
                        </a:lnTo>
                        <a:lnTo>
                          <a:pt x="709" y="169"/>
                        </a:lnTo>
                        <a:lnTo>
                          <a:pt x="711" y="169"/>
                        </a:lnTo>
                        <a:lnTo>
                          <a:pt x="712" y="168"/>
                        </a:lnTo>
                        <a:lnTo>
                          <a:pt x="714" y="164"/>
                        </a:lnTo>
                        <a:lnTo>
                          <a:pt x="717" y="161"/>
                        </a:lnTo>
                        <a:lnTo>
                          <a:pt x="720" y="161"/>
                        </a:lnTo>
                        <a:lnTo>
                          <a:pt x="724" y="159"/>
                        </a:lnTo>
                        <a:lnTo>
                          <a:pt x="727" y="158"/>
                        </a:lnTo>
                        <a:lnTo>
                          <a:pt x="732" y="158"/>
                        </a:lnTo>
                        <a:lnTo>
                          <a:pt x="734" y="156"/>
                        </a:lnTo>
                        <a:lnTo>
                          <a:pt x="737" y="153"/>
                        </a:lnTo>
                        <a:lnTo>
                          <a:pt x="742" y="153"/>
                        </a:lnTo>
                        <a:lnTo>
                          <a:pt x="752" y="149"/>
                        </a:lnTo>
                        <a:lnTo>
                          <a:pt x="755" y="149"/>
                        </a:lnTo>
                        <a:lnTo>
                          <a:pt x="755" y="149"/>
                        </a:lnTo>
                        <a:lnTo>
                          <a:pt x="755" y="153"/>
                        </a:lnTo>
                        <a:lnTo>
                          <a:pt x="757" y="153"/>
                        </a:lnTo>
                        <a:lnTo>
                          <a:pt x="760" y="151"/>
                        </a:lnTo>
                        <a:lnTo>
                          <a:pt x="760" y="148"/>
                        </a:lnTo>
                        <a:lnTo>
                          <a:pt x="764" y="143"/>
                        </a:lnTo>
                        <a:lnTo>
                          <a:pt x="765" y="143"/>
                        </a:lnTo>
                        <a:lnTo>
                          <a:pt x="770" y="144"/>
                        </a:lnTo>
                        <a:lnTo>
                          <a:pt x="774" y="144"/>
                        </a:lnTo>
                        <a:lnTo>
                          <a:pt x="779" y="144"/>
                        </a:lnTo>
                        <a:lnTo>
                          <a:pt x="785" y="144"/>
                        </a:lnTo>
                        <a:lnTo>
                          <a:pt x="789" y="146"/>
                        </a:lnTo>
                        <a:lnTo>
                          <a:pt x="794" y="146"/>
                        </a:lnTo>
                        <a:lnTo>
                          <a:pt x="805" y="146"/>
                        </a:lnTo>
                        <a:lnTo>
                          <a:pt x="809" y="146"/>
                        </a:lnTo>
                        <a:lnTo>
                          <a:pt x="813" y="148"/>
                        </a:lnTo>
                        <a:lnTo>
                          <a:pt x="820" y="149"/>
                        </a:lnTo>
                        <a:lnTo>
                          <a:pt x="830" y="149"/>
                        </a:lnTo>
                        <a:lnTo>
                          <a:pt x="833" y="149"/>
                        </a:lnTo>
                        <a:lnTo>
                          <a:pt x="833" y="153"/>
                        </a:lnTo>
                        <a:lnTo>
                          <a:pt x="835" y="154"/>
                        </a:lnTo>
                        <a:lnTo>
                          <a:pt x="835" y="156"/>
                        </a:lnTo>
                        <a:lnTo>
                          <a:pt x="832" y="158"/>
                        </a:lnTo>
                        <a:lnTo>
                          <a:pt x="832" y="161"/>
                        </a:lnTo>
                        <a:lnTo>
                          <a:pt x="828" y="166"/>
                        </a:lnTo>
                        <a:lnTo>
                          <a:pt x="827" y="168"/>
                        </a:lnTo>
                        <a:lnTo>
                          <a:pt x="815" y="168"/>
                        </a:lnTo>
                        <a:lnTo>
                          <a:pt x="809" y="171"/>
                        </a:lnTo>
                        <a:lnTo>
                          <a:pt x="807" y="171"/>
                        </a:lnTo>
                        <a:lnTo>
                          <a:pt x="805" y="169"/>
                        </a:lnTo>
                        <a:lnTo>
                          <a:pt x="804" y="169"/>
                        </a:lnTo>
                        <a:lnTo>
                          <a:pt x="802" y="173"/>
                        </a:lnTo>
                        <a:lnTo>
                          <a:pt x="804" y="176"/>
                        </a:lnTo>
                        <a:lnTo>
                          <a:pt x="802" y="179"/>
                        </a:lnTo>
                        <a:lnTo>
                          <a:pt x="802" y="181"/>
                        </a:lnTo>
                        <a:lnTo>
                          <a:pt x="804" y="182"/>
                        </a:lnTo>
                        <a:lnTo>
                          <a:pt x="809" y="181"/>
                        </a:lnTo>
                        <a:lnTo>
                          <a:pt x="815" y="179"/>
                        </a:lnTo>
                        <a:lnTo>
                          <a:pt x="820" y="178"/>
                        </a:lnTo>
                        <a:lnTo>
                          <a:pt x="820" y="178"/>
                        </a:lnTo>
                        <a:lnTo>
                          <a:pt x="828" y="178"/>
                        </a:lnTo>
                        <a:lnTo>
                          <a:pt x="828" y="178"/>
                        </a:lnTo>
                        <a:lnTo>
                          <a:pt x="837" y="179"/>
                        </a:lnTo>
                        <a:lnTo>
                          <a:pt x="840" y="179"/>
                        </a:lnTo>
                        <a:lnTo>
                          <a:pt x="843" y="181"/>
                        </a:lnTo>
                        <a:lnTo>
                          <a:pt x="845" y="179"/>
                        </a:lnTo>
                        <a:lnTo>
                          <a:pt x="847" y="178"/>
                        </a:lnTo>
                        <a:lnTo>
                          <a:pt x="848" y="178"/>
                        </a:lnTo>
                        <a:lnTo>
                          <a:pt x="852" y="178"/>
                        </a:lnTo>
                        <a:lnTo>
                          <a:pt x="853" y="181"/>
                        </a:lnTo>
                        <a:lnTo>
                          <a:pt x="858" y="176"/>
                        </a:lnTo>
                        <a:lnTo>
                          <a:pt x="860" y="169"/>
                        </a:lnTo>
                        <a:lnTo>
                          <a:pt x="860" y="163"/>
                        </a:lnTo>
                        <a:lnTo>
                          <a:pt x="862" y="161"/>
                        </a:lnTo>
                        <a:lnTo>
                          <a:pt x="860" y="159"/>
                        </a:lnTo>
                        <a:lnTo>
                          <a:pt x="862" y="156"/>
                        </a:lnTo>
                        <a:lnTo>
                          <a:pt x="865" y="154"/>
                        </a:lnTo>
                        <a:lnTo>
                          <a:pt x="870" y="154"/>
                        </a:lnTo>
                        <a:lnTo>
                          <a:pt x="875" y="156"/>
                        </a:lnTo>
                        <a:lnTo>
                          <a:pt x="882" y="156"/>
                        </a:lnTo>
                        <a:lnTo>
                          <a:pt x="887" y="154"/>
                        </a:lnTo>
                        <a:lnTo>
                          <a:pt x="890" y="154"/>
                        </a:lnTo>
                        <a:lnTo>
                          <a:pt x="890" y="159"/>
                        </a:lnTo>
                        <a:lnTo>
                          <a:pt x="890" y="166"/>
                        </a:lnTo>
                        <a:lnTo>
                          <a:pt x="890" y="171"/>
                        </a:lnTo>
                        <a:lnTo>
                          <a:pt x="887" y="176"/>
                        </a:lnTo>
                        <a:lnTo>
                          <a:pt x="883" y="182"/>
                        </a:lnTo>
                        <a:lnTo>
                          <a:pt x="882" y="189"/>
                        </a:lnTo>
                        <a:lnTo>
                          <a:pt x="880" y="192"/>
                        </a:lnTo>
                        <a:lnTo>
                          <a:pt x="867" y="202"/>
                        </a:lnTo>
                        <a:lnTo>
                          <a:pt x="863" y="202"/>
                        </a:lnTo>
                        <a:lnTo>
                          <a:pt x="862" y="202"/>
                        </a:lnTo>
                        <a:lnTo>
                          <a:pt x="858" y="204"/>
                        </a:lnTo>
                        <a:lnTo>
                          <a:pt x="855" y="207"/>
                        </a:lnTo>
                        <a:lnTo>
                          <a:pt x="852" y="206"/>
                        </a:lnTo>
                        <a:lnTo>
                          <a:pt x="850" y="206"/>
                        </a:lnTo>
                        <a:lnTo>
                          <a:pt x="847" y="211"/>
                        </a:lnTo>
                        <a:lnTo>
                          <a:pt x="847" y="214"/>
                        </a:lnTo>
                        <a:lnTo>
                          <a:pt x="843" y="216"/>
                        </a:lnTo>
                        <a:lnTo>
                          <a:pt x="840" y="219"/>
                        </a:lnTo>
                        <a:lnTo>
                          <a:pt x="837" y="217"/>
                        </a:lnTo>
                        <a:lnTo>
                          <a:pt x="837" y="217"/>
                        </a:lnTo>
                        <a:lnTo>
                          <a:pt x="835" y="219"/>
                        </a:lnTo>
                        <a:lnTo>
                          <a:pt x="835" y="221"/>
                        </a:lnTo>
                        <a:lnTo>
                          <a:pt x="833" y="224"/>
                        </a:lnTo>
                        <a:lnTo>
                          <a:pt x="830" y="231"/>
                        </a:lnTo>
                        <a:lnTo>
                          <a:pt x="825" y="232"/>
                        </a:lnTo>
                        <a:lnTo>
                          <a:pt x="823" y="236"/>
                        </a:lnTo>
                        <a:lnTo>
                          <a:pt x="817" y="241"/>
                        </a:lnTo>
                        <a:lnTo>
                          <a:pt x="813" y="244"/>
                        </a:lnTo>
                        <a:lnTo>
                          <a:pt x="809" y="246"/>
                        </a:lnTo>
                        <a:lnTo>
                          <a:pt x="804" y="249"/>
                        </a:lnTo>
                        <a:lnTo>
                          <a:pt x="802" y="251"/>
                        </a:lnTo>
                        <a:lnTo>
                          <a:pt x="799" y="251"/>
                        </a:lnTo>
                        <a:lnTo>
                          <a:pt x="799" y="256"/>
                        </a:lnTo>
                        <a:lnTo>
                          <a:pt x="799" y="259"/>
                        </a:lnTo>
                        <a:lnTo>
                          <a:pt x="797" y="264"/>
                        </a:lnTo>
                        <a:lnTo>
                          <a:pt x="799" y="266"/>
                        </a:lnTo>
                        <a:lnTo>
                          <a:pt x="799" y="264"/>
                        </a:lnTo>
                        <a:lnTo>
                          <a:pt x="800" y="261"/>
                        </a:lnTo>
                        <a:lnTo>
                          <a:pt x="805" y="256"/>
                        </a:lnTo>
                        <a:lnTo>
                          <a:pt x="809" y="251"/>
                        </a:lnTo>
                        <a:lnTo>
                          <a:pt x="812" y="247"/>
                        </a:lnTo>
                        <a:lnTo>
                          <a:pt x="813" y="247"/>
                        </a:lnTo>
                        <a:lnTo>
                          <a:pt x="815" y="249"/>
                        </a:lnTo>
                        <a:lnTo>
                          <a:pt x="818" y="246"/>
                        </a:lnTo>
                        <a:lnTo>
                          <a:pt x="828" y="239"/>
                        </a:lnTo>
                        <a:lnTo>
                          <a:pt x="830" y="239"/>
                        </a:lnTo>
                        <a:lnTo>
                          <a:pt x="832" y="236"/>
                        </a:lnTo>
                        <a:lnTo>
                          <a:pt x="838" y="229"/>
                        </a:lnTo>
                        <a:lnTo>
                          <a:pt x="845" y="224"/>
                        </a:lnTo>
                        <a:lnTo>
                          <a:pt x="848" y="222"/>
                        </a:lnTo>
                        <a:lnTo>
                          <a:pt x="850" y="224"/>
                        </a:lnTo>
                        <a:lnTo>
                          <a:pt x="855" y="224"/>
                        </a:lnTo>
                        <a:lnTo>
                          <a:pt x="858" y="221"/>
                        </a:lnTo>
                        <a:lnTo>
                          <a:pt x="858" y="219"/>
                        </a:lnTo>
                        <a:lnTo>
                          <a:pt x="863" y="219"/>
                        </a:lnTo>
                        <a:lnTo>
                          <a:pt x="870" y="219"/>
                        </a:lnTo>
                        <a:lnTo>
                          <a:pt x="877" y="216"/>
                        </a:lnTo>
                        <a:lnTo>
                          <a:pt x="882" y="212"/>
                        </a:lnTo>
                        <a:lnTo>
                          <a:pt x="885" y="212"/>
                        </a:lnTo>
                        <a:lnTo>
                          <a:pt x="888" y="209"/>
                        </a:lnTo>
                        <a:lnTo>
                          <a:pt x="892" y="207"/>
                        </a:lnTo>
                        <a:lnTo>
                          <a:pt x="895" y="206"/>
                        </a:lnTo>
                        <a:lnTo>
                          <a:pt x="898" y="202"/>
                        </a:lnTo>
                        <a:lnTo>
                          <a:pt x="905" y="197"/>
                        </a:lnTo>
                        <a:lnTo>
                          <a:pt x="907" y="192"/>
                        </a:lnTo>
                        <a:lnTo>
                          <a:pt x="907" y="191"/>
                        </a:lnTo>
                        <a:lnTo>
                          <a:pt x="908" y="187"/>
                        </a:lnTo>
                        <a:lnTo>
                          <a:pt x="910" y="186"/>
                        </a:lnTo>
                        <a:lnTo>
                          <a:pt x="913" y="184"/>
                        </a:lnTo>
                        <a:lnTo>
                          <a:pt x="913" y="186"/>
                        </a:lnTo>
                        <a:lnTo>
                          <a:pt x="915" y="189"/>
                        </a:lnTo>
                        <a:lnTo>
                          <a:pt x="915" y="192"/>
                        </a:lnTo>
                        <a:lnTo>
                          <a:pt x="913" y="196"/>
                        </a:lnTo>
                        <a:lnTo>
                          <a:pt x="915" y="197"/>
                        </a:lnTo>
                        <a:lnTo>
                          <a:pt x="916" y="202"/>
                        </a:lnTo>
                        <a:lnTo>
                          <a:pt x="915" y="204"/>
                        </a:lnTo>
                        <a:lnTo>
                          <a:pt x="915" y="207"/>
                        </a:lnTo>
                        <a:lnTo>
                          <a:pt x="916" y="206"/>
                        </a:lnTo>
                        <a:lnTo>
                          <a:pt x="918" y="202"/>
                        </a:lnTo>
                        <a:lnTo>
                          <a:pt x="920" y="199"/>
                        </a:lnTo>
                        <a:lnTo>
                          <a:pt x="920" y="197"/>
                        </a:lnTo>
                        <a:lnTo>
                          <a:pt x="920" y="194"/>
                        </a:lnTo>
                        <a:lnTo>
                          <a:pt x="921" y="192"/>
                        </a:lnTo>
                        <a:lnTo>
                          <a:pt x="923" y="192"/>
                        </a:lnTo>
                        <a:lnTo>
                          <a:pt x="923" y="196"/>
                        </a:lnTo>
                        <a:lnTo>
                          <a:pt x="926" y="197"/>
                        </a:lnTo>
                        <a:lnTo>
                          <a:pt x="930" y="197"/>
                        </a:lnTo>
                        <a:lnTo>
                          <a:pt x="935" y="196"/>
                        </a:lnTo>
                        <a:lnTo>
                          <a:pt x="936" y="194"/>
                        </a:lnTo>
                        <a:lnTo>
                          <a:pt x="935" y="192"/>
                        </a:lnTo>
                        <a:lnTo>
                          <a:pt x="935" y="189"/>
                        </a:lnTo>
                        <a:lnTo>
                          <a:pt x="936" y="189"/>
                        </a:lnTo>
                        <a:lnTo>
                          <a:pt x="940" y="187"/>
                        </a:lnTo>
                        <a:lnTo>
                          <a:pt x="940" y="182"/>
                        </a:lnTo>
                        <a:lnTo>
                          <a:pt x="938" y="179"/>
                        </a:lnTo>
                        <a:lnTo>
                          <a:pt x="940" y="178"/>
                        </a:lnTo>
                        <a:lnTo>
                          <a:pt x="943" y="176"/>
                        </a:lnTo>
                        <a:lnTo>
                          <a:pt x="945" y="178"/>
                        </a:lnTo>
                        <a:lnTo>
                          <a:pt x="948" y="179"/>
                        </a:lnTo>
                        <a:lnTo>
                          <a:pt x="953" y="178"/>
                        </a:lnTo>
                        <a:lnTo>
                          <a:pt x="955" y="176"/>
                        </a:lnTo>
                        <a:lnTo>
                          <a:pt x="961" y="174"/>
                        </a:lnTo>
                        <a:lnTo>
                          <a:pt x="968" y="174"/>
                        </a:lnTo>
                        <a:lnTo>
                          <a:pt x="970" y="173"/>
                        </a:lnTo>
                        <a:lnTo>
                          <a:pt x="976" y="174"/>
                        </a:lnTo>
                        <a:lnTo>
                          <a:pt x="983" y="178"/>
                        </a:lnTo>
                        <a:lnTo>
                          <a:pt x="990" y="179"/>
                        </a:lnTo>
                        <a:lnTo>
                          <a:pt x="995" y="179"/>
                        </a:lnTo>
                        <a:lnTo>
                          <a:pt x="998" y="181"/>
                        </a:lnTo>
                        <a:lnTo>
                          <a:pt x="1001" y="184"/>
                        </a:lnTo>
                        <a:lnTo>
                          <a:pt x="1003" y="184"/>
                        </a:lnTo>
                        <a:lnTo>
                          <a:pt x="1008" y="186"/>
                        </a:lnTo>
                        <a:lnTo>
                          <a:pt x="1009" y="189"/>
                        </a:lnTo>
                        <a:lnTo>
                          <a:pt x="1011" y="192"/>
                        </a:lnTo>
                        <a:lnTo>
                          <a:pt x="1018" y="197"/>
                        </a:lnTo>
                        <a:lnTo>
                          <a:pt x="1019" y="199"/>
                        </a:lnTo>
                        <a:lnTo>
                          <a:pt x="1023" y="202"/>
                        </a:lnTo>
                        <a:lnTo>
                          <a:pt x="1024" y="209"/>
                        </a:lnTo>
                        <a:lnTo>
                          <a:pt x="1024" y="214"/>
                        </a:lnTo>
                        <a:lnTo>
                          <a:pt x="1021" y="216"/>
                        </a:lnTo>
                        <a:lnTo>
                          <a:pt x="1018" y="217"/>
                        </a:lnTo>
                        <a:lnTo>
                          <a:pt x="1013" y="221"/>
                        </a:lnTo>
                        <a:lnTo>
                          <a:pt x="1013" y="222"/>
                        </a:lnTo>
                        <a:lnTo>
                          <a:pt x="1009" y="224"/>
                        </a:lnTo>
                        <a:lnTo>
                          <a:pt x="1005" y="226"/>
                        </a:lnTo>
                        <a:lnTo>
                          <a:pt x="1000" y="232"/>
                        </a:lnTo>
                        <a:lnTo>
                          <a:pt x="998" y="236"/>
                        </a:lnTo>
                        <a:lnTo>
                          <a:pt x="996" y="236"/>
                        </a:lnTo>
                        <a:lnTo>
                          <a:pt x="993" y="236"/>
                        </a:lnTo>
                        <a:lnTo>
                          <a:pt x="986" y="232"/>
                        </a:lnTo>
                        <a:lnTo>
                          <a:pt x="983" y="232"/>
                        </a:lnTo>
                        <a:lnTo>
                          <a:pt x="980" y="234"/>
                        </a:lnTo>
                        <a:lnTo>
                          <a:pt x="978" y="237"/>
                        </a:lnTo>
                        <a:lnTo>
                          <a:pt x="978" y="239"/>
                        </a:lnTo>
                        <a:lnTo>
                          <a:pt x="980" y="241"/>
                        </a:lnTo>
                        <a:lnTo>
                          <a:pt x="980" y="242"/>
                        </a:lnTo>
                        <a:lnTo>
                          <a:pt x="981" y="246"/>
                        </a:lnTo>
                        <a:lnTo>
                          <a:pt x="983" y="247"/>
                        </a:lnTo>
                        <a:lnTo>
                          <a:pt x="983" y="251"/>
                        </a:lnTo>
                        <a:lnTo>
                          <a:pt x="981" y="252"/>
                        </a:lnTo>
                        <a:lnTo>
                          <a:pt x="978" y="252"/>
                        </a:lnTo>
                        <a:lnTo>
                          <a:pt x="976" y="252"/>
                        </a:lnTo>
                        <a:lnTo>
                          <a:pt x="968" y="256"/>
                        </a:lnTo>
                        <a:lnTo>
                          <a:pt x="965" y="259"/>
                        </a:lnTo>
                        <a:lnTo>
                          <a:pt x="960" y="259"/>
                        </a:lnTo>
                        <a:lnTo>
                          <a:pt x="956" y="259"/>
                        </a:lnTo>
                        <a:lnTo>
                          <a:pt x="953" y="257"/>
                        </a:lnTo>
                        <a:lnTo>
                          <a:pt x="950" y="256"/>
                        </a:lnTo>
                        <a:lnTo>
                          <a:pt x="946" y="256"/>
                        </a:lnTo>
                        <a:lnTo>
                          <a:pt x="945" y="256"/>
                        </a:lnTo>
                        <a:lnTo>
                          <a:pt x="941" y="254"/>
                        </a:lnTo>
                        <a:lnTo>
                          <a:pt x="941" y="254"/>
                        </a:lnTo>
                        <a:lnTo>
                          <a:pt x="938" y="254"/>
                        </a:lnTo>
                        <a:lnTo>
                          <a:pt x="936" y="254"/>
                        </a:lnTo>
                        <a:lnTo>
                          <a:pt x="936" y="256"/>
                        </a:lnTo>
                        <a:lnTo>
                          <a:pt x="935" y="256"/>
                        </a:lnTo>
                        <a:lnTo>
                          <a:pt x="931" y="256"/>
                        </a:lnTo>
                        <a:lnTo>
                          <a:pt x="930" y="256"/>
                        </a:lnTo>
                        <a:lnTo>
                          <a:pt x="928" y="259"/>
                        </a:lnTo>
                        <a:lnTo>
                          <a:pt x="925" y="259"/>
                        </a:lnTo>
                        <a:lnTo>
                          <a:pt x="923" y="257"/>
                        </a:lnTo>
                        <a:lnTo>
                          <a:pt x="920" y="259"/>
                        </a:lnTo>
                        <a:lnTo>
                          <a:pt x="918" y="261"/>
                        </a:lnTo>
                        <a:lnTo>
                          <a:pt x="913" y="259"/>
                        </a:lnTo>
                        <a:lnTo>
                          <a:pt x="910" y="259"/>
                        </a:lnTo>
                        <a:lnTo>
                          <a:pt x="905" y="259"/>
                        </a:lnTo>
                        <a:lnTo>
                          <a:pt x="902" y="262"/>
                        </a:lnTo>
                        <a:lnTo>
                          <a:pt x="897" y="261"/>
                        </a:lnTo>
                        <a:lnTo>
                          <a:pt x="893" y="261"/>
                        </a:lnTo>
                        <a:lnTo>
                          <a:pt x="897" y="262"/>
                        </a:lnTo>
                        <a:lnTo>
                          <a:pt x="900" y="262"/>
                        </a:lnTo>
                        <a:lnTo>
                          <a:pt x="910" y="262"/>
                        </a:lnTo>
                        <a:lnTo>
                          <a:pt x="913" y="261"/>
                        </a:lnTo>
                        <a:lnTo>
                          <a:pt x="916" y="261"/>
                        </a:lnTo>
                        <a:lnTo>
                          <a:pt x="920" y="264"/>
                        </a:lnTo>
                        <a:lnTo>
                          <a:pt x="925" y="264"/>
                        </a:lnTo>
                        <a:lnTo>
                          <a:pt x="935" y="264"/>
                        </a:lnTo>
                        <a:lnTo>
                          <a:pt x="938" y="267"/>
                        </a:lnTo>
                        <a:lnTo>
                          <a:pt x="941" y="267"/>
                        </a:lnTo>
                        <a:lnTo>
                          <a:pt x="943" y="264"/>
                        </a:lnTo>
                        <a:lnTo>
                          <a:pt x="946" y="264"/>
                        </a:lnTo>
                        <a:lnTo>
                          <a:pt x="950" y="264"/>
                        </a:lnTo>
                        <a:lnTo>
                          <a:pt x="951" y="267"/>
                        </a:lnTo>
                        <a:lnTo>
                          <a:pt x="956" y="269"/>
                        </a:lnTo>
                        <a:lnTo>
                          <a:pt x="958" y="271"/>
                        </a:lnTo>
                        <a:lnTo>
                          <a:pt x="958" y="274"/>
                        </a:lnTo>
                        <a:lnTo>
                          <a:pt x="955" y="277"/>
                        </a:lnTo>
                        <a:lnTo>
                          <a:pt x="951" y="277"/>
                        </a:lnTo>
                        <a:lnTo>
                          <a:pt x="950" y="277"/>
                        </a:lnTo>
                        <a:lnTo>
                          <a:pt x="950" y="280"/>
                        </a:lnTo>
                        <a:lnTo>
                          <a:pt x="950" y="284"/>
                        </a:lnTo>
                        <a:lnTo>
                          <a:pt x="946" y="285"/>
                        </a:lnTo>
                        <a:lnTo>
                          <a:pt x="936" y="287"/>
                        </a:lnTo>
                        <a:lnTo>
                          <a:pt x="933" y="287"/>
                        </a:lnTo>
                        <a:lnTo>
                          <a:pt x="928" y="287"/>
                        </a:lnTo>
                        <a:lnTo>
                          <a:pt x="920" y="287"/>
                        </a:lnTo>
                        <a:lnTo>
                          <a:pt x="916" y="285"/>
                        </a:lnTo>
                        <a:lnTo>
                          <a:pt x="908" y="279"/>
                        </a:lnTo>
                        <a:lnTo>
                          <a:pt x="902" y="277"/>
                        </a:lnTo>
                        <a:lnTo>
                          <a:pt x="898" y="277"/>
                        </a:lnTo>
                        <a:lnTo>
                          <a:pt x="893" y="280"/>
                        </a:lnTo>
                        <a:lnTo>
                          <a:pt x="892" y="285"/>
                        </a:lnTo>
                        <a:lnTo>
                          <a:pt x="887" y="289"/>
                        </a:lnTo>
                        <a:lnTo>
                          <a:pt x="883" y="290"/>
                        </a:lnTo>
                        <a:lnTo>
                          <a:pt x="882" y="292"/>
                        </a:lnTo>
                        <a:lnTo>
                          <a:pt x="883" y="292"/>
                        </a:lnTo>
                        <a:lnTo>
                          <a:pt x="887" y="292"/>
                        </a:lnTo>
                        <a:lnTo>
                          <a:pt x="888" y="295"/>
                        </a:lnTo>
                        <a:lnTo>
                          <a:pt x="888" y="299"/>
                        </a:lnTo>
                        <a:lnTo>
                          <a:pt x="887" y="300"/>
                        </a:lnTo>
                        <a:lnTo>
                          <a:pt x="883" y="300"/>
                        </a:lnTo>
                        <a:lnTo>
                          <a:pt x="883" y="302"/>
                        </a:lnTo>
                        <a:lnTo>
                          <a:pt x="885" y="304"/>
                        </a:lnTo>
                        <a:lnTo>
                          <a:pt x="888" y="305"/>
                        </a:lnTo>
                        <a:lnTo>
                          <a:pt x="892" y="305"/>
                        </a:lnTo>
                        <a:lnTo>
                          <a:pt x="893" y="304"/>
                        </a:lnTo>
                        <a:lnTo>
                          <a:pt x="898" y="300"/>
                        </a:lnTo>
                        <a:lnTo>
                          <a:pt x="902" y="297"/>
                        </a:lnTo>
                        <a:lnTo>
                          <a:pt x="907" y="295"/>
                        </a:lnTo>
                        <a:lnTo>
                          <a:pt x="913" y="294"/>
                        </a:lnTo>
                        <a:lnTo>
                          <a:pt x="920" y="290"/>
                        </a:lnTo>
                        <a:lnTo>
                          <a:pt x="923" y="290"/>
                        </a:lnTo>
                        <a:lnTo>
                          <a:pt x="925" y="292"/>
                        </a:lnTo>
                        <a:lnTo>
                          <a:pt x="926" y="294"/>
                        </a:lnTo>
                        <a:lnTo>
                          <a:pt x="931" y="295"/>
                        </a:lnTo>
                        <a:lnTo>
                          <a:pt x="935" y="297"/>
                        </a:lnTo>
                        <a:lnTo>
                          <a:pt x="935" y="299"/>
                        </a:lnTo>
                        <a:lnTo>
                          <a:pt x="933" y="300"/>
                        </a:lnTo>
                        <a:lnTo>
                          <a:pt x="928" y="304"/>
                        </a:lnTo>
                        <a:lnTo>
                          <a:pt x="926" y="310"/>
                        </a:lnTo>
                        <a:lnTo>
                          <a:pt x="923" y="314"/>
                        </a:lnTo>
                        <a:lnTo>
                          <a:pt x="921" y="317"/>
                        </a:lnTo>
                        <a:lnTo>
                          <a:pt x="915" y="322"/>
                        </a:lnTo>
                        <a:lnTo>
                          <a:pt x="910" y="327"/>
                        </a:lnTo>
                        <a:lnTo>
                          <a:pt x="903" y="337"/>
                        </a:lnTo>
                        <a:lnTo>
                          <a:pt x="900" y="342"/>
                        </a:lnTo>
                        <a:lnTo>
                          <a:pt x="897" y="344"/>
                        </a:lnTo>
                        <a:lnTo>
                          <a:pt x="897" y="350"/>
                        </a:lnTo>
                        <a:lnTo>
                          <a:pt x="895" y="355"/>
                        </a:lnTo>
                        <a:lnTo>
                          <a:pt x="895" y="357"/>
                        </a:lnTo>
                        <a:lnTo>
                          <a:pt x="892" y="360"/>
                        </a:lnTo>
                        <a:lnTo>
                          <a:pt x="892" y="367"/>
                        </a:lnTo>
                        <a:lnTo>
                          <a:pt x="888" y="372"/>
                        </a:lnTo>
                        <a:lnTo>
                          <a:pt x="887" y="380"/>
                        </a:lnTo>
                        <a:lnTo>
                          <a:pt x="888" y="383"/>
                        </a:lnTo>
                        <a:lnTo>
                          <a:pt x="890" y="387"/>
                        </a:lnTo>
                        <a:lnTo>
                          <a:pt x="888" y="393"/>
                        </a:lnTo>
                        <a:lnTo>
                          <a:pt x="885" y="395"/>
                        </a:lnTo>
                        <a:lnTo>
                          <a:pt x="882" y="398"/>
                        </a:lnTo>
                        <a:lnTo>
                          <a:pt x="883" y="403"/>
                        </a:lnTo>
                        <a:lnTo>
                          <a:pt x="882" y="405"/>
                        </a:lnTo>
                        <a:lnTo>
                          <a:pt x="880" y="408"/>
                        </a:lnTo>
                        <a:lnTo>
                          <a:pt x="878" y="413"/>
                        </a:lnTo>
                        <a:lnTo>
                          <a:pt x="877" y="418"/>
                        </a:lnTo>
                        <a:lnTo>
                          <a:pt x="873" y="422"/>
                        </a:lnTo>
                        <a:lnTo>
                          <a:pt x="870" y="422"/>
                        </a:lnTo>
                        <a:lnTo>
                          <a:pt x="868" y="418"/>
                        </a:lnTo>
                        <a:lnTo>
                          <a:pt x="868" y="417"/>
                        </a:lnTo>
                        <a:lnTo>
                          <a:pt x="867" y="415"/>
                        </a:lnTo>
                        <a:lnTo>
                          <a:pt x="865" y="413"/>
                        </a:lnTo>
                        <a:lnTo>
                          <a:pt x="868" y="412"/>
                        </a:lnTo>
                        <a:lnTo>
                          <a:pt x="867" y="410"/>
                        </a:lnTo>
                        <a:lnTo>
                          <a:pt x="863" y="408"/>
                        </a:lnTo>
                        <a:lnTo>
                          <a:pt x="860" y="410"/>
                        </a:lnTo>
                        <a:lnTo>
                          <a:pt x="858" y="410"/>
                        </a:lnTo>
                        <a:lnTo>
                          <a:pt x="857" y="412"/>
                        </a:lnTo>
                        <a:lnTo>
                          <a:pt x="857" y="413"/>
                        </a:lnTo>
                        <a:lnTo>
                          <a:pt x="858" y="415"/>
                        </a:lnTo>
                        <a:lnTo>
                          <a:pt x="858" y="417"/>
                        </a:lnTo>
                        <a:lnTo>
                          <a:pt x="855" y="418"/>
                        </a:lnTo>
                        <a:lnTo>
                          <a:pt x="855" y="422"/>
                        </a:lnTo>
                        <a:lnTo>
                          <a:pt x="858" y="423"/>
                        </a:lnTo>
                        <a:lnTo>
                          <a:pt x="862" y="425"/>
                        </a:lnTo>
                        <a:lnTo>
                          <a:pt x="865" y="428"/>
                        </a:lnTo>
                        <a:lnTo>
                          <a:pt x="867" y="430"/>
                        </a:lnTo>
                        <a:lnTo>
                          <a:pt x="868" y="435"/>
                        </a:lnTo>
                        <a:lnTo>
                          <a:pt x="872" y="437"/>
                        </a:lnTo>
                        <a:lnTo>
                          <a:pt x="877" y="438"/>
                        </a:lnTo>
                        <a:lnTo>
                          <a:pt x="882" y="442"/>
                        </a:lnTo>
                        <a:lnTo>
                          <a:pt x="883" y="448"/>
                        </a:lnTo>
                        <a:lnTo>
                          <a:pt x="882" y="450"/>
                        </a:lnTo>
                        <a:lnTo>
                          <a:pt x="878" y="450"/>
                        </a:lnTo>
                        <a:lnTo>
                          <a:pt x="875" y="448"/>
                        </a:lnTo>
                        <a:lnTo>
                          <a:pt x="870" y="443"/>
                        </a:lnTo>
                        <a:lnTo>
                          <a:pt x="870" y="442"/>
                        </a:lnTo>
                        <a:lnTo>
                          <a:pt x="867" y="440"/>
                        </a:lnTo>
                        <a:lnTo>
                          <a:pt x="865" y="440"/>
                        </a:lnTo>
                        <a:lnTo>
                          <a:pt x="863" y="440"/>
                        </a:lnTo>
                        <a:lnTo>
                          <a:pt x="863" y="442"/>
                        </a:lnTo>
                        <a:lnTo>
                          <a:pt x="863" y="445"/>
                        </a:lnTo>
                        <a:lnTo>
                          <a:pt x="867" y="448"/>
                        </a:lnTo>
                        <a:lnTo>
                          <a:pt x="867" y="450"/>
                        </a:lnTo>
                        <a:lnTo>
                          <a:pt x="863" y="450"/>
                        </a:lnTo>
                        <a:lnTo>
                          <a:pt x="862" y="448"/>
                        </a:lnTo>
                        <a:lnTo>
                          <a:pt x="860" y="450"/>
                        </a:lnTo>
                        <a:lnTo>
                          <a:pt x="862" y="452"/>
                        </a:lnTo>
                        <a:lnTo>
                          <a:pt x="865" y="453"/>
                        </a:lnTo>
                        <a:lnTo>
                          <a:pt x="865" y="455"/>
                        </a:lnTo>
                        <a:lnTo>
                          <a:pt x="863" y="457"/>
                        </a:lnTo>
                        <a:lnTo>
                          <a:pt x="865" y="458"/>
                        </a:lnTo>
                        <a:lnTo>
                          <a:pt x="867" y="457"/>
                        </a:lnTo>
                        <a:lnTo>
                          <a:pt x="872" y="458"/>
                        </a:lnTo>
                        <a:lnTo>
                          <a:pt x="873" y="460"/>
                        </a:lnTo>
                        <a:lnTo>
                          <a:pt x="873" y="463"/>
                        </a:lnTo>
                        <a:lnTo>
                          <a:pt x="873" y="465"/>
                        </a:lnTo>
                        <a:lnTo>
                          <a:pt x="875" y="467"/>
                        </a:lnTo>
                        <a:lnTo>
                          <a:pt x="877" y="465"/>
                        </a:lnTo>
                        <a:lnTo>
                          <a:pt x="882" y="462"/>
                        </a:lnTo>
                        <a:lnTo>
                          <a:pt x="883" y="458"/>
                        </a:lnTo>
                        <a:lnTo>
                          <a:pt x="885" y="458"/>
                        </a:lnTo>
                        <a:lnTo>
                          <a:pt x="885" y="460"/>
                        </a:lnTo>
                        <a:lnTo>
                          <a:pt x="887" y="462"/>
                        </a:lnTo>
                        <a:lnTo>
                          <a:pt x="888" y="462"/>
                        </a:lnTo>
                        <a:lnTo>
                          <a:pt x="892" y="463"/>
                        </a:lnTo>
                        <a:lnTo>
                          <a:pt x="895" y="465"/>
                        </a:lnTo>
                        <a:lnTo>
                          <a:pt x="897" y="468"/>
                        </a:lnTo>
                        <a:lnTo>
                          <a:pt x="897" y="472"/>
                        </a:lnTo>
                        <a:lnTo>
                          <a:pt x="895" y="473"/>
                        </a:lnTo>
                        <a:lnTo>
                          <a:pt x="893" y="478"/>
                        </a:lnTo>
                        <a:lnTo>
                          <a:pt x="893" y="483"/>
                        </a:lnTo>
                        <a:lnTo>
                          <a:pt x="893" y="486"/>
                        </a:lnTo>
                        <a:lnTo>
                          <a:pt x="892" y="491"/>
                        </a:lnTo>
                        <a:lnTo>
                          <a:pt x="888" y="495"/>
                        </a:lnTo>
                        <a:lnTo>
                          <a:pt x="888" y="498"/>
                        </a:lnTo>
                        <a:lnTo>
                          <a:pt x="888" y="500"/>
                        </a:lnTo>
                        <a:lnTo>
                          <a:pt x="887" y="500"/>
                        </a:lnTo>
                        <a:lnTo>
                          <a:pt x="883" y="496"/>
                        </a:lnTo>
                        <a:lnTo>
                          <a:pt x="878" y="495"/>
                        </a:lnTo>
                        <a:lnTo>
                          <a:pt x="877" y="491"/>
                        </a:lnTo>
                        <a:lnTo>
                          <a:pt x="875" y="491"/>
                        </a:lnTo>
                        <a:lnTo>
                          <a:pt x="873" y="491"/>
                        </a:lnTo>
                        <a:lnTo>
                          <a:pt x="868" y="490"/>
                        </a:lnTo>
                        <a:lnTo>
                          <a:pt x="868" y="488"/>
                        </a:lnTo>
                        <a:lnTo>
                          <a:pt x="868" y="486"/>
                        </a:lnTo>
                        <a:lnTo>
                          <a:pt x="867" y="483"/>
                        </a:lnTo>
                        <a:lnTo>
                          <a:pt x="863" y="483"/>
                        </a:lnTo>
                        <a:lnTo>
                          <a:pt x="862" y="483"/>
                        </a:lnTo>
                        <a:lnTo>
                          <a:pt x="860" y="483"/>
                        </a:lnTo>
                        <a:lnTo>
                          <a:pt x="857" y="480"/>
                        </a:lnTo>
                        <a:lnTo>
                          <a:pt x="853" y="480"/>
                        </a:lnTo>
                        <a:lnTo>
                          <a:pt x="850" y="481"/>
                        </a:lnTo>
                        <a:lnTo>
                          <a:pt x="850" y="481"/>
                        </a:lnTo>
                        <a:lnTo>
                          <a:pt x="850" y="485"/>
                        </a:lnTo>
                        <a:lnTo>
                          <a:pt x="848" y="485"/>
                        </a:lnTo>
                        <a:lnTo>
                          <a:pt x="847" y="483"/>
                        </a:lnTo>
                        <a:lnTo>
                          <a:pt x="842" y="483"/>
                        </a:lnTo>
                        <a:lnTo>
                          <a:pt x="838" y="485"/>
                        </a:lnTo>
                        <a:lnTo>
                          <a:pt x="840" y="485"/>
                        </a:lnTo>
                        <a:lnTo>
                          <a:pt x="843" y="485"/>
                        </a:lnTo>
                        <a:lnTo>
                          <a:pt x="847" y="486"/>
                        </a:lnTo>
                        <a:lnTo>
                          <a:pt x="848" y="488"/>
                        </a:lnTo>
                        <a:lnTo>
                          <a:pt x="848" y="488"/>
                        </a:lnTo>
                        <a:lnTo>
                          <a:pt x="845" y="490"/>
                        </a:lnTo>
                        <a:lnTo>
                          <a:pt x="840" y="495"/>
                        </a:lnTo>
                        <a:lnTo>
                          <a:pt x="835" y="496"/>
                        </a:lnTo>
                        <a:lnTo>
                          <a:pt x="833" y="496"/>
                        </a:lnTo>
                        <a:lnTo>
                          <a:pt x="832" y="495"/>
                        </a:lnTo>
                        <a:lnTo>
                          <a:pt x="832" y="491"/>
                        </a:lnTo>
                        <a:lnTo>
                          <a:pt x="830" y="490"/>
                        </a:lnTo>
                        <a:lnTo>
                          <a:pt x="828" y="491"/>
                        </a:lnTo>
                        <a:lnTo>
                          <a:pt x="828" y="495"/>
                        </a:lnTo>
                        <a:lnTo>
                          <a:pt x="830" y="496"/>
                        </a:lnTo>
                        <a:lnTo>
                          <a:pt x="828" y="498"/>
                        </a:lnTo>
                        <a:lnTo>
                          <a:pt x="828" y="501"/>
                        </a:lnTo>
                        <a:lnTo>
                          <a:pt x="830" y="503"/>
                        </a:lnTo>
                        <a:lnTo>
                          <a:pt x="828" y="505"/>
                        </a:lnTo>
                        <a:lnTo>
                          <a:pt x="828" y="506"/>
                        </a:lnTo>
                        <a:lnTo>
                          <a:pt x="830" y="508"/>
                        </a:lnTo>
                        <a:lnTo>
                          <a:pt x="828" y="510"/>
                        </a:lnTo>
                        <a:lnTo>
                          <a:pt x="823" y="508"/>
                        </a:lnTo>
                        <a:lnTo>
                          <a:pt x="820" y="508"/>
                        </a:lnTo>
                        <a:lnTo>
                          <a:pt x="818" y="510"/>
                        </a:lnTo>
                        <a:lnTo>
                          <a:pt x="822" y="511"/>
                        </a:lnTo>
                        <a:lnTo>
                          <a:pt x="825" y="513"/>
                        </a:lnTo>
                        <a:lnTo>
                          <a:pt x="832" y="511"/>
                        </a:lnTo>
                        <a:lnTo>
                          <a:pt x="832" y="513"/>
                        </a:lnTo>
                        <a:lnTo>
                          <a:pt x="832" y="516"/>
                        </a:lnTo>
                        <a:lnTo>
                          <a:pt x="832" y="520"/>
                        </a:lnTo>
                        <a:lnTo>
                          <a:pt x="833" y="520"/>
                        </a:lnTo>
                        <a:lnTo>
                          <a:pt x="835" y="518"/>
                        </a:lnTo>
                        <a:lnTo>
                          <a:pt x="838" y="518"/>
                        </a:lnTo>
                        <a:lnTo>
                          <a:pt x="843" y="520"/>
                        </a:lnTo>
                        <a:lnTo>
                          <a:pt x="845" y="521"/>
                        </a:lnTo>
                        <a:lnTo>
                          <a:pt x="850" y="521"/>
                        </a:lnTo>
                        <a:lnTo>
                          <a:pt x="853" y="521"/>
                        </a:lnTo>
                        <a:lnTo>
                          <a:pt x="857" y="521"/>
                        </a:lnTo>
                        <a:lnTo>
                          <a:pt x="858" y="520"/>
                        </a:lnTo>
                        <a:lnTo>
                          <a:pt x="860" y="520"/>
                        </a:lnTo>
                        <a:lnTo>
                          <a:pt x="860" y="523"/>
                        </a:lnTo>
                        <a:lnTo>
                          <a:pt x="860" y="526"/>
                        </a:lnTo>
                        <a:lnTo>
                          <a:pt x="862" y="530"/>
                        </a:lnTo>
                        <a:lnTo>
                          <a:pt x="860" y="530"/>
                        </a:lnTo>
                        <a:lnTo>
                          <a:pt x="858" y="531"/>
                        </a:lnTo>
                        <a:lnTo>
                          <a:pt x="855" y="530"/>
                        </a:lnTo>
                        <a:lnTo>
                          <a:pt x="853" y="530"/>
                        </a:lnTo>
                        <a:lnTo>
                          <a:pt x="850" y="531"/>
                        </a:lnTo>
                        <a:lnTo>
                          <a:pt x="847" y="531"/>
                        </a:lnTo>
                        <a:lnTo>
                          <a:pt x="845" y="530"/>
                        </a:lnTo>
                        <a:lnTo>
                          <a:pt x="838" y="531"/>
                        </a:lnTo>
                        <a:lnTo>
                          <a:pt x="833" y="531"/>
                        </a:lnTo>
                        <a:lnTo>
                          <a:pt x="830" y="531"/>
                        </a:lnTo>
                        <a:lnTo>
                          <a:pt x="830" y="530"/>
                        </a:lnTo>
                        <a:lnTo>
                          <a:pt x="828" y="531"/>
                        </a:lnTo>
                        <a:lnTo>
                          <a:pt x="830" y="533"/>
                        </a:lnTo>
                        <a:lnTo>
                          <a:pt x="830" y="535"/>
                        </a:lnTo>
                        <a:lnTo>
                          <a:pt x="833" y="535"/>
                        </a:lnTo>
                        <a:lnTo>
                          <a:pt x="837" y="533"/>
                        </a:lnTo>
                        <a:lnTo>
                          <a:pt x="845" y="533"/>
                        </a:lnTo>
                        <a:lnTo>
                          <a:pt x="848" y="535"/>
                        </a:lnTo>
                        <a:lnTo>
                          <a:pt x="850" y="538"/>
                        </a:lnTo>
                        <a:lnTo>
                          <a:pt x="853" y="538"/>
                        </a:lnTo>
                        <a:lnTo>
                          <a:pt x="857" y="538"/>
                        </a:lnTo>
                        <a:lnTo>
                          <a:pt x="860" y="541"/>
                        </a:lnTo>
                        <a:lnTo>
                          <a:pt x="862" y="545"/>
                        </a:lnTo>
                        <a:lnTo>
                          <a:pt x="865" y="548"/>
                        </a:lnTo>
                        <a:lnTo>
                          <a:pt x="867" y="550"/>
                        </a:lnTo>
                        <a:lnTo>
                          <a:pt x="865" y="550"/>
                        </a:lnTo>
                        <a:lnTo>
                          <a:pt x="862" y="550"/>
                        </a:lnTo>
                        <a:lnTo>
                          <a:pt x="860" y="548"/>
                        </a:lnTo>
                        <a:lnTo>
                          <a:pt x="860" y="550"/>
                        </a:lnTo>
                        <a:lnTo>
                          <a:pt x="860" y="551"/>
                        </a:lnTo>
                        <a:lnTo>
                          <a:pt x="862" y="555"/>
                        </a:lnTo>
                        <a:lnTo>
                          <a:pt x="862" y="560"/>
                        </a:lnTo>
                        <a:lnTo>
                          <a:pt x="862" y="563"/>
                        </a:lnTo>
                        <a:lnTo>
                          <a:pt x="862" y="566"/>
                        </a:lnTo>
                        <a:lnTo>
                          <a:pt x="862" y="568"/>
                        </a:lnTo>
                        <a:lnTo>
                          <a:pt x="860" y="571"/>
                        </a:lnTo>
                        <a:lnTo>
                          <a:pt x="858" y="578"/>
                        </a:lnTo>
                        <a:lnTo>
                          <a:pt x="855" y="581"/>
                        </a:lnTo>
                        <a:lnTo>
                          <a:pt x="852" y="581"/>
                        </a:lnTo>
                        <a:lnTo>
                          <a:pt x="850" y="579"/>
                        </a:lnTo>
                        <a:lnTo>
                          <a:pt x="848" y="576"/>
                        </a:lnTo>
                        <a:lnTo>
                          <a:pt x="852" y="573"/>
                        </a:lnTo>
                        <a:lnTo>
                          <a:pt x="850" y="571"/>
                        </a:lnTo>
                        <a:lnTo>
                          <a:pt x="847" y="571"/>
                        </a:lnTo>
                        <a:lnTo>
                          <a:pt x="845" y="571"/>
                        </a:lnTo>
                        <a:lnTo>
                          <a:pt x="843" y="571"/>
                        </a:lnTo>
                        <a:lnTo>
                          <a:pt x="837" y="565"/>
                        </a:lnTo>
                        <a:lnTo>
                          <a:pt x="833" y="561"/>
                        </a:lnTo>
                        <a:lnTo>
                          <a:pt x="828" y="560"/>
                        </a:lnTo>
                        <a:lnTo>
                          <a:pt x="828" y="556"/>
                        </a:lnTo>
                        <a:lnTo>
                          <a:pt x="827" y="553"/>
                        </a:lnTo>
                        <a:lnTo>
                          <a:pt x="822" y="548"/>
                        </a:lnTo>
                        <a:lnTo>
                          <a:pt x="818" y="546"/>
                        </a:lnTo>
                        <a:lnTo>
                          <a:pt x="818" y="546"/>
                        </a:lnTo>
                        <a:lnTo>
                          <a:pt x="818" y="548"/>
                        </a:lnTo>
                        <a:lnTo>
                          <a:pt x="818" y="550"/>
                        </a:lnTo>
                        <a:lnTo>
                          <a:pt x="823" y="553"/>
                        </a:lnTo>
                        <a:lnTo>
                          <a:pt x="823" y="556"/>
                        </a:lnTo>
                        <a:lnTo>
                          <a:pt x="822" y="558"/>
                        </a:lnTo>
                        <a:lnTo>
                          <a:pt x="817" y="556"/>
                        </a:lnTo>
                        <a:lnTo>
                          <a:pt x="813" y="555"/>
                        </a:lnTo>
                        <a:lnTo>
                          <a:pt x="812" y="551"/>
                        </a:lnTo>
                        <a:lnTo>
                          <a:pt x="810" y="548"/>
                        </a:lnTo>
                        <a:lnTo>
                          <a:pt x="809" y="551"/>
                        </a:lnTo>
                        <a:lnTo>
                          <a:pt x="810" y="553"/>
                        </a:lnTo>
                        <a:lnTo>
                          <a:pt x="813" y="558"/>
                        </a:lnTo>
                        <a:lnTo>
                          <a:pt x="820" y="560"/>
                        </a:lnTo>
                        <a:lnTo>
                          <a:pt x="827" y="561"/>
                        </a:lnTo>
                        <a:lnTo>
                          <a:pt x="833" y="565"/>
                        </a:lnTo>
                        <a:lnTo>
                          <a:pt x="842" y="573"/>
                        </a:lnTo>
                        <a:lnTo>
                          <a:pt x="843" y="576"/>
                        </a:lnTo>
                        <a:lnTo>
                          <a:pt x="842" y="578"/>
                        </a:lnTo>
                        <a:lnTo>
                          <a:pt x="838" y="578"/>
                        </a:lnTo>
                        <a:lnTo>
                          <a:pt x="837" y="576"/>
                        </a:lnTo>
                        <a:lnTo>
                          <a:pt x="832" y="576"/>
                        </a:lnTo>
                        <a:lnTo>
                          <a:pt x="830" y="578"/>
                        </a:lnTo>
                        <a:lnTo>
                          <a:pt x="825" y="581"/>
                        </a:lnTo>
                        <a:lnTo>
                          <a:pt x="822" y="581"/>
                        </a:lnTo>
                        <a:lnTo>
                          <a:pt x="818" y="579"/>
                        </a:lnTo>
                        <a:lnTo>
                          <a:pt x="817" y="576"/>
                        </a:lnTo>
                        <a:lnTo>
                          <a:pt x="818" y="576"/>
                        </a:lnTo>
                        <a:lnTo>
                          <a:pt x="817" y="574"/>
                        </a:lnTo>
                        <a:lnTo>
                          <a:pt x="813" y="571"/>
                        </a:lnTo>
                        <a:lnTo>
                          <a:pt x="813" y="574"/>
                        </a:lnTo>
                        <a:lnTo>
                          <a:pt x="815" y="576"/>
                        </a:lnTo>
                        <a:lnTo>
                          <a:pt x="817" y="581"/>
                        </a:lnTo>
                        <a:lnTo>
                          <a:pt x="818" y="583"/>
                        </a:lnTo>
                        <a:lnTo>
                          <a:pt x="822" y="584"/>
                        </a:lnTo>
                        <a:lnTo>
                          <a:pt x="827" y="583"/>
                        </a:lnTo>
                        <a:lnTo>
                          <a:pt x="830" y="579"/>
                        </a:lnTo>
                        <a:lnTo>
                          <a:pt x="833" y="578"/>
                        </a:lnTo>
                        <a:lnTo>
                          <a:pt x="838" y="581"/>
                        </a:lnTo>
                        <a:lnTo>
                          <a:pt x="838" y="584"/>
                        </a:lnTo>
                        <a:lnTo>
                          <a:pt x="838" y="584"/>
                        </a:lnTo>
                        <a:lnTo>
                          <a:pt x="837" y="593"/>
                        </a:lnTo>
                        <a:lnTo>
                          <a:pt x="835" y="594"/>
                        </a:lnTo>
                        <a:lnTo>
                          <a:pt x="832" y="594"/>
                        </a:lnTo>
                        <a:lnTo>
                          <a:pt x="833" y="596"/>
                        </a:lnTo>
                        <a:lnTo>
                          <a:pt x="835" y="598"/>
                        </a:lnTo>
                        <a:lnTo>
                          <a:pt x="837" y="598"/>
                        </a:lnTo>
                        <a:lnTo>
                          <a:pt x="842" y="598"/>
                        </a:lnTo>
                        <a:lnTo>
                          <a:pt x="847" y="603"/>
                        </a:lnTo>
                        <a:lnTo>
                          <a:pt x="852" y="604"/>
                        </a:lnTo>
                        <a:lnTo>
                          <a:pt x="853" y="603"/>
                        </a:lnTo>
                        <a:lnTo>
                          <a:pt x="857" y="601"/>
                        </a:lnTo>
                        <a:lnTo>
                          <a:pt x="860" y="601"/>
                        </a:lnTo>
                        <a:lnTo>
                          <a:pt x="860" y="603"/>
                        </a:lnTo>
                        <a:lnTo>
                          <a:pt x="858" y="606"/>
                        </a:lnTo>
                        <a:lnTo>
                          <a:pt x="860" y="609"/>
                        </a:lnTo>
                        <a:lnTo>
                          <a:pt x="862" y="613"/>
                        </a:lnTo>
                        <a:lnTo>
                          <a:pt x="860" y="616"/>
                        </a:lnTo>
                        <a:lnTo>
                          <a:pt x="855" y="621"/>
                        </a:lnTo>
                        <a:lnTo>
                          <a:pt x="850" y="624"/>
                        </a:lnTo>
                        <a:lnTo>
                          <a:pt x="848" y="623"/>
                        </a:lnTo>
                        <a:lnTo>
                          <a:pt x="847" y="621"/>
                        </a:lnTo>
                        <a:lnTo>
                          <a:pt x="845" y="619"/>
                        </a:lnTo>
                        <a:lnTo>
                          <a:pt x="843" y="616"/>
                        </a:lnTo>
                        <a:lnTo>
                          <a:pt x="843" y="613"/>
                        </a:lnTo>
                        <a:lnTo>
                          <a:pt x="838" y="609"/>
                        </a:lnTo>
                        <a:lnTo>
                          <a:pt x="833" y="608"/>
                        </a:lnTo>
                        <a:lnTo>
                          <a:pt x="830" y="606"/>
                        </a:lnTo>
                        <a:lnTo>
                          <a:pt x="827" y="606"/>
                        </a:lnTo>
                        <a:lnTo>
                          <a:pt x="823" y="608"/>
                        </a:lnTo>
                        <a:lnTo>
                          <a:pt x="820" y="608"/>
                        </a:lnTo>
                        <a:lnTo>
                          <a:pt x="818" y="606"/>
                        </a:lnTo>
                        <a:lnTo>
                          <a:pt x="817" y="603"/>
                        </a:lnTo>
                        <a:lnTo>
                          <a:pt x="815" y="601"/>
                        </a:lnTo>
                        <a:lnTo>
                          <a:pt x="813" y="601"/>
                        </a:lnTo>
                        <a:lnTo>
                          <a:pt x="813" y="603"/>
                        </a:lnTo>
                        <a:lnTo>
                          <a:pt x="815" y="604"/>
                        </a:lnTo>
                        <a:lnTo>
                          <a:pt x="815" y="609"/>
                        </a:lnTo>
                        <a:lnTo>
                          <a:pt x="813" y="613"/>
                        </a:lnTo>
                        <a:lnTo>
                          <a:pt x="810" y="614"/>
                        </a:lnTo>
                        <a:lnTo>
                          <a:pt x="807" y="614"/>
                        </a:lnTo>
                        <a:lnTo>
                          <a:pt x="805" y="614"/>
                        </a:lnTo>
                        <a:lnTo>
                          <a:pt x="807" y="616"/>
                        </a:lnTo>
                        <a:lnTo>
                          <a:pt x="809" y="618"/>
                        </a:lnTo>
                        <a:lnTo>
                          <a:pt x="809" y="619"/>
                        </a:lnTo>
                        <a:lnTo>
                          <a:pt x="805" y="624"/>
                        </a:lnTo>
                        <a:lnTo>
                          <a:pt x="804" y="626"/>
                        </a:lnTo>
                        <a:lnTo>
                          <a:pt x="804" y="628"/>
                        </a:lnTo>
                        <a:lnTo>
                          <a:pt x="804" y="629"/>
                        </a:lnTo>
                        <a:lnTo>
                          <a:pt x="807" y="629"/>
                        </a:lnTo>
                        <a:lnTo>
                          <a:pt x="809" y="634"/>
                        </a:lnTo>
                        <a:lnTo>
                          <a:pt x="810" y="636"/>
                        </a:lnTo>
                        <a:lnTo>
                          <a:pt x="812" y="639"/>
                        </a:lnTo>
                        <a:lnTo>
                          <a:pt x="810" y="644"/>
                        </a:lnTo>
                        <a:lnTo>
                          <a:pt x="810" y="646"/>
                        </a:lnTo>
                        <a:lnTo>
                          <a:pt x="812" y="643"/>
                        </a:lnTo>
                        <a:lnTo>
                          <a:pt x="813" y="641"/>
                        </a:lnTo>
                        <a:lnTo>
                          <a:pt x="813" y="638"/>
                        </a:lnTo>
                        <a:lnTo>
                          <a:pt x="812" y="636"/>
                        </a:lnTo>
                        <a:lnTo>
                          <a:pt x="812" y="633"/>
                        </a:lnTo>
                        <a:lnTo>
                          <a:pt x="813" y="629"/>
                        </a:lnTo>
                        <a:lnTo>
                          <a:pt x="815" y="629"/>
                        </a:lnTo>
                        <a:lnTo>
                          <a:pt x="817" y="633"/>
                        </a:lnTo>
                        <a:lnTo>
                          <a:pt x="818" y="634"/>
                        </a:lnTo>
                        <a:lnTo>
                          <a:pt x="820" y="636"/>
                        </a:lnTo>
                        <a:lnTo>
                          <a:pt x="823" y="639"/>
                        </a:lnTo>
                        <a:lnTo>
                          <a:pt x="825" y="638"/>
                        </a:lnTo>
                        <a:lnTo>
                          <a:pt x="827" y="638"/>
                        </a:lnTo>
                        <a:lnTo>
                          <a:pt x="828" y="639"/>
                        </a:lnTo>
                        <a:lnTo>
                          <a:pt x="830" y="638"/>
                        </a:lnTo>
                        <a:lnTo>
                          <a:pt x="833" y="636"/>
                        </a:lnTo>
                        <a:lnTo>
                          <a:pt x="837" y="638"/>
                        </a:lnTo>
                        <a:lnTo>
                          <a:pt x="838" y="639"/>
                        </a:lnTo>
                        <a:lnTo>
                          <a:pt x="838" y="643"/>
                        </a:lnTo>
                        <a:lnTo>
                          <a:pt x="835" y="648"/>
                        </a:lnTo>
                        <a:lnTo>
                          <a:pt x="833" y="649"/>
                        </a:lnTo>
                        <a:lnTo>
                          <a:pt x="833" y="654"/>
                        </a:lnTo>
                        <a:lnTo>
                          <a:pt x="833" y="659"/>
                        </a:lnTo>
                        <a:lnTo>
                          <a:pt x="832" y="661"/>
                        </a:lnTo>
                        <a:lnTo>
                          <a:pt x="827" y="659"/>
                        </a:lnTo>
                        <a:lnTo>
                          <a:pt x="823" y="661"/>
                        </a:lnTo>
                        <a:lnTo>
                          <a:pt x="820" y="661"/>
                        </a:lnTo>
                        <a:lnTo>
                          <a:pt x="817" y="659"/>
                        </a:lnTo>
                        <a:lnTo>
                          <a:pt x="813" y="659"/>
                        </a:lnTo>
                        <a:lnTo>
                          <a:pt x="812" y="661"/>
                        </a:lnTo>
                        <a:lnTo>
                          <a:pt x="812" y="664"/>
                        </a:lnTo>
                        <a:lnTo>
                          <a:pt x="809" y="666"/>
                        </a:lnTo>
                        <a:lnTo>
                          <a:pt x="805" y="666"/>
                        </a:lnTo>
                        <a:lnTo>
                          <a:pt x="804" y="666"/>
                        </a:lnTo>
                        <a:lnTo>
                          <a:pt x="802" y="669"/>
                        </a:lnTo>
                        <a:lnTo>
                          <a:pt x="802" y="671"/>
                        </a:lnTo>
                        <a:lnTo>
                          <a:pt x="799" y="671"/>
                        </a:lnTo>
                        <a:lnTo>
                          <a:pt x="795" y="671"/>
                        </a:lnTo>
                        <a:lnTo>
                          <a:pt x="792" y="668"/>
                        </a:lnTo>
                        <a:lnTo>
                          <a:pt x="785" y="664"/>
                        </a:lnTo>
                        <a:lnTo>
                          <a:pt x="782" y="661"/>
                        </a:lnTo>
                        <a:lnTo>
                          <a:pt x="772" y="653"/>
                        </a:lnTo>
                        <a:lnTo>
                          <a:pt x="770" y="649"/>
                        </a:lnTo>
                        <a:lnTo>
                          <a:pt x="770" y="646"/>
                        </a:lnTo>
                        <a:lnTo>
                          <a:pt x="772" y="646"/>
                        </a:lnTo>
                        <a:lnTo>
                          <a:pt x="774" y="646"/>
                        </a:lnTo>
                        <a:lnTo>
                          <a:pt x="775" y="646"/>
                        </a:lnTo>
                        <a:lnTo>
                          <a:pt x="777" y="648"/>
                        </a:lnTo>
                        <a:lnTo>
                          <a:pt x="785" y="651"/>
                        </a:lnTo>
                        <a:lnTo>
                          <a:pt x="790" y="654"/>
                        </a:lnTo>
                        <a:lnTo>
                          <a:pt x="792" y="654"/>
                        </a:lnTo>
                        <a:lnTo>
                          <a:pt x="799" y="653"/>
                        </a:lnTo>
                        <a:lnTo>
                          <a:pt x="799" y="651"/>
                        </a:lnTo>
                        <a:lnTo>
                          <a:pt x="797" y="649"/>
                        </a:lnTo>
                        <a:lnTo>
                          <a:pt x="795" y="651"/>
                        </a:lnTo>
                        <a:lnTo>
                          <a:pt x="792" y="651"/>
                        </a:lnTo>
                        <a:lnTo>
                          <a:pt x="789" y="649"/>
                        </a:lnTo>
                        <a:lnTo>
                          <a:pt x="782" y="646"/>
                        </a:lnTo>
                        <a:lnTo>
                          <a:pt x="774" y="643"/>
                        </a:lnTo>
                        <a:lnTo>
                          <a:pt x="770" y="643"/>
                        </a:lnTo>
                        <a:lnTo>
                          <a:pt x="770" y="641"/>
                        </a:lnTo>
                        <a:lnTo>
                          <a:pt x="770" y="638"/>
                        </a:lnTo>
                        <a:lnTo>
                          <a:pt x="769" y="638"/>
                        </a:lnTo>
                        <a:lnTo>
                          <a:pt x="765" y="638"/>
                        </a:lnTo>
                        <a:lnTo>
                          <a:pt x="764" y="639"/>
                        </a:lnTo>
                        <a:lnTo>
                          <a:pt x="764" y="643"/>
                        </a:lnTo>
                        <a:lnTo>
                          <a:pt x="764" y="649"/>
                        </a:lnTo>
                        <a:lnTo>
                          <a:pt x="764" y="653"/>
                        </a:lnTo>
                        <a:lnTo>
                          <a:pt x="762" y="654"/>
                        </a:lnTo>
                        <a:lnTo>
                          <a:pt x="760" y="654"/>
                        </a:lnTo>
                        <a:lnTo>
                          <a:pt x="754" y="646"/>
                        </a:lnTo>
                        <a:lnTo>
                          <a:pt x="749" y="638"/>
                        </a:lnTo>
                        <a:lnTo>
                          <a:pt x="747" y="636"/>
                        </a:lnTo>
                        <a:lnTo>
                          <a:pt x="745" y="634"/>
                        </a:lnTo>
                        <a:lnTo>
                          <a:pt x="744" y="633"/>
                        </a:lnTo>
                        <a:lnTo>
                          <a:pt x="742" y="633"/>
                        </a:lnTo>
                        <a:lnTo>
                          <a:pt x="742" y="633"/>
                        </a:lnTo>
                        <a:lnTo>
                          <a:pt x="742" y="634"/>
                        </a:lnTo>
                        <a:lnTo>
                          <a:pt x="745" y="638"/>
                        </a:lnTo>
                        <a:lnTo>
                          <a:pt x="750" y="646"/>
                        </a:lnTo>
                        <a:lnTo>
                          <a:pt x="752" y="648"/>
                        </a:lnTo>
                        <a:lnTo>
                          <a:pt x="755" y="649"/>
                        </a:lnTo>
                        <a:lnTo>
                          <a:pt x="755" y="653"/>
                        </a:lnTo>
                        <a:lnTo>
                          <a:pt x="755" y="654"/>
                        </a:lnTo>
                        <a:lnTo>
                          <a:pt x="752" y="654"/>
                        </a:lnTo>
                        <a:lnTo>
                          <a:pt x="749" y="656"/>
                        </a:lnTo>
                        <a:lnTo>
                          <a:pt x="747" y="658"/>
                        </a:lnTo>
                        <a:lnTo>
                          <a:pt x="744" y="661"/>
                        </a:lnTo>
                        <a:lnTo>
                          <a:pt x="740" y="661"/>
                        </a:lnTo>
                        <a:lnTo>
                          <a:pt x="737" y="663"/>
                        </a:lnTo>
                        <a:lnTo>
                          <a:pt x="734" y="664"/>
                        </a:lnTo>
                        <a:lnTo>
                          <a:pt x="730" y="664"/>
                        </a:lnTo>
                        <a:lnTo>
                          <a:pt x="727" y="661"/>
                        </a:lnTo>
                        <a:lnTo>
                          <a:pt x="725" y="661"/>
                        </a:lnTo>
                        <a:lnTo>
                          <a:pt x="722" y="659"/>
                        </a:lnTo>
                        <a:lnTo>
                          <a:pt x="722" y="658"/>
                        </a:lnTo>
                        <a:lnTo>
                          <a:pt x="717" y="654"/>
                        </a:lnTo>
                        <a:lnTo>
                          <a:pt x="714" y="653"/>
                        </a:lnTo>
                        <a:lnTo>
                          <a:pt x="714" y="651"/>
                        </a:lnTo>
                        <a:lnTo>
                          <a:pt x="712" y="648"/>
                        </a:lnTo>
                        <a:lnTo>
                          <a:pt x="711" y="648"/>
                        </a:lnTo>
                        <a:lnTo>
                          <a:pt x="711" y="649"/>
                        </a:lnTo>
                        <a:lnTo>
                          <a:pt x="711" y="653"/>
                        </a:lnTo>
                        <a:lnTo>
                          <a:pt x="712" y="654"/>
                        </a:lnTo>
                        <a:lnTo>
                          <a:pt x="715" y="656"/>
                        </a:lnTo>
                        <a:lnTo>
                          <a:pt x="719" y="659"/>
                        </a:lnTo>
                        <a:lnTo>
                          <a:pt x="722" y="664"/>
                        </a:lnTo>
                        <a:lnTo>
                          <a:pt x="722" y="666"/>
                        </a:lnTo>
                        <a:lnTo>
                          <a:pt x="720" y="668"/>
                        </a:lnTo>
                        <a:lnTo>
                          <a:pt x="712" y="668"/>
                        </a:lnTo>
                        <a:lnTo>
                          <a:pt x="707" y="666"/>
                        </a:lnTo>
                        <a:lnTo>
                          <a:pt x="704" y="668"/>
                        </a:lnTo>
                        <a:lnTo>
                          <a:pt x="701" y="669"/>
                        </a:lnTo>
                        <a:lnTo>
                          <a:pt x="702" y="671"/>
                        </a:lnTo>
                        <a:lnTo>
                          <a:pt x="704" y="671"/>
                        </a:lnTo>
                        <a:lnTo>
                          <a:pt x="706" y="674"/>
                        </a:lnTo>
                        <a:lnTo>
                          <a:pt x="707" y="674"/>
                        </a:lnTo>
                        <a:lnTo>
                          <a:pt x="709" y="672"/>
                        </a:lnTo>
                        <a:lnTo>
                          <a:pt x="709" y="669"/>
                        </a:lnTo>
                        <a:lnTo>
                          <a:pt x="714" y="669"/>
                        </a:lnTo>
                        <a:lnTo>
                          <a:pt x="714" y="669"/>
                        </a:lnTo>
                        <a:lnTo>
                          <a:pt x="717" y="671"/>
                        </a:lnTo>
                        <a:lnTo>
                          <a:pt x="717" y="671"/>
                        </a:lnTo>
                        <a:lnTo>
                          <a:pt x="720" y="672"/>
                        </a:lnTo>
                        <a:lnTo>
                          <a:pt x="724" y="671"/>
                        </a:lnTo>
                        <a:lnTo>
                          <a:pt x="724" y="668"/>
                        </a:lnTo>
                        <a:lnTo>
                          <a:pt x="727" y="668"/>
                        </a:lnTo>
                        <a:lnTo>
                          <a:pt x="732" y="668"/>
                        </a:lnTo>
                        <a:lnTo>
                          <a:pt x="735" y="668"/>
                        </a:lnTo>
                        <a:lnTo>
                          <a:pt x="737" y="669"/>
                        </a:lnTo>
                        <a:lnTo>
                          <a:pt x="740" y="671"/>
                        </a:lnTo>
                        <a:lnTo>
                          <a:pt x="745" y="672"/>
                        </a:lnTo>
                        <a:lnTo>
                          <a:pt x="749" y="674"/>
                        </a:lnTo>
                        <a:lnTo>
                          <a:pt x="750" y="676"/>
                        </a:lnTo>
                        <a:lnTo>
                          <a:pt x="749" y="679"/>
                        </a:lnTo>
                        <a:lnTo>
                          <a:pt x="747" y="679"/>
                        </a:lnTo>
                        <a:lnTo>
                          <a:pt x="744" y="682"/>
                        </a:lnTo>
                        <a:lnTo>
                          <a:pt x="740" y="681"/>
                        </a:lnTo>
                        <a:lnTo>
                          <a:pt x="737" y="682"/>
                        </a:lnTo>
                        <a:lnTo>
                          <a:pt x="734" y="686"/>
                        </a:lnTo>
                        <a:lnTo>
                          <a:pt x="730" y="686"/>
                        </a:lnTo>
                        <a:lnTo>
                          <a:pt x="725" y="686"/>
                        </a:lnTo>
                        <a:lnTo>
                          <a:pt x="722" y="682"/>
                        </a:lnTo>
                        <a:lnTo>
                          <a:pt x="719" y="681"/>
                        </a:lnTo>
                        <a:lnTo>
                          <a:pt x="717" y="681"/>
                        </a:lnTo>
                        <a:lnTo>
                          <a:pt x="715" y="682"/>
                        </a:lnTo>
                        <a:lnTo>
                          <a:pt x="712" y="682"/>
                        </a:lnTo>
                        <a:lnTo>
                          <a:pt x="711" y="682"/>
                        </a:lnTo>
                        <a:lnTo>
                          <a:pt x="709" y="682"/>
                        </a:lnTo>
                        <a:lnTo>
                          <a:pt x="709" y="684"/>
                        </a:lnTo>
                        <a:lnTo>
                          <a:pt x="712" y="684"/>
                        </a:lnTo>
                        <a:lnTo>
                          <a:pt x="715" y="684"/>
                        </a:lnTo>
                        <a:lnTo>
                          <a:pt x="717" y="684"/>
                        </a:lnTo>
                        <a:lnTo>
                          <a:pt x="720" y="684"/>
                        </a:lnTo>
                        <a:lnTo>
                          <a:pt x="722" y="686"/>
                        </a:lnTo>
                        <a:lnTo>
                          <a:pt x="720" y="687"/>
                        </a:lnTo>
                        <a:lnTo>
                          <a:pt x="715" y="687"/>
                        </a:lnTo>
                        <a:lnTo>
                          <a:pt x="712" y="691"/>
                        </a:lnTo>
                        <a:lnTo>
                          <a:pt x="711" y="691"/>
                        </a:lnTo>
                        <a:lnTo>
                          <a:pt x="714" y="692"/>
                        </a:lnTo>
                        <a:lnTo>
                          <a:pt x="715" y="691"/>
                        </a:lnTo>
                        <a:lnTo>
                          <a:pt x="720" y="689"/>
                        </a:lnTo>
                        <a:lnTo>
                          <a:pt x="722" y="689"/>
                        </a:lnTo>
                        <a:lnTo>
                          <a:pt x="724" y="691"/>
                        </a:lnTo>
                        <a:lnTo>
                          <a:pt x="724" y="694"/>
                        </a:lnTo>
                        <a:lnTo>
                          <a:pt x="725" y="694"/>
                        </a:lnTo>
                        <a:lnTo>
                          <a:pt x="727" y="691"/>
                        </a:lnTo>
                        <a:lnTo>
                          <a:pt x="730" y="691"/>
                        </a:lnTo>
                        <a:lnTo>
                          <a:pt x="732" y="689"/>
                        </a:lnTo>
                        <a:lnTo>
                          <a:pt x="737" y="687"/>
                        </a:lnTo>
                        <a:lnTo>
                          <a:pt x="739" y="687"/>
                        </a:lnTo>
                        <a:lnTo>
                          <a:pt x="740" y="687"/>
                        </a:lnTo>
                        <a:lnTo>
                          <a:pt x="747" y="692"/>
                        </a:lnTo>
                        <a:lnTo>
                          <a:pt x="749" y="691"/>
                        </a:lnTo>
                        <a:lnTo>
                          <a:pt x="750" y="692"/>
                        </a:lnTo>
                        <a:lnTo>
                          <a:pt x="750" y="696"/>
                        </a:lnTo>
                        <a:lnTo>
                          <a:pt x="750" y="702"/>
                        </a:lnTo>
                        <a:lnTo>
                          <a:pt x="747" y="704"/>
                        </a:lnTo>
                        <a:lnTo>
                          <a:pt x="742" y="706"/>
                        </a:lnTo>
                        <a:lnTo>
                          <a:pt x="739" y="704"/>
                        </a:lnTo>
                        <a:lnTo>
                          <a:pt x="735" y="704"/>
                        </a:lnTo>
                        <a:lnTo>
                          <a:pt x="727" y="704"/>
                        </a:lnTo>
                        <a:lnTo>
                          <a:pt x="725" y="702"/>
                        </a:lnTo>
                        <a:lnTo>
                          <a:pt x="722" y="706"/>
                        </a:lnTo>
                        <a:lnTo>
                          <a:pt x="724" y="706"/>
                        </a:lnTo>
                        <a:lnTo>
                          <a:pt x="729" y="706"/>
                        </a:lnTo>
                        <a:lnTo>
                          <a:pt x="732" y="706"/>
                        </a:lnTo>
                        <a:lnTo>
                          <a:pt x="739" y="707"/>
                        </a:lnTo>
                        <a:lnTo>
                          <a:pt x="740" y="711"/>
                        </a:lnTo>
                        <a:lnTo>
                          <a:pt x="740" y="712"/>
                        </a:lnTo>
                        <a:lnTo>
                          <a:pt x="744" y="709"/>
                        </a:lnTo>
                        <a:lnTo>
                          <a:pt x="747" y="707"/>
                        </a:lnTo>
                        <a:lnTo>
                          <a:pt x="752" y="707"/>
                        </a:lnTo>
                        <a:lnTo>
                          <a:pt x="757" y="709"/>
                        </a:lnTo>
                        <a:lnTo>
                          <a:pt x="759" y="711"/>
                        </a:lnTo>
                        <a:lnTo>
                          <a:pt x="765" y="716"/>
                        </a:lnTo>
                        <a:lnTo>
                          <a:pt x="767" y="717"/>
                        </a:lnTo>
                        <a:lnTo>
                          <a:pt x="767" y="719"/>
                        </a:lnTo>
                        <a:lnTo>
                          <a:pt x="769" y="719"/>
                        </a:lnTo>
                        <a:lnTo>
                          <a:pt x="770" y="721"/>
                        </a:lnTo>
                        <a:lnTo>
                          <a:pt x="772" y="721"/>
                        </a:lnTo>
                        <a:lnTo>
                          <a:pt x="775" y="724"/>
                        </a:lnTo>
                        <a:lnTo>
                          <a:pt x="779" y="726"/>
                        </a:lnTo>
                        <a:lnTo>
                          <a:pt x="780" y="727"/>
                        </a:lnTo>
                        <a:lnTo>
                          <a:pt x="782" y="729"/>
                        </a:lnTo>
                        <a:lnTo>
                          <a:pt x="784" y="729"/>
                        </a:lnTo>
                        <a:lnTo>
                          <a:pt x="785" y="732"/>
                        </a:lnTo>
                        <a:lnTo>
                          <a:pt x="787" y="734"/>
                        </a:lnTo>
                        <a:lnTo>
                          <a:pt x="787" y="734"/>
                        </a:lnTo>
                        <a:lnTo>
                          <a:pt x="785" y="739"/>
                        </a:lnTo>
                        <a:lnTo>
                          <a:pt x="782" y="741"/>
                        </a:lnTo>
                        <a:lnTo>
                          <a:pt x="780" y="744"/>
                        </a:lnTo>
                        <a:lnTo>
                          <a:pt x="779" y="746"/>
                        </a:lnTo>
                        <a:lnTo>
                          <a:pt x="779" y="747"/>
                        </a:lnTo>
                        <a:lnTo>
                          <a:pt x="782" y="744"/>
                        </a:lnTo>
                        <a:lnTo>
                          <a:pt x="787" y="741"/>
                        </a:lnTo>
                        <a:lnTo>
                          <a:pt x="789" y="741"/>
                        </a:lnTo>
                        <a:lnTo>
                          <a:pt x="790" y="741"/>
                        </a:lnTo>
                        <a:lnTo>
                          <a:pt x="789" y="742"/>
                        </a:lnTo>
                        <a:lnTo>
                          <a:pt x="787" y="747"/>
                        </a:lnTo>
                        <a:lnTo>
                          <a:pt x="789" y="746"/>
                        </a:lnTo>
                        <a:lnTo>
                          <a:pt x="790" y="744"/>
                        </a:lnTo>
                        <a:lnTo>
                          <a:pt x="792" y="742"/>
                        </a:lnTo>
                        <a:lnTo>
                          <a:pt x="795" y="742"/>
                        </a:lnTo>
                        <a:lnTo>
                          <a:pt x="797" y="744"/>
                        </a:lnTo>
                        <a:lnTo>
                          <a:pt x="795" y="747"/>
                        </a:lnTo>
                        <a:lnTo>
                          <a:pt x="792" y="749"/>
                        </a:lnTo>
                        <a:lnTo>
                          <a:pt x="789" y="752"/>
                        </a:lnTo>
                        <a:lnTo>
                          <a:pt x="787" y="754"/>
                        </a:lnTo>
                        <a:lnTo>
                          <a:pt x="787" y="757"/>
                        </a:lnTo>
                        <a:lnTo>
                          <a:pt x="789" y="759"/>
                        </a:lnTo>
                        <a:lnTo>
                          <a:pt x="789" y="761"/>
                        </a:lnTo>
                        <a:lnTo>
                          <a:pt x="787" y="766"/>
                        </a:lnTo>
                        <a:lnTo>
                          <a:pt x="787" y="767"/>
                        </a:lnTo>
                        <a:lnTo>
                          <a:pt x="789" y="766"/>
                        </a:lnTo>
                        <a:lnTo>
                          <a:pt x="790" y="761"/>
                        </a:lnTo>
                        <a:lnTo>
                          <a:pt x="794" y="756"/>
                        </a:lnTo>
                        <a:lnTo>
                          <a:pt x="797" y="754"/>
                        </a:lnTo>
                        <a:lnTo>
                          <a:pt x="799" y="754"/>
                        </a:lnTo>
                        <a:lnTo>
                          <a:pt x="799" y="756"/>
                        </a:lnTo>
                        <a:lnTo>
                          <a:pt x="797" y="759"/>
                        </a:lnTo>
                        <a:lnTo>
                          <a:pt x="795" y="764"/>
                        </a:lnTo>
                        <a:lnTo>
                          <a:pt x="795" y="764"/>
                        </a:lnTo>
                        <a:lnTo>
                          <a:pt x="799" y="764"/>
                        </a:lnTo>
                        <a:lnTo>
                          <a:pt x="800" y="766"/>
                        </a:lnTo>
                        <a:lnTo>
                          <a:pt x="799" y="769"/>
                        </a:lnTo>
                        <a:lnTo>
                          <a:pt x="797" y="770"/>
                        </a:lnTo>
                        <a:lnTo>
                          <a:pt x="792" y="772"/>
                        </a:lnTo>
                        <a:lnTo>
                          <a:pt x="792" y="774"/>
                        </a:lnTo>
                        <a:lnTo>
                          <a:pt x="792" y="775"/>
                        </a:lnTo>
                        <a:lnTo>
                          <a:pt x="797" y="774"/>
                        </a:lnTo>
                        <a:lnTo>
                          <a:pt x="797" y="775"/>
                        </a:lnTo>
                        <a:lnTo>
                          <a:pt x="797" y="777"/>
                        </a:lnTo>
                        <a:lnTo>
                          <a:pt x="795" y="779"/>
                        </a:lnTo>
                        <a:lnTo>
                          <a:pt x="797" y="780"/>
                        </a:lnTo>
                        <a:lnTo>
                          <a:pt x="799" y="782"/>
                        </a:lnTo>
                        <a:lnTo>
                          <a:pt x="799" y="784"/>
                        </a:lnTo>
                        <a:lnTo>
                          <a:pt x="799" y="789"/>
                        </a:lnTo>
                        <a:lnTo>
                          <a:pt x="797" y="790"/>
                        </a:lnTo>
                        <a:lnTo>
                          <a:pt x="797" y="797"/>
                        </a:lnTo>
                        <a:lnTo>
                          <a:pt x="797" y="800"/>
                        </a:lnTo>
                        <a:lnTo>
                          <a:pt x="797" y="804"/>
                        </a:lnTo>
                        <a:lnTo>
                          <a:pt x="795" y="805"/>
                        </a:lnTo>
                        <a:lnTo>
                          <a:pt x="792" y="804"/>
                        </a:lnTo>
                        <a:lnTo>
                          <a:pt x="790" y="805"/>
                        </a:lnTo>
                        <a:lnTo>
                          <a:pt x="790" y="804"/>
                        </a:lnTo>
                        <a:lnTo>
                          <a:pt x="790" y="802"/>
                        </a:lnTo>
                        <a:lnTo>
                          <a:pt x="790" y="799"/>
                        </a:lnTo>
                        <a:lnTo>
                          <a:pt x="787" y="799"/>
                        </a:lnTo>
                        <a:lnTo>
                          <a:pt x="785" y="799"/>
                        </a:lnTo>
                        <a:lnTo>
                          <a:pt x="784" y="800"/>
                        </a:lnTo>
                        <a:lnTo>
                          <a:pt x="780" y="800"/>
                        </a:lnTo>
                        <a:lnTo>
                          <a:pt x="780" y="797"/>
                        </a:lnTo>
                        <a:lnTo>
                          <a:pt x="784" y="794"/>
                        </a:lnTo>
                        <a:lnTo>
                          <a:pt x="782" y="789"/>
                        </a:lnTo>
                        <a:lnTo>
                          <a:pt x="782" y="787"/>
                        </a:lnTo>
                        <a:lnTo>
                          <a:pt x="782" y="784"/>
                        </a:lnTo>
                        <a:lnTo>
                          <a:pt x="782" y="782"/>
                        </a:lnTo>
                        <a:lnTo>
                          <a:pt x="780" y="780"/>
                        </a:lnTo>
                        <a:lnTo>
                          <a:pt x="779" y="784"/>
                        </a:lnTo>
                        <a:lnTo>
                          <a:pt x="777" y="787"/>
                        </a:lnTo>
                        <a:lnTo>
                          <a:pt x="779" y="794"/>
                        </a:lnTo>
                        <a:lnTo>
                          <a:pt x="777" y="799"/>
                        </a:lnTo>
                        <a:lnTo>
                          <a:pt x="777" y="800"/>
                        </a:lnTo>
                        <a:lnTo>
                          <a:pt x="775" y="802"/>
                        </a:lnTo>
                        <a:lnTo>
                          <a:pt x="774" y="802"/>
                        </a:lnTo>
                        <a:lnTo>
                          <a:pt x="770" y="802"/>
                        </a:lnTo>
                        <a:lnTo>
                          <a:pt x="767" y="804"/>
                        </a:lnTo>
                        <a:lnTo>
                          <a:pt x="764" y="802"/>
                        </a:lnTo>
                        <a:lnTo>
                          <a:pt x="759" y="797"/>
                        </a:lnTo>
                        <a:lnTo>
                          <a:pt x="755" y="790"/>
                        </a:lnTo>
                        <a:lnTo>
                          <a:pt x="752" y="787"/>
                        </a:lnTo>
                        <a:lnTo>
                          <a:pt x="749" y="785"/>
                        </a:lnTo>
                        <a:lnTo>
                          <a:pt x="749" y="777"/>
                        </a:lnTo>
                        <a:lnTo>
                          <a:pt x="745" y="774"/>
                        </a:lnTo>
                        <a:lnTo>
                          <a:pt x="744" y="772"/>
                        </a:lnTo>
                        <a:lnTo>
                          <a:pt x="742" y="767"/>
                        </a:lnTo>
                        <a:lnTo>
                          <a:pt x="744" y="762"/>
                        </a:lnTo>
                        <a:lnTo>
                          <a:pt x="745" y="759"/>
                        </a:lnTo>
                        <a:lnTo>
                          <a:pt x="744" y="757"/>
                        </a:lnTo>
                        <a:lnTo>
                          <a:pt x="742" y="757"/>
                        </a:lnTo>
                        <a:lnTo>
                          <a:pt x="737" y="759"/>
                        </a:lnTo>
                        <a:lnTo>
                          <a:pt x="735" y="761"/>
                        </a:lnTo>
                        <a:lnTo>
                          <a:pt x="732" y="759"/>
                        </a:lnTo>
                        <a:lnTo>
                          <a:pt x="725" y="749"/>
                        </a:lnTo>
                        <a:lnTo>
                          <a:pt x="724" y="746"/>
                        </a:lnTo>
                        <a:lnTo>
                          <a:pt x="722" y="744"/>
                        </a:lnTo>
                        <a:lnTo>
                          <a:pt x="720" y="746"/>
                        </a:lnTo>
                        <a:lnTo>
                          <a:pt x="715" y="746"/>
                        </a:lnTo>
                        <a:lnTo>
                          <a:pt x="712" y="744"/>
                        </a:lnTo>
                        <a:lnTo>
                          <a:pt x="709" y="746"/>
                        </a:lnTo>
                        <a:lnTo>
                          <a:pt x="707" y="747"/>
                        </a:lnTo>
                        <a:lnTo>
                          <a:pt x="706" y="746"/>
                        </a:lnTo>
                        <a:lnTo>
                          <a:pt x="702" y="742"/>
                        </a:lnTo>
                        <a:lnTo>
                          <a:pt x="702" y="741"/>
                        </a:lnTo>
                        <a:lnTo>
                          <a:pt x="696" y="736"/>
                        </a:lnTo>
                        <a:lnTo>
                          <a:pt x="696" y="734"/>
                        </a:lnTo>
                        <a:lnTo>
                          <a:pt x="694" y="731"/>
                        </a:lnTo>
                        <a:lnTo>
                          <a:pt x="692" y="726"/>
                        </a:lnTo>
                        <a:lnTo>
                          <a:pt x="691" y="724"/>
                        </a:lnTo>
                        <a:lnTo>
                          <a:pt x="689" y="726"/>
                        </a:lnTo>
                        <a:lnTo>
                          <a:pt x="689" y="729"/>
                        </a:lnTo>
                        <a:lnTo>
                          <a:pt x="689" y="731"/>
                        </a:lnTo>
                        <a:lnTo>
                          <a:pt x="684" y="732"/>
                        </a:lnTo>
                        <a:lnTo>
                          <a:pt x="682" y="734"/>
                        </a:lnTo>
                        <a:lnTo>
                          <a:pt x="687" y="736"/>
                        </a:lnTo>
                        <a:lnTo>
                          <a:pt x="689" y="736"/>
                        </a:lnTo>
                        <a:lnTo>
                          <a:pt x="692" y="741"/>
                        </a:lnTo>
                        <a:lnTo>
                          <a:pt x="696" y="744"/>
                        </a:lnTo>
                        <a:lnTo>
                          <a:pt x="694" y="746"/>
                        </a:lnTo>
                        <a:lnTo>
                          <a:pt x="689" y="746"/>
                        </a:lnTo>
                        <a:lnTo>
                          <a:pt x="687" y="747"/>
                        </a:lnTo>
                        <a:lnTo>
                          <a:pt x="684" y="749"/>
                        </a:lnTo>
                        <a:lnTo>
                          <a:pt x="681" y="746"/>
                        </a:lnTo>
                        <a:lnTo>
                          <a:pt x="681" y="749"/>
                        </a:lnTo>
                        <a:lnTo>
                          <a:pt x="684" y="751"/>
                        </a:lnTo>
                        <a:lnTo>
                          <a:pt x="687" y="751"/>
                        </a:lnTo>
                        <a:lnTo>
                          <a:pt x="691" y="747"/>
                        </a:lnTo>
                        <a:lnTo>
                          <a:pt x="694" y="747"/>
                        </a:lnTo>
                        <a:lnTo>
                          <a:pt x="699" y="746"/>
                        </a:lnTo>
                        <a:lnTo>
                          <a:pt x="701" y="747"/>
                        </a:lnTo>
                        <a:lnTo>
                          <a:pt x="701" y="749"/>
                        </a:lnTo>
                        <a:lnTo>
                          <a:pt x="702" y="751"/>
                        </a:lnTo>
                        <a:lnTo>
                          <a:pt x="707" y="749"/>
                        </a:lnTo>
                        <a:lnTo>
                          <a:pt x="709" y="749"/>
                        </a:lnTo>
                        <a:lnTo>
                          <a:pt x="719" y="752"/>
                        </a:lnTo>
                        <a:lnTo>
                          <a:pt x="724" y="754"/>
                        </a:lnTo>
                        <a:lnTo>
                          <a:pt x="725" y="754"/>
                        </a:lnTo>
                        <a:lnTo>
                          <a:pt x="727" y="757"/>
                        </a:lnTo>
                        <a:lnTo>
                          <a:pt x="729" y="762"/>
                        </a:lnTo>
                        <a:lnTo>
                          <a:pt x="727" y="766"/>
                        </a:lnTo>
                        <a:lnTo>
                          <a:pt x="724" y="767"/>
                        </a:lnTo>
                        <a:lnTo>
                          <a:pt x="722" y="769"/>
                        </a:lnTo>
                        <a:lnTo>
                          <a:pt x="719" y="770"/>
                        </a:lnTo>
                        <a:lnTo>
                          <a:pt x="715" y="770"/>
                        </a:lnTo>
                        <a:lnTo>
                          <a:pt x="704" y="775"/>
                        </a:lnTo>
                        <a:lnTo>
                          <a:pt x="697" y="775"/>
                        </a:lnTo>
                        <a:lnTo>
                          <a:pt x="694" y="777"/>
                        </a:lnTo>
                        <a:lnTo>
                          <a:pt x="691" y="775"/>
                        </a:lnTo>
                        <a:lnTo>
                          <a:pt x="689" y="772"/>
                        </a:lnTo>
                        <a:lnTo>
                          <a:pt x="689" y="769"/>
                        </a:lnTo>
                        <a:lnTo>
                          <a:pt x="687" y="767"/>
                        </a:lnTo>
                        <a:lnTo>
                          <a:pt x="684" y="766"/>
                        </a:lnTo>
                        <a:lnTo>
                          <a:pt x="684" y="770"/>
                        </a:lnTo>
                        <a:lnTo>
                          <a:pt x="686" y="772"/>
                        </a:lnTo>
                        <a:lnTo>
                          <a:pt x="686" y="774"/>
                        </a:lnTo>
                        <a:lnTo>
                          <a:pt x="684" y="775"/>
                        </a:lnTo>
                        <a:lnTo>
                          <a:pt x="681" y="774"/>
                        </a:lnTo>
                        <a:lnTo>
                          <a:pt x="681" y="774"/>
                        </a:lnTo>
                        <a:lnTo>
                          <a:pt x="679" y="772"/>
                        </a:lnTo>
                        <a:lnTo>
                          <a:pt x="676" y="775"/>
                        </a:lnTo>
                        <a:lnTo>
                          <a:pt x="676" y="775"/>
                        </a:lnTo>
                        <a:lnTo>
                          <a:pt x="681" y="777"/>
                        </a:lnTo>
                        <a:lnTo>
                          <a:pt x="682" y="779"/>
                        </a:lnTo>
                        <a:lnTo>
                          <a:pt x="682" y="782"/>
                        </a:lnTo>
                        <a:lnTo>
                          <a:pt x="681" y="784"/>
                        </a:lnTo>
                        <a:lnTo>
                          <a:pt x="679" y="785"/>
                        </a:lnTo>
                        <a:lnTo>
                          <a:pt x="676" y="785"/>
                        </a:lnTo>
                        <a:lnTo>
                          <a:pt x="674" y="787"/>
                        </a:lnTo>
                        <a:lnTo>
                          <a:pt x="674" y="790"/>
                        </a:lnTo>
                        <a:lnTo>
                          <a:pt x="672" y="792"/>
                        </a:lnTo>
                        <a:lnTo>
                          <a:pt x="664" y="795"/>
                        </a:lnTo>
                        <a:lnTo>
                          <a:pt x="659" y="795"/>
                        </a:lnTo>
                        <a:lnTo>
                          <a:pt x="656" y="794"/>
                        </a:lnTo>
                        <a:lnTo>
                          <a:pt x="652" y="797"/>
                        </a:lnTo>
                        <a:lnTo>
                          <a:pt x="651" y="800"/>
                        </a:lnTo>
                        <a:lnTo>
                          <a:pt x="652" y="802"/>
                        </a:lnTo>
                        <a:lnTo>
                          <a:pt x="661" y="799"/>
                        </a:lnTo>
                        <a:lnTo>
                          <a:pt x="666" y="799"/>
                        </a:lnTo>
                        <a:lnTo>
                          <a:pt x="669" y="797"/>
                        </a:lnTo>
                        <a:lnTo>
                          <a:pt x="672" y="797"/>
                        </a:lnTo>
                        <a:lnTo>
                          <a:pt x="674" y="800"/>
                        </a:lnTo>
                        <a:lnTo>
                          <a:pt x="679" y="800"/>
                        </a:lnTo>
                        <a:lnTo>
                          <a:pt x="682" y="800"/>
                        </a:lnTo>
                        <a:lnTo>
                          <a:pt x="687" y="799"/>
                        </a:lnTo>
                        <a:lnTo>
                          <a:pt x="694" y="799"/>
                        </a:lnTo>
                        <a:lnTo>
                          <a:pt x="697" y="800"/>
                        </a:lnTo>
                        <a:lnTo>
                          <a:pt x="702" y="800"/>
                        </a:lnTo>
                        <a:lnTo>
                          <a:pt x="704" y="800"/>
                        </a:lnTo>
                        <a:lnTo>
                          <a:pt x="706" y="802"/>
                        </a:lnTo>
                        <a:lnTo>
                          <a:pt x="707" y="802"/>
                        </a:lnTo>
                        <a:lnTo>
                          <a:pt x="709" y="804"/>
                        </a:lnTo>
                        <a:lnTo>
                          <a:pt x="707" y="805"/>
                        </a:lnTo>
                        <a:lnTo>
                          <a:pt x="704" y="807"/>
                        </a:lnTo>
                        <a:lnTo>
                          <a:pt x="699" y="805"/>
                        </a:lnTo>
                        <a:lnTo>
                          <a:pt x="694" y="807"/>
                        </a:lnTo>
                        <a:lnTo>
                          <a:pt x="691" y="809"/>
                        </a:lnTo>
                        <a:lnTo>
                          <a:pt x="686" y="810"/>
                        </a:lnTo>
                        <a:lnTo>
                          <a:pt x="682" y="812"/>
                        </a:lnTo>
                        <a:lnTo>
                          <a:pt x="679" y="810"/>
                        </a:lnTo>
                        <a:lnTo>
                          <a:pt x="676" y="809"/>
                        </a:lnTo>
                        <a:lnTo>
                          <a:pt x="672" y="809"/>
                        </a:lnTo>
                        <a:lnTo>
                          <a:pt x="669" y="812"/>
                        </a:lnTo>
                        <a:lnTo>
                          <a:pt x="671" y="814"/>
                        </a:lnTo>
                        <a:lnTo>
                          <a:pt x="674" y="812"/>
                        </a:lnTo>
                        <a:lnTo>
                          <a:pt x="676" y="814"/>
                        </a:lnTo>
                        <a:lnTo>
                          <a:pt x="684" y="814"/>
                        </a:lnTo>
                        <a:lnTo>
                          <a:pt x="687" y="815"/>
                        </a:lnTo>
                        <a:lnTo>
                          <a:pt x="689" y="817"/>
                        </a:lnTo>
                        <a:lnTo>
                          <a:pt x="691" y="815"/>
                        </a:lnTo>
                        <a:lnTo>
                          <a:pt x="696" y="810"/>
                        </a:lnTo>
                        <a:lnTo>
                          <a:pt x="696" y="810"/>
                        </a:lnTo>
                        <a:lnTo>
                          <a:pt x="701" y="810"/>
                        </a:lnTo>
                        <a:lnTo>
                          <a:pt x="701" y="810"/>
                        </a:lnTo>
                        <a:lnTo>
                          <a:pt x="702" y="809"/>
                        </a:lnTo>
                        <a:lnTo>
                          <a:pt x="706" y="810"/>
                        </a:lnTo>
                        <a:lnTo>
                          <a:pt x="707" y="810"/>
                        </a:lnTo>
                        <a:lnTo>
                          <a:pt x="711" y="810"/>
                        </a:lnTo>
                        <a:lnTo>
                          <a:pt x="717" y="810"/>
                        </a:lnTo>
                        <a:lnTo>
                          <a:pt x="720" y="809"/>
                        </a:lnTo>
                        <a:lnTo>
                          <a:pt x="727" y="804"/>
                        </a:lnTo>
                        <a:lnTo>
                          <a:pt x="729" y="802"/>
                        </a:lnTo>
                        <a:lnTo>
                          <a:pt x="729" y="804"/>
                        </a:lnTo>
                        <a:lnTo>
                          <a:pt x="729" y="805"/>
                        </a:lnTo>
                        <a:lnTo>
                          <a:pt x="730" y="807"/>
                        </a:lnTo>
                        <a:lnTo>
                          <a:pt x="732" y="804"/>
                        </a:lnTo>
                        <a:lnTo>
                          <a:pt x="734" y="804"/>
                        </a:lnTo>
                        <a:lnTo>
                          <a:pt x="735" y="805"/>
                        </a:lnTo>
                        <a:lnTo>
                          <a:pt x="742" y="810"/>
                        </a:lnTo>
                        <a:lnTo>
                          <a:pt x="749" y="812"/>
                        </a:lnTo>
                        <a:lnTo>
                          <a:pt x="754" y="814"/>
                        </a:lnTo>
                        <a:lnTo>
                          <a:pt x="760" y="815"/>
                        </a:lnTo>
                        <a:lnTo>
                          <a:pt x="764" y="815"/>
                        </a:lnTo>
                        <a:lnTo>
                          <a:pt x="770" y="815"/>
                        </a:lnTo>
                        <a:lnTo>
                          <a:pt x="772" y="815"/>
                        </a:lnTo>
                        <a:lnTo>
                          <a:pt x="777" y="817"/>
                        </a:lnTo>
                        <a:lnTo>
                          <a:pt x="784" y="814"/>
                        </a:lnTo>
                        <a:lnTo>
                          <a:pt x="784" y="815"/>
                        </a:lnTo>
                        <a:lnTo>
                          <a:pt x="782" y="819"/>
                        </a:lnTo>
                        <a:lnTo>
                          <a:pt x="777" y="822"/>
                        </a:lnTo>
                        <a:lnTo>
                          <a:pt x="772" y="822"/>
                        </a:lnTo>
                        <a:lnTo>
                          <a:pt x="770" y="822"/>
                        </a:lnTo>
                        <a:lnTo>
                          <a:pt x="767" y="824"/>
                        </a:lnTo>
                        <a:lnTo>
                          <a:pt x="767" y="827"/>
                        </a:lnTo>
                        <a:lnTo>
                          <a:pt x="769" y="827"/>
                        </a:lnTo>
                        <a:lnTo>
                          <a:pt x="769" y="830"/>
                        </a:lnTo>
                        <a:lnTo>
                          <a:pt x="767" y="830"/>
                        </a:lnTo>
                        <a:lnTo>
                          <a:pt x="765" y="830"/>
                        </a:lnTo>
                        <a:lnTo>
                          <a:pt x="764" y="829"/>
                        </a:lnTo>
                        <a:lnTo>
                          <a:pt x="762" y="829"/>
                        </a:lnTo>
                        <a:lnTo>
                          <a:pt x="760" y="830"/>
                        </a:lnTo>
                        <a:lnTo>
                          <a:pt x="760" y="832"/>
                        </a:lnTo>
                        <a:lnTo>
                          <a:pt x="757" y="830"/>
                        </a:lnTo>
                        <a:lnTo>
                          <a:pt x="754" y="830"/>
                        </a:lnTo>
                        <a:lnTo>
                          <a:pt x="752" y="832"/>
                        </a:lnTo>
                        <a:lnTo>
                          <a:pt x="752" y="834"/>
                        </a:lnTo>
                        <a:lnTo>
                          <a:pt x="754" y="835"/>
                        </a:lnTo>
                        <a:lnTo>
                          <a:pt x="754" y="837"/>
                        </a:lnTo>
                        <a:lnTo>
                          <a:pt x="752" y="839"/>
                        </a:lnTo>
                        <a:lnTo>
                          <a:pt x="749" y="840"/>
                        </a:lnTo>
                        <a:lnTo>
                          <a:pt x="747" y="839"/>
                        </a:lnTo>
                        <a:lnTo>
                          <a:pt x="745" y="837"/>
                        </a:lnTo>
                        <a:lnTo>
                          <a:pt x="744" y="839"/>
                        </a:lnTo>
                        <a:lnTo>
                          <a:pt x="745" y="840"/>
                        </a:lnTo>
                        <a:lnTo>
                          <a:pt x="744" y="844"/>
                        </a:lnTo>
                        <a:lnTo>
                          <a:pt x="742" y="844"/>
                        </a:lnTo>
                        <a:lnTo>
                          <a:pt x="740" y="844"/>
                        </a:lnTo>
                        <a:lnTo>
                          <a:pt x="737" y="847"/>
                        </a:lnTo>
                        <a:lnTo>
                          <a:pt x="734" y="845"/>
                        </a:lnTo>
                        <a:lnTo>
                          <a:pt x="734" y="844"/>
                        </a:lnTo>
                        <a:lnTo>
                          <a:pt x="732" y="844"/>
                        </a:lnTo>
                        <a:lnTo>
                          <a:pt x="732" y="847"/>
                        </a:lnTo>
                        <a:lnTo>
                          <a:pt x="732" y="849"/>
                        </a:lnTo>
                        <a:lnTo>
                          <a:pt x="730" y="854"/>
                        </a:lnTo>
                        <a:lnTo>
                          <a:pt x="727" y="852"/>
                        </a:lnTo>
                        <a:lnTo>
                          <a:pt x="727" y="849"/>
                        </a:lnTo>
                        <a:lnTo>
                          <a:pt x="724" y="850"/>
                        </a:lnTo>
                        <a:lnTo>
                          <a:pt x="724" y="852"/>
                        </a:lnTo>
                        <a:lnTo>
                          <a:pt x="725" y="854"/>
                        </a:lnTo>
                        <a:lnTo>
                          <a:pt x="725" y="857"/>
                        </a:lnTo>
                        <a:lnTo>
                          <a:pt x="720" y="859"/>
                        </a:lnTo>
                        <a:lnTo>
                          <a:pt x="719" y="859"/>
                        </a:lnTo>
                        <a:lnTo>
                          <a:pt x="717" y="857"/>
                        </a:lnTo>
                        <a:lnTo>
                          <a:pt x="714" y="855"/>
                        </a:lnTo>
                        <a:lnTo>
                          <a:pt x="712" y="855"/>
                        </a:lnTo>
                        <a:lnTo>
                          <a:pt x="712" y="857"/>
                        </a:lnTo>
                        <a:lnTo>
                          <a:pt x="714" y="860"/>
                        </a:lnTo>
                        <a:lnTo>
                          <a:pt x="714" y="862"/>
                        </a:lnTo>
                        <a:lnTo>
                          <a:pt x="712" y="864"/>
                        </a:lnTo>
                        <a:lnTo>
                          <a:pt x="707" y="865"/>
                        </a:lnTo>
                        <a:lnTo>
                          <a:pt x="706" y="867"/>
                        </a:lnTo>
                        <a:lnTo>
                          <a:pt x="701" y="867"/>
                        </a:lnTo>
                        <a:lnTo>
                          <a:pt x="699" y="870"/>
                        </a:lnTo>
                        <a:lnTo>
                          <a:pt x="697" y="872"/>
                        </a:lnTo>
                        <a:lnTo>
                          <a:pt x="696" y="872"/>
                        </a:lnTo>
                        <a:lnTo>
                          <a:pt x="694" y="870"/>
                        </a:lnTo>
                        <a:lnTo>
                          <a:pt x="691" y="870"/>
                        </a:lnTo>
                        <a:lnTo>
                          <a:pt x="687" y="872"/>
                        </a:lnTo>
                        <a:lnTo>
                          <a:pt x="684" y="872"/>
                        </a:lnTo>
                        <a:lnTo>
                          <a:pt x="682" y="873"/>
                        </a:lnTo>
                        <a:lnTo>
                          <a:pt x="681" y="875"/>
                        </a:lnTo>
                        <a:lnTo>
                          <a:pt x="677" y="877"/>
                        </a:lnTo>
                        <a:lnTo>
                          <a:pt x="676" y="875"/>
                        </a:lnTo>
                        <a:lnTo>
                          <a:pt x="674" y="873"/>
                        </a:lnTo>
                        <a:lnTo>
                          <a:pt x="672" y="873"/>
                        </a:lnTo>
                        <a:lnTo>
                          <a:pt x="669" y="878"/>
                        </a:lnTo>
                        <a:lnTo>
                          <a:pt x="667" y="877"/>
                        </a:lnTo>
                        <a:lnTo>
                          <a:pt x="666" y="873"/>
                        </a:lnTo>
                        <a:lnTo>
                          <a:pt x="664" y="873"/>
                        </a:lnTo>
                        <a:lnTo>
                          <a:pt x="664" y="877"/>
                        </a:lnTo>
                        <a:lnTo>
                          <a:pt x="661" y="878"/>
                        </a:lnTo>
                        <a:lnTo>
                          <a:pt x="659" y="877"/>
                        </a:lnTo>
                        <a:lnTo>
                          <a:pt x="659" y="875"/>
                        </a:lnTo>
                        <a:lnTo>
                          <a:pt x="657" y="875"/>
                        </a:lnTo>
                        <a:lnTo>
                          <a:pt x="657" y="878"/>
                        </a:lnTo>
                        <a:lnTo>
                          <a:pt x="656" y="878"/>
                        </a:lnTo>
                        <a:lnTo>
                          <a:pt x="652" y="878"/>
                        </a:lnTo>
                        <a:lnTo>
                          <a:pt x="649" y="878"/>
                        </a:lnTo>
                        <a:lnTo>
                          <a:pt x="649" y="882"/>
                        </a:lnTo>
                        <a:lnTo>
                          <a:pt x="649" y="883"/>
                        </a:lnTo>
                        <a:lnTo>
                          <a:pt x="646" y="883"/>
                        </a:lnTo>
                        <a:lnTo>
                          <a:pt x="644" y="882"/>
                        </a:lnTo>
                        <a:lnTo>
                          <a:pt x="642" y="882"/>
                        </a:lnTo>
                        <a:lnTo>
                          <a:pt x="642" y="885"/>
                        </a:lnTo>
                        <a:lnTo>
                          <a:pt x="641" y="885"/>
                        </a:lnTo>
                        <a:lnTo>
                          <a:pt x="639" y="883"/>
                        </a:lnTo>
                        <a:lnTo>
                          <a:pt x="637" y="883"/>
                        </a:lnTo>
                        <a:lnTo>
                          <a:pt x="637" y="887"/>
                        </a:lnTo>
                        <a:lnTo>
                          <a:pt x="636" y="888"/>
                        </a:lnTo>
                        <a:lnTo>
                          <a:pt x="634" y="890"/>
                        </a:lnTo>
                        <a:lnTo>
                          <a:pt x="631" y="890"/>
                        </a:lnTo>
                        <a:lnTo>
                          <a:pt x="629" y="888"/>
                        </a:lnTo>
                        <a:lnTo>
                          <a:pt x="626" y="883"/>
                        </a:lnTo>
                        <a:lnTo>
                          <a:pt x="622" y="882"/>
                        </a:lnTo>
                        <a:lnTo>
                          <a:pt x="621" y="883"/>
                        </a:lnTo>
                        <a:lnTo>
                          <a:pt x="621" y="885"/>
                        </a:lnTo>
                        <a:lnTo>
                          <a:pt x="619" y="885"/>
                        </a:lnTo>
                        <a:lnTo>
                          <a:pt x="617" y="888"/>
                        </a:lnTo>
                        <a:lnTo>
                          <a:pt x="614" y="890"/>
                        </a:lnTo>
                        <a:lnTo>
                          <a:pt x="612" y="890"/>
                        </a:lnTo>
                        <a:lnTo>
                          <a:pt x="611" y="888"/>
                        </a:lnTo>
                        <a:lnTo>
                          <a:pt x="609" y="892"/>
                        </a:lnTo>
                        <a:lnTo>
                          <a:pt x="606" y="892"/>
                        </a:lnTo>
                        <a:lnTo>
                          <a:pt x="601" y="892"/>
                        </a:lnTo>
                        <a:lnTo>
                          <a:pt x="599" y="888"/>
                        </a:lnTo>
                        <a:lnTo>
                          <a:pt x="598" y="888"/>
                        </a:lnTo>
                        <a:lnTo>
                          <a:pt x="596" y="890"/>
                        </a:lnTo>
                        <a:lnTo>
                          <a:pt x="596" y="892"/>
                        </a:lnTo>
                        <a:lnTo>
                          <a:pt x="593" y="892"/>
                        </a:lnTo>
                        <a:lnTo>
                          <a:pt x="589" y="890"/>
                        </a:lnTo>
                        <a:lnTo>
                          <a:pt x="588" y="887"/>
                        </a:lnTo>
                        <a:lnTo>
                          <a:pt x="589" y="883"/>
                        </a:lnTo>
                        <a:lnTo>
                          <a:pt x="588" y="882"/>
                        </a:lnTo>
                        <a:lnTo>
                          <a:pt x="584" y="880"/>
                        </a:lnTo>
                        <a:lnTo>
                          <a:pt x="583" y="877"/>
                        </a:lnTo>
                        <a:lnTo>
                          <a:pt x="583" y="873"/>
                        </a:lnTo>
                        <a:lnTo>
                          <a:pt x="579" y="870"/>
                        </a:lnTo>
                        <a:lnTo>
                          <a:pt x="579" y="867"/>
                        </a:lnTo>
                        <a:lnTo>
                          <a:pt x="578" y="865"/>
                        </a:lnTo>
                        <a:lnTo>
                          <a:pt x="574" y="865"/>
                        </a:lnTo>
                        <a:lnTo>
                          <a:pt x="574" y="868"/>
                        </a:lnTo>
                        <a:lnTo>
                          <a:pt x="576" y="870"/>
                        </a:lnTo>
                        <a:lnTo>
                          <a:pt x="578" y="875"/>
                        </a:lnTo>
                        <a:lnTo>
                          <a:pt x="579" y="877"/>
                        </a:lnTo>
                        <a:lnTo>
                          <a:pt x="581" y="878"/>
                        </a:lnTo>
                        <a:lnTo>
                          <a:pt x="581" y="883"/>
                        </a:lnTo>
                        <a:lnTo>
                          <a:pt x="579" y="887"/>
                        </a:lnTo>
                        <a:lnTo>
                          <a:pt x="581" y="887"/>
                        </a:lnTo>
                        <a:lnTo>
                          <a:pt x="583" y="887"/>
                        </a:lnTo>
                        <a:lnTo>
                          <a:pt x="584" y="892"/>
                        </a:lnTo>
                        <a:lnTo>
                          <a:pt x="583" y="897"/>
                        </a:lnTo>
                        <a:lnTo>
                          <a:pt x="581" y="900"/>
                        </a:lnTo>
                        <a:lnTo>
                          <a:pt x="578" y="900"/>
                        </a:lnTo>
                        <a:lnTo>
                          <a:pt x="576" y="900"/>
                        </a:lnTo>
                        <a:lnTo>
                          <a:pt x="574" y="900"/>
                        </a:lnTo>
                        <a:lnTo>
                          <a:pt x="571" y="902"/>
                        </a:lnTo>
                        <a:lnTo>
                          <a:pt x="568" y="905"/>
                        </a:lnTo>
                        <a:lnTo>
                          <a:pt x="566" y="907"/>
                        </a:lnTo>
                        <a:lnTo>
                          <a:pt x="563" y="905"/>
                        </a:lnTo>
                        <a:lnTo>
                          <a:pt x="561" y="907"/>
                        </a:lnTo>
                        <a:lnTo>
                          <a:pt x="561" y="908"/>
                        </a:lnTo>
                        <a:lnTo>
                          <a:pt x="561" y="910"/>
                        </a:lnTo>
                        <a:lnTo>
                          <a:pt x="558" y="912"/>
                        </a:lnTo>
                        <a:lnTo>
                          <a:pt x="556" y="913"/>
                        </a:lnTo>
                        <a:lnTo>
                          <a:pt x="554" y="915"/>
                        </a:lnTo>
                        <a:lnTo>
                          <a:pt x="554" y="918"/>
                        </a:lnTo>
                        <a:lnTo>
                          <a:pt x="554" y="920"/>
                        </a:lnTo>
                        <a:lnTo>
                          <a:pt x="553" y="918"/>
                        </a:lnTo>
                        <a:lnTo>
                          <a:pt x="549" y="917"/>
                        </a:lnTo>
                        <a:lnTo>
                          <a:pt x="551" y="918"/>
                        </a:lnTo>
                        <a:lnTo>
                          <a:pt x="553" y="920"/>
                        </a:lnTo>
                        <a:lnTo>
                          <a:pt x="551" y="923"/>
                        </a:lnTo>
                        <a:lnTo>
                          <a:pt x="549" y="923"/>
                        </a:lnTo>
                        <a:lnTo>
                          <a:pt x="548" y="922"/>
                        </a:lnTo>
                        <a:lnTo>
                          <a:pt x="546" y="922"/>
                        </a:lnTo>
                        <a:lnTo>
                          <a:pt x="544" y="923"/>
                        </a:lnTo>
                        <a:lnTo>
                          <a:pt x="546" y="925"/>
                        </a:lnTo>
                        <a:lnTo>
                          <a:pt x="546" y="927"/>
                        </a:lnTo>
                        <a:lnTo>
                          <a:pt x="544" y="928"/>
                        </a:lnTo>
                        <a:lnTo>
                          <a:pt x="541" y="930"/>
                        </a:lnTo>
                        <a:lnTo>
                          <a:pt x="534" y="935"/>
                        </a:lnTo>
                        <a:lnTo>
                          <a:pt x="534" y="938"/>
                        </a:lnTo>
                        <a:lnTo>
                          <a:pt x="536" y="942"/>
                        </a:lnTo>
                        <a:lnTo>
                          <a:pt x="534" y="943"/>
                        </a:lnTo>
                        <a:lnTo>
                          <a:pt x="531" y="948"/>
                        </a:lnTo>
                        <a:lnTo>
                          <a:pt x="528" y="950"/>
                        </a:lnTo>
                        <a:lnTo>
                          <a:pt x="528" y="948"/>
                        </a:lnTo>
                        <a:lnTo>
                          <a:pt x="526" y="947"/>
                        </a:lnTo>
                        <a:lnTo>
                          <a:pt x="528" y="945"/>
                        </a:lnTo>
                        <a:lnTo>
                          <a:pt x="524" y="945"/>
                        </a:lnTo>
                        <a:lnTo>
                          <a:pt x="523" y="947"/>
                        </a:lnTo>
                        <a:lnTo>
                          <a:pt x="523" y="950"/>
                        </a:lnTo>
                        <a:lnTo>
                          <a:pt x="523" y="952"/>
                        </a:lnTo>
                        <a:lnTo>
                          <a:pt x="523" y="953"/>
                        </a:lnTo>
                        <a:lnTo>
                          <a:pt x="516" y="958"/>
                        </a:lnTo>
                        <a:lnTo>
                          <a:pt x="514" y="960"/>
                        </a:lnTo>
                        <a:lnTo>
                          <a:pt x="513" y="958"/>
                        </a:lnTo>
                        <a:lnTo>
                          <a:pt x="513" y="957"/>
                        </a:lnTo>
                        <a:lnTo>
                          <a:pt x="511" y="955"/>
                        </a:lnTo>
                        <a:lnTo>
                          <a:pt x="510" y="955"/>
                        </a:lnTo>
                        <a:lnTo>
                          <a:pt x="508" y="957"/>
                        </a:lnTo>
                        <a:lnTo>
                          <a:pt x="506" y="957"/>
                        </a:lnTo>
                        <a:lnTo>
                          <a:pt x="503" y="955"/>
                        </a:lnTo>
                        <a:lnTo>
                          <a:pt x="501" y="953"/>
                        </a:lnTo>
                        <a:lnTo>
                          <a:pt x="500" y="953"/>
                        </a:lnTo>
                        <a:lnTo>
                          <a:pt x="498" y="953"/>
                        </a:lnTo>
                        <a:lnTo>
                          <a:pt x="500" y="955"/>
                        </a:lnTo>
                        <a:lnTo>
                          <a:pt x="501" y="957"/>
                        </a:lnTo>
                        <a:lnTo>
                          <a:pt x="503" y="960"/>
                        </a:lnTo>
                        <a:lnTo>
                          <a:pt x="503" y="963"/>
                        </a:lnTo>
                        <a:lnTo>
                          <a:pt x="501" y="965"/>
                        </a:lnTo>
                        <a:lnTo>
                          <a:pt x="500" y="965"/>
                        </a:lnTo>
                        <a:lnTo>
                          <a:pt x="493" y="968"/>
                        </a:lnTo>
                        <a:lnTo>
                          <a:pt x="490" y="971"/>
                        </a:lnTo>
                        <a:lnTo>
                          <a:pt x="486" y="971"/>
                        </a:lnTo>
                        <a:lnTo>
                          <a:pt x="483" y="970"/>
                        </a:lnTo>
                        <a:lnTo>
                          <a:pt x="485" y="968"/>
                        </a:lnTo>
                        <a:lnTo>
                          <a:pt x="485" y="966"/>
                        </a:lnTo>
                        <a:lnTo>
                          <a:pt x="483" y="965"/>
                        </a:lnTo>
                        <a:lnTo>
                          <a:pt x="481" y="965"/>
                        </a:lnTo>
                        <a:lnTo>
                          <a:pt x="481" y="968"/>
                        </a:lnTo>
                        <a:lnTo>
                          <a:pt x="481" y="970"/>
                        </a:lnTo>
                        <a:lnTo>
                          <a:pt x="480" y="971"/>
                        </a:lnTo>
                        <a:lnTo>
                          <a:pt x="478" y="971"/>
                        </a:lnTo>
                        <a:lnTo>
                          <a:pt x="475" y="973"/>
                        </a:lnTo>
                        <a:lnTo>
                          <a:pt x="471" y="971"/>
                        </a:lnTo>
                        <a:lnTo>
                          <a:pt x="468" y="968"/>
                        </a:lnTo>
                        <a:lnTo>
                          <a:pt x="468" y="966"/>
                        </a:lnTo>
                        <a:lnTo>
                          <a:pt x="470" y="963"/>
                        </a:lnTo>
                        <a:lnTo>
                          <a:pt x="470" y="962"/>
                        </a:lnTo>
                        <a:lnTo>
                          <a:pt x="468" y="962"/>
                        </a:lnTo>
                        <a:lnTo>
                          <a:pt x="466" y="965"/>
                        </a:lnTo>
                        <a:lnTo>
                          <a:pt x="466" y="968"/>
                        </a:lnTo>
                        <a:lnTo>
                          <a:pt x="466" y="971"/>
                        </a:lnTo>
                        <a:lnTo>
                          <a:pt x="465" y="973"/>
                        </a:lnTo>
                        <a:lnTo>
                          <a:pt x="463" y="973"/>
                        </a:lnTo>
                        <a:lnTo>
                          <a:pt x="458" y="966"/>
                        </a:lnTo>
                        <a:lnTo>
                          <a:pt x="458" y="963"/>
                        </a:lnTo>
                        <a:lnTo>
                          <a:pt x="460" y="960"/>
                        </a:lnTo>
                        <a:lnTo>
                          <a:pt x="463" y="957"/>
                        </a:lnTo>
                        <a:lnTo>
                          <a:pt x="465" y="955"/>
                        </a:lnTo>
                        <a:lnTo>
                          <a:pt x="463" y="953"/>
                        </a:lnTo>
                        <a:lnTo>
                          <a:pt x="460" y="953"/>
                        </a:lnTo>
                        <a:lnTo>
                          <a:pt x="456" y="950"/>
                        </a:lnTo>
                        <a:lnTo>
                          <a:pt x="456" y="948"/>
                        </a:lnTo>
                        <a:lnTo>
                          <a:pt x="456" y="948"/>
                        </a:lnTo>
                        <a:lnTo>
                          <a:pt x="453" y="950"/>
                        </a:lnTo>
                        <a:lnTo>
                          <a:pt x="451" y="952"/>
                        </a:lnTo>
                        <a:lnTo>
                          <a:pt x="451" y="953"/>
                        </a:lnTo>
                        <a:lnTo>
                          <a:pt x="455" y="957"/>
                        </a:lnTo>
                        <a:lnTo>
                          <a:pt x="455" y="958"/>
                        </a:lnTo>
                        <a:lnTo>
                          <a:pt x="453" y="962"/>
                        </a:lnTo>
                        <a:lnTo>
                          <a:pt x="451" y="965"/>
                        </a:lnTo>
                        <a:lnTo>
                          <a:pt x="448" y="966"/>
                        </a:lnTo>
                        <a:lnTo>
                          <a:pt x="446" y="968"/>
                        </a:lnTo>
                        <a:lnTo>
                          <a:pt x="445" y="963"/>
                        </a:lnTo>
                        <a:lnTo>
                          <a:pt x="443" y="963"/>
                        </a:lnTo>
                        <a:lnTo>
                          <a:pt x="441" y="965"/>
                        </a:lnTo>
                        <a:lnTo>
                          <a:pt x="441" y="968"/>
                        </a:lnTo>
                        <a:lnTo>
                          <a:pt x="445" y="973"/>
                        </a:lnTo>
                        <a:lnTo>
                          <a:pt x="446" y="975"/>
                        </a:lnTo>
                        <a:lnTo>
                          <a:pt x="446" y="976"/>
                        </a:lnTo>
                        <a:lnTo>
                          <a:pt x="445" y="978"/>
                        </a:lnTo>
                        <a:lnTo>
                          <a:pt x="445" y="980"/>
                        </a:lnTo>
                        <a:lnTo>
                          <a:pt x="441" y="981"/>
                        </a:lnTo>
                        <a:lnTo>
                          <a:pt x="438" y="981"/>
                        </a:lnTo>
                        <a:lnTo>
                          <a:pt x="436" y="980"/>
                        </a:lnTo>
                        <a:lnTo>
                          <a:pt x="435" y="980"/>
                        </a:lnTo>
                        <a:lnTo>
                          <a:pt x="431" y="983"/>
                        </a:lnTo>
                        <a:lnTo>
                          <a:pt x="428" y="985"/>
                        </a:lnTo>
                        <a:lnTo>
                          <a:pt x="426" y="983"/>
                        </a:lnTo>
                        <a:lnTo>
                          <a:pt x="425" y="980"/>
                        </a:lnTo>
                        <a:lnTo>
                          <a:pt x="423" y="976"/>
                        </a:lnTo>
                        <a:lnTo>
                          <a:pt x="423" y="976"/>
                        </a:lnTo>
                        <a:lnTo>
                          <a:pt x="421" y="978"/>
                        </a:lnTo>
                        <a:lnTo>
                          <a:pt x="421" y="981"/>
                        </a:lnTo>
                        <a:lnTo>
                          <a:pt x="420" y="983"/>
                        </a:lnTo>
                        <a:lnTo>
                          <a:pt x="416" y="983"/>
                        </a:lnTo>
                        <a:lnTo>
                          <a:pt x="415" y="980"/>
                        </a:lnTo>
                        <a:lnTo>
                          <a:pt x="413" y="976"/>
                        </a:lnTo>
                        <a:lnTo>
                          <a:pt x="412" y="978"/>
                        </a:lnTo>
                        <a:lnTo>
                          <a:pt x="412" y="980"/>
                        </a:lnTo>
                        <a:lnTo>
                          <a:pt x="408" y="980"/>
                        </a:lnTo>
                        <a:lnTo>
                          <a:pt x="407" y="981"/>
                        </a:lnTo>
                        <a:lnTo>
                          <a:pt x="407" y="983"/>
                        </a:lnTo>
                        <a:lnTo>
                          <a:pt x="408" y="986"/>
                        </a:lnTo>
                        <a:lnTo>
                          <a:pt x="408" y="990"/>
                        </a:lnTo>
                        <a:lnTo>
                          <a:pt x="407" y="995"/>
                        </a:lnTo>
                        <a:lnTo>
                          <a:pt x="402" y="1000"/>
                        </a:lnTo>
                        <a:lnTo>
                          <a:pt x="398" y="1000"/>
                        </a:lnTo>
                        <a:lnTo>
                          <a:pt x="397" y="1000"/>
                        </a:lnTo>
                        <a:lnTo>
                          <a:pt x="395" y="995"/>
                        </a:lnTo>
                        <a:lnTo>
                          <a:pt x="393" y="993"/>
                        </a:lnTo>
                        <a:lnTo>
                          <a:pt x="390" y="995"/>
                        </a:lnTo>
                        <a:lnTo>
                          <a:pt x="390" y="996"/>
                        </a:lnTo>
                        <a:lnTo>
                          <a:pt x="387" y="995"/>
                        </a:lnTo>
                        <a:lnTo>
                          <a:pt x="385" y="993"/>
                        </a:lnTo>
                        <a:lnTo>
                          <a:pt x="383" y="991"/>
                        </a:lnTo>
                        <a:lnTo>
                          <a:pt x="383" y="993"/>
                        </a:lnTo>
                        <a:lnTo>
                          <a:pt x="383" y="995"/>
                        </a:lnTo>
                        <a:lnTo>
                          <a:pt x="385" y="998"/>
                        </a:lnTo>
                        <a:lnTo>
                          <a:pt x="383" y="1001"/>
                        </a:lnTo>
                        <a:lnTo>
                          <a:pt x="383" y="1003"/>
                        </a:lnTo>
                        <a:lnTo>
                          <a:pt x="383" y="1005"/>
                        </a:lnTo>
                        <a:lnTo>
                          <a:pt x="387" y="1008"/>
                        </a:lnTo>
                        <a:lnTo>
                          <a:pt x="388" y="1011"/>
                        </a:lnTo>
                        <a:lnTo>
                          <a:pt x="388" y="1018"/>
                        </a:lnTo>
                        <a:lnTo>
                          <a:pt x="388" y="1021"/>
                        </a:lnTo>
                        <a:lnTo>
                          <a:pt x="385" y="1020"/>
                        </a:lnTo>
                        <a:lnTo>
                          <a:pt x="383" y="1020"/>
                        </a:lnTo>
                        <a:lnTo>
                          <a:pt x="382" y="1021"/>
                        </a:lnTo>
                        <a:lnTo>
                          <a:pt x="378" y="1023"/>
                        </a:lnTo>
                        <a:lnTo>
                          <a:pt x="373" y="1021"/>
                        </a:lnTo>
                        <a:lnTo>
                          <a:pt x="368" y="1021"/>
                        </a:lnTo>
                        <a:lnTo>
                          <a:pt x="367" y="1023"/>
                        </a:lnTo>
                        <a:lnTo>
                          <a:pt x="368" y="1025"/>
                        </a:lnTo>
                        <a:lnTo>
                          <a:pt x="373" y="1028"/>
                        </a:lnTo>
                        <a:lnTo>
                          <a:pt x="377" y="1028"/>
                        </a:lnTo>
                        <a:lnTo>
                          <a:pt x="380" y="1030"/>
                        </a:lnTo>
                        <a:lnTo>
                          <a:pt x="382" y="1031"/>
                        </a:lnTo>
                        <a:lnTo>
                          <a:pt x="383" y="1031"/>
                        </a:lnTo>
                        <a:lnTo>
                          <a:pt x="385" y="1031"/>
                        </a:lnTo>
                        <a:lnTo>
                          <a:pt x="385" y="1033"/>
                        </a:lnTo>
                        <a:lnTo>
                          <a:pt x="385" y="1036"/>
                        </a:lnTo>
                        <a:lnTo>
                          <a:pt x="382" y="1036"/>
                        </a:lnTo>
                        <a:lnTo>
                          <a:pt x="380" y="1036"/>
                        </a:lnTo>
                        <a:lnTo>
                          <a:pt x="380" y="1038"/>
                        </a:lnTo>
                        <a:lnTo>
                          <a:pt x="382" y="1040"/>
                        </a:lnTo>
                        <a:lnTo>
                          <a:pt x="383" y="1041"/>
                        </a:lnTo>
                        <a:lnTo>
                          <a:pt x="382" y="1045"/>
                        </a:lnTo>
                        <a:lnTo>
                          <a:pt x="382" y="1046"/>
                        </a:lnTo>
                        <a:lnTo>
                          <a:pt x="382" y="1048"/>
                        </a:lnTo>
                        <a:lnTo>
                          <a:pt x="380" y="1050"/>
                        </a:lnTo>
                        <a:lnTo>
                          <a:pt x="377" y="1048"/>
                        </a:lnTo>
                        <a:lnTo>
                          <a:pt x="373" y="1045"/>
                        </a:lnTo>
                        <a:lnTo>
                          <a:pt x="372" y="1045"/>
                        </a:lnTo>
                        <a:lnTo>
                          <a:pt x="370" y="1043"/>
                        </a:lnTo>
                        <a:lnTo>
                          <a:pt x="367" y="1041"/>
                        </a:lnTo>
                        <a:lnTo>
                          <a:pt x="363" y="1041"/>
                        </a:lnTo>
                        <a:lnTo>
                          <a:pt x="363" y="1041"/>
                        </a:lnTo>
                        <a:lnTo>
                          <a:pt x="362" y="1045"/>
                        </a:lnTo>
                        <a:lnTo>
                          <a:pt x="365" y="1045"/>
                        </a:lnTo>
                        <a:lnTo>
                          <a:pt x="368" y="1045"/>
                        </a:lnTo>
                        <a:lnTo>
                          <a:pt x="372" y="1048"/>
                        </a:lnTo>
                        <a:lnTo>
                          <a:pt x="375" y="1050"/>
                        </a:lnTo>
                        <a:lnTo>
                          <a:pt x="378" y="1050"/>
                        </a:lnTo>
                        <a:lnTo>
                          <a:pt x="380" y="1051"/>
                        </a:lnTo>
                        <a:lnTo>
                          <a:pt x="378" y="1055"/>
                        </a:lnTo>
                        <a:lnTo>
                          <a:pt x="375" y="1056"/>
                        </a:lnTo>
                        <a:lnTo>
                          <a:pt x="372" y="1056"/>
                        </a:lnTo>
                        <a:lnTo>
                          <a:pt x="370" y="1058"/>
                        </a:lnTo>
                        <a:lnTo>
                          <a:pt x="367" y="1056"/>
                        </a:lnTo>
                        <a:lnTo>
                          <a:pt x="362" y="1053"/>
                        </a:lnTo>
                        <a:lnTo>
                          <a:pt x="360" y="1051"/>
                        </a:lnTo>
                        <a:lnTo>
                          <a:pt x="358" y="1051"/>
                        </a:lnTo>
                        <a:lnTo>
                          <a:pt x="357" y="1051"/>
                        </a:lnTo>
                        <a:lnTo>
                          <a:pt x="355" y="1055"/>
                        </a:lnTo>
                        <a:lnTo>
                          <a:pt x="355" y="1058"/>
                        </a:lnTo>
                        <a:lnTo>
                          <a:pt x="358" y="1060"/>
                        </a:lnTo>
                        <a:lnTo>
                          <a:pt x="363" y="1061"/>
                        </a:lnTo>
                        <a:lnTo>
                          <a:pt x="363" y="1065"/>
                        </a:lnTo>
                        <a:lnTo>
                          <a:pt x="363" y="1066"/>
                        </a:lnTo>
                        <a:lnTo>
                          <a:pt x="362" y="1066"/>
                        </a:lnTo>
                        <a:lnTo>
                          <a:pt x="360" y="1065"/>
                        </a:lnTo>
                        <a:lnTo>
                          <a:pt x="357" y="1065"/>
                        </a:lnTo>
                        <a:lnTo>
                          <a:pt x="353" y="1061"/>
                        </a:lnTo>
                        <a:lnTo>
                          <a:pt x="350" y="1060"/>
                        </a:lnTo>
                        <a:lnTo>
                          <a:pt x="350" y="1060"/>
                        </a:lnTo>
                        <a:lnTo>
                          <a:pt x="350" y="1063"/>
                        </a:lnTo>
                        <a:lnTo>
                          <a:pt x="353" y="1065"/>
                        </a:lnTo>
                        <a:lnTo>
                          <a:pt x="358" y="1066"/>
                        </a:lnTo>
                        <a:lnTo>
                          <a:pt x="358" y="1069"/>
                        </a:lnTo>
                        <a:lnTo>
                          <a:pt x="358" y="1071"/>
                        </a:lnTo>
                        <a:lnTo>
                          <a:pt x="357" y="1071"/>
                        </a:lnTo>
                        <a:lnTo>
                          <a:pt x="352" y="1071"/>
                        </a:lnTo>
                        <a:lnTo>
                          <a:pt x="350" y="1069"/>
                        </a:lnTo>
                        <a:lnTo>
                          <a:pt x="350" y="1066"/>
                        </a:lnTo>
                        <a:lnTo>
                          <a:pt x="347" y="1065"/>
                        </a:lnTo>
                        <a:lnTo>
                          <a:pt x="345" y="1065"/>
                        </a:lnTo>
                        <a:lnTo>
                          <a:pt x="343" y="1066"/>
                        </a:lnTo>
                        <a:lnTo>
                          <a:pt x="343" y="1068"/>
                        </a:lnTo>
                        <a:lnTo>
                          <a:pt x="345" y="1069"/>
                        </a:lnTo>
                        <a:lnTo>
                          <a:pt x="347" y="1073"/>
                        </a:lnTo>
                        <a:lnTo>
                          <a:pt x="347" y="1073"/>
                        </a:lnTo>
                        <a:lnTo>
                          <a:pt x="347" y="1074"/>
                        </a:lnTo>
                        <a:lnTo>
                          <a:pt x="353" y="1074"/>
                        </a:lnTo>
                        <a:lnTo>
                          <a:pt x="357" y="1076"/>
                        </a:lnTo>
                        <a:lnTo>
                          <a:pt x="358" y="1078"/>
                        </a:lnTo>
                        <a:lnTo>
                          <a:pt x="357" y="1079"/>
                        </a:lnTo>
                        <a:lnTo>
                          <a:pt x="355" y="1081"/>
                        </a:lnTo>
                        <a:lnTo>
                          <a:pt x="353" y="1083"/>
                        </a:lnTo>
                        <a:lnTo>
                          <a:pt x="350" y="1083"/>
                        </a:lnTo>
                        <a:lnTo>
                          <a:pt x="348" y="1081"/>
                        </a:lnTo>
                        <a:lnTo>
                          <a:pt x="345" y="1081"/>
                        </a:lnTo>
                        <a:lnTo>
                          <a:pt x="342" y="1079"/>
                        </a:lnTo>
                        <a:lnTo>
                          <a:pt x="342" y="1078"/>
                        </a:lnTo>
                        <a:lnTo>
                          <a:pt x="342" y="1076"/>
                        </a:lnTo>
                        <a:lnTo>
                          <a:pt x="338" y="1076"/>
                        </a:lnTo>
                        <a:lnTo>
                          <a:pt x="337" y="1076"/>
                        </a:lnTo>
                        <a:lnTo>
                          <a:pt x="337" y="1079"/>
                        </a:lnTo>
                        <a:lnTo>
                          <a:pt x="337" y="1081"/>
                        </a:lnTo>
                        <a:lnTo>
                          <a:pt x="335" y="1084"/>
                        </a:lnTo>
                        <a:lnTo>
                          <a:pt x="330" y="1084"/>
                        </a:lnTo>
                        <a:lnTo>
                          <a:pt x="328" y="1083"/>
                        </a:lnTo>
                        <a:lnTo>
                          <a:pt x="327" y="1081"/>
                        </a:lnTo>
                        <a:lnTo>
                          <a:pt x="323" y="1081"/>
                        </a:lnTo>
                        <a:lnTo>
                          <a:pt x="323" y="1083"/>
                        </a:lnTo>
                        <a:lnTo>
                          <a:pt x="325" y="1084"/>
                        </a:lnTo>
                        <a:lnTo>
                          <a:pt x="332" y="1088"/>
                        </a:lnTo>
                        <a:lnTo>
                          <a:pt x="338" y="1089"/>
                        </a:lnTo>
                        <a:lnTo>
                          <a:pt x="340" y="1093"/>
                        </a:lnTo>
                        <a:lnTo>
                          <a:pt x="342" y="1098"/>
                        </a:lnTo>
                        <a:lnTo>
                          <a:pt x="340" y="1098"/>
                        </a:lnTo>
                        <a:lnTo>
                          <a:pt x="337" y="1098"/>
                        </a:lnTo>
                        <a:lnTo>
                          <a:pt x="333" y="1096"/>
                        </a:lnTo>
                        <a:lnTo>
                          <a:pt x="328" y="1091"/>
                        </a:lnTo>
                        <a:lnTo>
                          <a:pt x="327" y="1089"/>
                        </a:lnTo>
                        <a:lnTo>
                          <a:pt x="323" y="1091"/>
                        </a:lnTo>
                        <a:lnTo>
                          <a:pt x="323" y="1091"/>
                        </a:lnTo>
                        <a:lnTo>
                          <a:pt x="325" y="1093"/>
                        </a:lnTo>
                        <a:lnTo>
                          <a:pt x="330" y="1094"/>
                        </a:lnTo>
                        <a:lnTo>
                          <a:pt x="335" y="1098"/>
                        </a:lnTo>
                        <a:lnTo>
                          <a:pt x="338" y="1103"/>
                        </a:lnTo>
                        <a:lnTo>
                          <a:pt x="337" y="1104"/>
                        </a:lnTo>
                        <a:lnTo>
                          <a:pt x="337" y="1108"/>
                        </a:lnTo>
                        <a:lnTo>
                          <a:pt x="337" y="1109"/>
                        </a:lnTo>
                        <a:lnTo>
                          <a:pt x="337" y="1111"/>
                        </a:lnTo>
                        <a:lnTo>
                          <a:pt x="335" y="1113"/>
                        </a:lnTo>
                        <a:lnTo>
                          <a:pt x="335" y="1116"/>
                        </a:lnTo>
                        <a:lnTo>
                          <a:pt x="333" y="1119"/>
                        </a:lnTo>
                        <a:lnTo>
                          <a:pt x="330" y="1119"/>
                        </a:lnTo>
                        <a:lnTo>
                          <a:pt x="328" y="1118"/>
                        </a:lnTo>
                        <a:lnTo>
                          <a:pt x="325" y="1116"/>
                        </a:lnTo>
                        <a:lnTo>
                          <a:pt x="322" y="1114"/>
                        </a:lnTo>
                        <a:lnTo>
                          <a:pt x="320" y="1114"/>
                        </a:lnTo>
                        <a:lnTo>
                          <a:pt x="320" y="1118"/>
                        </a:lnTo>
                        <a:lnTo>
                          <a:pt x="323" y="1119"/>
                        </a:lnTo>
                        <a:lnTo>
                          <a:pt x="328" y="1119"/>
                        </a:lnTo>
                        <a:lnTo>
                          <a:pt x="328" y="1121"/>
                        </a:lnTo>
                        <a:lnTo>
                          <a:pt x="327" y="1124"/>
                        </a:lnTo>
                        <a:lnTo>
                          <a:pt x="323" y="1123"/>
                        </a:lnTo>
                        <a:lnTo>
                          <a:pt x="322" y="1121"/>
                        </a:lnTo>
                        <a:lnTo>
                          <a:pt x="320" y="1123"/>
                        </a:lnTo>
                        <a:lnTo>
                          <a:pt x="320" y="1124"/>
                        </a:lnTo>
                        <a:lnTo>
                          <a:pt x="323" y="1124"/>
                        </a:lnTo>
                        <a:lnTo>
                          <a:pt x="325" y="1126"/>
                        </a:lnTo>
                        <a:lnTo>
                          <a:pt x="325" y="1128"/>
                        </a:lnTo>
                        <a:lnTo>
                          <a:pt x="322" y="1131"/>
                        </a:lnTo>
                        <a:lnTo>
                          <a:pt x="320" y="1131"/>
                        </a:lnTo>
                        <a:lnTo>
                          <a:pt x="318" y="1129"/>
                        </a:lnTo>
                        <a:lnTo>
                          <a:pt x="315" y="1129"/>
                        </a:lnTo>
                        <a:lnTo>
                          <a:pt x="314" y="1129"/>
                        </a:lnTo>
                        <a:lnTo>
                          <a:pt x="314" y="1131"/>
                        </a:lnTo>
                        <a:lnTo>
                          <a:pt x="317" y="1133"/>
                        </a:lnTo>
                        <a:lnTo>
                          <a:pt x="320" y="1134"/>
                        </a:lnTo>
                        <a:lnTo>
                          <a:pt x="320" y="1138"/>
                        </a:lnTo>
                        <a:lnTo>
                          <a:pt x="317" y="1139"/>
                        </a:lnTo>
                        <a:lnTo>
                          <a:pt x="310" y="1138"/>
                        </a:lnTo>
                        <a:lnTo>
                          <a:pt x="309" y="1136"/>
                        </a:lnTo>
                        <a:lnTo>
                          <a:pt x="307" y="1136"/>
                        </a:lnTo>
                        <a:lnTo>
                          <a:pt x="307" y="1138"/>
                        </a:lnTo>
                        <a:lnTo>
                          <a:pt x="310" y="1139"/>
                        </a:lnTo>
                        <a:lnTo>
                          <a:pt x="318" y="1139"/>
                        </a:lnTo>
                        <a:lnTo>
                          <a:pt x="322" y="1141"/>
                        </a:lnTo>
                        <a:lnTo>
                          <a:pt x="323" y="1144"/>
                        </a:lnTo>
                        <a:lnTo>
                          <a:pt x="322" y="1144"/>
                        </a:lnTo>
                        <a:lnTo>
                          <a:pt x="318" y="1146"/>
                        </a:lnTo>
                        <a:lnTo>
                          <a:pt x="312" y="1148"/>
                        </a:lnTo>
                        <a:lnTo>
                          <a:pt x="307" y="1146"/>
                        </a:lnTo>
                        <a:lnTo>
                          <a:pt x="304" y="1146"/>
                        </a:lnTo>
                        <a:lnTo>
                          <a:pt x="304" y="1146"/>
                        </a:lnTo>
                        <a:lnTo>
                          <a:pt x="305" y="1148"/>
                        </a:lnTo>
                        <a:lnTo>
                          <a:pt x="310" y="1149"/>
                        </a:lnTo>
                        <a:lnTo>
                          <a:pt x="310" y="1151"/>
                        </a:lnTo>
                        <a:lnTo>
                          <a:pt x="310" y="1151"/>
                        </a:lnTo>
                        <a:lnTo>
                          <a:pt x="309" y="1151"/>
                        </a:lnTo>
                        <a:lnTo>
                          <a:pt x="307" y="1153"/>
                        </a:lnTo>
                        <a:lnTo>
                          <a:pt x="312" y="1153"/>
                        </a:lnTo>
                        <a:lnTo>
                          <a:pt x="315" y="1154"/>
                        </a:lnTo>
                        <a:lnTo>
                          <a:pt x="315" y="1156"/>
                        </a:lnTo>
                        <a:lnTo>
                          <a:pt x="312" y="1158"/>
                        </a:lnTo>
                        <a:lnTo>
                          <a:pt x="309" y="1158"/>
                        </a:lnTo>
                        <a:lnTo>
                          <a:pt x="307" y="1158"/>
                        </a:lnTo>
                        <a:lnTo>
                          <a:pt x="307" y="1159"/>
                        </a:lnTo>
                        <a:lnTo>
                          <a:pt x="309" y="1159"/>
                        </a:lnTo>
                        <a:lnTo>
                          <a:pt x="314" y="1159"/>
                        </a:lnTo>
                        <a:lnTo>
                          <a:pt x="317" y="1159"/>
                        </a:lnTo>
                        <a:lnTo>
                          <a:pt x="315" y="1161"/>
                        </a:lnTo>
                        <a:lnTo>
                          <a:pt x="314" y="1164"/>
                        </a:lnTo>
                        <a:lnTo>
                          <a:pt x="309" y="1166"/>
                        </a:lnTo>
                        <a:lnTo>
                          <a:pt x="305" y="1166"/>
                        </a:lnTo>
                        <a:lnTo>
                          <a:pt x="302" y="1163"/>
                        </a:lnTo>
                        <a:lnTo>
                          <a:pt x="299" y="1161"/>
                        </a:lnTo>
                        <a:lnTo>
                          <a:pt x="299" y="1158"/>
                        </a:lnTo>
                        <a:lnTo>
                          <a:pt x="297" y="1158"/>
                        </a:lnTo>
                        <a:lnTo>
                          <a:pt x="295" y="1159"/>
                        </a:lnTo>
                        <a:lnTo>
                          <a:pt x="292" y="1158"/>
                        </a:lnTo>
                        <a:lnTo>
                          <a:pt x="290" y="1159"/>
                        </a:lnTo>
                        <a:lnTo>
                          <a:pt x="292" y="1161"/>
                        </a:lnTo>
                        <a:lnTo>
                          <a:pt x="299" y="1164"/>
                        </a:lnTo>
                        <a:lnTo>
                          <a:pt x="304" y="1166"/>
                        </a:lnTo>
                        <a:lnTo>
                          <a:pt x="304" y="1167"/>
                        </a:lnTo>
                        <a:lnTo>
                          <a:pt x="302" y="1169"/>
                        </a:lnTo>
                        <a:lnTo>
                          <a:pt x="302" y="1171"/>
                        </a:lnTo>
                        <a:lnTo>
                          <a:pt x="304" y="1171"/>
                        </a:lnTo>
                        <a:lnTo>
                          <a:pt x="307" y="1171"/>
                        </a:lnTo>
                        <a:lnTo>
                          <a:pt x="309" y="1172"/>
                        </a:lnTo>
                        <a:lnTo>
                          <a:pt x="310" y="1172"/>
                        </a:lnTo>
                        <a:lnTo>
                          <a:pt x="310" y="1174"/>
                        </a:lnTo>
                        <a:lnTo>
                          <a:pt x="307" y="1174"/>
                        </a:lnTo>
                        <a:lnTo>
                          <a:pt x="305" y="1177"/>
                        </a:lnTo>
                        <a:lnTo>
                          <a:pt x="305" y="1177"/>
                        </a:lnTo>
                        <a:lnTo>
                          <a:pt x="304" y="1177"/>
                        </a:lnTo>
                        <a:lnTo>
                          <a:pt x="304" y="1177"/>
                        </a:lnTo>
                        <a:close/>
                        <a:moveTo>
                          <a:pt x="299" y="1179"/>
                        </a:moveTo>
                        <a:lnTo>
                          <a:pt x="290" y="1176"/>
                        </a:lnTo>
                        <a:lnTo>
                          <a:pt x="287" y="1174"/>
                        </a:lnTo>
                        <a:lnTo>
                          <a:pt x="287" y="1176"/>
                        </a:lnTo>
                        <a:lnTo>
                          <a:pt x="292" y="1181"/>
                        </a:lnTo>
                        <a:lnTo>
                          <a:pt x="295" y="1181"/>
                        </a:lnTo>
                        <a:lnTo>
                          <a:pt x="299" y="1179"/>
                        </a:lnTo>
                        <a:lnTo>
                          <a:pt x="299" y="1179"/>
                        </a:lnTo>
                        <a:close/>
                        <a:moveTo>
                          <a:pt x="677" y="795"/>
                        </a:moveTo>
                        <a:lnTo>
                          <a:pt x="677" y="799"/>
                        </a:lnTo>
                        <a:lnTo>
                          <a:pt x="684" y="797"/>
                        </a:lnTo>
                        <a:lnTo>
                          <a:pt x="694" y="795"/>
                        </a:lnTo>
                        <a:lnTo>
                          <a:pt x="704" y="797"/>
                        </a:lnTo>
                        <a:lnTo>
                          <a:pt x="707" y="794"/>
                        </a:lnTo>
                        <a:lnTo>
                          <a:pt x="712" y="794"/>
                        </a:lnTo>
                        <a:lnTo>
                          <a:pt x="717" y="795"/>
                        </a:lnTo>
                        <a:lnTo>
                          <a:pt x="722" y="794"/>
                        </a:lnTo>
                        <a:lnTo>
                          <a:pt x="725" y="795"/>
                        </a:lnTo>
                        <a:lnTo>
                          <a:pt x="732" y="790"/>
                        </a:lnTo>
                        <a:lnTo>
                          <a:pt x="732" y="779"/>
                        </a:lnTo>
                        <a:lnTo>
                          <a:pt x="729" y="775"/>
                        </a:lnTo>
                        <a:lnTo>
                          <a:pt x="727" y="772"/>
                        </a:lnTo>
                        <a:lnTo>
                          <a:pt x="722" y="772"/>
                        </a:lnTo>
                        <a:lnTo>
                          <a:pt x="709" y="777"/>
                        </a:lnTo>
                        <a:lnTo>
                          <a:pt x="696" y="779"/>
                        </a:lnTo>
                        <a:lnTo>
                          <a:pt x="692" y="782"/>
                        </a:lnTo>
                        <a:lnTo>
                          <a:pt x="687" y="785"/>
                        </a:lnTo>
                        <a:lnTo>
                          <a:pt x="684" y="789"/>
                        </a:lnTo>
                        <a:lnTo>
                          <a:pt x="679" y="790"/>
                        </a:lnTo>
                        <a:lnTo>
                          <a:pt x="679" y="792"/>
                        </a:lnTo>
                        <a:lnTo>
                          <a:pt x="677" y="795"/>
                        </a:lnTo>
                        <a:lnTo>
                          <a:pt x="677" y="795"/>
                        </a:lnTo>
                        <a:close/>
                        <a:moveTo>
                          <a:pt x="315" y="1151"/>
                        </a:moveTo>
                        <a:lnTo>
                          <a:pt x="318" y="1153"/>
                        </a:lnTo>
                        <a:lnTo>
                          <a:pt x="320" y="1151"/>
                        </a:lnTo>
                        <a:lnTo>
                          <a:pt x="318" y="1149"/>
                        </a:lnTo>
                        <a:lnTo>
                          <a:pt x="317" y="1149"/>
                        </a:lnTo>
                        <a:lnTo>
                          <a:pt x="315" y="1151"/>
                        </a:lnTo>
                        <a:lnTo>
                          <a:pt x="315" y="1151"/>
                        </a:lnTo>
                        <a:close/>
                        <a:moveTo>
                          <a:pt x="338" y="1106"/>
                        </a:moveTo>
                        <a:lnTo>
                          <a:pt x="340" y="1108"/>
                        </a:lnTo>
                        <a:lnTo>
                          <a:pt x="340" y="1106"/>
                        </a:lnTo>
                        <a:lnTo>
                          <a:pt x="338" y="1106"/>
                        </a:lnTo>
                        <a:lnTo>
                          <a:pt x="338" y="1106"/>
                        </a:lnTo>
                        <a:close/>
                        <a:moveTo>
                          <a:pt x="342" y="1101"/>
                        </a:moveTo>
                        <a:lnTo>
                          <a:pt x="342" y="1103"/>
                        </a:lnTo>
                        <a:lnTo>
                          <a:pt x="343" y="1103"/>
                        </a:lnTo>
                        <a:lnTo>
                          <a:pt x="343" y="1099"/>
                        </a:lnTo>
                        <a:lnTo>
                          <a:pt x="342" y="1101"/>
                        </a:lnTo>
                        <a:lnTo>
                          <a:pt x="342" y="1101"/>
                        </a:lnTo>
                        <a:close/>
                        <a:moveTo>
                          <a:pt x="343" y="1093"/>
                        </a:moveTo>
                        <a:lnTo>
                          <a:pt x="343" y="1094"/>
                        </a:lnTo>
                        <a:lnTo>
                          <a:pt x="345" y="1094"/>
                        </a:lnTo>
                        <a:lnTo>
                          <a:pt x="345" y="1093"/>
                        </a:lnTo>
                        <a:lnTo>
                          <a:pt x="343" y="1093"/>
                        </a:lnTo>
                        <a:lnTo>
                          <a:pt x="343" y="1093"/>
                        </a:lnTo>
                        <a:lnTo>
                          <a:pt x="343" y="1093"/>
                        </a:lnTo>
                        <a:close/>
                        <a:moveTo>
                          <a:pt x="340" y="1084"/>
                        </a:moveTo>
                        <a:lnTo>
                          <a:pt x="340" y="1086"/>
                        </a:lnTo>
                        <a:lnTo>
                          <a:pt x="343" y="1088"/>
                        </a:lnTo>
                        <a:lnTo>
                          <a:pt x="345" y="1088"/>
                        </a:lnTo>
                        <a:lnTo>
                          <a:pt x="350" y="1088"/>
                        </a:lnTo>
                        <a:lnTo>
                          <a:pt x="350" y="1086"/>
                        </a:lnTo>
                        <a:lnTo>
                          <a:pt x="348" y="1084"/>
                        </a:lnTo>
                        <a:lnTo>
                          <a:pt x="343" y="1084"/>
                        </a:lnTo>
                        <a:lnTo>
                          <a:pt x="342" y="1083"/>
                        </a:lnTo>
                        <a:lnTo>
                          <a:pt x="340" y="1084"/>
                        </a:lnTo>
                        <a:lnTo>
                          <a:pt x="340" y="1084"/>
                        </a:lnTo>
                        <a:close/>
                        <a:moveTo>
                          <a:pt x="360" y="1081"/>
                        </a:moveTo>
                        <a:lnTo>
                          <a:pt x="362" y="1079"/>
                        </a:lnTo>
                        <a:lnTo>
                          <a:pt x="362" y="1076"/>
                        </a:lnTo>
                        <a:lnTo>
                          <a:pt x="360" y="1078"/>
                        </a:lnTo>
                        <a:lnTo>
                          <a:pt x="360" y="1081"/>
                        </a:lnTo>
                        <a:lnTo>
                          <a:pt x="360" y="1081"/>
                        </a:lnTo>
                        <a:close/>
                        <a:moveTo>
                          <a:pt x="358" y="1055"/>
                        </a:moveTo>
                        <a:lnTo>
                          <a:pt x="358" y="1056"/>
                        </a:lnTo>
                        <a:lnTo>
                          <a:pt x="362" y="1060"/>
                        </a:lnTo>
                        <a:lnTo>
                          <a:pt x="367" y="1061"/>
                        </a:lnTo>
                        <a:lnTo>
                          <a:pt x="367" y="1063"/>
                        </a:lnTo>
                        <a:lnTo>
                          <a:pt x="368" y="1061"/>
                        </a:lnTo>
                        <a:lnTo>
                          <a:pt x="367" y="1060"/>
                        </a:lnTo>
                        <a:lnTo>
                          <a:pt x="362" y="1056"/>
                        </a:lnTo>
                        <a:lnTo>
                          <a:pt x="360" y="1055"/>
                        </a:lnTo>
                        <a:lnTo>
                          <a:pt x="358" y="1055"/>
                        </a:lnTo>
                        <a:lnTo>
                          <a:pt x="358" y="1055"/>
                        </a:lnTo>
                        <a:close/>
                        <a:moveTo>
                          <a:pt x="388" y="1005"/>
                        </a:moveTo>
                        <a:lnTo>
                          <a:pt x="390" y="1008"/>
                        </a:lnTo>
                        <a:lnTo>
                          <a:pt x="392" y="1011"/>
                        </a:lnTo>
                        <a:lnTo>
                          <a:pt x="392" y="1016"/>
                        </a:lnTo>
                        <a:lnTo>
                          <a:pt x="393" y="1020"/>
                        </a:lnTo>
                        <a:lnTo>
                          <a:pt x="395" y="1020"/>
                        </a:lnTo>
                        <a:lnTo>
                          <a:pt x="395" y="1015"/>
                        </a:lnTo>
                        <a:lnTo>
                          <a:pt x="395" y="1011"/>
                        </a:lnTo>
                        <a:lnTo>
                          <a:pt x="393" y="1008"/>
                        </a:lnTo>
                        <a:lnTo>
                          <a:pt x="392" y="1005"/>
                        </a:lnTo>
                        <a:lnTo>
                          <a:pt x="390" y="1003"/>
                        </a:lnTo>
                        <a:lnTo>
                          <a:pt x="388" y="1005"/>
                        </a:lnTo>
                        <a:lnTo>
                          <a:pt x="388" y="1005"/>
                        </a:lnTo>
                        <a:close/>
                        <a:moveTo>
                          <a:pt x="412" y="991"/>
                        </a:moveTo>
                        <a:lnTo>
                          <a:pt x="412" y="993"/>
                        </a:lnTo>
                        <a:lnTo>
                          <a:pt x="415" y="995"/>
                        </a:lnTo>
                        <a:lnTo>
                          <a:pt x="415" y="993"/>
                        </a:lnTo>
                        <a:lnTo>
                          <a:pt x="413" y="991"/>
                        </a:lnTo>
                        <a:lnTo>
                          <a:pt x="412" y="991"/>
                        </a:lnTo>
                        <a:lnTo>
                          <a:pt x="412" y="991"/>
                        </a:lnTo>
                        <a:close/>
                        <a:moveTo>
                          <a:pt x="418" y="986"/>
                        </a:moveTo>
                        <a:lnTo>
                          <a:pt x="420" y="988"/>
                        </a:lnTo>
                        <a:lnTo>
                          <a:pt x="420" y="986"/>
                        </a:lnTo>
                        <a:lnTo>
                          <a:pt x="418" y="985"/>
                        </a:lnTo>
                        <a:lnTo>
                          <a:pt x="418" y="986"/>
                        </a:lnTo>
                        <a:lnTo>
                          <a:pt x="418" y="986"/>
                        </a:lnTo>
                        <a:close/>
                        <a:moveTo>
                          <a:pt x="456" y="983"/>
                        </a:moveTo>
                        <a:lnTo>
                          <a:pt x="460" y="981"/>
                        </a:lnTo>
                        <a:lnTo>
                          <a:pt x="463" y="981"/>
                        </a:lnTo>
                        <a:lnTo>
                          <a:pt x="465" y="978"/>
                        </a:lnTo>
                        <a:lnTo>
                          <a:pt x="461" y="973"/>
                        </a:lnTo>
                        <a:lnTo>
                          <a:pt x="460" y="973"/>
                        </a:lnTo>
                        <a:lnTo>
                          <a:pt x="458" y="970"/>
                        </a:lnTo>
                        <a:lnTo>
                          <a:pt x="455" y="971"/>
                        </a:lnTo>
                        <a:lnTo>
                          <a:pt x="451" y="973"/>
                        </a:lnTo>
                        <a:lnTo>
                          <a:pt x="451" y="976"/>
                        </a:lnTo>
                        <a:lnTo>
                          <a:pt x="451" y="978"/>
                        </a:lnTo>
                        <a:lnTo>
                          <a:pt x="453" y="981"/>
                        </a:lnTo>
                        <a:lnTo>
                          <a:pt x="455" y="983"/>
                        </a:lnTo>
                        <a:lnTo>
                          <a:pt x="456" y="983"/>
                        </a:lnTo>
                        <a:lnTo>
                          <a:pt x="456" y="983"/>
                        </a:lnTo>
                        <a:close/>
                        <a:moveTo>
                          <a:pt x="471" y="981"/>
                        </a:moveTo>
                        <a:lnTo>
                          <a:pt x="471" y="978"/>
                        </a:lnTo>
                        <a:lnTo>
                          <a:pt x="471" y="976"/>
                        </a:lnTo>
                        <a:lnTo>
                          <a:pt x="470" y="978"/>
                        </a:lnTo>
                        <a:lnTo>
                          <a:pt x="470" y="980"/>
                        </a:lnTo>
                        <a:lnTo>
                          <a:pt x="471" y="981"/>
                        </a:lnTo>
                        <a:lnTo>
                          <a:pt x="471" y="981"/>
                        </a:lnTo>
                        <a:lnTo>
                          <a:pt x="471" y="981"/>
                        </a:lnTo>
                        <a:close/>
                        <a:moveTo>
                          <a:pt x="759" y="837"/>
                        </a:moveTo>
                        <a:lnTo>
                          <a:pt x="760" y="837"/>
                        </a:lnTo>
                        <a:lnTo>
                          <a:pt x="762" y="835"/>
                        </a:lnTo>
                        <a:lnTo>
                          <a:pt x="762" y="834"/>
                        </a:lnTo>
                        <a:lnTo>
                          <a:pt x="759" y="834"/>
                        </a:lnTo>
                        <a:lnTo>
                          <a:pt x="759" y="837"/>
                        </a:lnTo>
                        <a:lnTo>
                          <a:pt x="759" y="837"/>
                        </a:lnTo>
                        <a:close/>
                        <a:moveTo>
                          <a:pt x="707" y="799"/>
                        </a:moveTo>
                        <a:lnTo>
                          <a:pt x="711" y="800"/>
                        </a:lnTo>
                        <a:lnTo>
                          <a:pt x="714" y="799"/>
                        </a:lnTo>
                        <a:lnTo>
                          <a:pt x="714" y="797"/>
                        </a:lnTo>
                        <a:lnTo>
                          <a:pt x="709" y="797"/>
                        </a:lnTo>
                        <a:lnTo>
                          <a:pt x="709" y="797"/>
                        </a:lnTo>
                        <a:lnTo>
                          <a:pt x="707" y="799"/>
                        </a:lnTo>
                        <a:lnTo>
                          <a:pt x="707" y="799"/>
                        </a:lnTo>
                        <a:close/>
                        <a:moveTo>
                          <a:pt x="686" y="780"/>
                        </a:moveTo>
                        <a:lnTo>
                          <a:pt x="687" y="782"/>
                        </a:lnTo>
                        <a:lnTo>
                          <a:pt x="691" y="780"/>
                        </a:lnTo>
                        <a:lnTo>
                          <a:pt x="692" y="779"/>
                        </a:lnTo>
                        <a:lnTo>
                          <a:pt x="689" y="779"/>
                        </a:lnTo>
                        <a:lnTo>
                          <a:pt x="686" y="780"/>
                        </a:lnTo>
                        <a:lnTo>
                          <a:pt x="686" y="780"/>
                        </a:lnTo>
                        <a:close/>
                        <a:moveTo>
                          <a:pt x="730" y="770"/>
                        </a:moveTo>
                        <a:lnTo>
                          <a:pt x="729" y="772"/>
                        </a:lnTo>
                        <a:lnTo>
                          <a:pt x="732" y="774"/>
                        </a:lnTo>
                        <a:lnTo>
                          <a:pt x="732" y="772"/>
                        </a:lnTo>
                        <a:lnTo>
                          <a:pt x="732" y="770"/>
                        </a:lnTo>
                        <a:lnTo>
                          <a:pt x="730" y="769"/>
                        </a:lnTo>
                        <a:lnTo>
                          <a:pt x="730" y="770"/>
                        </a:lnTo>
                        <a:lnTo>
                          <a:pt x="730" y="770"/>
                        </a:lnTo>
                        <a:close/>
                        <a:moveTo>
                          <a:pt x="759" y="687"/>
                        </a:moveTo>
                        <a:lnTo>
                          <a:pt x="759" y="689"/>
                        </a:lnTo>
                        <a:lnTo>
                          <a:pt x="760" y="691"/>
                        </a:lnTo>
                        <a:lnTo>
                          <a:pt x="760" y="694"/>
                        </a:lnTo>
                        <a:lnTo>
                          <a:pt x="764" y="699"/>
                        </a:lnTo>
                        <a:lnTo>
                          <a:pt x="765" y="704"/>
                        </a:lnTo>
                        <a:lnTo>
                          <a:pt x="772" y="706"/>
                        </a:lnTo>
                        <a:lnTo>
                          <a:pt x="777" y="711"/>
                        </a:lnTo>
                        <a:lnTo>
                          <a:pt x="780" y="714"/>
                        </a:lnTo>
                        <a:lnTo>
                          <a:pt x="785" y="717"/>
                        </a:lnTo>
                        <a:lnTo>
                          <a:pt x="787" y="717"/>
                        </a:lnTo>
                        <a:lnTo>
                          <a:pt x="789" y="719"/>
                        </a:lnTo>
                        <a:lnTo>
                          <a:pt x="794" y="721"/>
                        </a:lnTo>
                        <a:lnTo>
                          <a:pt x="795" y="719"/>
                        </a:lnTo>
                        <a:lnTo>
                          <a:pt x="795" y="717"/>
                        </a:lnTo>
                        <a:lnTo>
                          <a:pt x="797" y="716"/>
                        </a:lnTo>
                        <a:lnTo>
                          <a:pt x="794" y="711"/>
                        </a:lnTo>
                        <a:lnTo>
                          <a:pt x="789" y="709"/>
                        </a:lnTo>
                        <a:lnTo>
                          <a:pt x="787" y="709"/>
                        </a:lnTo>
                        <a:lnTo>
                          <a:pt x="785" y="706"/>
                        </a:lnTo>
                        <a:lnTo>
                          <a:pt x="785" y="704"/>
                        </a:lnTo>
                        <a:lnTo>
                          <a:pt x="787" y="702"/>
                        </a:lnTo>
                        <a:lnTo>
                          <a:pt x="790" y="704"/>
                        </a:lnTo>
                        <a:lnTo>
                          <a:pt x="794" y="706"/>
                        </a:lnTo>
                        <a:lnTo>
                          <a:pt x="799" y="707"/>
                        </a:lnTo>
                        <a:lnTo>
                          <a:pt x="800" y="707"/>
                        </a:lnTo>
                        <a:lnTo>
                          <a:pt x="802" y="707"/>
                        </a:lnTo>
                        <a:lnTo>
                          <a:pt x="800" y="702"/>
                        </a:lnTo>
                        <a:lnTo>
                          <a:pt x="789" y="697"/>
                        </a:lnTo>
                        <a:lnTo>
                          <a:pt x="785" y="691"/>
                        </a:lnTo>
                        <a:lnTo>
                          <a:pt x="782" y="691"/>
                        </a:lnTo>
                        <a:lnTo>
                          <a:pt x="779" y="691"/>
                        </a:lnTo>
                        <a:lnTo>
                          <a:pt x="772" y="687"/>
                        </a:lnTo>
                        <a:lnTo>
                          <a:pt x="769" y="687"/>
                        </a:lnTo>
                        <a:lnTo>
                          <a:pt x="765" y="686"/>
                        </a:lnTo>
                        <a:lnTo>
                          <a:pt x="760" y="686"/>
                        </a:lnTo>
                        <a:lnTo>
                          <a:pt x="759" y="687"/>
                        </a:lnTo>
                        <a:lnTo>
                          <a:pt x="759" y="687"/>
                        </a:lnTo>
                        <a:close/>
                        <a:moveTo>
                          <a:pt x="749" y="689"/>
                        </a:moveTo>
                        <a:lnTo>
                          <a:pt x="750" y="687"/>
                        </a:lnTo>
                        <a:lnTo>
                          <a:pt x="750" y="686"/>
                        </a:lnTo>
                        <a:lnTo>
                          <a:pt x="752" y="682"/>
                        </a:lnTo>
                        <a:lnTo>
                          <a:pt x="745" y="684"/>
                        </a:lnTo>
                        <a:lnTo>
                          <a:pt x="745" y="687"/>
                        </a:lnTo>
                        <a:lnTo>
                          <a:pt x="749" y="689"/>
                        </a:lnTo>
                        <a:lnTo>
                          <a:pt x="749" y="689"/>
                        </a:lnTo>
                        <a:close/>
                        <a:moveTo>
                          <a:pt x="759" y="681"/>
                        </a:moveTo>
                        <a:lnTo>
                          <a:pt x="762" y="682"/>
                        </a:lnTo>
                        <a:lnTo>
                          <a:pt x="769" y="684"/>
                        </a:lnTo>
                        <a:lnTo>
                          <a:pt x="774" y="686"/>
                        </a:lnTo>
                        <a:lnTo>
                          <a:pt x="780" y="687"/>
                        </a:lnTo>
                        <a:lnTo>
                          <a:pt x="785" y="689"/>
                        </a:lnTo>
                        <a:lnTo>
                          <a:pt x="789" y="689"/>
                        </a:lnTo>
                        <a:lnTo>
                          <a:pt x="790" y="689"/>
                        </a:lnTo>
                        <a:lnTo>
                          <a:pt x="790" y="692"/>
                        </a:lnTo>
                        <a:lnTo>
                          <a:pt x="794" y="694"/>
                        </a:lnTo>
                        <a:lnTo>
                          <a:pt x="799" y="694"/>
                        </a:lnTo>
                        <a:lnTo>
                          <a:pt x="800" y="696"/>
                        </a:lnTo>
                        <a:lnTo>
                          <a:pt x="804" y="694"/>
                        </a:lnTo>
                        <a:lnTo>
                          <a:pt x="805" y="692"/>
                        </a:lnTo>
                        <a:lnTo>
                          <a:pt x="804" y="689"/>
                        </a:lnTo>
                        <a:lnTo>
                          <a:pt x="804" y="687"/>
                        </a:lnTo>
                        <a:lnTo>
                          <a:pt x="807" y="686"/>
                        </a:lnTo>
                        <a:lnTo>
                          <a:pt x="800" y="682"/>
                        </a:lnTo>
                        <a:lnTo>
                          <a:pt x="797" y="681"/>
                        </a:lnTo>
                        <a:lnTo>
                          <a:pt x="790" y="677"/>
                        </a:lnTo>
                        <a:lnTo>
                          <a:pt x="785" y="677"/>
                        </a:lnTo>
                        <a:lnTo>
                          <a:pt x="777" y="681"/>
                        </a:lnTo>
                        <a:lnTo>
                          <a:pt x="772" y="679"/>
                        </a:lnTo>
                        <a:lnTo>
                          <a:pt x="764" y="679"/>
                        </a:lnTo>
                        <a:lnTo>
                          <a:pt x="760" y="679"/>
                        </a:lnTo>
                        <a:lnTo>
                          <a:pt x="760" y="679"/>
                        </a:lnTo>
                        <a:lnTo>
                          <a:pt x="759" y="681"/>
                        </a:lnTo>
                        <a:lnTo>
                          <a:pt x="759" y="681"/>
                        </a:lnTo>
                        <a:close/>
                        <a:moveTo>
                          <a:pt x="739" y="666"/>
                        </a:moveTo>
                        <a:lnTo>
                          <a:pt x="742" y="669"/>
                        </a:lnTo>
                        <a:lnTo>
                          <a:pt x="749" y="669"/>
                        </a:lnTo>
                        <a:lnTo>
                          <a:pt x="754" y="674"/>
                        </a:lnTo>
                        <a:lnTo>
                          <a:pt x="760" y="677"/>
                        </a:lnTo>
                        <a:lnTo>
                          <a:pt x="770" y="676"/>
                        </a:lnTo>
                        <a:lnTo>
                          <a:pt x="784" y="677"/>
                        </a:lnTo>
                        <a:lnTo>
                          <a:pt x="790" y="676"/>
                        </a:lnTo>
                        <a:lnTo>
                          <a:pt x="790" y="674"/>
                        </a:lnTo>
                        <a:lnTo>
                          <a:pt x="785" y="672"/>
                        </a:lnTo>
                        <a:lnTo>
                          <a:pt x="774" y="672"/>
                        </a:lnTo>
                        <a:lnTo>
                          <a:pt x="769" y="671"/>
                        </a:lnTo>
                        <a:lnTo>
                          <a:pt x="762" y="669"/>
                        </a:lnTo>
                        <a:lnTo>
                          <a:pt x="757" y="668"/>
                        </a:lnTo>
                        <a:lnTo>
                          <a:pt x="755" y="666"/>
                        </a:lnTo>
                        <a:lnTo>
                          <a:pt x="757" y="664"/>
                        </a:lnTo>
                        <a:lnTo>
                          <a:pt x="760" y="664"/>
                        </a:lnTo>
                        <a:lnTo>
                          <a:pt x="767" y="669"/>
                        </a:lnTo>
                        <a:lnTo>
                          <a:pt x="777" y="671"/>
                        </a:lnTo>
                        <a:lnTo>
                          <a:pt x="779" y="669"/>
                        </a:lnTo>
                        <a:lnTo>
                          <a:pt x="777" y="668"/>
                        </a:lnTo>
                        <a:lnTo>
                          <a:pt x="767" y="661"/>
                        </a:lnTo>
                        <a:lnTo>
                          <a:pt x="752" y="658"/>
                        </a:lnTo>
                        <a:lnTo>
                          <a:pt x="749" y="659"/>
                        </a:lnTo>
                        <a:lnTo>
                          <a:pt x="749" y="663"/>
                        </a:lnTo>
                        <a:lnTo>
                          <a:pt x="742" y="664"/>
                        </a:lnTo>
                        <a:lnTo>
                          <a:pt x="739" y="666"/>
                        </a:lnTo>
                        <a:lnTo>
                          <a:pt x="739" y="666"/>
                        </a:lnTo>
                        <a:close/>
                        <a:moveTo>
                          <a:pt x="813" y="677"/>
                        </a:moveTo>
                        <a:lnTo>
                          <a:pt x="815" y="677"/>
                        </a:lnTo>
                        <a:lnTo>
                          <a:pt x="818" y="677"/>
                        </a:lnTo>
                        <a:lnTo>
                          <a:pt x="818" y="674"/>
                        </a:lnTo>
                        <a:lnTo>
                          <a:pt x="815" y="676"/>
                        </a:lnTo>
                        <a:lnTo>
                          <a:pt x="813" y="677"/>
                        </a:lnTo>
                        <a:lnTo>
                          <a:pt x="813" y="677"/>
                        </a:lnTo>
                        <a:close/>
                        <a:moveTo>
                          <a:pt x="818" y="611"/>
                        </a:moveTo>
                        <a:lnTo>
                          <a:pt x="813" y="618"/>
                        </a:lnTo>
                        <a:lnTo>
                          <a:pt x="813" y="621"/>
                        </a:lnTo>
                        <a:lnTo>
                          <a:pt x="817" y="623"/>
                        </a:lnTo>
                        <a:lnTo>
                          <a:pt x="820" y="624"/>
                        </a:lnTo>
                        <a:lnTo>
                          <a:pt x="825" y="628"/>
                        </a:lnTo>
                        <a:lnTo>
                          <a:pt x="828" y="628"/>
                        </a:lnTo>
                        <a:lnTo>
                          <a:pt x="833" y="629"/>
                        </a:lnTo>
                        <a:lnTo>
                          <a:pt x="838" y="626"/>
                        </a:lnTo>
                        <a:lnTo>
                          <a:pt x="838" y="623"/>
                        </a:lnTo>
                        <a:lnTo>
                          <a:pt x="840" y="619"/>
                        </a:lnTo>
                        <a:lnTo>
                          <a:pt x="840" y="614"/>
                        </a:lnTo>
                        <a:lnTo>
                          <a:pt x="830" y="609"/>
                        </a:lnTo>
                        <a:lnTo>
                          <a:pt x="823" y="611"/>
                        </a:lnTo>
                        <a:lnTo>
                          <a:pt x="818" y="611"/>
                        </a:lnTo>
                        <a:lnTo>
                          <a:pt x="818" y="611"/>
                        </a:lnTo>
                        <a:close/>
                        <a:moveTo>
                          <a:pt x="863" y="608"/>
                        </a:moveTo>
                        <a:lnTo>
                          <a:pt x="865" y="608"/>
                        </a:lnTo>
                        <a:lnTo>
                          <a:pt x="870" y="604"/>
                        </a:lnTo>
                        <a:lnTo>
                          <a:pt x="868" y="603"/>
                        </a:lnTo>
                        <a:lnTo>
                          <a:pt x="867" y="603"/>
                        </a:lnTo>
                        <a:lnTo>
                          <a:pt x="863" y="604"/>
                        </a:lnTo>
                        <a:lnTo>
                          <a:pt x="863" y="608"/>
                        </a:lnTo>
                        <a:lnTo>
                          <a:pt x="863" y="608"/>
                        </a:lnTo>
                        <a:close/>
                        <a:moveTo>
                          <a:pt x="843" y="583"/>
                        </a:moveTo>
                        <a:lnTo>
                          <a:pt x="842" y="586"/>
                        </a:lnTo>
                        <a:lnTo>
                          <a:pt x="842" y="591"/>
                        </a:lnTo>
                        <a:lnTo>
                          <a:pt x="843" y="594"/>
                        </a:lnTo>
                        <a:lnTo>
                          <a:pt x="847" y="598"/>
                        </a:lnTo>
                        <a:lnTo>
                          <a:pt x="848" y="596"/>
                        </a:lnTo>
                        <a:lnTo>
                          <a:pt x="850" y="593"/>
                        </a:lnTo>
                        <a:lnTo>
                          <a:pt x="852" y="591"/>
                        </a:lnTo>
                        <a:lnTo>
                          <a:pt x="850" y="586"/>
                        </a:lnTo>
                        <a:lnTo>
                          <a:pt x="847" y="584"/>
                        </a:lnTo>
                        <a:lnTo>
                          <a:pt x="843" y="583"/>
                        </a:lnTo>
                        <a:lnTo>
                          <a:pt x="843" y="583"/>
                        </a:lnTo>
                        <a:close/>
                        <a:moveTo>
                          <a:pt x="873" y="566"/>
                        </a:moveTo>
                        <a:lnTo>
                          <a:pt x="873" y="576"/>
                        </a:lnTo>
                        <a:lnTo>
                          <a:pt x="872" y="581"/>
                        </a:lnTo>
                        <a:lnTo>
                          <a:pt x="873" y="584"/>
                        </a:lnTo>
                        <a:lnTo>
                          <a:pt x="877" y="588"/>
                        </a:lnTo>
                        <a:lnTo>
                          <a:pt x="882" y="586"/>
                        </a:lnTo>
                        <a:lnTo>
                          <a:pt x="887" y="586"/>
                        </a:lnTo>
                        <a:lnTo>
                          <a:pt x="888" y="584"/>
                        </a:lnTo>
                        <a:lnTo>
                          <a:pt x="890" y="588"/>
                        </a:lnTo>
                        <a:lnTo>
                          <a:pt x="893" y="589"/>
                        </a:lnTo>
                        <a:lnTo>
                          <a:pt x="895" y="584"/>
                        </a:lnTo>
                        <a:lnTo>
                          <a:pt x="897" y="584"/>
                        </a:lnTo>
                        <a:lnTo>
                          <a:pt x="897" y="578"/>
                        </a:lnTo>
                        <a:lnTo>
                          <a:pt x="895" y="576"/>
                        </a:lnTo>
                        <a:lnTo>
                          <a:pt x="893" y="578"/>
                        </a:lnTo>
                        <a:lnTo>
                          <a:pt x="893" y="581"/>
                        </a:lnTo>
                        <a:lnTo>
                          <a:pt x="890" y="579"/>
                        </a:lnTo>
                        <a:lnTo>
                          <a:pt x="887" y="574"/>
                        </a:lnTo>
                        <a:lnTo>
                          <a:pt x="888" y="573"/>
                        </a:lnTo>
                        <a:lnTo>
                          <a:pt x="885" y="570"/>
                        </a:lnTo>
                        <a:lnTo>
                          <a:pt x="887" y="568"/>
                        </a:lnTo>
                        <a:lnTo>
                          <a:pt x="888" y="568"/>
                        </a:lnTo>
                        <a:lnTo>
                          <a:pt x="890" y="563"/>
                        </a:lnTo>
                        <a:lnTo>
                          <a:pt x="887" y="563"/>
                        </a:lnTo>
                        <a:lnTo>
                          <a:pt x="882" y="566"/>
                        </a:lnTo>
                        <a:lnTo>
                          <a:pt x="878" y="565"/>
                        </a:lnTo>
                        <a:lnTo>
                          <a:pt x="877" y="566"/>
                        </a:lnTo>
                        <a:lnTo>
                          <a:pt x="873" y="566"/>
                        </a:lnTo>
                        <a:lnTo>
                          <a:pt x="873" y="566"/>
                        </a:lnTo>
                        <a:close/>
                        <a:moveTo>
                          <a:pt x="878" y="496"/>
                        </a:moveTo>
                        <a:lnTo>
                          <a:pt x="875" y="500"/>
                        </a:lnTo>
                        <a:lnTo>
                          <a:pt x="875" y="501"/>
                        </a:lnTo>
                        <a:lnTo>
                          <a:pt x="878" y="503"/>
                        </a:lnTo>
                        <a:lnTo>
                          <a:pt x="878" y="506"/>
                        </a:lnTo>
                        <a:lnTo>
                          <a:pt x="877" y="508"/>
                        </a:lnTo>
                        <a:lnTo>
                          <a:pt x="877" y="513"/>
                        </a:lnTo>
                        <a:lnTo>
                          <a:pt x="880" y="518"/>
                        </a:lnTo>
                        <a:lnTo>
                          <a:pt x="880" y="526"/>
                        </a:lnTo>
                        <a:lnTo>
                          <a:pt x="878" y="530"/>
                        </a:lnTo>
                        <a:lnTo>
                          <a:pt x="878" y="535"/>
                        </a:lnTo>
                        <a:lnTo>
                          <a:pt x="880" y="536"/>
                        </a:lnTo>
                        <a:lnTo>
                          <a:pt x="882" y="535"/>
                        </a:lnTo>
                        <a:lnTo>
                          <a:pt x="883" y="528"/>
                        </a:lnTo>
                        <a:lnTo>
                          <a:pt x="885" y="526"/>
                        </a:lnTo>
                        <a:lnTo>
                          <a:pt x="885" y="520"/>
                        </a:lnTo>
                        <a:lnTo>
                          <a:pt x="882" y="516"/>
                        </a:lnTo>
                        <a:lnTo>
                          <a:pt x="880" y="508"/>
                        </a:lnTo>
                        <a:lnTo>
                          <a:pt x="882" y="503"/>
                        </a:lnTo>
                        <a:lnTo>
                          <a:pt x="882" y="500"/>
                        </a:lnTo>
                        <a:lnTo>
                          <a:pt x="878" y="496"/>
                        </a:lnTo>
                        <a:lnTo>
                          <a:pt x="878" y="496"/>
                        </a:lnTo>
                        <a:close/>
                        <a:moveTo>
                          <a:pt x="843" y="508"/>
                        </a:moveTo>
                        <a:lnTo>
                          <a:pt x="842" y="511"/>
                        </a:lnTo>
                        <a:lnTo>
                          <a:pt x="843" y="511"/>
                        </a:lnTo>
                        <a:lnTo>
                          <a:pt x="848" y="511"/>
                        </a:lnTo>
                        <a:lnTo>
                          <a:pt x="850" y="510"/>
                        </a:lnTo>
                        <a:lnTo>
                          <a:pt x="848" y="506"/>
                        </a:lnTo>
                        <a:lnTo>
                          <a:pt x="845" y="506"/>
                        </a:lnTo>
                        <a:lnTo>
                          <a:pt x="843" y="508"/>
                        </a:lnTo>
                        <a:lnTo>
                          <a:pt x="843" y="508"/>
                        </a:lnTo>
                        <a:close/>
                        <a:moveTo>
                          <a:pt x="837" y="500"/>
                        </a:moveTo>
                        <a:lnTo>
                          <a:pt x="838" y="503"/>
                        </a:lnTo>
                        <a:lnTo>
                          <a:pt x="842" y="503"/>
                        </a:lnTo>
                        <a:lnTo>
                          <a:pt x="840" y="500"/>
                        </a:lnTo>
                        <a:lnTo>
                          <a:pt x="838" y="500"/>
                        </a:lnTo>
                        <a:lnTo>
                          <a:pt x="837" y="500"/>
                        </a:lnTo>
                        <a:lnTo>
                          <a:pt x="837" y="500"/>
                        </a:lnTo>
                        <a:close/>
                        <a:moveTo>
                          <a:pt x="868" y="428"/>
                        </a:moveTo>
                        <a:lnTo>
                          <a:pt x="872" y="433"/>
                        </a:lnTo>
                        <a:lnTo>
                          <a:pt x="875" y="435"/>
                        </a:lnTo>
                        <a:lnTo>
                          <a:pt x="878" y="437"/>
                        </a:lnTo>
                        <a:lnTo>
                          <a:pt x="878" y="433"/>
                        </a:lnTo>
                        <a:lnTo>
                          <a:pt x="875" y="432"/>
                        </a:lnTo>
                        <a:lnTo>
                          <a:pt x="872" y="427"/>
                        </a:lnTo>
                        <a:lnTo>
                          <a:pt x="868" y="427"/>
                        </a:lnTo>
                        <a:lnTo>
                          <a:pt x="868" y="428"/>
                        </a:lnTo>
                        <a:lnTo>
                          <a:pt x="868" y="428"/>
                        </a:lnTo>
                        <a:close/>
                        <a:moveTo>
                          <a:pt x="898" y="445"/>
                        </a:moveTo>
                        <a:lnTo>
                          <a:pt x="898" y="445"/>
                        </a:lnTo>
                        <a:lnTo>
                          <a:pt x="900" y="448"/>
                        </a:lnTo>
                        <a:lnTo>
                          <a:pt x="903" y="448"/>
                        </a:lnTo>
                        <a:lnTo>
                          <a:pt x="905" y="445"/>
                        </a:lnTo>
                        <a:lnTo>
                          <a:pt x="903" y="443"/>
                        </a:lnTo>
                        <a:lnTo>
                          <a:pt x="905" y="438"/>
                        </a:lnTo>
                        <a:lnTo>
                          <a:pt x="907" y="437"/>
                        </a:lnTo>
                        <a:lnTo>
                          <a:pt x="907" y="432"/>
                        </a:lnTo>
                        <a:lnTo>
                          <a:pt x="902" y="437"/>
                        </a:lnTo>
                        <a:lnTo>
                          <a:pt x="902" y="442"/>
                        </a:lnTo>
                        <a:lnTo>
                          <a:pt x="898" y="445"/>
                        </a:lnTo>
                        <a:lnTo>
                          <a:pt x="898" y="445"/>
                        </a:lnTo>
                        <a:close/>
                        <a:moveTo>
                          <a:pt x="885" y="420"/>
                        </a:moveTo>
                        <a:lnTo>
                          <a:pt x="887" y="422"/>
                        </a:lnTo>
                        <a:lnTo>
                          <a:pt x="888" y="420"/>
                        </a:lnTo>
                        <a:lnTo>
                          <a:pt x="890" y="415"/>
                        </a:lnTo>
                        <a:lnTo>
                          <a:pt x="888" y="413"/>
                        </a:lnTo>
                        <a:lnTo>
                          <a:pt x="888" y="415"/>
                        </a:lnTo>
                        <a:lnTo>
                          <a:pt x="885" y="420"/>
                        </a:lnTo>
                        <a:lnTo>
                          <a:pt x="885" y="420"/>
                        </a:lnTo>
                        <a:close/>
                        <a:moveTo>
                          <a:pt x="888" y="405"/>
                        </a:moveTo>
                        <a:lnTo>
                          <a:pt x="887" y="407"/>
                        </a:lnTo>
                        <a:lnTo>
                          <a:pt x="888" y="407"/>
                        </a:lnTo>
                        <a:lnTo>
                          <a:pt x="890" y="407"/>
                        </a:lnTo>
                        <a:lnTo>
                          <a:pt x="890" y="405"/>
                        </a:lnTo>
                        <a:lnTo>
                          <a:pt x="888" y="405"/>
                        </a:lnTo>
                        <a:lnTo>
                          <a:pt x="888" y="405"/>
                        </a:lnTo>
                        <a:close/>
                        <a:moveTo>
                          <a:pt x="908" y="357"/>
                        </a:moveTo>
                        <a:lnTo>
                          <a:pt x="911" y="362"/>
                        </a:lnTo>
                        <a:lnTo>
                          <a:pt x="911" y="364"/>
                        </a:lnTo>
                        <a:lnTo>
                          <a:pt x="915" y="360"/>
                        </a:lnTo>
                        <a:lnTo>
                          <a:pt x="918" y="355"/>
                        </a:lnTo>
                        <a:lnTo>
                          <a:pt x="916" y="350"/>
                        </a:lnTo>
                        <a:lnTo>
                          <a:pt x="918" y="347"/>
                        </a:lnTo>
                        <a:lnTo>
                          <a:pt x="916" y="345"/>
                        </a:lnTo>
                        <a:lnTo>
                          <a:pt x="913" y="347"/>
                        </a:lnTo>
                        <a:lnTo>
                          <a:pt x="911" y="352"/>
                        </a:lnTo>
                        <a:lnTo>
                          <a:pt x="908" y="357"/>
                        </a:lnTo>
                        <a:lnTo>
                          <a:pt x="908" y="357"/>
                        </a:lnTo>
                        <a:close/>
                        <a:moveTo>
                          <a:pt x="895" y="294"/>
                        </a:moveTo>
                        <a:lnTo>
                          <a:pt x="897" y="294"/>
                        </a:lnTo>
                        <a:lnTo>
                          <a:pt x="898" y="292"/>
                        </a:lnTo>
                        <a:lnTo>
                          <a:pt x="905" y="292"/>
                        </a:lnTo>
                        <a:lnTo>
                          <a:pt x="908" y="289"/>
                        </a:lnTo>
                        <a:lnTo>
                          <a:pt x="908" y="284"/>
                        </a:lnTo>
                        <a:lnTo>
                          <a:pt x="905" y="280"/>
                        </a:lnTo>
                        <a:lnTo>
                          <a:pt x="897" y="284"/>
                        </a:lnTo>
                        <a:lnTo>
                          <a:pt x="895" y="289"/>
                        </a:lnTo>
                        <a:lnTo>
                          <a:pt x="895" y="294"/>
                        </a:lnTo>
                        <a:lnTo>
                          <a:pt x="895" y="294"/>
                        </a:lnTo>
                        <a:close/>
                        <a:moveTo>
                          <a:pt x="945" y="173"/>
                        </a:moveTo>
                        <a:lnTo>
                          <a:pt x="946" y="171"/>
                        </a:lnTo>
                        <a:lnTo>
                          <a:pt x="948" y="166"/>
                        </a:lnTo>
                        <a:lnTo>
                          <a:pt x="946" y="159"/>
                        </a:lnTo>
                        <a:lnTo>
                          <a:pt x="948" y="156"/>
                        </a:lnTo>
                        <a:lnTo>
                          <a:pt x="946" y="153"/>
                        </a:lnTo>
                        <a:lnTo>
                          <a:pt x="943" y="154"/>
                        </a:lnTo>
                        <a:lnTo>
                          <a:pt x="943" y="158"/>
                        </a:lnTo>
                        <a:lnTo>
                          <a:pt x="943" y="158"/>
                        </a:lnTo>
                        <a:lnTo>
                          <a:pt x="943" y="163"/>
                        </a:lnTo>
                        <a:lnTo>
                          <a:pt x="941" y="166"/>
                        </a:lnTo>
                        <a:lnTo>
                          <a:pt x="945" y="173"/>
                        </a:lnTo>
                        <a:lnTo>
                          <a:pt x="945" y="173"/>
                        </a:lnTo>
                        <a:close/>
                        <a:moveTo>
                          <a:pt x="930" y="186"/>
                        </a:moveTo>
                        <a:lnTo>
                          <a:pt x="930" y="186"/>
                        </a:lnTo>
                        <a:lnTo>
                          <a:pt x="931" y="187"/>
                        </a:lnTo>
                        <a:lnTo>
                          <a:pt x="933" y="184"/>
                        </a:lnTo>
                        <a:lnTo>
                          <a:pt x="933" y="176"/>
                        </a:lnTo>
                        <a:lnTo>
                          <a:pt x="931" y="174"/>
                        </a:lnTo>
                        <a:lnTo>
                          <a:pt x="928" y="178"/>
                        </a:lnTo>
                        <a:lnTo>
                          <a:pt x="928" y="181"/>
                        </a:lnTo>
                        <a:lnTo>
                          <a:pt x="930" y="186"/>
                        </a:lnTo>
                        <a:lnTo>
                          <a:pt x="930" y="186"/>
                        </a:lnTo>
                        <a:close/>
                        <a:moveTo>
                          <a:pt x="921" y="174"/>
                        </a:moveTo>
                        <a:lnTo>
                          <a:pt x="923" y="176"/>
                        </a:lnTo>
                        <a:lnTo>
                          <a:pt x="926" y="173"/>
                        </a:lnTo>
                        <a:lnTo>
                          <a:pt x="926" y="168"/>
                        </a:lnTo>
                        <a:lnTo>
                          <a:pt x="928" y="166"/>
                        </a:lnTo>
                        <a:lnTo>
                          <a:pt x="928" y="163"/>
                        </a:lnTo>
                        <a:lnTo>
                          <a:pt x="926" y="159"/>
                        </a:lnTo>
                        <a:lnTo>
                          <a:pt x="923" y="161"/>
                        </a:lnTo>
                        <a:lnTo>
                          <a:pt x="920" y="166"/>
                        </a:lnTo>
                        <a:lnTo>
                          <a:pt x="921" y="169"/>
                        </a:lnTo>
                        <a:lnTo>
                          <a:pt x="921" y="174"/>
                        </a:lnTo>
                        <a:lnTo>
                          <a:pt x="921" y="174"/>
                        </a:lnTo>
                        <a:close/>
                        <a:moveTo>
                          <a:pt x="667" y="13"/>
                        </a:moveTo>
                        <a:lnTo>
                          <a:pt x="669" y="13"/>
                        </a:lnTo>
                        <a:lnTo>
                          <a:pt x="671" y="11"/>
                        </a:lnTo>
                        <a:lnTo>
                          <a:pt x="671" y="8"/>
                        </a:lnTo>
                        <a:lnTo>
                          <a:pt x="669" y="5"/>
                        </a:lnTo>
                        <a:lnTo>
                          <a:pt x="667" y="5"/>
                        </a:lnTo>
                        <a:lnTo>
                          <a:pt x="666" y="10"/>
                        </a:lnTo>
                        <a:lnTo>
                          <a:pt x="667" y="13"/>
                        </a:lnTo>
                        <a:lnTo>
                          <a:pt x="667" y="13"/>
                        </a:lnTo>
                        <a:close/>
                        <a:moveTo>
                          <a:pt x="667" y="21"/>
                        </a:moveTo>
                        <a:lnTo>
                          <a:pt x="669" y="21"/>
                        </a:lnTo>
                        <a:lnTo>
                          <a:pt x="672" y="21"/>
                        </a:lnTo>
                        <a:lnTo>
                          <a:pt x="674" y="20"/>
                        </a:lnTo>
                        <a:lnTo>
                          <a:pt x="674" y="15"/>
                        </a:lnTo>
                        <a:lnTo>
                          <a:pt x="672" y="16"/>
                        </a:lnTo>
                        <a:lnTo>
                          <a:pt x="667" y="18"/>
                        </a:lnTo>
                        <a:lnTo>
                          <a:pt x="667" y="21"/>
                        </a:lnTo>
                        <a:lnTo>
                          <a:pt x="667" y="21"/>
                        </a:lnTo>
                        <a:close/>
                        <a:moveTo>
                          <a:pt x="647" y="21"/>
                        </a:moveTo>
                        <a:lnTo>
                          <a:pt x="651" y="26"/>
                        </a:lnTo>
                        <a:lnTo>
                          <a:pt x="652" y="30"/>
                        </a:lnTo>
                        <a:lnTo>
                          <a:pt x="656" y="28"/>
                        </a:lnTo>
                        <a:lnTo>
                          <a:pt x="657" y="26"/>
                        </a:lnTo>
                        <a:lnTo>
                          <a:pt x="661" y="25"/>
                        </a:lnTo>
                        <a:lnTo>
                          <a:pt x="654" y="20"/>
                        </a:lnTo>
                        <a:lnTo>
                          <a:pt x="652" y="16"/>
                        </a:lnTo>
                        <a:lnTo>
                          <a:pt x="651" y="13"/>
                        </a:lnTo>
                        <a:lnTo>
                          <a:pt x="649" y="15"/>
                        </a:lnTo>
                        <a:lnTo>
                          <a:pt x="647" y="18"/>
                        </a:lnTo>
                        <a:lnTo>
                          <a:pt x="646" y="18"/>
                        </a:lnTo>
                        <a:lnTo>
                          <a:pt x="647" y="21"/>
                        </a:lnTo>
                        <a:lnTo>
                          <a:pt x="647" y="21"/>
                        </a:lnTo>
                        <a:close/>
                        <a:moveTo>
                          <a:pt x="636" y="26"/>
                        </a:moveTo>
                        <a:lnTo>
                          <a:pt x="636" y="28"/>
                        </a:lnTo>
                        <a:lnTo>
                          <a:pt x="637" y="30"/>
                        </a:lnTo>
                        <a:lnTo>
                          <a:pt x="639" y="28"/>
                        </a:lnTo>
                        <a:lnTo>
                          <a:pt x="639" y="26"/>
                        </a:lnTo>
                        <a:lnTo>
                          <a:pt x="636" y="25"/>
                        </a:lnTo>
                        <a:lnTo>
                          <a:pt x="636" y="26"/>
                        </a:lnTo>
                        <a:lnTo>
                          <a:pt x="636" y="26"/>
                        </a:lnTo>
                        <a:close/>
                        <a:moveTo>
                          <a:pt x="563" y="43"/>
                        </a:moveTo>
                        <a:lnTo>
                          <a:pt x="564" y="46"/>
                        </a:lnTo>
                        <a:lnTo>
                          <a:pt x="568" y="48"/>
                        </a:lnTo>
                        <a:lnTo>
                          <a:pt x="574" y="55"/>
                        </a:lnTo>
                        <a:lnTo>
                          <a:pt x="578" y="55"/>
                        </a:lnTo>
                        <a:lnTo>
                          <a:pt x="579" y="50"/>
                        </a:lnTo>
                        <a:lnTo>
                          <a:pt x="579" y="45"/>
                        </a:lnTo>
                        <a:lnTo>
                          <a:pt x="581" y="45"/>
                        </a:lnTo>
                        <a:lnTo>
                          <a:pt x="581" y="41"/>
                        </a:lnTo>
                        <a:lnTo>
                          <a:pt x="578" y="41"/>
                        </a:lnTo>
                        <a:lnTo>
                          <a:pt x="573" y="35"/>
                        </a:lnTo>
                        <a:lnTo>
                          <a:pt x="569" y="35"/>
                        </a:lnTo>
                        <a:lnTo>
                          <a:pt x="568" y="36"/>
                        </a:lnTo>
                        <a:lnTo>
                          <a:pt x="569" y="41"/>
                        </a:lnTo>
                        <a:lnTo>
                          <a:pt x="569" y="43"/>
                        </a:lnTo>
                        <a:lnTo>
                          <a:pt x="568" y="45"/>
                        </a:lnTo>
                        <a:lnTo>
                          <a:pt x="566" y="43"/>
                        </a:lnTo>
                        <a:lnTo>
                          <a:pt x="563" y="43"/>
                        </a:lnTo>
                        <a:lnTo>
                          <a:pt x="563" y="43"/>
                        </a:lnTo>
                        <a:close/>
                        <a:moveTo>
                          <a:pt x="558" y="46"/>
                        </a:moveTo>
                        <a:lnTo>
                          <a:pt x="561" y="53"/>
                        </a:lnTo>
                        <a:lnTo>
                          <a:pt x="563" y="53"/>
                        </a:lnTo>
                        <a:lnTo>
                          <a:pt x="563" y="48"/>
                        </a:lnTo>
                        <a:lnTo>
                          <a:pt x="559" y="45"/>
                        </a:lnTo>
                        <a:lnTo>
                          <a:pt x="558" y="46"/>
                        </a:lnTo>
                        <a:lnTo>
                          <a:pt x="558" y="46"/>
                        </a:lnTo>
                        <a:close/>
                        <a:moveTo>
                          <a:pt x="534" y="45"/>
                        </a:moveTo>
                        <a:lnTo>
                          <a:pt x="534" y="48"/>
                        </a:lnTo>
                        <a:lnTo>
                          <a:pt x="541" y="50"/>
                        </a:lnTo>
                        <a:lnTo>
                          <a:pt x="543" y="51"/>
                        </a:lnTo>
                        <a:lnTo>
                          <a:pt x="546" y="51"/>
                        </a:lnTo>
                        <a:lnTo>
                          <a:pt x="546" y="50"/>
                        </a:lnTo>
                        <a:lnTo>
                          <a:pt x="544" y="46"/>
                        </a:lnTo>
                        <a:lnTo>
                          <a:pt x="541" y="46"/>
                        </a:lnTo>
                        <a:lnTo>
                          <a:pt x="541" y="43"/>
                        </a:lnTo>
                        <a:lnTo>
                          <a:pt x="538" y="41"/>
                        </a:lnTo>
                        <a:lnTo>
                          <a:pt x="534" y="43"/>
                        </a:lnTo>
                        <a:lnTo>
                          <a:pt x="534" y="45"/>
                        </a:lnTo>
                        <a:lnTo>
                          <a:pt x="534" y="45"/>
                        </a:lnTo>
                        <a:close/>
                        <a:moveTo>
                          <a:pt x="519" y="86"/>
                        </a:moveTo>
                        <a:lnTo>
                          <a:pt x="523" y="88"/>
                        </a:lnTo>
                        <a:lnTo>
                          <a:pt x="524" y="86"/>
                        </a:lnTo>
                        <a:lnTo>
                          <a:pt x="526" y="83"/>
                        </a:lnTo>
                        <a:lnTo>
                          <a:pt x="523" y="80"/>
                        </a:lnTo>
                        <a:lnTo>
                          <a:pt x="521" y="75"/>
                        </a:lnTo>
                        <a:lnTo>
                          <a:pt x="518" y="71"/>
                        </a:lnTo>
                        <a:lnTo>
                          <a:pt x="516" y="71"/>
                        </a:lnTo>
                        <a:lnTo>
                          <a:pt x="514" y="75"/>
                        </a:lnTo>
                        <a:lnTo>
                          <a:pt x="518" y="78"/>
                        </a:lnTo>
                        <a:lnTo>
                          <a:pt x="518" y="84"/>
                        </a:lnTo>
                        <a:lnTo>
                          <a:pt x="519" y="86"/>
                        </a:lnTo>
                        <a:lnTo>
                          <a:pt x="519" y="86"/>
                        </a:lnTo>
                        <a:close/>
                        <a:moveTo>
                          <a:pt x="526" y="128"/>
                        </a:moveTo>
                        <a:lnTo>
                          <a:pt x="533" y="128"/>
                        </a:lnTo>
                        <a:lnTo>
                          <a:pt x="534" y="126"/>
                        </a:lnTo>
                        <a:lnTo>
                          <a:pt x="534" y="121"/>
                        </a:lnTo>
                        <a:lnTo>
                          <a:pt x="531" y="119"/>
                        </a:lnTo>
                        <a:lnTo>
                          <a:pt x="531" y="116"/>
                        </a:lnTo>
                        <a:lnTo>
                          <a:pt x="528" y="114"/>
                        </a:lnTo>
                        <a:lnTo>
                          <a:pt x="524" y="116"/>
                        </a:lnTo>
                        <a:lnTo>
                          <a:pt x="521" y="119"/>
                        </a:lnTo>
                        <a:lnTo>
                          <a:pt x="523" y="123"/>
                        </a:lnTo>
                        <a:lnTo>
                          <a:pt x="524" y="128"/>
                        </a:lnTo>
                        <a:lnTo>
                          <a:pt x="526" y="128"/>
                        </a:lnTo>
                        <a:lnTo>
                          <a:pt x="526" y="128"/>
                        </a:lnTo>
                        <a:close/>
                        <a:moveTo>
                          <a:pt x="526" y="133"/>
                        </a:moveTo>
                        <a:lnTo>
                          <a:pt x="526" y="138"/>
                        </a:lnTo>
                        <a:lnTo>
                          <a:pt x="526" y="139"/>
                        </a:lnTo>
                        <a:lnTo>
                          <a:pt x="526" y="144"/>
                        </a:lnTo>
                        <a:lnTo>
                          <a:pt x="533" y="149"/>
                        </a:lnTo>
                        <a:lnTo>
                          <a:pt x="536" y="146"/>
                        </a:lnTo>
                        <a:lnTo>
                          <a:pt x="536" y="136"/>
                        </a:lnTo>
                        <a:lnTo>
                          <a:pt x="533" y="133"/>
                        </a:lnTo>
                        <a:lnTo>
                          <a:pt x="529" y="133"/>
                        </a:lnTo>
                        <a:lnTo>
                          <a:pt x="526" y="133"/>
                        </a:lnTo>
                        <a:lnTo>
                          <a:pt x="526" y="133"/>
                        </a:lnTo>
                        <a:close/>
                        <a:moveTo>
                          <a:pt x="460" y="91"/>
                        </a:moveTo>
                        <a:lnTo>
                          <a:pt x="460" y="89"/>
                        </a:lnTo>
                        <a:lnTo>
                          <a:pt x="460" y="88"/>
                        </a:lnTo>
                        <a:lnTo>
                          <a:pt x="460" y="84"/>
                        </a:lnTo>
                        <a:lnTo>
                          <a:pt x="458" y="83"/>
                        </a:lnTo>
                        <a:lnTo>
                          <a:pt x="456" y="84"/>
                        </a:lnTo>
                        <a:lnTo>
                          <a:pt x="456" y="88"/>
                        </a:lnTo>
                        <a:lnTo>
                          <a:pt x="460" y="91"/>
                        </a:lnTo>
                        <a:lnTo>
                          <a:pt x="460" y="91"/>
                        </a:lnTo>
                        <a:close/>
                        <a:moveTo>
                          <a:pt x="450" y="118"/>
                        </a:moveTo>
                        <a:lnTo>
                          <a:pt x="451" y="119"/>
                        </a:lnTo>
                        <a:lnTo>
                          <a:pt x="453" y="116"/>
                        </a:lnTo>
                        <a:lnTo>
                          <a:pt x="453" y="109"/>
                        </a:lnTo>
                        <a:lnTo>
                          <a:pt x="446" y="104"/>
                        </a:lnTo>
                        <a:lnTo>
                          <a:pt x="446" y="98"/>
                        </a:lnTo>
                        <a:lnTo>
                          <a:pt x="450" y="91"/>
                        </a:lnTo>
                        <a:lnTo>
                          <a:pt x="450" y="84"/>
                        </a:lnTo>
                        <a:lnTo>
                          <a:pt x="446" y="81"/>
                        </a:lnTo>
                        <a:lnTo>
                          <a:pt x="446" y="75"/>
                        </a:lnTo>
                        <a:lnTo>
                          <a:pt x="446" y="71"/>
                        </a:lnTo>
                        <a:lnTo>
                          <a:pt x="441" y="75"/>
                        </a:lnTo>
                        <a:lnTo>
                          <a:pt x="441" y="86"/>
                        </a:lnTo>
                        <a:lnTo>
                          <a:pt x="438" y="89"/>
                        </a:lnTo>
                        <a:lnTo>
                          <a:pt x="438" y="96"/>
                        </a:lnTo>
                        <a:lnTo>
                          <a:pt x="443" y="104"/>
                        </a:lnTo>
                        <a:lnTo>
                          <a:pt x="445" y="111"/>
                        </a:lnTo>
                        <a:lnTo>
                          <a:pt x="450" y="118"/>
                        </a:lnTo>
                        <a:lnTo>
                          <a:pt x="450" y="118"/>
                        </a:lnTo>
                        <a:close/>
                        <a:moveTo>
                          <a:pt x="187" y="154"/>
                        </a:moveTo>
                        <a:lnTo>
                          <a:pt x="191" y="156"/>
                        </a:lnTo>
                        <a:lnTo>
                          <a:pt x="191" y="159"/>
                        </a:lnTo>
                        <a:lnTo>
                          <a:pt x="194" y="161"/>
                        </a:lnTo>
                        <a:lnTo>
                          <a:pt x="196" y="156"/>
                        </a:lnTo>
                        <a:lnTo>
                          <a:pt x="192" y="154"/>
                        </a:lnTo>
                        <a:lnTo>
                          <a:pt x="187" y="154"/>
                        </a:lnTo>
                        <a:lnTo>
                          <a:pt x="187" y="154"/>
                        </a:lnTo>
                        <a:close/>
                        <a:moveTo>
                          <a:pt x="23" y="345"/>
                        </a:moveTo>
                        <a:lnTo>
                          <a:pt x="24" y="349"/>
                        </a:lnTo>
                        <a:lnTo>
                          <a:pt x="33" y="349"/>
                        </a:lnTo>
                        <a:lnTo>
                          <a:pt x="36" y="350"/>
                        </a:lnTo>
                        <a:lnTo>
                          <a:pt x="39" y="350"/>
                        </a:lnTo>
                        <a:lnTo>
                          <a:pt x="38" y="347"/>
                        </a:lnTo>
                        <a:lnTo>
                          <a:pt x="34" y="347"/>
                        </a:lnTo>
                        <a:lnTo>
                          <a:pt x="31" y="344"/>
                        </a:lnTo>
                        <a:lnTo>
                          <a:pt x="26" y="344"/>
                        </a:lnTo>
                        <a:lnTo>
                          <a:pt x="23" y="344"/>
                        </a:lnTo>
                        <a:lnTo>
                          <a:pt x="23" y="345"/>
                        </a:lnTo>
                        <a:lnTo>
                          <a:pt x="23" y="345"/>
                        </a:lnTo>
                        <a:close/>
                        <a:moveTo>
                          <a:pt x="0" y="345"/>
                        </a:moveTo>
                        <a:lnTo>
                          <a:pt x="3" y="350"/>
                        </a:lnTo>
                        <a:lnTo>
                          <a:pt x="10" y="350"/>
                        </a:lnTo>
                        <a:lnTo>
                          <a:pt x="13" y="354"/>
                        </a:lnTo>
                        <a:lnTo>
                          <a:pt x="19" y="350"/>
                        </a:lnTo>
                        <a:lnTo>
                          <a:pt x="13" y="345"/>
                        </a:lnTo>
                        <a:lnTo>
                          <a:pt x="6" y="344"/>
                        </a:lnTo>
                        <a:lnTo>
                          <a:pt x="1" y="344"/>
                        </a:lnTo>
                        <a:lnTo>
                          <a:pt x="0" y="345"/>
                        </a:lnTo>
                        <a:lnTo>
                          <a:pt x="0" y="345"/>
                        </a:lnTo>
                        <a:close/>
                        <a:moveTo>
                          <a:pt x="184" y="528"/>
                        </a:moveTo>
                        <a:lnTo>
                          <a:pt x="184" y="530"/>
                        </a:lnTo>
                        <a:lnTo>
                          <a:pt x="186" y="531"/>
                        </a:lnTo>
                        <a:lnTo>
                          <a:pt x="187" y="528"/>
                        </a:lnTo>
                        <a:lnTo>
                          <a:pt x="186" y="526"/>
                        </a:lnTo>
                        <a:lnTo>
                          <a:pt x="184" y="528"/>
                        </a:lnTo>
                        <a:lnTo>
                          <a:pt x="184" y="528"/>
                        </a:lnTo>
                        <a:close/>
                        <a:moveTo>
                          <a:pt x="186" y="546"/>
                        </a:moveTo>
                        <a:lnTo>
                          <a:pt x="189" y="546"/>
                        </a:lnTo>
                        <a:lnTo>
                          <a:pt x="191" y="548"/>
                        </a:lnTo>
                        <a:lnTo>
                          <a:pt x="199" y="548"/>
                        </a:lnTo>
                        <a:lnTo>
                          <a:pt x="202" y="550"/>
                        </a:lnTo>
                        <a:lnTo>
                          <a:pt x="204" y="551"/>
                        </a:lnTo>
                        <a:lnTo>
                          <a:pt x="206" y="548"/>
                        </a:lnTo>
                        <a:lnTo>
                          <a:pt x="202" y="545"/>
                        </a:lnTo>
                        <a:lnTo>
                          <a:pt x="196" y="543"/>
                        </a:lnTo>
                        <a:lnTo>
                          <a:pt x="194" y="545"/>
                        </a:lnTo>
                        <a:lnTo>
                          <a:pt x="189" y="543"/>
                        </a:lnTo>
                        <a:lnTo>
                          <a:pt x="186" y="543"/>
                        </a:lnTo>
                        <a:lnTo>
                          <a:pt x="184" y="545"/>
                        </a:lnTo>
                        <a:lnTo>
                          <a:pt x="186" y="546"/>
                        </a:lnTo>
                        <a:lnTo>
                          <a:pt x="186" y="546"/>
                        </a:lnTo>
                        <a:close/>
                        <a:moveTo>
                          <a:pt x="191" y="553"/>
                        </a:moveTo>
                        <a:lnTo>
                          <a:pt x="192" y="555"/>
                        </a:lnTo>
                        <a:lnTo>
                          <a:pt x="194" y="555"/>
                        </a:lnTo>
                        <a:lnTo>
                          <a:pt x="194" y="553"/>
                        </a:lnTo>
                        <a:lnTo>
                          <a:pt x="191" y="553"/>
                        </a:lnTo>
                        <a:lnTo>
                          <a:pt x="191" y="553"/>
                        </a:lnTo>
                        <a:close/>
                        <a:moveTo>
                          <a:pt x="192" y="581"/>
                        </a:moveTo>
                        <a:lnTo>
                          <a:pt x="194" y="583"/>
                        </a:lnTo>
                        <a:lnTo>
                          <a:pt x="197" y="583"/>
                        </a:lnTo>
                        <a:lnTo>
                          <a:pt x="199" y="586"/>
                        </a:lnTo>
                        <a:lnTo>
                          <a:pt x="202" y="584"/>
                        </a:lnTo>
                        <a:lnTo>
                          <a:pt x="201" y="581"/>
                        </a:lnTo>
                        <a:lnTo>
                          <a:pt x="196" y="579"/>
                        </a:lnTo>
                        <a:lnTo>
                          <a:pt x="194" y="579"/>
                        </a:lnTo>
                        <a:lnTo>
                          <a:pt x="192" y="581"/>
                        </a:lnTo>
                        <a:lnTo>
                          <a:pt x="192" y="581"/>
                        </a:lnTo>
                        <a:close/>
                        <a:moveTo>
                          <a:pt x="187" y="591"/>
                        </a:moveTo>
                        <a:lnTo>
                          <a:pt x="189" y="593"/>
                        </a:lnTo>
                        <a:lnTo>
                          <a:pt x="192" y="594"/>
                        </a:lnTo>
                        <a:lnTo>
                          <a:pt x="196" y="591"/>
                        </a:lnTo>
                        <a:lnTo>
                          <a:pt x="191" y="591"/>
                        </a:lnTo>
                        <a:lnTo>
                          <a:pt x="189" y="589"/>
                        </a:lnTo>
                        <a:lnTo>
                          <a:pt x="187" y="591"/>
                        </a:lnTo>
                        <a:lnTo>
                          <a:pt x="187" y="591"/>
                        </a:lnTo>
                        <a:close/>
                        <a:moveTo>
                          <a:pt x="194" y="609"/>
                        </a:moveTo>
                        <a:lnTo>
                          <a:pt x="196" y="609"/>
                        </a:lnTo>
                        <a:lnTo>
                          <a:pt x="197" y="608"/>
                        </a:lnTo>
                        <a:lnTo>
                          <a:pt x="196" y="604"/>
                        </a:lnTo>
                        <a:lnTo>
                          <a:pt x="194" y="603"/>
                        </a:lnTo>
                        <a:lnTo>
                          <a:pt x="194" y="604"/>
                        </a:lnTo>
                        <a:lnTo>
                          <a:pt x="194" y="609"/>
                        </a:lnTo>
                        <a:lnTo>
                          <a:pt x="194" y="609"/>
                        </a:lnTo>
                        <a:close/>
                        <a:moveTo>
                          <a:pt x="201" y="613"/>
                        </a:moveTo>
                        <a:lnTo>
                          <a:pt x="201" y="614"/>
                        </a:lnTo>
                        <a:lnTo>
                          <a:pt x="202" y="614"/>
                        </a:lnTo>
                        <a:lnTo>
                          <a:pt x="202" y="613"/>
                        </a:lnTo>
                        <a:lnTo>
                          <a:pt x="201" y="613"/>
                        </a:lnTo>
                        <a:lnTo>
                          <a:pt x="201" y="613"/>
                        </a:lnTo>
                        <a:close/>
                        <a:moveTo>
                          <a:pt x="187" y="616"/>
                        </a:moveTo>
                        <a:lnTo>
                          <a:pt x="189" y="614"/>
                        </a:lnTo>
                        <a:lnTo>
                          <a:pt x="187" y="613"/>
                        </a:lnTo>
                        <a:lnTo>
                          <a:pt x="186" y="614"/>
                        </a:lnTo>
                        <a:lnTo>
                          <a:pt x="187" y="616"/>
                        </a:lnTo>
                        <a:lnTo>
                          <a:pt x="187" y="616"/>
                        </a:lnTo>
                        <a:close/>
                        <a:moveTo>
                          <a:pt x="192" y="614"/>
                        </a:moveTo>
                        <a:lnTo>
                          <a:pt x="194" y="616"/>
                        </a:lnTo>
                        <a:lnTo>
                          <a:pt x="196" y="614"/>
                        </a:lnTo>
                        <a:lnTo>
                          <a:pt x="194" y="613"/>
                        </a:lnTo>
                        <a:lnTo>
                          <a:pt x="192" y="614"/>
                        </a:lnTo>
                        <a:lnTo>
                          <a:pt x="192" y="614"/>
                        </a:lnTo>
                        <a:close/>
                        <a:moveTo>
                          <a:pt x="191" y="621"/>
                        </a:moveTo>
                        <a:lnTo>
                          <a:pt x="194" y="619"/>
                        </a:lnTo>
                        <a:lnTo>
                          <a:pt x="194" y="618"/>
                        </a:lnTo>
                        <a:lnTo>
                          <a:pt x="192" y="618"/>
                        </a:lnTo>
                        <a:lnTo>
                          <a:pt x="191" y="621"/>
                        </a:lnTo>
                        <a:lnTo>
                          <a:pt x="191" y="621"/>
                        </a:lnTo>
                        <a:close/>
                        <a:moveTo>
                          <a:pt x="194" y="628"/>
                        </a:moveTo>
                        <a:lnTo>
                          <a:pt x="196" y="626"/>
                        </a:lnTo>
                        <a:lnTo>
                          <a:pt x="192" y="626"/>
                        </a:lnTo>
                        <a:lnTo>
                          <a:pt x="191" y="626"/>
                        </a:lnTo>
                        <a:lnTo>
                          <a:pt x="191" y="628"/>
                        </a:lnTo>
                        <a:lnTo>
                          <a:pt x="194" y="628"/>
                        </a:lnTo>
                        <a:lnTo>
                          <a:pt x="194" y="628"/>
                        </a:lnTo>
                        <a:close/>
                        <a:moveTo>
                          <a:pt x="197" y="631"/>
                        </a:moveTo>
                        <a:lnTo>
                          <a:pt x="201" y="631"/>
                        </a:lnTo>
                        <a:lnTo>
                          <a:pt x="201" y="629"/>
                        </a:lnTo>
                        <a:lnTo>
                          <a:pt x="199" y="628"/>
                        </a:lnTo>
                        <a:lnTo>
                          <a:pt x="196" y="631"/>
                        </a:lnTo>
                        <a:lnTo>
                          <a:pt x="196" y="631"/>
                        </a:lnTo>
                        <a:lnTo>
                          <a:pt x="197" y="631"/>
                        </a:lnTo>
                        <a:lnTo>
                          <a:pt x="197" y="631"/>
                        </a:lnTo>
                        <a:close/>
                        <a:moveTo>
                          <a:pt x="182" y="643"/>
                        </a:moveTo>
                        <a:lnTo>
                          <a:pt x="187" y="641"/>
                        </a:lnTo>
                        <a:lnTo>
                          <a:pt x="187" y="641"/>
                        </a:lnTo>
                        <a:lnTo>
                          <a:pt x="187" y="639"/>
                        </a:lnTo>
                        <a:lnTo>
                          <a:pt x="182" y="639"/>
                        </a:lnTo>
                        <a:lnTo>
                          <a:pt x="181" y="641"/>
                        </a:lnTo>
                        <a:lnTo>
                          <a:pt x="182" y="643"/>
                        </a:lnTo>
                        <a:lnTo>
                          <a:pt x="182" y="643"/>
                        </a:lnTo>
                        <a:close/>
                        <a:moveTo>
                          <a:pt x="191" y="649"/>
                        </a:moveTo>
                        <a:lnTo>
                          <a:pt x="199" y="644"/>
                        </a:lnTo>
                        <a:lnTo>
                          <a:pt x="202" y="641"/>
                        </a:lnTo>
                        <a:lnTo>
                          <a:pt x="202" y="638"/>
                        </a:lnTo>
                        <a:lnTo>
                          <a:pt x="199" y="638"/>
                        </a:lnTo>
                        <a:lnTo>
                          <a:pt x="194" y="641"/>
                        </a:lnTo>
                        <a:lnTo>
                          <a:pt x="191" y="643"/>
                        </a:lnTo>
                        <a:lnTo>
                          <a:pt x="189" y="644"/>
                        </a:lnTo>
                        <a:lnTo>
                          <a:pt x="187" y="646"/>
                        </a:lnTo>
                        <a:lnTo>
                          <a:pt x="187" y="648"/>
                        </a:lnTo>
                        <a:lnTo>
                          <a:pt x="187" y="651"/>
                        </a:lnTo>
                        <a:lnTo>
                          <a:pt x="189" y="651"/>
                        </a:lnTo>
                        <a:lnTo>
                          <a:pt x="191" y="649"/>
                        </a:lnTo>
                        <a:lnTo>
                          <a:pt x="191" y="649"/>
                        </a:lnTo>
                        <a:close/>
                        <a:moveTo>
                          <a:pt x="199" y="648"/>
                        </a:moveTo>
                        <a:lnTo>
                          <a:pt x="199" y="648"/>
                        </a:lnTo>
                        <a:lnTo>
                          <a:pt x="202" y="648"/>
                        </a:lnTo>
                        <a:lnTo>
                          <a:pt x="202" y="646"/>
                        </a:lnTo>
                        <a:lnTo>
                          <a:pt x="199" y="648"/>
                        </a:lnTo>
                        <a:lnTo>
                          <a:pt x="199" y="648"/>
                        </a:lnTo>
                        <a:close/>
                        <a:moveTo>
                          <a:pt x="196" y="653"/>
                        </a:moveTo>
                        <a:lnTo>
                          <a:pt x="197" y="653"/>
                        </a:lnTo>
                        <a:lnTo>
                          <a:pt x="197" y="651"/>
                        </a:lnTo>
                        <a:lnTo>
                          <a:pt x="196" y="651"/>
                        </a:lnTo>
                        <a:lnTo>
                          <a:pt x="196" y="653"/>
                        </a:lnTo>
                        <a:lnTo>
                          <a:pt x="196" y="653"/>
                        </a:lnTo>
                        <a:close/>
                        <a:moveTo>
                          <a:pt x="189" y="654"/>
                        </a:moveTo>
                        <a:lnTo>
                          <a:pt x="191" y="653"/>
                        </a:lnTo>
                        <a:lnTo>
                          <a:pt x="189" y="651"/>
                        </a:lnTo>
                        <a:lnTo>
                          <a:pt x="187" y="653"/>
                        </a:lnTo>
                        <a:lnTo>
                          <a:pt x="187" y="654"/>
                        </a:lnTo>
                        <a:lnTo>
                          <a:pt x="189" y="654"/>
                        </a:lnTo>
                        <a:lnTo>
                          <a:pt x="189" y="654"/>
                        </a:lnTo>
                        <a:close/>
                        <a:moveTo>
                          <a:pt x="181" y="669"/>
                        </a:moveTo>
                        <a:lnTo>
                          <a:pt x="181" y="672"/>
                        </a:lnTo>
                        <a:lnTo>
                          <a:pt x="184" y="672"/>
                        </a:lnTo>
                        <a:lnTo>
                          <a:pt x="187" y="669"/>
                        </a:lnTo>
                        <a:lnTo>
                          <a:pt x="192" y="668"/>
                        </a:lnTo>
                        <a:lnTo>
                          <a:pt x="192" y="666"/>
                        </a:lnTo>
                        <a:lnTo>
                          <a:pt x="191" y="664"/>
                        </a:lnTo>
                        <a:lnTo>
                          <a:pt x="189" y="666"/>
                        </a:lnTo>
                        <a:lnTo>
                          <a:pt x="184" y="666"/>
                        </a:lnTo>
                        <a:lnTo>
                          <a:pt x="182" y="669"/>
                        </a:lnTo>
                        <a:lnTo>
                          <a:pt x="182" y="669"/>
                        </a:lnTo>
                        <a:lnTo>
                          <a:pt x="181" y="669"/>
                        </a:lnTo>
                        <a:lnTo>
                          <a:pt x="181" y="669"/>
                        </a:lnTo>
                        <a:close/>
                        <a:moveTo>
                          <a:pt x="177" y="682"/>
                        </a:moveTo>
                        <a:lnTo>
                          <a:pt x="177" y="686"/>
                        </a:lnTo>
                        <a:lnTo>
                          <a:pt x="181" y="687"/>
                        </a:lnTo>
                        <a:lnTo>
                          <a:pt x="182" y="684"/>
                        </a:lnTo>
                        <a:lnTo>
                          <a:pt x="179" y="682"/>
                        </a:lnTo>
                        <a:lnTo>
                          <a:pt x="177" y="682"/>
                        </a:lnTo>
                        <a:lnTo>
                          <a:pt x="177" y="682"/>
                        </a:lnTo>
                        <a:close/>
                        <a:moveTo>
                          <a:pt x="284" y="1189"/>
                        </a:moveTo>
                        <a:lnTo>
                          <a:pt x="287" y="1186"/>
                        </a:lnTo>
                        <a:lnTo>
                          <a:pt x="290" y="1184"/>
                        </a:lnTo>
                        <a:lnTo>
                          <a:pt x="292" y="1186"/>
                        </a:lnTo>
                        <a:lnTo>
                          <a:pt x="290" y="1187"/>
                        </a:lnTo>
                        <a:lnTo>
                          <a:pt x="287" y="1189"/>
                        </a:lnTo>
                        <a:lnTo>
                          <a:pt x="285" y="1189"/>
                        </a:lnTo>
                        <a:lnTo>
                          <a:pt x="284" y="1189"/>
                        </a:lnTo>
                        <a:lnTo>
                          <a:pt x="284" y="1189"/>
                        </a:lnTo>
                        <a:close/>
                        <a:moveTo>
                          <a:pt x="257" y="1174"/>
                        </a:moveTo>
                        <a:lnTo>
                          <a:pt x="259" y="1174"/>
                        </a:lnTo>
                        <a:lnTo>
                          <a:pt x="260" y="1172"/>
                        </a:lnTo>
                        <a:lnTo>
                          <a:pt x="262" y="1171"/>
                        </a:lnTo>
                        <a:lnTo>
                          <a:pt x="262" y="1167"/>
                        </a:lnTo>
                        <a:lnTo>
                          <a:pt x="260" y="1167"/>
                        </a:lnTo>
                        <a:lnTo>
                          <a:pt x="259" y="1169"/>
                        </a:lnTo>
                        <a:lnTo>
                          <a:pt x="257" y="1171"/>
                        </a:lnTo>
                        <a:lnTo>
                          <a:pt x="257" y="1174"/>
                        </a:lnTo>
                        <a:lnTo>
                          <a:pt x="257" y="1174"/>
                        </a:lnTo>
                        <a:close/>
                        <a:moveTo>
                          <a:pt x="239" y="1146"/>
                        </a:moveTo>
                        <a:lnTo>
                          <a:pt x="240" y="1148"/>
                        </a:lnTo>
                        <a:lnTo>
                          <a:pt x="244" y="1148"/>
                        </a:lnTo>
                        <a:lnTo>
                          <a:pt x="247" y="1146"/>
                        </a:lnTo>
                        <a:lnTo>
                          <a:pt x="245" y="1144"/>
                        </a:lnTo>
                        <a:lnTo>
                          <a:pt x="242" y="1144"/>
                        </a:lnTo>
                        <a:lnTo>
                          <a:pt x="239" y="1146"/>
                        </a:lnTo>
                        <a:lnTo>
                          <a:pt x="239" y="1146"/>
                        </a:lnTo>
                        <a:close/>
                        <a:moveTo>
                          <a:pt x="230" y="1146"/>
                        </a:moveTo>
                        <a:lnTo>
                          <a:pt x="230" y="1148"/>
                        </a:lnTo>
                        <a:lnTo>
                          <a:pt x="234" y="1148"/>
                        </a:lnTo>
                        <a:lnTo>
                          <a:pt x="234" y="1146"/>
                        </a:lnTo>
                        <a:lnTo>
                          <a:pt x="232" y="1144"/>
                        </a:lnTo>
                        <a:lnTo>
                          <a:pt x="230" y="1146"/>
                        </a:lnTo>
                        <a:lnTo>
                          <a:pt x="230" y="1146"/>
                        </a:lnTo>
                        <a:close/>
                        <a:moveTo>
                          <a:pt x="204" y="1148"/>
                        </a:moveTo>
                        <a:lnTo>
                          <a:pt x="204" y="1149"/>
                        </a:lnTo>
                        <a:lnTo>
                          <a:pt x="207" y="1149"/>
                        </a:lnTo>
                        <a:lnTo>
                          <a:pt x="207" y="1153"/>
                        </a:lnTo>
                        <a:lnTo>
                          <a:pt x="211" y="1151"/>
                        </a:lnTo>
                        <a:lnTo>
                          <a:pt x="209" y="1148"/>
                        </a:lnTo>
                        <a:lnTo>
                          <a:pt x="206" y="1146"/>
                        </a:lnTo>
                        <a:lnTo>
                          <a:pt x="204" y="1148"/>
                        </a:lnTo>
                        <a:lnTo>
                          <a:pt x="204" y="1148"/>
                        </a:lnTo>
                        <a:close/>
                        <a:moveTo>
                          <a:pt x="171" y="1015"/>
                        </a:moveTo>
                        <a:lnTo>
                          <a:pt x="172" y="1013"/>
                        </a:lnTo>
                        <a:lnTo>
                          <a:pt x="176" y="1011"/>
                        </a:lnTo>
                        <a:lnTo>
                          <a:pt x="181" y="1006"/>
                        </a:lnTo>
                        <a:lnTo>
                          <a:pt x="177" y="1006"/>
                        </a:lnTo>
                        <a:lnTo>
                          <a:pt x="176" y="1010"/>
                        </a:lnTo>
                        <a:lnTo>
                          <a:pt x="171" y="1015"/>
                        </a:lnTo>
                        <a:lnTo>
                          <a:pt x="171" y="1015"/>
                        </a:lnTo>
                        <a:close/>
                        <a:moveTo>
                          <a:pt x="171" y="1010"/>
                        </a:moveTo>
                        <a:lnTo>
                          <a:pt x="171" y="1010"/>
                        </a:lnTo>
                        <a:lnTo>
                          <a:pt x="171" y="1010"/>
                        </a:lnTo>
                        <a:lnTo>
                          <a:pt x="172" y="1010"/>
                        </a:lnTo>
                        <a:lnTo>
                          <a:pt x="174" y="1008"/>
                        </a:lnTo>
                        <a:lnTo>
                          <a:pt x="176" y="1005"/>
                        </a:lnTo>
                        <a:lnTo>
                          <a:pt x="174" y="1005"/>
                        </a:lnTo>
                        <a:lnTo>
                          <a:pt x="171" y="1010"/>
                        </a:lnTo>
                        <a:lnTo>
                          <a:pt x="171" y="1010"/>
                        </a:lnTo>
                        <a:close/>
                        <a:moveTo>
                          <a:pt x="151" y="965"/>
                        </a:moveTo>
                        <a:lnTo>
                          <a:pt x="149" y="966"/>
                        </a:lnTo>
                        <a:lnTo>
                          <a:pt x="149" y="966"/>
                        </a:lnTo>
                        <a:lnTo>
                          <a:pt x="154" y="966"/>
                        </a:lnTo>
                        <a:lnTo>
                          <a:pt x="152" y="965"/>
                        </a:lnTo>
                        <a:lnTo>
                          <a:pt x="151" y="963"/>
                        </a:lnTo>
                        <a:lnTo>
                          <a:pt x="151" y="965"/>
                        </a:lnTo>
                        <a:lnTo>
                          <a:pt x="151" y="965"/>
                        </a:lnTo>
                        <a:close/>
                        <a:moveTo>
                          <a:pt x="147" y="958"/>
                        </a:moveTo>
                        <a:lnTo>
                          <a:pt x="149" y="962"/>
                        </a:lnTo>
                        <a:lnTo>
                          <a:pt x="152" y="962"/>
                        </a:lnTo>
                        <a:lnTo>
                          <a:pt x="152" y="958"/>
                        </a:lnTo>
                        <a:lnTo>
                          <a:pt x="151" y="958"/>
                        </a:lnTo>
                        <a:lnTo>
                          <a:pt x="147" y="958"/>
                        </a:lnTo>
                        <a:lnTo>
                          <a:pt x="147" y="958"/>
                        </a:lnTo>
                        <a:close/>
                        <a:moveTo>
                          <a:pt x="151" y="917"/>
                        </a:moveTo>
                        <a:lnTo>
                          <a:pt x="156" y="917"/>
                        </a:lnTo>
                        <a:lnTo>
                          <a:pt x="157" y="915"/>
                        </a:lnTo>
                        <a:lnTo>
                          <a:pt x="154" y="915"/>
                        </a:lnTo>
                        <a:lnTo>
                          <a:pt x="151" y="917"/>
                        </a:lnTo>
                        <a:lnTo>
                          <a:pt x="151" y="917"/>
                        </a:lnTo>
                        <a:close/>
                        <a:moveTo>
                          <a:pt x="152" y="912"/>
                        </a:moveTo>
                        <a:lnTo>
                          <a:pt x="156" y="913"/>
                        </a:lnTo>
                        <a:lnTo>
                          <a:pt x="159" y="913"/>
                        </a:lnTo>
                        <a:lnTo>
                          <a:pt x="161" y="912"/>
                        </a:lnTo>
                        <a:lnTo>
                          <a:pt x="157" y="910"/>
                        </a:lnTo>
                        <a:lnTo>
                          <a:pt x="154" y="910"/>
                        </a:lnTo>
                        <a:lnTo>
                          <a:pt x="152" y="912"/>
                        </a:lnTo>
                        <a:lnTo>
                          <a:pt x="152" y="912"/>
                        </a:lnTo>
                        <a:close/>
                        <a:moveTo>
                          <a:pt x="144" y="910"/>
                        </a:moveTo>
                        <a:lnTo>
                          <a:pt x="146" y="912"/>
                        </a:lnTo>
                        <a:lnTo>
                          <a:pt x="147" y="912"/>
                        </a:lnTo>
                        <a:lnTo>
                          <a:pt x="147" y="910"/>
                        </a:lnTo>
                        <a:lnTo>
                          <a:pt x="146" y="910"/>
                        </a:lnTo>
                        <a:lnTo>
                          <a:pt x="144" y="910"/>
                        </a:lnTo>
                        <a:lnTo>
                          <a:pt x="144" y="910"/>
                        </a:lnTo>
                        <a:close/>
                        <a:moveTo>
                          <a:pt x="157" y="872"/>
                        </a:moveTo>
                        <a:lnTo>
                          <a:pt x="156" y="873"/>
                        </a:lnTo>
                        <a:lnTo>
                          <a:pt x="157" y="875"/>
                        </a:lnTo>
                        <a:lnTo>
                          <a:pt x="159" y="875"/>
                        </a:lnTo>
                        <a:lnTo>
                          <a:pt x="162" y="872"/>
                        </a:lnTo>
                        <a:lnTo>
                          <a:pt x="162" y="870"/>
                        </a:lnTo>
                        <a:lnTo>
                          <a:pt x="159" y="870"/>
                        </a:lnTo>
                        <a:lnTo>
                          <a:pt x="157" y="872"/>
                        </a:lnTo>
                        <a:lnTo>
                          <a:pt x="157" y="872"/>
                        </a:lnTo>
                        <a:close/>
                        <a:moveTo>
                          <a:pt x="196" y="857"/>
                        </a:moveTo>
                        <a:lnTo>
                          <a:pt x="199" y="859"/>
                        </a:lnTo>
                        <a:lnTo>
                          <a:pt x="206" y="859"/>
                        </a:lnTo>
                        <a:lnTo>
                          <a:pt x="206" y="857"/>
                        </a:lnTo>
                        <a:lnTo>
                          <a:pt x="199" y="855"/>
                        </a:lnTo>
                        <a:lnTo>
                          <a:pt x="196" y="855"/>
                        </a:lnTo>
                        <a:lnTo>
                          <a:pt x="196" y="857"/>
                        </a:lnTo>
                        <a:lnTo>
                          <a:pt x="196" y="857"/>
                        </a:lnTo>
                        <a:close/>
                        <a:moveTo>
                          <a:pt x="181" y="837"/>
                        </a:moveTo>
                        <a:lnTo>
                          <a:pt x="179" y="839"/>
                        </a:lnTo>
                        <a:lnTo>
                          <a:pt x="181" y="840"/>
                        </a:lnTo>
                        <a:lnTo>
                          <a:pt x="187" y="840"/>
                        </a:lnTo>
                        <a:lnTo>
                          <a:pt x="187" y="837"/>
                        </a:lnTo>
                        <a:lnTo>
                          <a:pt x="182" y="837"/>
                        </a:lnTo>
                        <a:lnTo>
                          <a:pt x="181" y="837"/>
                        </a:lnTo>
                        <a:lnTo>
                          <a:pt x="181" y="837"/>
                        </a:lnTo>
                        <a:close/>
                        <a:moveTo>
                          <a:pt x="199" y="835"/>
                        </a:moveTo>
                        <a:lnTo>
                          <a:pt x="201" y="839"/>
                        </a:lnTo>
                        <a:lnTo>
                          <a:pt x="204" y="839"/>
                        </a:lnTo>
                        <a:lnTo>
                          <a:pt x="207" y="837"/>
                        </a:lnTo>
                        <a:lnTo>
                          <a:pt x="204" y="835"/>
                        </a:lnTo>
                        <a:lnTo>
                          <a:pt x="199" y="835"/>
                        </a:lnTo>
                        <a:lnTo>
                          <a:pt x="199" y="835"/>
                        </a:lnTo>
                        <a:close/>
                        <a:moveTo>
                          <a:pt x="189" y="834"/>
                        </a:moveTo>
                        <a:lnTo>
                          <a:pt x="194" y="835"/>
                        </a:lnTo>
                        <a:lnTo>
                          <a:pt x="197" y="835"/>
                        </a:lnTo>
                        <a:lnTo>
                          <a:pt x="201" y="834"/>
                        </a:lnTo>
                        <a:lnTo>
                          <a:pt x="197" y="832"/>
                        </a:lnTo>
                        <a:lnTo>
                          <a:pt x="192" y="830"/>
                        </a:lnTo>
                        <a:lnTo>
                          <a:pt x="189" y="832"/>
                        </a:lnTo>
                        <a:lnTo>
                          <a:pt x="189" y="834"/>
                        </a:lnTo>
                        <a:lnTo>
                          <a:pt x="189" y="834"/>
                        </a:lnTo>
                        <a:close/>
                        <a:moveTo>
                          <a:pt x="230" y="747"/>
                        </a:moveTo>
                        <a:lnTo>
                          <a:pt x="232" y="751"/>
                        </a:lnTo>
                        <a:lnTo>
                          <a:pt x="234" y="754"/>
                        </a:lnTo>
                        <a:lnTo>
                          <a:pt x="235" y="751"/>
                        </a:lnTo>
                        <a:lnTo>
                          <a:pt x="234" y="749"/>
                        </a:lnTo>
                        <a:lnTo>
                          <a:pt x="230" y="747"/>
                        </a:lnTo>
                        <a:lnTo>
                          <a:pt x="230" y="747"/>
                        </a:lnTo>
                        <a:close/>
                        <a:moveTo>
                          <a:pt x="227" y="737"/>
                        </a:moveTo>
                        <a:lnTo>
                          <a:pt x="227" y="741"/>
                        </a:lnTo>
                        <a:lnTo>
                          <a:pt x="232" y="742"/>
                        </a:lnTo>
                        <a:lnTo>
                          <a:pt x="234" y="742"/>
                        </a:lnTo>
                        <a:lnTo>
                          <a:pt x="232" y="739"/>
                        </a:lnTo>
                        <a:lnTo>
                          <a:pt x="232" y="739"/>
                        </a:lnTo>
                        <a:lnTo>
                          <a:pt x="227" y="737"/>
                        </a:lnTo>
                        <a:lnTo>
                          <a:pt x="227" y="737"/>
                        </a:lnTo>
                        <a:close/>
                        <a:moveTo>
                          <a:pt x="214" y="709"/>
                        </a:moveTo>
                        <a:lnTo>
                          <a:pt x="217" y="709"/>
                        </a:lnTo>
                        <a:lnTo>
                          <a:pt x="222" y="706"/>
                        </a:lnTo>
                        <a:lnTo>
                          <a:pt x="225" y="704"/>
                        </a:lnTo>
                        <a:lnTo>
                          <a:pt x="225" y="702"/>
                        </a:lnTo>
                        <a:lnTo>
                          <a:pt x="220" y="702"/>
                        </a:lnTo>
                        <a:lnTo>
                          <a:pt x="217" y="701"/>
                        </a:lnTo>
                        <a:lnTo>
                          <a:pt x="214" y="702"/>
                        </a:lnTo>
                        <a:lnTo>
                          <a:pt x="214" y="706"/>
                        </a:lnTo>
                        <a:lnTo>
                          <a:pt x="214" y="709"/>
                        </a:lnTo>
                        <a:lnTo>
                          <a:pt x="214" y="709"/>
                        </a:lnTo>
                        <a:close/>
                        <a:moveTo>
                          <a:pt x="215" y="724"/>
                        </a:moveTo>
                        <a:lnTo>
                          <a:pt x="217" y="726"/>
                        </a:lnTo>
                        <a:lnTo>
                          <a:pt x="220" y="726"/>
                        </a:lnTo>
                        <a:lnTo>
                          <a:pt x="225" y="722"/>
                        </a:lnTo>
                        <a:lnTo>
                          <a:pt x="224" y="717"/>
                        </a:lnTo>
                        <a:lnTo>
                          <a:pt x="220" y="716"/>
                        </a:lnTo>
                        <a:lnTo>
                          <a:pt x="217" y="717"/>
                        </a:lnTo>
                        <a:lnTo>
                          <a:pt x="215" y="724"/>
                        </a:lnTo>
                        <a:lnTo>
                          <a:pt x="215" y="724"/>
                        </a:lnTo>
                        <a:close/>
                        <a:moveTo>
                          <a:pt x="201" y="726"/>
                        </a:moveTo>
                        <a:lnTo>
                          <a:pt x="204" y="727"/>
                        </a:lnTo>
                        <a:lnTo>
                          <a:pt x="207" y="724"/>
                        </a:lnTo>
                        <a:lnTo>
                          <a:pt x="207" y="722"/>
                        </a:lnTo>
                        <a:lnTo>
                          <a:pt x="207" y="716"/>
                        </a:lnTo>
                        <a:lnTo>
                          <a:pt x="202" y="719"/>
                        </a:lnTo>
                        <a:lnTo>
                          <a:pt x="199" y="721"/>
                        </a:lnTo>
                        <a:lnTo>
                          <a:pt x="201" y="726"/>
                        </a:lnTo>
                        <a:lnTo>
                          <a:pt x="201" y="726"/>
                        </a:lnTo>
                        <a:close/>
                        <a:moveTo>
                          <a:pt x="171" y="747"/>
                        </a:moveTo>
                        <a:lnTo>
                          <a:pt x="169" y="749"/>
                        </a:lnTo>
                        <a:lnTo>
                          <a:pt x="172" y="752"/>
                        </a:lnTo>
                        <a:lnTo>
                          <a:pt x="176" y="754"/>
                        </a:lnTo>
                        <a:lnTo>
                          <a:pt x="176" y="751"/>
                        </a:lnTo>
                        <a:lnTo>
                          <a:pt x="174" y="747"/>
                        </a:lnTo>
                        <a:lnTo>
                          <a:pt x="171" y="747"/>
                        </a:lnTo>
                        <a:lnTo>
                          <a:pt x="171" y="747"/>
                        </a:lnTo>
                        <a:close/>
                        <a:moveTo>
                          <a:pt x="227" y="789"/>
                        </a:moveTo>
                        <a:lnTo>
                          <a:pt x="227" y="789"/>
                        </a:lnTo>
                        <a:lnTo>
                          <a:pt x="230" y="789"/>
                        </a:lnTo>
                        <a:lnTo>
                          <a:pt x="230" y="792"/>
                        </a:lnTo>
                        <a:lnTo>
                          <a:pt x="229" y="795"/>
                        </a:lnTo>
                        <a:lnTo>
                          <a:pt x="230" y="799"/>
                        </a:lnTo>
                        <a:lnTo>
                          <a:pt x="234" y="795"/>
                        </a:lnTo>
                        <a:lnTo>
                          <a:pt x="235" y="790"/>
                        </a:lnTo>
                        <a:lnTo>
                          <a:pt x="239" y="787"/>
                        </a:lnTo>
                        <a:lnTo>
                          <a:pt x="237" y="785"/>
                        </a:lnTo>
                        <a:lnTo>
                          <a:pt x="235" y="785"/>
                        </a:lnTo>
                        <a:lnTo>
                          <a:pt x="230" y="785"/>
                        </a:lnTo>
                        <a:lnTo>
                          <a:pt x="227" y="789"/>
                        </a:lnTo>
                        <a:lnTo>
                          <a:pt x="227" y="789"/>
                        </a:lnTo>
                        <a:close/>
                        <a:moveTo>
                          <a:pt x="171" y="802"/>
                        </a:moveTo>
                        <a:lnTo>
                          <a:pt x="172" y="804"/>
                        </a:lnTo>
                        <a:lnTo>
                          <a:pt x="181" y="805"/>
                        </a:lnTo>
                        <a:lnTo>
                          <a:pt x="181" y="809"/>
                        </a:lnTo>
                        <a:lnTo>
                          <a:pt x="186" y="809"/>
                        </a:lnTo>
                        <a:lnTo>
                          <a:pt x="189" y="807"/>
                        </a:lnTo>
                        <a:lnTo>
                          <a:pt x="201" y="805"/>
                        </a:lnTo>
                        <a:lnTo>
                          <a:pt x="209" y="805"/>
                        </a:lnTo>
                        <a:lnTo>
                          <a:pt x="217" y="799"/>
                        </a:lnTo>
                        <a:lnTo>
                          <a:pt x="215" y="792"/>
                        </a:lnTo>
                        <a:lnTo>
                          <a:pt x="212" y="785"/>
                        </a:lnTo>
                        <a:lnTo>
                          <a:pt x="209" y="785"/>
                        </a:lnTo>
                        <a:lnTo>
                          <a:pt x="204" y="784"/>
                        </a:lnTo>
                        <a:lnTo>
                          <a:pt x="201" y="774"/>
                        </a:lnTo>
                        <a:lnTo>
                          <a:pt x="196" y="767"/>
                        </a:lnTo>
                        <a:lnTo>
                          <a:pt x="189" y="766"/>
                        </a:lnTo>
                        <a:lnTo>
                          <a:pt x="184" y="761"/>
                        </a:lnTo>
                        <a:lnTo>
                          <a:pt x="177" y="761"/>
                        </a:lnTo>
                        <a:lnTo>
                          <a:pt x="172" y="757"/>
                        </a:lnTo>
                        <a:lnTo>
                          <a:pt x="171" y="761"/>
                        </a:lnTo>
                        <a:lnTo>
                          <a:pt x="166" y="766"/>
                        </a:lnTo>
                        <a:lnTo>
                          <a:pt x="166" y="770"/>
                        </a:lnTo>
                        <a:lnTo>
                          <a:pt x="171" y="774"/>
                        </a:lnTo>
                        <a:lnTo>
                          <a:pt x="172" y="777"/>
                        </a:lnTo>
                        <a:lnTo>
                          <a:pt x="169" y="775"/>
                        </a:lnTo>
                        <a:lnTo>
                          <a:pt x="164" y="777"/>
                        </a:lnTo>
                        <a:lnTo>
                          <a:pt x="164" y="780"/>
                        </a:lnTo>
                        <a:lnTo>
                          <a:pt x="162" y="784"/>
                        </a:lnTo>
                        <a:lnTo>
                          <a:pt x="169" y="787"/>
                        </a:lnTo>
                        <a:lnTo>
                          <a:pt x="166" y="787"/>
                        </a:lnTo>
                        <a:lnTo>
                          <a:pt x="164" y="789"/>
                        </a:lnTo>
                        <a:lnTo>
                          <a:pt x="166" y="792"/>
                        </a:lnTo>
                        <a:lnTo>
                          <a:pt x="177" y="795"/>
                        </a:lnTo>
                        <a:lnTo>
                          <a:pt x="179" y="797"/>
                        </a:lnTo>
                        <a:lnTo>
                          <a:pt x="182" y="799"/>
                        </a:lnTo>
                        <a:lnTo>
                          <a:pt x="189" y="794"/>
                        </a:lnTo>
                        <a:lnTo>
                          <a:pt x="184" y="800"/>
                        </a:lnTo>
                        <a:lnTo>
                          <a:pt x="181" y="800"/>
                        </a:lnTo>
                        <a:lnTo>
                          <a:pt x="174" y="799"/>
                        </a:lnTo>
                        <a:lnTo>
                          <a:pt x="171" y="799"/>
                        </a:lnTo>
                        <a:lnTo>
                          <a:pt x="171" y="802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04" name="Google Shape;3109;p98">
                    <a:extLst>
                      <a:ext uri="{FF2B5EF4-FFF2-40B4-BE49-F238E27FC236}">
                        <a16:creationId xmlns:a16="http://schemas.microsoft.com/office/drawing/2014/main" id="{76F94151-4F03-2B01-7A76-F3D11423095D}"/>
                      </a:ext>
                    </a:extLst>
                  </p:cNvPr>
                  <p:cNvSpPr/>
                  <p:nvPr/>
                </p:nvSpPr>
                <p:spPr>
                  <a:xfrm>
                    <a:off x="4827835" y="1824354"/>
                    <a:ext cx="1125901" cy="91515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105" h="1764" extrusionOk="0">
                        <a:moveTo>
                          <a:pt x="1522" y="311"/>
                        </a:moveTo>
                        <a:lnTo>
                          <a:pt x="1525" y="307"/>
                        </a:lnTo>
                        <a:lnTo>
                          <a:pt x="1529" y="302"/>
                        </a:lnTo>
                        <a:lnTo>
                          <a:pt x="1535" y="296"/>
                        </a:lnTo>
                        <a:lnTo>
                          <a:pt x="1539" y="286"/>
                        </a:lnTo>
                        <a:lnTo>
                          <a:pt x="1542" y="284"/>
                        </a:lnTo>
                        <a:lnTo>
                          <a:pt x="1544" y="287"/>
                        </a:lnTo>
                        <a:lnTo>
                          <a:pt x="1540" y="292"/>
                        </a:lnTo>
                        <a:lnTo>
                          <a:pt x="1540" y="294"/>
                        </a:lnTo>
                        <a:lnTo>
                          <a:pt x="1545" y="296"/>
                        </a:lnTo>
                        <a:lnTo>
                          <a:pt x="1550" y="291"/>
                        </a:lnTo>
                        <a:lnTo>
                          <a:pt x="1554" y="289"/>
                        </a:lnTo>
                        <a:lnTo>
                          <a:pt x="1554" y="284"/>
                        </a:lnTo>
                        <a:lnTo>
                          <a:pt x="1549" y="282"/>
                        </a:lnTo>
                        <a:lnTo>
                          <a:pt x="1549" y="282"/>
                        </a:lnTo>
                        <a:lnTo>
                          <a:pt x="1554" y="281"/>
                        </a:lnTo>
                        <a:lnTo>
                          <a:pt x="1554" y="274"/>
                        </a:lnTo>
                        <a:lnTo>
                          <a:pt x="1552" y="272"/>
                        </a:lnTo>
                        <a:lnTo>
                          <a:pt x="1552" y="267"/>
                        </a:lnTo>
                        <a:lnTo>
                          <a:pt x="1559" y="262"/>
                        </a:lnTo>
                        <a:lnTo>
                          <a:pt x="1560" y="256"/>
                        </a:lnTo>
                        <a:lnTo>
                          <a:pt x="1565" y="254"/>
                        </a:lnTo>
                        <a:lnTo>
                          <a:pt x="1567" y="251"/>
                        </a:lnTo>
                        <a:lnTo>
                          <a:pt x="1567" y="254"/>
                        </a:lnTo>
                        <a:lnTo>
                          <a:pt x="1569" y="257"/>
                        </a:lnTo>
                        <a:lnTo>
                          <a:pt x="1565" y="257"/>
                        </a:lnTo>
                        <a:lnTo>
                          <a:pt x="1562" y="266"/>
                        </a:lnTo>
                        <a:lnTo>
                          <a:pt x="1557" y="271"/>
                        </a:lnTo>
                        <a:lnTo>
                          <a:pt x="1557" y="276"/>
                        </a:lnTo>
                        <a:lnTo>
                          <a:pt x="1559" y="281"/>
                        </a:lnTo>
                        <a:lnTo>
                          <a:pt x="1560" y="286"/>
                        </a:lnTo>
                        <a:lnTo>
                          <a:pt x="1562" y="282"/>
                        </a:lnTo>
                        <a:lnTo>
                          <a:pt x="1567" y="276"/>
                        </a:lnTo>
                        <a:lnTo>
                          <a:pt x="1575" y="269"/>
                        </a:lnTo>
                        <a:lnTo>
                          <a:pt x="1579" y="264"/>
                        </a:lnTo>
                        <a:lnTo>
                          <a:pt x="1579" y="259"/>
                        </a:lnTo>
                        <a:lnTo>
                          <a:pt x="1582" y="254"/>
                        </a:lnTo>
                        <a:lnTo>
                          <a:pt x="1585" y="252"/>
                        </a:lnTo>
                        <a:lnTo>
                          <a:pt x="1585" y="256"/>
                        </a:lnTo>
                        <a:lnTo>
                          <a:pt x="1583" y="257"/>
                        </a:lnTo>
                        <a:lnTo>
                          <a:pt x="1583" y="262"/>
                        </a:lnTo>
                        <a:lnTo>
                          <a:pt x="1588" y="261"/>
                        </a:lnTo>
                        <a:lnTo>
                          <a:pt x="1593" y="254"/>
                        </a:lnTo>
                        <a:lnTo>
                          <a:pt x="1597" y="254"/>
                        </a:lnTo>
                        <a:lnTo>
                          <a:pt x="1603" y="256"/>
                        </a:lnTo>
                        <a:lnTo>
                          <a:pt x="1612" y="252"/>
                        </a:lnTo>
                        <a:lnTo>
                          <a:pt x="1617" y="252"/>
                        </a:lnTo>
                        <a:lnTo>
                          <a:pt x="1620" y="249"/>
                        </a:lnTo>
                        <a:lnTo>
                          <a:pt x="1625" y="247"/>
                        </a:lnTo>
                        <a:lnTo>
                          <a:pt x="1627" y="244"/>
                        </a:lnTo>
                        <a:lnTo>
                          <a:pt x="1627" y="241"/>
                        </a:lnTo>
                        <a:lnTo>
                          <a:pt x="1627" y="238"/>
                        </a:lnTo>
                        <a:lnTo>
                          <a:pt x="1623" y="236"/>
                        </a:lnTo>
                        <a:lnTo>
                          <a:pt x="1627" y="229"/>
                        </a:lnTo>
                        <a:lnTo>
                          <a:pt x="1625" y="219"/>
                        </a:lnTo>
                        <a:lnTo>
                          <a:pt x="1623" y="219"/>
                        </a:lnTo>
                        <a:lnTo>
                          <a:pt x="1620" y="226"/>
                        </a:lnTo>
                        <a:lnTo>
                          <a:pt x="1615" y="231"/>
                        </a:lnTo>
                        <a:lnTo>
                          <a:pt x="1612" y="231"/>
                        </a:lnTo>
                        <a:lnTo>
                          <a:pt x="1612" y="229"/>
                        </a:lnTo>
                        <a:lnTo>
                          <a:pt x="1617" y="224"/>
                        </a:lnTo>
                        <a:lnTo>
                          <a:pt x="1622" y="223"/>
                        </a:lnTo>
                        <a:lnTo>
                          <a:pt x="1622" y="219"/>
                        </a:lnTo>
                        <a:lnTo>
                          <a:pt x="1617" y="214"/>
                        </a:lnTo>
                        <a:lnTo>
                          <a:pt x="1615" y="211"/>
                        </a:lnTo>
                        <a:lnTo>
                          <a:pt x="1613" y="211"/>
                        </a:lnTo>
                        <a:lnTo>
                          <a:pt x="1610" y="213"/>
                        </a:lnTo>
                        <a:lnTo>
                          <a:pt x="1610" y="214"/>
                        </a:lnTo>
                        <a:lnTo>
                          <a:pt x="1607" y="213"/>
                        </a:lnTo>
                        <a:lnTo>
                          <a:pt x="1602" y="213"/>
                        </a:lnTo>
                        <a:lnTo>
                          <a:pt x="1598" y="216"/>
                        </a:lnTo>
                        <a:lnTo>
                          <a:pt x="1595" y="214"/>
                        </a:lnTo>
                        <a:lnTo>
                          <a:pt x="1595" y="213"/>
                        </a:lnTo>
                        <a:lnTo>
                          <a:pt x="1607" y="208"/>
                        </a:lnTo>
                        <a:lnTo>
                          <a:pt x="1612" y="208"/>
                        </a:lnTo>
                        <a:lnTo>
                          <a:pt x="1620" y="199"/>
                        </a:lnTo>
                        <a:lnTo>
                          <a:pt x="1623" y="198"/>
                        </a:lnTo>
                        <a:lnTo>
                          <a:pt x="1628" y="189"/>
                        </a:lnTo>
                        <a:lnTo>
                          <a:pt x="1630" y="183"/>
                        </a:lnTo>
                        <a:lnTo>
                          <a:pt x="1628" y="181"/>
                        </a:lnTo>
                        <a:lnTo>
                          <a:pt x="1625" y="181"/>
                        </a:lnTo>
                        <a:lnTo>
                          <a:pt x="1622" y="183"/>
                        </a:lnTo>
                        <a:lnTo>
                          <a:pt x="1620" y="181"/>
                        </a:lnTo>
                        <a:lnTo>
                          <a:pt x="1622" y="179"/>
                        </a:lnTo>
                        <a:lnTo>
                          <a:pt x="1625" y="178"/>
                        </a:lnTo>
                        <a:lnTo>
                          <a:pt x="1628" y="178"/>
                        </a:lnTo>
                        <a:lnTo>
                          <a:pt x="1630" y="174"/>
                        </a:lnTo>
                        <a:lnTo>
                          <a:pt x="1630" y="169"/>
                        </a:lnTo>
                        <a:lnTo>
                          <a:pt x="1635" y="166"/>
                        </a:lnTo>
                        <a:lnTo>
                          <a:pt x="1635" y="161"/>
                        </a:lnTo>
                        <a:lnTo>
                          <a:pt x="1633" y="159"/>
                        </a:lnTo>
                        <a:lnTo>
                          <a:pt x="1633" y="156"/>
                        </a:lnTo>
                        <a:lnTo>
                          <a:pt x="1630" y="154"/>
                        </a:lnTo>
                        <a:lnTo>
                          <a:pt x="1625" y="156"/>
                        </a:lnTo>
                        <a:lnTo>
                          <a:pt x="1620" y="166"/>
                        </a:lnTo>
                        <a:lnTo>
                          <a:pt x="1618" y="171"/>
                        </a:lnTo>
                        <a:lnTo>
                          <a:pt x="1622" y="173"/>
                        </a:lnTo>
                        <a:lnTo>
                          <a:pt x="1618" y="178"/>
                        </a:lnTo>
                        <a:lnTo>
                          <a:pt x="1615" y="179"/>
                        </a:lnTo>
                        <a:lnTo>
                          <a:pt x="1615" y="178"/>
                        </a:lnTo>
                        <a:lnTo>
                          <a:pt x="1615" y="176"/>
                        </a:lnTo>
                        <a:lnTo>
                          <a:pt x="1613" y="173"/>
                        </a:lnTo>
                        <a:lnTo>
                          <a:pt x="1613" y="169"/>
                        </a:lnTo>
                        <a:lnTo>
                          <a:pt x="1617" y="163"/>
                        </a:lnTo>
                        <a:lnTo>
                          <a:pt x="1615" y="158"/>
                        </a:lnTo>
                        <a:lnTo>
                          <a:pt x="1617" y="156"/>
                        </a:lnTo>
                        <a:lnTo>
                          <a:pt x="1618" y="158"/>
                        </a:lnTo>
                        <a:lnTo>
                          <a:pt x="1622" y="156"/>
                        </a:lnTo>
                        <a:lnTo>
                          <a:pt x="1620" y="149"/>
                        </a:lnTo>
                        <a:lnTo>
                          <a:pt x="1617" y="146"/>
                        </a:lnTo>
                        <a:lnTo>
                          <a:pt x="1613" y="146"/>
                        </a:lnTo>
                        <a:lnTo>
                          <a:pt x="1608" y="148"/>
                        </a:lnTo>
                        <a:lnTo>
                          <a:pt x="1605" y="151"/>
                        </a:lnTo>
                        <a:lnTo>
                          <a:pt x="1605" y="148"/>
                        </a:lnTo>
                        <a:lnTo>
                          <a:pt x="1603" y="148"/>
                        </a:lnTo>
                        <a:lnTo>
                          <a:pt x="1603" y="141"/>
                        </a:lnTo>
                        <a:lnTo>
                          <a:pt x="1600" y="135"/>
                        </a:lnTo>
                        <a:lnTo>
                          <a:pt x="1602" y="126"/>
                        </a:lnTo>
                        <a:lnTo>
                          <a:pt x="1602" y="120"/>
                        </a:lnTo>
                        <a:lnTo>
                          <a:pt x="1603" y="115"/>
                        </a:lnTo>
                        <a:lnTo>
                          <a:pt x="1605" y="106"/>
                        </a:lnTo>
                        <a:lnTo>
                          <a:pt x="1605" y="101"/>
                        </a:lnTo>
                        <a:lnTo>
                          <a:pt x="1608" y="95"/>
                        </a:lnTo>
                        <a:lnTo>
                          <a:pt x="1608" y="88"/>
                        </a:lnTo>
                        <a:lnTo>
                          <a:pt x="1605" y="85"/>
                        </a:lnTo>
                        <a:lnTo>
                          <a:pt x="1603" y="80"/>
                        </a:lnTo>
                        <a:lnTo>
                          <a:pt x="1597" y="75"/>
                        </a:lnTo>
                        <a:lnTo>
                          <a:pt x="1595" y="71"/>
                        </a:lnTo>
                        <a:lnTo>
                          <a:pt x="1588" y="68"/>
                        </a:lnTo>
                        <a:lnTo>
                          <a:pt x="1585" y="70"/>
                        </a:lnTo>
                        <a:lnTo>
                          <a:pt x="1585" y="73"/>
                        </a:lnTo>
                        <a:lnTo>
                          <a:pt x="1583" y="73"/>
                        </a:lnTo>
                        <a:lnTo>
                          <a:pt x="1577" y="68"/>
                        </a:lnTo>
                        <a:lnTo>
                          <a:pt x="1572" y="68"/>
                        </a:lnTo>
                        <a:lnTo>
                          <a:pt x="1572" y="73"/>
                        </a:lnTo>
                        <a:lnTo>
                          <a:pt x="1569" y="80"/>
                        </a:lnTo>
                        <a:lnTo>
                          <a:pt x="1572" y="81"/>
                        </a:lnTo>
                        <a:lnTo>
                          <a:pt x="1577" y="81"/>
                        </a:lnTo>
                        <a:lnTo>
                          <a:pt x="1582" y="81"/>
                        </a:lnTo>
                        <a:lnTo>
                          <a:pt x="1587" y="83"/>
                        </a:lnTo>
                        <a:lnTo>
                          <a:pt x="1588" y="86"/>
                        </a:lnTo>
                        <a:lnTo>
                          <a:pt x="1593" y="88"/>
                        </a:lnTo>
                        <a:lnTo>
                          <a:pt x="1592" y="90"/>
                        </a:lnTo>
                        <a:lnTo>
                          <a:pt x="1585" y="96"/>
                        </a:lnTo>
                        <a:lnTo>
                          <a:pt x="1582" y="96"/>
                        </a:lnTo>
                        <a:lnTo>
                          <a:pt x="1577" y="93"/>
                        </a:lnTo>
                        <a:lnTo>
                          <a:pt x="1572" y="93"/>
                        </a:lnTo>
                        <a:lnTo>
                          <a:pt x="1567" y="93"/>
                        </a:lnTo>
                        <a:lnTo>
                          <a:pt x="1570" y="96"/>
                        </a:lnTo>
                        <a:lnTo>
                          <a:pt x="1574" y="96"/>
                        </a:lnTo>
                        <a:lnTo>
                          <a:pt x="1570" y="100"/>
                        </a:lnTo>
                        <a:lnTo>
                          <a:pt x="1565" y="101"/>
                        </a:lnTo>
                        <a:lnTo>
                          <a:pt x="1559" y="95"/>
                        </a:lnTo>
                        <a:lnTo>
                          <a:pt x="1552" y="98"/>
                        </a:lnTo>
                        <a:lnTo>
                          <a:pt x="1550" y="105"/>
                        </a:lnTo>
                        <a:lnTo>
                          <a:pt x="1547" y="106"/>
                        </a:lnTo>
                        <a:lnTo>
                          <a:pt x="1547" y="110"/>
                        </a:lnTo>
                        <a:lnTo>
                          <a:pt x="1550" y="111"/>
                        </a:lnTo>
                        <a:lnTo>
                          <a:pt x="1552" y="116"/>
                        </a:lnTo>
                        <a:lnTo>
                          <a:pt x="1557" y="120"/>
                        </a:lnTo>
                        <a:lnTo>
                          <a:pt x="1557" y="121"/>
                        </a:lnTo>
                        <a:lnTo>
                          <a:pt x="1554" y="121"/>
                        </a:lnTo>
                        <a:lnTo>
                          <a:pt x="1554" y="125"/>
                        </a:lnTo>
                        <a:lnTo>
                          <a:pt x="1555" y="126"/>
                        </a:lnTo>
                        <a:lnTo>
                          <a:pt x="1555" y="130"/>
                        </a:lnTo>
                        <a:lnTo>
                          <a:pt x="1552" y="130"/>
                        </a:lnTo>
                        <a:lnTo>
                          <a:pt x="1549" y="126"/>
                        </a:lnTo>
                        <a:lnTo>
                          <a:pt x="1544" y="126"/>
                        </a:lnTo>
                        <a:lnTo>
                          <a:pt x="1539" y="123"/>
                        </a:lnTo>
                        <a:lnTo>
                          <a:pt x="1535" y="123"/>
                        </a:lnTo>
                        <a:lnTo>
                          <a:pt x="1530" y="125"/>
                        </a:lnTo>
                        <a:lnTo>
                          <a:pt x="1530" y="128"/>
                        </a:lnTo>
                        <a:lnTo>
                          <a:pt x="1534" y="133"/>
                        </a:lnTo>
                        <a:lnTo>
                          <a:pt x="1530" y="136"/>
                        </a:lnTo>
                        <a:lnTo>
                          <a:pt x="1529" y="135"/>
                        </a:lnTo>
                        <a:lnTo>
                          <a:pt x="1529" y="131"/>
                        </a:lnTo>
                        <a:lnTo>
                          <a:pt x="1525" y="130"/>
                        </a:lnTo>
                        <a:lnTo>
                          <a:pt x="1520" y="128"/>
                        </a:lnTo>
                        <a:lnTo>
                          <a:pt x="1519" y="128"/>
                        </a:lnTo>
                        <a:lnTo>
                          <a:pt x="1515" y="125"/>
                        </a:lnTo>
                        <a:lnTo>
                          <a:pt x="1512" y="125"/>
                        </a:lnTo>
                        <a:lnTo>
                          <a:pt x="1510" y="126"/>
                        </a:lnTo>
                        <a:lnTo>
                          <a:pt x="1514" y="133"/>
                        </a:lnTo>
                        <a:lnTo>
                          <a:pt x="1512" y="136"/>
                        </a:lnTo>
                        <a:lnTo>
                          <a:pt x="1514" y="143"/>
                        </a:lnTo>
                        <a:lnTo>
                          <a:pt x="1519" y="145"/>
                        </a:lnTo>
                        <a:lnTo>
                          <a:pt x="1524" y="146"/>
                        </a:lnTo>
                        <a:lnTo>
                          <a:pt x="1525" y="148"/>
                        </a:lnTo>
                        <a:lnTo>
                          <a:pt x="1524" y="149"/>
                        </a:lnTo>
                        <a:lnTo>
                          <a:pt x="1519" y="148"/>
                        </a:lnTo>
                        <a:lnTo>
                          <a:pt x="1525" y="151"/>
                        </a:lnTo>
                        <a:lnTo>
                          <a:pt x="1527" y="154"/>
                        </a:lnTo>
                        <a:lnTo>
                          <a:pt x="1530" y="158"/>
                        </a:lnTo>
                        <a:lnTo>
                          <a:pt x="1537" y="158"/>
                        </a:lnTo>
                        <a:lnTo>
                          <a:pt x="1540" y="154"/>
                        </a:lnTo>
                        <a:lnTo>
                          <a:pt x="1542" y="154"/>
                        </a:lnTo>
                        <a:lnTo>
                          <a:pt x="1544" y="158"/>
                        </a:lnTo>
                        <a:lnTo>
                          <a:pt x="1539" y="161"/>
                        </a:lnTo>
                        <a:lnTo>
                          <a:pt x="1537" y="168"/>
                        </a:lnTo>
                        <a:lnTo>
                          <a:pt x="1534" y="168"/>
                        </a:lnTo>
                        <a:lnTo>
                          <a:pt x="1529" y="163"/>
                        </a:lnTo>
                        <a:lnTo>
                          <a:pt x="1515" y="161"/>
                        </a:lnTo>
                        <a:lnTo>
                          <a:pt x="1510" y="154"/>
                        </a:lnTo>
                        <a:lnTo>
                          <a:pt x="1507" y="153"/>
                        </a:lnTo>
                        <a:lnTo>
                          <a:pt x="1505" y="151"/>
                        </a:lnTo>
                        <a:lnTo>
                          <a:pt x="1504" y="151"/>
                        </a:lnTo>
                        <a:lnTo>
                          <a:pt x="1502" y="156"/>
                        </a:lnTo>
                        <a:lnTo>
                          <a:pt x="1502" y="158"/>
                        </a:lnTo>
                        <a:lnTo>
                          <a:pt x="1500" y="159"/>
                        </a:lnTo>
                        <a:lnTo>
                          <a:pt x="1502" y="166"/>
                        </a:lnTo>
                        <a:lnTo>
                          <a:pt x="1499" y="169"/>
                        </a:lnTo>
                        <a:lnTo>
                          <a:pt x="1495" y="168"/>
                        </a:lnTo>
                        <a:lnTo>
                          <a:pt x="1495" y="173"/>
                        </a:lnTo>
                        <a:lnTo>
                          <a:pt x="1492" y="174"/>
                        </a:lnTo>
                        <a:lnTo>
                          <a:pt x="1492" y="184"/>
                        </a:lnTo>
                        <a:lnTo>
                          <a:pt x="1495" y="186"/>
                        </a:lnTo>
                        <a:lnTo>
                          <a:pt x="1504" y="188"/>
                        </a:lnTo>
                        <a:lnTo>
                          <a:pt x="1507" y="189"/>
                        </a:lnTo>
                        <a:lnTo>
                          <a:pt x="1512" y="188"/>
                        </a:lnTo>
                        <a:lnTo>
                          <a:pt x="1512" y="189"/>
                        </a:lnTo>
                        <a:lnTo>
                          <a:pt x="1509" y="191"/>
                        </a:lnTo>
                        <a:lnTo>
                          <a:pt x="1504" y="189"/>
                        </a:lnTo>
                        <a:lnTo>
                          <a:pt x="1495" y="189"/>
                        </a:lnTo>
                        <a:lnTo>
                          <a:pt x="1494" y="189"/>
                        </a:lnTo>
                        <a:lnTo>
                          <a:pt x="1489" y="189"/>
                        </a:lnTo>
                        <a:lnTo>
                          <a:pt x="1482" y="198"/>
                        </a:lnTo>
                        <a:lnTo>
                          <a:pt x="1482" y="199"/>
                        </a:lnTo>
                        <a:lnTo>
                          <a:pt x="1485" y="203"/>
                        </a:lnTo>
                        <a:lnTo>
                          <a:pt x="1484" y="206"/>
                        </a:lnTo>
                        <a:lnTo>
                          <a:pt x="1482" y="206"/>
                        </a:lnTo>
                        <a:lnTo>
                          <a:pt x="1481" y="209"/>
                        </a:lnTo>
                        <a:lnTo>
                          <a:pt x="1484" y="213"/>
                        </a:lnTo>
                        <a:lnTo>
                          <a:pt x="1487" y="211"/>
                        </a:lnTo>
                        <a:lnTo>
                          <a:pt x="1492" y="211"/>
                        </a:lnTo>
                        <a:lnTo>
                          <a:pt x="1497" y="208"/>
                        </a:lnTo>
                        <a:lnTo>
                          <a:pt x="1499" y="209"/>
                        </a:lnTo>
                        <a:lnTo>
                          <a:pt x="1499" y="213"/>
                        </a:lnTo>
                        <a:lnTo>
                          <a:pt x="1494" y="213"/>
                        </a:lnTo>
                        <a:lnTo>
                          <a:pt x="1492" y="218"/>
                        </a:lnTo>
                        <a:lnTo>
                          <a:pt x="1494" y="219"/>
                        </a:lnTo>
                        <a:lnTo>
                          <a:pt x="1497" y="219"/>
                        </a:lnTo>
                        <a:lnTo>
                          <a:pt x="1500" y="216"/>
                        </a:lnTo>
                        <a:lnTo>
                          <a:pt x="1504" y="216"/>
                        </a:lnTo>
                        <a:lnTo>
                          <a:pt x="1509" y="213"/>
                        </a:lnTo>
                        <a:lnTo>
                          <a:pt x="1509" y="216"/>
                        </a:lnTo>
                        <a:lnTo>
                          <a:pt x="1505" y="218"/>
                        </a:lnTo>
                        <a:lnTo>
                          <a:pt x="1509" y="219"/>
                        </a:lnTo>
                        <a:lnTo>
                          <a:pt x="1515" y="219"/>
                        </a:lnTo>
                        <a:lnTo>
                          <a:pt x="1517" y="223"/>
                        </a:lnTo>
                        <a:lnTo>
                          <a:pt x="1514" y="223"/>
                        </a:lnTo>
                        <a:lnTo>
                          <a:pt x="1514" y="226"/>
                        </a:lnTo>
                        <a:lnTo>
                          <a:pt x="1517" y="226"/>
                        </a:lnTo>
                        <a:lnTo>
                          <a:pt x="1522" y="224"/>
                        </a:lnTo>
                        <a:lnTo>
                          <a:pt x="1527" y="229"/>
                        </a:lnTo>
                        <a:lnTo>
                          <a:pt x="1539" y="231"/>
                        </a:lnTo>
                        <a:lnTo>
                          <a:pt x="1540" y="233"/>
                        </a:lnTo>
                        <a:lnTo>
                          <a:pt x="1530" y="233"/>
                        </a:lnTo>
                        <a:lnTo>
                          <a:pt x="1525" y="233"/>
                        </a:lnTo>
                        <a:lnTo>
                          <a:pt x="1519" y="229"/>
                        </a:lnTo>
                        <a:lnTo>
                          <a:pt x="1514" y="231"/>
                        </a:lnTo>
                        <a:lnTo>
                          <a:pt x="1512" y="234"/>
                        </a:lnTo>
                        <a:lnTo>
                          <a:pt x="1519" y="236"/>
                        </a:lnTo>
                        <a:lnTo>
                          <a:pt x="1529" y="238"/>
                        </a:lnTo>
                        <a:lnTo>
                          <a:pt x="1539" y="238"/>
                        </a:lnTo>
                        <a:lnTo>
                          <a:pt x="1542" y="239"/>
                        </a:lnTo>
                        <a:lnTo>
                          <a:pt x="1530" y="241"/>
                        </a:lnTo>
                        <a:lnTo>
                          <a:pt x="1527" y="241"/>
                        </a:lnTo>
                        <a:lnTo>
                          <a:pt x="1519" y="239"/>
                        </a:lnTo>
                        <a:lnTo>
                          <a:pt x="1512" y="239"/>
                        </a:lnTo>
                        <a:lnTo>
                          <a:pt x="1509" y="236"/>
                        </a:lnTo>
                        <a:lnTo>
                          <a:pt x="1504" y="234"/>
                        </a:lnTo>
                        <a:lnTo>
                          <a:pt x="1497" y="229"/>
                        </a:lnTo>
                        <a:lnTo>
                          <a:pt x="1495" y="231"/>
                        </a:lnTo>
                        <a:lnTo>
                          <a:pt x="1492" y="234"/>
                        </a:lnTo>
                        <a:lnTo>
                          <a:pt x="1484" y="234"/>
                        </a:lnTo>
                        <a:lnTo>
                          <a:pt x="1481" y="236"/>
                        </a:lnTo>
                        <a:lnTo>
                          <a:pt x="1479" y="244"/>
                        </a:lnTo>
                        <a:lnTo>
                          <a:pt x="1485" y="249"/>
                        </a:lnTo>
                        <a:lnTo>
                          <a:pt x="1485" y="254"/>
                        </a:lnTo>
                        <a:lnTo>
                          <a:pt x="1484" y="256"/>
                        </a:lnTo>
                        <a:lnTo>
                          <a:pt x="1481" y="249"/>
                        </a:lnTo>
                        <a:lnTo>
                          <a:pt x="1477" y="249"/>
                        </a:lnTo>
                        <a:lnTo>
                          <a:pt x="1474" y="257"/>
                        </a:lnTo>
                        <a:lnTo>
                          <a:pt x="1476" y="264"/>
                        </a:lnTo>
                        <a:lnTo>
                          <a:pt x="1479" y="264"/>
                        </a:lnTo>
                        <a:lnTo>
                          <a:pt x="1481" y="262"/>
                        </a:lnTo>
                        <a:lnTo>
                          <a:pt x="1484" y="262"/>
                        </a:lnTo>
                        <a:lnTo>
                          <a:pt x="1487" y="267"/>
                        </a:lnTo>
                        <a:lnTo>
                          <a:pt x="1490" y="269"/>
                        </a:lnTo>
                        <a:lnTo>
                          <a:pt x="1485" y="269"/>
                        </a:lnTo>
                        <a:lnTo>
                          <a:pt x="1484" y="271"/>
                        </a:lnTo>
                        <a:lnTo>
                          <a:pt x="1479" y="267"/>
                        </a:lnTo>
                        <a:lnTo>
                          <a:pt x="1474" y="267"/>
                        </a:lnTo>
                        <a:lnTo>
                          <a:pt x="1472" y="276"/>
                        </a:lnTo>
                        <a:lnTo>
                          <a:pt x="1474" y="279"/>
                        </a:lnTo>
                        <a:lnTo>
                          <a:pt x="1477" y="277"/>
                        </a:lnTo>
                        <a:lnTo>
                          <a:pt x="1476" y="281"/>
                        </a:lnTo>
                        <a:lnTo>
                          <a:pt x="1476" y="289"/>
                        </a:lnTo>
                        <a:lnTo>
                          <a:pt x="1479" y="287"/>
                        </a:lnTo>
                        <a:lnTo>
                          <a:pt x="1482" y="289"/>
                        </a:lnTo>
                        <a:lnTo>
                          <a:pt x="1482" y="296"/>
                        </a:lnTo>
                        <a:lnTo>
                          <a:pt x="1489" y="297"/>
                        </a:lnTo>
                        <a:lnTo>
                          <a:pt x="1499" y="302"/>
                        </a:lnTo>
                        <a:lnTo>
                          <a:pt x="1504" y="301"/>
                        </a:lnTo>
                        <a:lnTo>
                          <a:pt x="1505" y="297"/>
                        </a:lnTo>
                        <a:lnTo>
                          <a:pt x="1504" y="294"/>
                        </a:lnTo>
                        <a:lnTo>
                          <a:pt x="1510" y="294"/>
                        </a:lnTo>
                        <a:lnTo>
                          <a:pt x="1512" y="297"/>
                        </a:lnTo>
                        <a:lnTo>
                          <a:pt x="1510" y="302"/>
                        </a:lnTo>
                        <a:lnTo>
                          <a:pt x="1512" y="306"/>
                        </a:lnTo>
                        <a:lnTo>
                          <a:pt x="1514" y="306"/>
                        </a:lnTo>
                        <a:lnTo>
                          <a:pt x="1517" y="294"/>
                        </a:lnTo>
                        <a:lnTo>
                          <a:pt x="1517" y="286"/>
                        </a:lnTo>
                        <a:lnTo>
                          <a:pt x="1519" y="279"/>
                        </a:lnTo>
                        <a:lnTo>
                          <a:pt x="1524" y="274"/>
                        </a:lnTo>
                        <a:lnTo>
                          <a:pt x="1527" y="271"/>
                        </a:lnTo>
                        <a:lnTo>
                          <a:pt x="1527" y="276"/>
                        </a:lnTo>
                        <a:lnTo>
                          <a:pt x="1520" y="284"/>
                        </a:lnTo>
                        <a:lnTo>
                          <a:pt x="1520" y="291"/>
                        </a:lnTo>
                        <a:lnTo>
                          <a:pt x="1522" y="294"/>
                        </a:lnTo>
                        <a:lnTo>
                          <a:pt x="1519" y="302"/>
                        </a:lnTo>
                        <a:lnTo>
                          <a:pt x="1522" y="306"/>
                        </a:lnTo>
                        <a:lnTo>
                          <a:pt x="1520" y="309"/>
                        </a:lnTo>
                        <a:lnTo>
                          <a:pt x="1522" y="311"/>
                        </a:lnTo>
                        <a:lnTo>
                          <a:pt x="1522" y="311"/>
                        </a:lnTo>
                        <a:close/>
                        <a:moveTo>
                          <a:pt x="1534" y="118"/>
                        </a:moveTo>
                        <a:lnTo>
                          <a:pt x="1535" y="116"/>
                        </a:lnTo>
                        <a:lnTo>
                          <a:pt x="1539" y="116"/>
                        </a:lnTo>
                        <a:lnTo>
                          <a:pt x="1540" y="118"/>
                        </a:lnTo>
                        <a:lnTo>
                          <a:pt x="1544" y="118"/>
                        </a:lnTo>
                        <a:lnTo>
                          <a:pt x="1545" y="121"/>
                        </a:lnTo>
                        <a:lnTo>
                          <a:pt x="1542" y="121"/>
                        </a:lnTo>
                        <a:lnTo>
                          <a:pt x="1540" y="120"/>
                        </a:lnTo>
                        <a:lnTo>
                          <a:pt x="1535" y="120"/>
                        </a:lnTo>
                        <a:lnTo>
                          <a:pt x="1534" y="118"/>
                        </a:lnTo>
                        <a:lnTo>
                          <a:pt x="1534" y="118"/>
                        </a:lnTo>
                        <a:close/>
                        <a:moveTo>
                          <a:pt x="1537" y="309"/>
                        </a:moveTo>
                        <a:lnTo>
                          <a:pt x="1539" y="304"/>
                        </a:lnTo>
                        <a:lnTo>
                          <a:pt x="1542" y="302"/>
                        </a:lnTo>
                        <a:lnTo>
                          <a:pt x="1542" y="299"/>
                        </a:lnTo>
                        <a:lnTo>
                          <a:pt x="1545" y="297"/>
                        </a:lnTo>
                        <a:lnTo>
                          <a:pt x="1547" y="299"/>
                        </a:lnTo>
                        <a:lnTo>
                          <a:pt x="1545" y="301"/>
                        </a:lnTo>
                        <a:lnTo>
                          <a:pt x="1544" y="304"/>
                        </a:lnTo>
                        <a:lnTo>
                          <a:pt x="1539" y="307"/>
                        </a:lnTo>
                        <a:lnTo>
                          <a:pt x="1537" y="309"/>
                        </a:lnTo>
                        <a:lnTo>
                          <a:pt x="1537" y="309"/>
                        </a:lnTo>
                        <a:close/>
                        <a:moveTo>
                          <a:pt x="1587" y="267"/>
                        </a:moveTo>
                        <a:lnTo>
                          <a:pt x="1593" y="259"/>
                        </a:lnTo>
                        <a:lnTo>
                          <a:pt x="1597" y="259"/>
                        </a:lnTo>
                        <a:lnTo>
                          <a:pt x="1602" y="257"/>
                        </a:lnTo>
                        <a:lnTo>
                          <a:pt x="1605" y="259"/>
                        </a:lnTo>
                        <a:lnTo>
                          <a:pt x="1610" y="262"/>
                        </a:lnTo>
                        <a:lnTo>
                          <a:pt x="1608" y="266"/>
                        </a:lnTo>
                        <a:lnTo>
                          <a:pt x="1602" y="266"/>
                        </a:lnTo>
                        <a:lnTo>
                          <a:pt x="1598" y="269"/>
                        </a:lnTo>
                        <a:lnTo>
                          <a:pt x="1592" y="269"/>
                        </a:lnTo>
                        <a:lnTo>
                          <a:pt x="1588" y="269"/>
                        </a:lnTo>
                        <a:lnTo>
                          <a:pt x="1587" y="267"/>
                        </a:lnTo>
                        <a:lnTo>
                          <a:pt x="1587" y="267"/>
                        </a:lnTo>
                        <a:close/>
                        <a:moveTo>
                          <a:pt x="1952" y="8"/>
                        </a:moveTo>
                        <a:lnTo>
                          <a:pt x="1954" y="5"/>
                        </a:lnTo>
                        <a:lnTo>
                          <a:pt x="1957" y="5"/>
                        </a:lnTo>
                        <a:lnTo>
                          <a:pt x="1959" y="8"/>
                        </a:lnTo>
                        <a:lnTo>
                          <a:pt x="1956" y="10"/>
                        </a:lnTo>
                        <a:lnTo>
                          <a:pt x="1952" y="8"/>
                        </a:lnTo>
                        <a:lnTo>
                          <a:pt x="1952" y="8"/>
                        </a:lnTo>
                        <a:close/>
                        <a:moveTo>
                          <a:pt x="1776" y="317"/>
                        </a:moveTo>
                        <a:lnTo>
                          <a:pt x="1775" y="319"/>
                        </a:lnTo>
                        <a:lnTo>
                          <a:pt x="1778" y="322"/>
                        </a:lnTo>
                        <a:lnTo>
                          <a:pt x="1781" y="322"/>
                        </a:lnTo>
                        <a:lnTo>
                          <a:pt x="1783" y="319"/>
                        </a:lnTo>
                        <a:lnTo>
                          <a:pt x="1780" y="317"/>
                        </a:lnTo>
                        <a:lnTo>
                          <a:pt x="1780" y="317"/>
                        </a:lnTo>
                        <a:lnTo>
                          <a:pt x="1776" y="317"/>
                        </a:lnTo>
                        <a:lnTo>
                          <a:pt x="1776" y="317"/>
                        </a:lnTo>
                        <a:close/>
                        <a:moveTo>
                          <a:pt x="1690" y="367"/>
                        </a:moveTo>
                        <a:lnTo>
                          <a:pt x="1691" y="369"/>
                        </a:lnTo>
                        <a:lnTo>
                          <a:pt x="1696" y="369"/>
                        </a:lnTo>
                        <a:lnTo>
                          <a:pt x="1693" y="365"/>
                        </a:lnTo>
                        <a:lnTo>
                          <a:pt x="1690" y="367"/>
                        </a:lnTo>
                        <a:lnTo>
                          <a:pt x="1690" y="367"/>
                        </a:lnTo>
                        <a:close/>
                        <a:moveTo>
                          <a:pt x="1567" y="364"/>
                        </a:moveTo>
                        <a:lnTo>
                          <a:pt x="1565" y="359"/>
                        </a:lnTo>
                        <a:lnTo>
                          <a:pt x="1565" y="357"/>
                        </a:lnTo>
                        <a:lnTo>
                          <a:pt x="1567" y="355"/>
                        </a:lnTo>
                        <a:lnTo>
                          <a:pt x="1570" y="359"/>
                        </a:lnTo>
                        <a:lnTo>
                          <a:pt x="1570" y="362"/>
                        </a:lnTo>
                        <a:lnTo>
                          <a:pt x="1569" y="364"/>
                        </a:lnTo>
                        <a:lnTo>
                          <a:pt x="1567" y="364"/>
                        </a:lnTo>
                        <a:lnTo>
                          <a:pt x="1567" y="364"/>
                        </a:lnTo>
                        <a:close/>
                        <a:moveTo>
                          <a:pt x="1532" y="430"/>
                        </a:moveTo>
                        <a:lnTo>
                          <a:pt x="1532" y="429"/>
                        </a:lnTo>
                        <a:lnTo>
                          <a:pt x="1532" y="424"/>
                        </a:lnTo>
                        <a:lnTo>
                          <a:pt x="1530" y="419"/>
                        </a:lnTo>
                        <a:lnTo>
                          <a:pt x="1529" y="417"/>
                        </a:lnTo>
                        <a:lnTo>
                          <a:pt x="1527" y="419"/>
                        </a:lnTo>
                        <a:lnTo>
                          <a:pt x="1525" y="424"/>
                        </a:lnTo>
                        <a:lnTo>
                          <a:pt x="1527" y="432"/>
                        </a:lnTo>
                        <a:lnTo>
                          <a:pt x="1530" y="437"/>
                        </a:lnTo>
                        <a:lnTo>
                          <a:pt x="1529" y="440"/>
                        </a:lnTo>
                        <a:lnTo>
                          <a:pt x="1527" y="440"/>
                        </a:lnTo>
                        <a:lnTo>
                          <a:pt x="1524" y="439"/>
                        </a:lnTo>
                        <a:lnTo>
                          <a:pt x="1514" y="439"/>
                        </a:lnTo>
                        <a:lnTo>
                          <a:pt x="1514" y="435"/>
                        </a:lnTo>
                        <a:lnTo>
                          <a:pt x="1512" y="434"/>
                        </a:lnTo>
                        <a:lnTo>
                          <a:pt x="1504" y="430"/>
                        </a:lnTo>
                        <a:lnTo>
                          <a:pt x="1500" y="430"/>
                        </a:lnTo>
                        <a:lnTo>
                          <a:pt x="1500" y="429"/>
                        </a:lnTo>
                        <a:lnTo>
                          <a:pt x="1499" y="427"/>
                        </a:lnTo>
                        <a:lnTo>
                          <a:pt x="1495" y="427"/>
                        </a:lnTo>
                        <a:lnTo>
                          <a:pt x="1495" y="425"/>
                        </a:lnTo>
                        <a:lnTo>
                          <a:pt x="1497" y="422"/>
                        </a:lnTo>
                        <a:lnTo>
                          <a:pt x="1500" y="420"/>
                        </a:lnTo>
                        <a:lnTo>
                          <a:pt x="1502" y="417"/>
                        </a:lnTo>
                        <a:lnTo>
                          <a:pt x="1502" y="414"/>
                        </a:lnTo>
                        <a:lnTo>
                          <a:pt x="1499" y="409"/>
                        </a:lnTo>
                        <a:lnTo>
                          <a:pt x="1497" y="407"/>
                        </a:lnTo>
                        <a:lnTo>
                          <a:pt x="1497" y="410"/>
                        </a:lnTo>
                        <a:lnTo>
                          <a:pt x="1499" y="412"/>
                        </a:lnTo>
                        <a:lnTo>
                          <a:pt x="1499" y="415"/>
                        </a:lnTo>
                        <a:lnTo>
                          <a:pt x="1497" y="419"/>
                        </a:lnTo>
                        <a:lnTo>
                          <a:pt x="1494" y="419"/>
                        </a:lnTo>
                        <a:lnTo>
                          <a:pt x="1492" y="419"/>
                        </a:lnTo>
                        <a:lnTo>
                          <a:pt x="1494" y="420"/>
                        </a:lnTo>
                        <a:lnTo>
                          <a:pt x="1494" y="424"/>
                        </a:lnTo>
                        <a:lnTo>
                          <a:pt x="1490" y="425"/>
                        </a:lnTo>
                        <a:lnTo>
                          <a:pt x="1489" y="425"/>
                        </a:lnTo>
                        <a:lnTo>
                          <a:pt x="1485" y="420"/>
                        </a:lnTo>
                        <a:lnTo>
                          <a:pt x="1485" y="419"/>
                        </a:lnTo>
                        <a:lnTo>
                          <a:pt x="1485" y="415"/>
                        </a:lnTo>
                        <a:lnTo>
                          <a:pt x="1487" y="410"/>
                        </a:lnTo>
                        <a:lnTo>
                          <a:pt x="1487" y="409"/>
                        </a:lnTo>
                        <a:lnTo>
                          <a:pt x="1487" y="405"/>
                        </a:lnTo>
                        <a:lnTo>
                          <a:pt x="1484" y="407"/>
                        </a:lnTo>
                        <a:lnTo>
                          <a:pt x="1484" y="412"/>
                        </a:lnTo>
                        <a:lnTo>
                          <a:pt x="1481" y="415"/>
                        </a:lnTo>
                        <a:lnTo>
                          <a:pt x="1482" y="417"/>
                        </a:lnTo>
                        <a:lnTo>
                          <a:pt x="1481" y="420"/>
                        </a:lnTo>
                        <a:lnTo>
                          <a:pt x="1476" y="420"/>
                        </a:lnTo>
                        <a:lnTo>
                          <a:pt x="1474" y="417"/>
                        </a:lnTo>
                        <a:lnTo>
                          <a:pt x="1471" y="417"/>
                        </a:lnTo>
                        <a:lnTo>
                          <a:pt x="1469" y="415"/>
                        </a:lnTo>
                        <a:lnTo>
                          <a:pt x="1471" y="412"/>
                        </a:lnTo>
                        <a:lnTo>
                          <a:pt x="1472" y="407"/>
                        </a:lnTo>
                        <a:lnTo>
                          <a:pt x="1474" y="405"/>
                        </a:lnTo>
                        <a:lnTo>
                          <a:pt x="1474" y="402"/>
                        </a:lnTo>
                        <a:lnTo>
                          <a:pt x="1479" y="392"/>
                        </a:lnTo>
                        <a:lnTo>
                          <a:pt x="1476" y="394"/>
                        </a:lnTo>
                        <a:lnTo>
                          <a:pt x="1472" y="395"/>
                        </a:lnTo>
                        <a:lnTo>
                          <a:pt x="1469" y="404"/>
                        </a:lnTo>
                        <a:lnTo>
                          <a:pt x="1469" y="410"/>
                        </a:lnTo>
                        <a:lnTo>
                          <a:pt x="1466" y="414"/>
                        </a:lnTo>
                        <a:lnTo>
                          <a:pt x="1464" y="412"/>
                        </a:lnTo>
                        <a:lnTo>
                          <a:pt x="1467" y="409"/>
                        </a:lnTo>
                        <a:lnTo>
                          <a:pt x="1467" y="407"/>
                        </a:lnTo>
                        <a:lnTo>
                          <a:pt x="1466" y="407"/>
                        </a:lnTo>
                        <a:lnTo>
                          <a:pt x="1462" y="412"/>
                        </a:lnTo>
                        <a:lnTo>
                          <a:pt x="1457" y="412"/>
                        </a:lnTo>
                        <a:lnTo>
                          <a:pt x="1456" y="410"/>
                        </a:lnTo>
                        <a:lnTo>
                          <a:pt x="1457" y="405"/>
                        </a:lnTo>
                        <a:lnTo>
                          <a:pt x="1456" y="402"/>
                        </a:lnTo>
                        <a:lnTo>
                          <a:pt x="1456" y="399"/>
                        </a:lnTo>
                        <a:lnTo>
                          <a:pt x="1461" y="395"/>
                        </a:lnTo>
                        <a:lnTo>
                          <a:pt x="1462" y="394"/>
                        </a:lnTo>
                        <a:lnTo>
                          <a:pt x="1462" y="390"/>
                        </a:lnTo>
                        <a:lnTo>
                          <a:pt x="1464" y="387"/>
                        </a:lnTo>
                        <a:lnTo>
                          <a:pt x="1467" y="384"/>
                        </a:lnTo>
                        <a:lnTo>
                          <a:pt x="1471" y="384"/>
                        </a:lnTo>
                        <a:lnTo>
                          <a:pt x="1472" y="382"/>
                        </a:lnTo>
                        <a:lnTo>
                          <a:pt x="1479" y="382"/>
                        </a:lnTo>
                        <a:lnTo>
                          <a:pt x="1482" y="379"/>
                        </a:lnTo>
                        <a:lnTo>
                          <a:pt x="1487" y="377"/>
                        </a:lnTo>
                        <a:lnTo>
                          <a:pt x="1489" y="377"/>
                        </a:lnTo>
                        <a:lnTo>
                          <a:pt x="1489" y="374"/>
                        </a:lnTo>
                        <a:lnTo>
                          <a:pt x="1492" y="372"/>
                        </a:lnTo>
                        <a:lnTo>
                          <a:pt x="1495" y="372"/>
                        </a:lnTo>
                        <a:lnTo>
                          <a:pt x="1502" y="374"/>
                        </a:lnTo>
                        <a:lnTo>
                          <a:pt x="1510" y="374"/>
                        </a:lnTo>
                        <a:lnTo>
                          <a:pt x="1512" y="372"/>
                        </a:lnTo>
                        <a:lnTo>
                          <a:pt x="1517" y="374"/>
                        </a:lnTo>
                        <a:lnTo>
                          <a:pt x="1519" y="377"/>
                        </a:lnTo>
                        <a:lnTo>
                          <a:pt x="1522" y="377"/>
                        </a:lnTo>
                        <a:lnTo>
                          <a:pt x="1522" y="375"/>
                        </a:lnTo>
                        <a:lnTo>
                          <a:pt x="1525" y="375"/>
                        </a:lnTo>
                        <a:lnTo>
                          <a:pt x="1530" y="379"/>
                        </a:lnTo>
                        <a:lnTo>
                          <a:pt x="1532" y="377"/>
                        </a:lnTo>
                        <a:lnTo>
                          <a:pt x="1537" y="377"/>
                        </a:lnTo>
                        <a:lnTo>
                          <a:pt x="1539" y="375"/>
                        </a:lnTo>
                        <a:lnTo>
                          <a:pt x="1537" y="374"/>
                        </a:lnTo>
                        <a:lnTo>
                          <a:pt x="1534" y="375"/>
                        </a:lnTo>
                        <a:lnTo>
                          <a:pt x="1530" y="372"/>
                        </a:lnTo>
                        <a:lnTo>
                          <a:pt x="1527" y="372"/>
                        </a:lnTo>
                        <a:lnTo>
                          <a:pt x="1529" y="370"/>
                        </a:lnTo>
                        <a:lnTo>
                          <a:pt x="1530" y="369"/>
                        </a:lnTo>
                        <a:lnTo>
                          <a:pt x="1532" y="365"/>
                        </a:lnTo>
                        <a:lnTo>
                          <a:pt x="1527" y="365"/>
                        </a:lnTo>
                        <a:lnTo>
                          <a:pt x="1529" y="364"/>
                        </a:lnTo>
                        <a:lnTo>
                          <a:pt x="1534" y="364"/>
                        </a:lnTo>
                        <a:lnTo>
                          <a:pt x="1534" y="362"/>
                        </a:lnTo>
                        <a:lnTo>
                          <a:pt x="1529" y="360"/>
                        </a:lnTo>
                        <a:lnTo>
                          <a:pt x="1529" y="362"/>
                        </a:lnTo>
                        <a:lnTo>
                          <a:pt x="1525" y="362"/>
                        </a:lnTo>
                        <a:lnTo>
                          <a:pt x="1522" y="359"/>
                        </a:lnTo>
                        <a:lnTo>
                          <a:pt x="1522" y="357"/>
                        </a:lnTo>
                        <a:lnTo>
                          <a:pt x="1527" y="354"/>
                        </a:lnTo>
                        <a:lnTo>
                          <a:pt x="1527" y="350"/>
                        </a:lnTo>
                        <a:lnTo>
                          <a:pt x="1525" y="350"/>
                        </a:lnTo>
                        <a:lnTo>
                          <a:pt x="1524" y="347"/>
                        </a:lnTo>
                        <a:lnTo>
                          <a:pt x="1524" y="341"/>
                        </a:lnTo>
                        <a:lnTo>
                          <a:pt x="1525" y="339"/>
                        </a:lnTo>
                        <a:lnTo>
                          <a:pt x="1524" y="336"/>
                        </a:lnTo>
                        <a:lnTo>
                          <a:pt x="1524" y="331"/>
                        </a:lnTo>
                        <a:lnTo>
                          <a:pt x="1527" y="331"/>
                        </a:lnTo>
                        <a:lnTo>
                          <a:pt x="1532" y="329"/>
                        </a:lnTo>
                        <a:lnTo>
                          <a:pt x="1537" y="331"/>
                        </a:lnTo>
                        <a:lnTo>
                          <a:pt x="1540" y="329"/>
                        </a:lnTo>
                        <a:lnTo>
                          <a:pt x="1545" y="331"/>
                        </a:lnTo>
                        <a:lnTo>
                          <a:pt x="1549" y="331"/>
                        </a:lnTo>
                        <a:lnTo>
                          <a:pt x="1554" y="336"/>
                        </a:lnTo>
                        <a:lnTo>
                          <a:pt x="1557" y="345"/>
                        </a:lnTo>
                        <a:lnTo>
                          <a:pt x="1557" y="357"/>
                        </a:lnTo>
                        <a:lnTo>
                          <a:pt x="1555" y="364"/>
                        </a:lnTo>
                        <a:lnTo>
                          <a:pt x="1557" y="365"/>
                        </a:lnTo>
                        <a:lnTo>
                          <a:pt x="1560" y="364"/>
                        </a:lnTo>
                        <a:lnTo>
                          <a:pt x="1569" y="367"/>
                        </a:lnTo>
                        <a:lnTo>
                          <a:pt x="1572" y="372"/>
                        </a:lnTo>
                        <a:lnTo>
                          <a:pt x="1575" y="374"/>
                        </a:lnTo>
                        <a:lnTo>
                          <a:pt x="1575" y="370"/>
                        </a:lnTo>
                        <a:lnTo>
                          <a:pt x="1585" y="370"/>
                        </a:lnTo>
                        <a:lnTo>
                          <a:pt x="1590" y="375"/>
                        </a:lnTo>
                        <a:lnTo>
                          <a:pt x="1593" y="374"/>
                        </a:lnTo>
                        <a:lnTo>
                          <a:pt x="1590" y="372"/>
                        </a:lnTo>
                        <a:lnTo>
                          <a:pt x="1593" y="369"/>
                        </a:lnTo>
                        <a:lnTo>
                          <a:pt x="1602" y="365"/>
                        </a:lnTo>
                        <a:lnTo>
                          <a:pt x="1607" y="359"/>
                        </a:lnTo>
                        <a:lnTo>
                          <a:pt x="1615" y="354"/>
                        </a:lnTo>
                        <a:lnTo>
                          <a:pt x="1623" y="347"/>
                        </a:lnTo>
                        <a:lnTo>
                          <a:pt x="1623" y="342"/>
                        </a:lnTo>
                        <a:lnTo>
                          <a:pt x="1627" y="341"/>
                        </a:lnTo>
                        <a:lnTo>
                          <a:pt x="1623" y="341"/>
                        </a:lnTo>
                        <a:lnTo>
                          <a:pt x="1620" y="342"/>
                        </a:lnTo>
                        <a:lnTo>
                          <a:pt x="1620" y="345"/>
                        </a:lnTo>
                        <a:lnTo>
                          <a:pt x="1612" y="354"/>
                        </a:lnTo>
                        <a:lnTo>
                          <a:pt x="1607" y="357"/>
                        </a:lnTo>
                        <a:lnTo>
                          <a:pt x="1607" y="357"/>
                        </a:lnTo>
                        <a:lnTo>
                          <a:pt x="1600" y="364"/>
                        </a:lnTo>
                        <a:lnTo>
                          <a:pt x="1592" y="365"/>
                        </a:lnTo>
                        <a:lnTo>
                          <a:pt x="1588" y="364"/>
                        </a:lnTo>
                        <a:lnTo>
                          <a:pt x="1585" y="364"/>
                        </a:lnTo>
                        <a:lnTo>
                          <a:pt x="1585" y="365"/>
                        </a:lnTo>
                        <a:lnTo>
                          <a:pt x="1580" y="365"/>
                        </a:lnTo>
                        <a:lnTo>
                          <a:pt x="1574" y="362"/>
                        </a:lnTo>
                        <a:lnTo>
                          <a:pt x="1574" y="360"/>
                        </a:lnTo>
                        <a:lnTo>
                          <a:pt x="1577" y="357"/>
                        </a:lnTo>
                        <a:lnTo>
                          <a:pt x="1582" y="354"/>
                        </a:lnTo>
                        <a:lnTo>
                          <a:pt x="1582" y="350"/>
                        </a:lnTo>
                        <a:lnTo>
                          <a:pt x="1577" y="354"/>
                        </a:lnTo>
                        <a:lnTo>
                          <a:pt x="1575" y="357"/>
                        </a:lnTo>
                        <a:lnTo>
                          <a:pt x="1572" y="355"/>
                        </a:lnTo>
                        <a:lnTo>
                          <a:pt x="1569" y="350"/>
                        </a:lnTo>
                        <a:lnTo>
                          <a:pt x="1569" y="349"/>
                        </a:lnTo>
                        <a:lnTo>
                          <a:pt x="1572" y="349"/>
                        </a:lnTo>
                        <a:lnTo>
                          <a:pt x="1575" y="347"/>
                        </a:lnTo>
                        <a:lnTo>
                          <a:pt x="1577" y="345"/>
                        </a:lnTo>
                        <a:lnTo>
                          <a:pt x="1572" y="345"/>
                        </a:lnTo>
                        <a:lnTo>
                          <a:pt x="1572" y="344"/>
                        </a:lnTo>
                        <a:lnTo>
                          <a:pt x="1575" y="342"/>
                        </a:lnTo>
                        <a:lnTo>
                          <a:pt x="1579" y="342"/>
                        </a:lnTo>
                        <a:lnTo>
                          <a:pt x="1582" y="342"/>
                        </a:lnTo>
                        <a:lnTo>
                          <a:pt x="1582" y="341"/>
                        </a:lnTo>
                        <a:lnTo>
                          <a:pt x="1579" y="341"/>
                        </a:lnTo>
                        <a:lnTo>
                          <a:pt x="1575" y="339"/>
                        </a:lnTo>
                        <a:lnTo>
                          <a:pt x="1574" y="341"/>
                        </a:lnTo>
                        <a:lnTo>
                          <a:pt x="1570" y="341"/>
                        </a:lnTo>
                        <a:lnTo>
                          <a:pt x="1569" y="337"/>
                        </a:lnTo>
                        <a:lnTo>
                          <a:pt x="1570" y="336"/>
                        </a:lnTo>
                        <a:lnTo>
                          <a:pt x="1574" y="334"/>
                        </a:lnTo>
                        <a:lnTo>
                          <a:pt x="1577" y="332"/>
                        </a:lnTo>
                        <a:lnTo>
                          <a:pt x="1582" y="332"/>
                        </a:lnTo>
                        <a:lnTo>
                          <a:pt x="1587" y="334"/>
                        </a:lnTo>
                        <a:lnTo>
                          <a:pt x="1590" y="332"/>
                        </a:lnTo>
                        <a:lnTo>
                          <a:pt x="1585" y="332"/>
                        </a:lnTo>
                        <a:lnTo>
                          <a:pt x="1583" y="329"/>
                        </a:lnTo>
                        <a:lnTo>
                          <a:pt x="1588" y="326"/>
                        </a:lnTo>
                        <a:lnTo>
                          <a:pt x="1592" y="326"/>
                        </a:lnTo>
                        <a:lnTo>
                          <a:pt x="1593" y="324"/>
                        </a:lnTo>
                        <a:lnTo>
                          <a:pt x="1588" y="324"/>
                        </a:lnTo>
                        <a:lnTo>
                          <a:pt x="1588" y="321"/>
                        </a:lnTo>
                        <a:lnTo>
                          <a:pt x="1592" y="317"/>
                        </a:lnTo>
                        <a:lnTo>
                          <a:pt x="1597" y="317"/>
                        </a:lnTo>
                        <a:lnTo>
                          <a:pt x="1593" y="314"/>
                        </a:lnTo>
                        <a:lnTo>
                          <a:pt x="1600" y="306"/>
                        </a:lnTo>
                        <a:lnTo>
                          <a:pt x="1603" y="302"/>
                        </a:lnTo>
                        <a:lnTo>
                          <a:pt x="1605" y="301"/>
                        </a:lnTo>
                        <a:lnTo>
                          <a:pt x="1602" y="301"/>
                        </a:lnTo>
                        <a:lnTo>
                          <a:pt x="1595" y="307"/>
                        </a:lnTo>
                        <a:lnTo>
                          <a:pt x="1588" y="317"/>
                        </a:lnTo>
                        <a:lnTo>
                          <a:pt x="1582" y="322"/>
                        </a:lnTo>
                        <a:lnTo>
                          <a:pt x="1577" y="327"/>
                        </a:lnTo>
                        <a:lnTo>
                          <a:pt x="1572" y="327"/>
                        </a:lnTo>
                        <a:lnTo>
                          <a:pt x="1565" y="327"/>
                        </a:lnTo>
                        <a:lnTo>
                          <a:pt x="1565" y="324"/>
                        </a:lnTo>
                        <a:lnTo>
                          <a:pt x="1569" y="319"/>
                        </a:lnTo>
                        <a:lnTo>
                          <a:pt x="1574" y="317"/>
                        </a:lnTo>
                        <a:lnTo>
                          <a:pt x="1574" y="312"/>
                        </a:lnTo>
                        <a:lnTo>
                          <a:pt x="1567" y="317"/>
                        </a:lnTo>
                        <a:lnTo>
                          <a:pt x="1560" y="317"/>
                        </a:lnTo>
                        <a:lnTo>
                          <a:pt x="1560" y="321"/>
                        </a:lnTo>
                        <a:lnTo>
                          <a:pt x="1557" y="322"/>
                        </a:lnTo>
                        <a:lnTo>
                          <a:pt x="1550" y="322"/>
                        </a:lnTo>
                        <a:lnTo>
                          <a:pt x="1544" y="317"/>
                        </a:lnTo>
                        <a:lnTo>
                          <a:pt x="1547" y="316"/>
                        </a:lnTo>
                        <a:lnTo>
                          <a:pt x="1552" y="314"/>
                        </a:lnTo>
                        <a:lnTo>
                          <a:pt x="1550" y="312"/>
                        </a:lnTo>
                        <a:lnTo>
                          <a:pt x="1547" y="312"/>
                        </a:lnTo>
                        <a:lnTo>
                          <a:pt x="1549" y="307"/>
                        </a:lnTo>
                        <a:lnTo>
                          <a:pt x="1554" y="302"/>
                        </a:lnTo>
                        <a:lnTo>
                          <a:pt x="1555" y="299"/>
                        </a:lnTo>
                        <a:lnTo>
                          <a:pt x="1560" y="297"/>
                        </a:lnTo>
                        <a:lnTo>
                          <a:pt x="1564" y="296"/>
                        </a:lnTo>
                        <a:lnTo>
                          <a:pt x="1569" y="294"/>
                        </a:lnTo>
                        <a:lnTo>
                          <a:pt x="1569" y="289"/>
                        </a:lnTo>
                        <a:lnTo>
                          <a:pt x="1572" y="284"/>
                        </a:lnTo>
                        <a:lnTo>
                          <a:pt x="1579" y="276"/>
                        </a:lnTo>
                        <a:lnTo>
                          <a:pt x="1583" y="277"/>
                        </a:lnTo>
                        <a:lnTo>
                          <a:pt x="1592" y="276"/>
                        </a:lnTo>
                        <a:lnTo>
                          <a:pt x="1600" y="277"/>
                        </a:lnTo>
                        <a:lnTo>
                          <a:pt x="1603" y="276"/>
                        </a:lnTo>
                        <a:lnTo>
                          <a:pt x="1607" y="276"/>
                        </a:lnTo>
                        <a:lnTo>
                          <a:pt x="1612" y="272"/>
                        </a:lnTo>
                        <a:lnTo>
                          <a:pt x="1615" y="272"/>
                        </a:lnTo>
                        <a:lnTo>
                          <a:pt x="1617" y="274"/>
                        </a:lnTo>
                        <a:lnTo>
                          <a:pt x="1622" y="279"/>
                        </a:lnTo>
                        <a:lnTo>
                          <a:pt x="1625" y="279"/>
                        </a:lnTo>
                        <a:lnTo>
                          <a:pt x="1637" y="286"/>
                        </a:lnTo>
                        <a:lnTo>
                          <a:pt x="1638" y="289"/>
                        </a:lnTo>
                        <a:lnTo>
                          <a:pt x="1640" y="292"/>
                        </a:lnTo>
                        <a:lnTo>
                          <a:pt x="1643" y="292"/>
                        </a:lnTo>
                        <a:lnTo>
                          <a:pt x="1650" y="302"/>
                        </a:lnTo>
                        <a:lnTo>
                          <a:pt x="1650" y="296"/>
                        </a:lnTo>
                        <a:lnTo>
                          <a:pt x="1655" y="296"/>
                        </a:lnTo>
                        <a:lnTo>
                          <a:pt x="1653" y="292"/>
                        </a:lnTo>
                        <a:lnTo>
                          <a:pt x="1648" y="292"/>
                        </a:lnTo>
                        <a:lnTo>
                          <a:pt x="1645" y="291"/>
                        </a:lnTo>
                        <a:lnTo>
                          <a:pt x="1645" y="287"/>
                        </a:lnTo>
                        <a:lnTo>
                          <a:pt x="1650" y="286"/>
                        </a:lnTo>
                        <a:lnTo>
                          <a:pt x="1660" y="286"/>
                        </a:lnTo>
                        <a:lnTo>
                          <a:pt x="1665" y="289"/>
                        </a:lnTo>
                        <a:lnTo>
                          <a:pt x="1667" y="286"/>
                        </a:lnTo>
                        <a:lnTo>
                          <a:pt x="1667" y="281"/>
                        </a:lnTo>
                        <a:lnTo>
                          <a:pt x="1668" y="277"/>
                        </a:lnTo>
                        <a:lnTo>
                          <a:pt x="1668" y="274"/>
                        </a:lnTo>
                        <a:lnTo>
                          <a:pt x="1667" y="276"/>
                        </a:lnTo>
                        <a:lnTo>
                          <a:pt x="1665" y="279"/>
                        </a:lnTo>
                        <a:lnTo>
                          <a:pt x="1660" y="282"/>
                        </a:lnTo>
                        <a:lnTo>
                          <a:pt x="1657" y="284"/>
                        </a:lnTo>
                        <a:lnTo>
                          <a:pt x="1648" y="282"/>
                        </a:lnTo>
                        <a:lnTo>
                          <a:pt x="1640" y="281"/>
                        </a:lnTo>
                        <a:lnTo>
                          <a:pt x="1638" y="277"/>
                        </a:lnTo>
                        <a:lnTo>
                          <a:pt x="1633" y="276"/>
                        </a:lnTo>
                        <a:lnTo>
                          <a:pt x="1627" y="277"/>
                        </a:lnTo>
                        <a:lnTo>
                          <a:pt x="1622" y="267"/>
                        </a:lnTo>
                        <a:lnTo>
                          <a:pt x="1620" y="259"/>
                        </a:lnTo>
                        <a:lnTo>
                          <a:pt x="1623" y="257"/>
                        </a:lnTo>
                        <a:lnTo>
                          <a:pt x="1628" y="261"/>
                        </a:lnTo>
                        <a:lnTo>
                          <a:pt x="1630" y="264"/>
                        </a:lnTo>
                        <a:lnTo>
                          <a:pt x="1632" y="267"/>
                        </a:lnTo>
                        <a:lnTo>
                          <a:pt x="1635" y="262"/>
                        </a:lnTo>
                        <a:lnTo>
                          <a:pt x="1637" y="256"/>
                        </a:lnTo>
                        <a:lnTo>
                          <a:pt x="1633" y="257"/>
                        </a:lnTo>
                        <a:lnTo>
                          <a:pt x="1632" y="256"/>
                        </a:lnTo>
                        <a:lnTo>
                          <a:pt x="1632" y="251"/>
                        </a:lnTo>
                        <a:lnTo>
                          <a:pt x="1635" y="244"/>
                        </a:lnTo>
                        <a:lnTo>
                          <a:pt x="1635" y="239"/>
                        </a:lnTo>
                        <a:lnTo>
                          <a:pt x="1638" y="233"/>
                        </a:lnTo>
                        <a:lnTo>
                          <a:pt x="1637" y="221"/>
                        </a:lnTo>
                        <a:lnTo>
                          <a:pt x="1635" y="214"/>
                        </a:lnTo>
                        <a:lnTo>
                          <a:pt x="1632" y="213"/>
                        </a:lnTo>
                        <a:lnTo>
                          <a:pt x="1630" y="208"/>
                        </a:lnTo>
                        <a:lnTo>
                          <a:pt x="1630" y="204"/>
                        </a:lnTo>
                        <a:lnTo>
                          <a:pt x="1633" y="203"/>
                        </a:lnTo>
                        <a:lnTo>
                          <a:pt x="1637" y="203"/>
                        </a:lnTo>
                        <a:lnTo>
                          <a:pt x="1638" y="204"/>
                        </a:lnTo>
                        <a:lnTo>
                          <a:pt x="1642" y="206"/>
                        </a:lnTo>
                        <a:lnTo>
                          <a:pt x="1645" y="211"/>
                        </a:lnTo>
                        <a:lnTo>
                          <a:pt x="1647" y="209"/>
                        </a:lnTo>
                        <a:lnTo>
                          <a:pt x="1647" y="206"/>
                        </a:lnTo>
                        <a:lnTo>
                          <a:pt x="1645" y="201"/>
                        </a:lnTo>
                        <a:lnTo>
                          <a:pt x="1640" y="199"/>
                        </a:lnTo>
                        <a:lnTo>
                          <a:pt x="1637" y="198"/>
                        </a:lnTo>
                        <a:lnTo>
                          <a:pt x="1637" y="194"/>
                        </a:lnTo>
                        <a:lnTo>
                          <a:pt x="1638" y="188"/>
                        </a:lnTo>
                        <a:lnTo>
                          <a:pt x="1653" y="174"/>
                        </a:lnTo>
                        <a:lnTo>
                          <a:pt x="1660" y="173"/>
                        </a:lnTo>
                        <a:lnTo>
                          <a:pt x="1665" y="174"/>
                        </a:lnTo>
                        <a:lnTo>
                          <a:pt x="1667" y="178"/>
                        </a:lnTo>
                        <a:lnTo>
                          <a:pt x="1672" y="183"/>
                        </a:lnTo>
                        <a:lnTo>
                          <a:pt x="1677" y="183"/>
                        </a:lnTo>
                        <a:lnTo>
                          <a:pt x="1686" y="188"/>
                        </a:lnTo>
                        <a:lnTo>
                          <a:pt x="1686" y="193"/>
                        </a:lnTo>
                        <a:lnTo>
                          <a:pt x="1691" y="199"/>
                        </a:lnTo>
                        <a:lnTo>
                          <a:pt x="1695" y="209"/>
                        </a:lnTo>
                        <a:lnTo>
                          <a:pt x="1693" y="218"/>
                        </a:lnTo>
                        <a:lnTo>
                          <a:pt x="1695" y="224"/>
                        </a:lnTo>
                        <a:lnTo>
                          <a:pt x="1698" y="229"/>
                        </a:lnTo>
                        <a:lnTo>
                          <a:pt x="1700" y="226"/>
                        </a:lnTo>
                        <a:lnTo>
                          <a:pt x="1701" y="226"/>
                        </a:lnTo>
                        <a:lnTo>
                          <a:pt x="1706" y="231"/>
                        </a:lnTo>
                        <a:lnTo>
                          <a:pt x="1706" y="234"/>
                        </a:lnTo>
                        <a:lnTo>
                          <a:pt x="1708" y="231"/>
                        </a:lnTo>
                        <a:lnTo>
                          <a:pt x="1711" y="229"/>
                        </a:lnTo>
                        <a:lnTo>
                          <a:pt x="1716" y="229"/>
                        </a:lnTo>
                        <a:lnTo>
                          <a:pt x="1713" y="228"/>
                        </a:lnTo>
                        <a:lnTo>
                          <a:pt x="1706" y="228"/>
                        </a:lnTo>
                        <a:lnTo>
                          <a:pt x="1703" y="223"/>
                        </a:lnTo>
                        <a:lnTo>
                          <a:pt x="1700" y="221"/>
                        </a:lnTo>
                        <a:lnTo>
                          <a:pt x="1700" y="219"/>
                        </a:lnTo>
                        <a:lnTo>
                          <a:pt x="1705" y="214"/>
                        </a:lnTo>
                        <a:lnTo>
                          <a:pt x="1705" y="211"/>
                        </a:lnTo>
                        <a:lnTo>
                          <a:pt x="1703" y="196"/>
                        </a:lnTo>
                        <a:lnTo>
                          <a:pt x="1703" y="191"/>
                        </a:lnTo>
                        <a:lnTo>
                          <a:pt x="1703" y="186"/>
                        </a:lnTo>
                        <a:lnTo>
                          <a:pt x="1713" y="186"/>
                        </a:lnTo>
                        <a:lnTo>
                          <a:pt x="1716" y="188"/>
                        </a:lnTo>
                        <a:lnTo>
                          <a:pt x="1723" y="189"/>
                        </a:lnTo>
                        <a:lnTo>
                          <a:pt x="1730" y="189"/>
                        </a:lnTo>
                        <a:lnTo>
                          <a:pt x="1738" y="193"/>
                        </a:lnTo>
                        <a:lnTo>
                          <a:pt x="1746" y="193"/>
                        </a:lnTo>
                        <a:lnTo>
                          <a:pt x="1755" y="189"/>
                        </a:lnTo>
                        <a:lnTo>
                          <a:pt x="1758" y="189"/>
                        </a:lnTo>
                        <a:lnTo>
                          <a:pt x="1763" y="193"/>
                        </a:lnTo>
                        <a:lnTo>
                          <a:pt x="1773" y="194"/>
                        </a:lnTo>
                        <a:lnTo>
                          <a:pt x="1778" y="196"/>
                        </a:lnTo>
                        <a:lnTo>
                          <a:pt x="1783" y="196"/>
                        </a:lnTo>
                        <a:lnTo>
                          <a:pt x="1783" y="193"/>
                        </a:lnTo>
                        <a:lnTo>
                          <a:pt x="1778" y="191"/>
                        </a:lnTo>
                        <a:lnTo>
                          <a:pt x="1771" y="191"/>
                        </a:lnTo>
                        <a:lnTo>
                          <a:pt x="1765" y="189"/>
                        </a:lnTo>
                        <a:lnTo>
                          <a:pt x="1761" y="186"/>
                        </a:lnTo>
                        <a:lnTo>
                          <a:pt x="1763" y="184"/>
                        </a:lnTo>
                        <a:lnTo>
                          <a:pt x="1766" y="184"/>
                        </a:lnTo>
                        <a:lnTo>
                          <a:pt x="1773" y="183"/>
                        </a:lnTo>
                        <a:lnTo>
                          <a:pt x="1789" y="181"/>
                        </a:lnTo>
                        <a:lnTo>
                          <a:pt x="1801" y="179"/>
                        </a:lnTo>
                        <a:lnTo>
                          <a:pt x="1809" y="183"/>
                        </a:lnTo>
                        <a:lnTo>
                          <a:pt x="1816" y="188"/>
                        </a:lnTo>
                        <a:lnTo>
                          <a:pt x="1819" y="184"/>
                        </a:lnTo>
                        <a:lnTo>
                          <a:pt x="1826" y="184"/>
                        </a:lnTo>
                        <a:lnTo>
                          <a:pt x="1823" y="181"/>
                        </a:lnTo>
                        <a:lnTo>
                          <a:pt x="1819" y="181"/>
                        </a:lnTo>
                        <a:lnTo>
                          <a:pt x="1816" y="179"/>
                        </a:lnTo>
                        <a:lnTo>
                          <a:pt x="1816" y="178"/>
                        </a:lnTo>
                        <a:lnTo>
                          <a:pt x="1811" y="174"/>
                        </a:lnTo>
                        <a:lnTo>
                          <a:pt x="1804" y="174"/>
                        </a:lnTo>
                        <a:lnTo>
                          <a:pt x="1801" y="173"/>
                        </a:lnTo>
                        <a:lnTo>
                          <a:pt x="1789" y="174"/>
                        </a:lnTo>
                        <a:lnTo>
                          <a:pt x="1789" y="173"/>
                        </a:lnTo>
                        <a:lnTo>
                          <a:pt x="1791" y="169"/>
                        </a:lnTo>
                        <a:lnTo>
                          <a:pt x="1794" y="164"/>
                        </a:lnTo>
                        <a:lnTo>
                          <a:pt x="1799" y="163"/>
                        </a:lnTo>
                        <a:lnTo>
                          <a:pt x="1804" y="159"/>
                        </a:lnTo>
                        <a:lnTo>
                          <a:pt x="1808" y="154"/>
                        </a:lnTo>
                        <a:lnTo>
                          <a:pt x="1821" y="146"/>
                        </a:lnTo>
                        <a:lnTo>
                          <a:pt x="1828" y="146"/>
                        </a:lnTo>
                        <a:lnTo>
                          <a:pt x="1839" y="141"/>
                        </a:lnTo>
                        <a:lnTo>
                          <a:pt x="1839" y="140"/>
                        </a:lnTo>
                        <a:lnTo>
                          <a:pt x="1826" y="145"/>
                        </a:lnTo>
                        <a:lnTo>
                          <a:pt x="1816" y="145"/>
                        </a:lnTo>
                        <a:lnTo>
                          <a:pt x="1803" y="153"/>
                        </a:lnTo>
                        <a:lnTo>
                          <a:pt x="1803" y="158"/>
                        </a:lnTo>
                        <a:lnTo>
                          <a:pt x="1801" y="158"/>
                        </a:lnTo>
                        <a:lnTo>
                          <a:pt x="1799" y="153"/>
                        </a:lnTo>
                        <a:lnTo>
                          <a:pt x="1798" y="153"/>
                        </a:lnTo>
                        <a:lnTo>
                          <a:pt x="1794" y="158"/>
                        </a:lnTo>
                        <a:lnTo>
                          <a:pt x="1789" y="158"/>
                        </a:lnTo>
                        <a:lnTo>
                          <a:pt x="1783" y="164"/>
                        </a:lnTo>
                        <a:lnTo>
                          <a:pt x="1786" y="164"/>
                        </a:lnTo>
                        <a:lnTo>
                          <a:pt x="1786" y="168"/>
                        </a:lnTo>
                        <a:lnTo>
                          <a:pt x="1778" y="173"/>
                        </a:lnTo>
                        <a:lnTo>
                          <a:pt x="1773" y="174"/>
                        </a:lnTo>
                        <a:lnTo>
                          <a:pt x="1756" y="179"/>
                        </a:lnTo>
                        <a:lnTo>
                          <a:pt x="1751" y="181"/>
                        </a:lnTo>
                        <a:lnTo>
                          <a:pt x="1746" y="181"/>
                        </a:lnTo>
                        <a:lnTo>
                          <a:pt x="1731" y="181"/>
                        </a:lnTo>
                        <a:lnTo>
                          <a:pt x="1726" y="174"/>
                        </a:lnTo>
                        <a:lnTo>
                          <a:pt x="1718" y="176"/>
                        </a:lnTo>
                        <a:lnTo>
                          <a:pt x="1715" y="174"/>
                        </a:lnTo>
                        <a:lnTo>
                          <a:pt x="1715" y="171"/>
                        </a:lnTo>
                        <a:lnTo>
                          <a:pt x="1721" y="166"/>
                        </a:lnTo>
                        <a:lnTo>
                          <a:pt x="1726" y="166"/>
                        </a:lnTo>
                        <a:lnTo>
                          <a:pt x="1731" y="164"/>
                        </a:lnTo>
                        <a:lnTo>
                          <a:pt x="1740" y="163"/>
                        </a:lnTo>
                        <a:lnTo>
                          <a:pt x="1745" y="159"/>
                        </a:lnTo>
                        <a:lnTo>
                          <a:pt x="1741" y="159"/>
                        </a:lnTo>
                        <a:lnTo>
                          <a:pt x="1735" y="161"/>
                        </a:lnTo>
                        <a:lnTo>
                          <a:pt x="1730" y="161"/>
                        </a:lnTo>
                        <a:lnTo>
                          <a:pt x="1723" y="163"/>
                        </a:lnTo>
                        <a:lnTo>
                          <a:pt x="1718" y="163"/>
                        </a:lnTo>
                        <a:lnTo>
                          <a:pt x="1718" y="158"/>
                        </a:lnTo>
                        <a:lnTo>
                          <a:pt x="1725" y="156"/>
                        </a:lnTo>
                        <a:lnTo>
                          <a:pt x="1720" y="154"/>
                        </a:lnTo>
                        <a:lnTo>
                          <a:pt x="1713" y="158"/>
                        </a:lnTo>
                        <a:lnTo>
                          <a:pt x="1711" y="163"/>
                        </a:lnTo>
                        <a:lnTo>
                          <a:pt x="1705" y="169"/>
                        </a:lnTo>
                        <a:lnTo>
                          <a:pt x="1696" y="169"/>
                        </a:lnTo>
                        <a:lnTo>
                          <a:pt x="1686" y="168"/>
                        </a:lnTo>
                        <a:lnTo>
                          <a:pt x="1677" y="166"/>
                        </a:lnTo>
                        <a:lnTo>
                          <a:pt x="1673" y="163"/>
                        </a:lnTo>
                        <a:lnTo>
                          <a:pt x="1673" y="159"/>
                        </a:lnTo>
                        <a:lnTo>
                          <a:pt x="1668" y="159"/>
                        </a:lnTo>
                        <a:lnTo>
                          <a:pt x="1662" y="156"/>
                        </a:lnTo>
                        <a:lnTo>
                          <a:pt x="1663" y="153"/>
                        </a:lnTo>
                        <a:lnTo>
                          <a:pt x="1667" y="151"/>
                        </a:lnTo>
                        <a:lnTo>
                          <a:pt x="1670" y="145"/>
                        </a:lnTo>
                        <a:lnTo>
                          <a:pt x="1678" y="141"/>
                        </a:lnTo>
                        <a:lnTo>
                          <a:pt x="1682" y="136"/>
                        </a:lnTo>
                        <a:lnTo>
                          <a:pt x="1688" y="133"/>
                        </a:lnTo>
                        <a:lnTo>
                          <a:pt x="1691" y="130"/>
                        </a:lnTo>
                        <a:lnTo>
                          <a:pt x="1696" y="131"/>
                        </a:lnTo>
                        <a:lnTo>
                          <a:pt x="1706" y="131"/>
                        </a:lnTo>
                        <a:lnTo>
                          <a:pt x="1710" y="131"/>
                        </a:lnTo>
                        <a:lnTo>
                          <a:pt x="1713" y="131"/>
                        </a:lnTo>
                        <a:lnTo>
                          <a:pt x="1723" y="136"/>
                        </a:lnTo>
                        <a:lnTo>
                          <a:pt x="1731" y="136"/>
                        </a:lnTo>
                        <a:lnTo>
                          <a:pt x="1735" y="138"/>
                        </a:lnTo>
                        <a:lnTo>
                          <a:pt x="1743" y="136"/>
                        </a:lnTo>
                        <a:lnTo>
                          <a:pt x="1745" y="135"/>
                        </a:lnTo>
                        <a:lnTo>
                          <a:pt x="1740" y="133"/>
                        </a:lnTo>
                        <a:lnTo>
                          <a:pt x="1731" y="133"/>
                        </a:lnTo>
                        <a:lnTo>
                          <a:pt x="1721" y="131"/>
                        </a:lnTo>
                        <a:lnTo>
                          <a:pt x="1715" y="128"/>
                        </a:lnTo>
                        <a:lnTo>
                          <a:pt x="1708" y="128"/>
                        </a:lnTo>
                        <a:lnTo>
                          <a:pt x="1700" y="130"/>
                        </a:lnTo>
                        <a:lnTo>
                          <a:pt x="1690" y="126"/>
                        </a:lnTo>
                        <a:lnTo>
                          <a:pt x="1686" y="126"/>
                        </a:lnTo>
                        <a:lnTo>
                          <a:pt x="1683" y="130"/>
                        </a:lnTo>
                        <a:lnTo>
                          <a:pt x="1678" y="135"/>
                        </a:lnTo>
                        <a:lnTo>
                          <a:pt x="1670" y="140"/>
                        </a:lnTo>
                        <a:lnTo>
                          <a:pt x="1662" y="143"/>
                        </a:lnTo>
                        <a:lnTo>
                          <a:pt x="1657" y="149"/>
                        </a:lnTo>
                        <a:lnTo>
                          <a:pt x="1653" y="151"/>
                        </a:lnTo>
                        <a:lnTo>
                          <a:pt x="1650" y="149"/>
                        </a:lnTo>
                        <a:lnTo>
                          <a:pt x="1643" y="141"/>
                        </a:lnTo>
                        <a:lnTo>
                          <a:pt x="1640" y="141"/>
                        </a:lnTo>
                        <a:lnTo>
                          <a:pt x="1638" y="138"/>
                        </a:lnTo>
                        <a:lnTo>
                          <a:pt x="1637" y="133"/>
                        </a:lnTo>
                        <a:lnTo>
                          <a:pt x="1635" y="126"/>
                        </a:lnTo>
                        <a:lnTo>
                          <a:pt x="1633" y="125"/>
                        </a:lnTo>
                        <a:lnTo>
                          <a:pt x="1633" y="118"/>
                        </a:lnTo>
                        <a:lnTo>
                          <a:pt x="1635" y="116"/>
                        </a:lnTo>
                        <a:lnTo>
                          <a:pt x="1640" y="118"/>
                        </a:lnTo>
                        <a:lnTo>
                          <a:pt x="1645" y="116"/>
                        </a:lnTo>
                        <a:lnTo>
                          <a:pt x="1647" y="118"/>
                        </a:lnTo>
                        <a:lnTo>
                          <a:pt x="1662" y="118"/>
                        </a:lnTo>
                        <a:lnTo>
                          <a:pt x="1668" y="123"/>
                        </a:lnTo>
                        <a:lnTo>
                          <a:pt x="1673" y="123"/>
                        </a:lnTo>
                        <a:lnTo>
                          <a:pt x="1675" y="125"/>
                        </a:lnTo>
                        <a:lnTo>
                          <a:pt x="1680" y="125"/>
                        </a:lnTo>
                        <a:lnTo>
                          <a:pt x="1686" y="121"/>
                        </a:lnTo>
                        <a:lnTo>
                          <a:pt x="1691" y="123"/>
                        </a:lnTo>
                        <a:lnTo>
                          <a:pt x="1693" y="121"/>
                        </a:lnTo>
                        <a:lnTo>
                          <a:pt x="1698" y="121"/>
                        </a:lnTo>
                        <a:lnTo>
                          <a:pt x="1700" y="120"/>
                        </a:lnTo>
                        <a:lnTo>
                          <a:pt x="1710" y="118"/>
                        </a:lnTo>
                        <a:lnTo>
                          <a:pt x="1720" y="116"/>
                        </a:lnTo>
                        <a:lnTo>
                          <a:pt x="1721" y="113"/>
                        </a:lnTo>
                        <a:lnTo>
                          <a:pt x="1720" y="111"/>
                        </a:lnTo>
                        <a:lnTo>
                          <a:pt x="1718" y="111"/>
                        </a:lnTo>
                        <a:lnTo>
                          <a:pt x="1715" y="113"/>
                        </a:lnTo>
                        <a:lnTo>
                          <a:pt x="1711" y="115"/>
                        </a:lnTo>
                        <a:lnTo>
                          <a:pt x="1705" y="115"/>
                        </a:lnTo>
                        <a:lnTo>
                          <a:pt x="1696" y="115"/>
                        </a:lnTo>
                        <a:lnTo>
                          <a:pt x="1688" y="120"/>
                        </a:lnTo>
                        <a:lnTo>
                          <a:pt x="1685" y="120"/>
                        </a:lnTo>
                        <a:lnTo>
                          <a:pt x="1678" y="118"/>
                        </a:lnTo>
                        <a:lnTo>
                          <a:pt x="1677" y="120"/>
                        </a:lnTo>
                        <a:lnTo>
                          <a:pt x="1672" y="120"/>
                        </a:lnTo>
                        <a:lnTo>
                          <a:pt x="1667" y="115"/>
                        </a:lnTo>
                        <a:lnTo>
                          <a:pt x="1663" y="115"/>
                        </a:lnTo>
                        <a:lnTo>
                          <a:pt x="1660" y="113"/>
                        </a:lnTo>
                        <a:lnTo>
                          <a:pt x="1655" y="113"/>
                        </a:lnTo>
                        <a:lnTo>
                          <a:pt x="1647" y="110"/>
                        </a:lnTo>
                        <a:lnTo>
                          <a:pt x="1642" y="113"/>
                        </a:lnTo>
                        <a:lnTo>
                          <a:pt x="1637" y="110"/>
                        </a:lnTo>
                        <a:lnTo>
                          <a:pt x="1635" y="106"/>
                        </a:lnTo>
                        <a:lnTo>
                          <a:pt x="1638" y="105"/>
                        </a:lnTo>
                        <a:lnTo>
                          <a:pt x="1638" y="100"/>
                        </a:lnTo>
                        <a:lnTo>
                          <a:pt x="1642" y="96"/>
                        </a:lnTo>
                        <a:lnTo>
                          <a:pt x="1643" y="96"/>
                        </a:lnTo>
                        <a:lnTo>
                          <a:pt x="1647" y="101"/>
                        </a:lnTo>
                        <a:lnTo>
                          <a:pt x="1655" y="100"/>
                        </a:lnTo>
                        <a:lnTo>
                          <a:pt x="1657" y="100"/>
                        </a:lnTo>
                        <a:lnTo>
                          <a:pt x="1653" y="96"/>
                        </a:lnTo>
                        <a:lnTo>
                          <a:pt x="1648" y="96"/>
                        </a:lnTo>
                        <a:lnTo>
                          <a:pt x="1645" y="91"/>
                        </a:lnTo>
                        <a:lnTo>
                          <a:pt x="1647" y="90"/>
                        </a:lnTo>
                        <a:lnTo>
                          <a:pt x="1653" y="90"/>
                        </a:lnTo>
                        <a:lnTo>
                          <a:pt x="1660" y="85"/>
                        </a:lnTo>
                        <a:lnTo>
                          <a:pt x="1668" y="85"/>
                        </a:lnTo>
                        <a:lnTo>
                          <a:pt x="1672" y="83"/>
                        </a:lnTo>
                        <a:lnTo>
                          <a:pt x="1677" y="83"/>
                        </a:lnTo>
                        <a:lnTo>
                          <a:pt x="1680" y="85"/>
                        </a:lnTo>
                        <a:lnTo>
                          <a:pt x="1683" y="83"/>
                        </a:lnTo>
                        <a:lnTo>
                          <a:pt x="1683" y="81"/>
                        </a:lnTo>
                        <a:lnTo>
                          <a:pt x="1682" y="78"/>
                        </a:lnTo>
                        <a:lnTo>
                          <a:pt x="1672" y="80"/>
                        </a:lnTo>
                        <a:lnTo>
                          <a:pt x="1663" y="81"/>
                        </a:lnTo>
                        <a:lnTo>
                          <a:pt x="1657" y="83"/>
                        </a:lnTo>
                        <a:lnTo>
                          <a:pt x="1652" y="83"/>
                        </a:lnTo>
                        <a:lnTo>
                          <a:pt x="1648" y="86"/>
                        </a:lnTo>
                        <a:lnTo>
                          <a:pt x="1645" y="86"/>
                        </a:lnTo>
                        <a:lnTo>
                          <a:pt x="1645" y="83"/>
                        </a:lnTo>
                        <a:lnTo>
                          <a:pt x="1643" y="80"/>
                        </a:lnTo>
                        <a:lnTo>
                          <a:pt x="1648" y="76"/>
                        </a:lnTo>
                        <a:lnTo>
                          <a:pt x="1657" y="71"/>
                        </a:lnTo>
                        <a:lnTo>
                          <a:pt x="1663" y="71"/>
                        </a:lnTo>
                        <a:lnTo>
                          <a:pt x="1667" y="70"/>
                        </a:lnTo>
                        <a:lnTo>
                          <a:pt x="1662" y="70"/>
                        </a:lnTo>
                        <a:lnTo>
                          <a:pt x="1660" y="68"/>
                        </a:lnTo>
                        <a:lnTo>
                          <a:pt x="1662" y="61"/>
                        </a:lnTo>
                        <a:lnTo>
                          <a:pt x="1658" y="63"/>
                        </a:lnTo>
                        <a:lnTo>
                          <a:pt x="1658" y="66"/>
                        </a:lnTo>
                        <a:lnTo>
                          <a:pt x="1655" y="68"/>
                        </a:lnTo>
                        <a:lnTo>
                          <a:pt x="1653" y="63"/>
                        </a:lnTo>
                        <a:lnTo>
                          <a:pt x="1652" y="65"/>
                        </a:lnTo>
                        <a:lnTo>
                          <a:pt x="1648" y="66"/>
                        </a:lnTo>
                        <a:lnTo>
                          <a:pt x="1643" y="66"/>
                        </a:lnTo>
                        <a:lnTo>
                          <a:pt x="1643" y="71"/>
                        </a:lnTo>
                        <a:lnTo>
                          <a:pt x="1642" y="73"/>
                        </a:lnTo>
                        <a:lnTo>
                          <a:pt x="1635" y="75"/>
                        </a:lnTo>
                        <a:lnTo>
                          <a:pt x="1635" y="71"/>
                        </a:lnTo>
                        <a:lnTo>
                          <a:pt x="1635" y="66"/>
                        </a:lnTo>
                        <a:lnTo>
                          <a:pt x="1633" y="66"/>
                        </a:lnTo>
                        <a:lnTo>
                          <a:pt x="1633" y="61"/>
                        </a:lnTo>
                        <a:lnTo>
                          <a:pt x="1633" y="60"/>
                        </a:lnTo>
                        <a:lnTo>
                          <a:pt x="1637" y="61"/>
                        </a:lnTo>
                        <a:lnTo>
                          <a:pt x="1638" y="56"/>
                        </a:lnTo>
                        <a:lnTo>
                          <a:pt x="1642" y="55"/>
                        </a:lnTo>
                        <a:lnTo>
                          <a:pt x="1648" y="56"/>
                        </a:lnTo>
                        <a:lnTo>
                          <a:pt x="1650" y="51"/>
                        </a:lnTo>
                        <a:lnTo>
                          <a:pt x="1657" y="48"/>
                        </a:lnTo>
                        <a:lnTo>
                          <a:pt x="1660" y="50"/>
                        </a:lnTo>
                        <a:lnTo>
                          <a:pt x="1667" y="47"/>
                        </a:lnTo>
                        <a:lnTo>
                          <a:pt x="1677" y="45"/>
                        </a:lnTo>
                        <a:lnTo>
                          <a:pt x="1680" y="43"/>
                        </a:lnTo>
                        <a:lnTo>
                          <a:pt x="1683" y="45"/>
                        </a:lnTo>
                        <a:lnTo>
                          <a:pt x="1683" y="48"/>
                        </a:lnTo>
                        <a:lnTo>
                          <a:pt x="1682" y="50"/>
                        </a:lnTo>
                        <a:lnTo>
                          <a:pt x="1682" y="61"/>
                        </a:lnTo>
                        <a:lnTo>
                          <a:pt x="1685" y="60"/>
                        </a:lnTo>
                        <a:lnTo>
                          <a:pt x="1686" y="53"/>
                        </a:lnTo>
                        <a:lnTo>
                          <a:pt x="1690" y="50"/>
                        </a:lnTo>
                        <a:lnTo>
                          <a:pt x="1691" y="53"/>
                        </a:lnTo>
                        <a:lnTo>
                          <a:pt x="1690" y="55"/>
                        </a:lnTo>
                        <a:lnTo>
                          <a:pt x="1691" y="58"/>
                        </a:lnTo>
                        <a:lnTo>
                          <a:pt x="1693" y="56"/>
                        </a:lnTo>
                        <a:lnTo>
                          <a:pt x="1693" y="53"/>
                        </a:lnTo>
                        <a:lnTo>
                          <a:pt x="1695" y="50"/>
                        </a:lnTo>
                        <a:lnTo>
                          <a:pt x="1695" y="47"/>
                        </a:lnTo>
                        <a:lnTo>
                          <a:pt x="1695" y="42"/>
                        </a:lnTo>
                        <a:lnTo>
                          <a:pt x="1698" y="42"/>
                        </a:lnTo>
                        <a:lnTo>
                          <a:pt x="1705" y="37"/>
                        </a:lnTo>
                        <a:lnTo>
                          <a:pt x="1706" y="37"/>
                        </a:lnTo>
                        <a:lnTo>
                          <a:pt x="1708" y="42"/>
                        </a:lnTo>
                        <a:lnTo>
                          <a:pt x="1708" y="47"/>
                        </a:lnTo>
                        <a:lnTo>
                          <a:pt x="1711" y="48"/>
                        </a:lnTo>
                        <a:lnTo>
                          <a:pt x="1713" y="53"/>
                        </a:lnTo>
                        <a:lnTo>
                          <a:pt x="1711" y="56"/>
                        </a:lnTo>
                        <a:lnTo>
                          <a:pt x="1713" y="60"/>
                        </a:lnTo>
                        <a:lnTo>
                          <a:pt x="1713" y="63"/>
                        </a:lnTo>
                        <a:lnTo>
                          <a:pt x="1716" y="66"/>
                        </a:lnTo>
                        <a:lnTo>
                          <a:pt x="1718" y="65"/>
                        </a:lnTo>
                        <a:lnTo>
                          <a:pt x="1716" y="61"/>
                        </a:lnTo>
                        <a:lnTo>
                          <a:pt x="1716" y="56"/>
                        </a:lnTo>
                        <a:lnTo>
                          <a:pt x="1718" y="55"/>
                        </a:lnTo>
                        <a:lnTo>
                          <a:pt x="1723" y="48"/>
                        </a:lnTo>
                        <a:lnTo>
                          <a:pt x="1726" y="48"/>
                        </a:lnTo>
                        <a:lnTo>
                          <a:pt x="1730" y="55"/>
                        </a:lnTo>
                        <a:lnTo>
                          <a:pt x="1731" y="60"/>
                        </a:lnTo>
                        <a:lnTo>
                          <a:pt x="1730" y="63"/>
                        </a:lnTo>
                        <a:lnTo>
                          <a:pt x="1731" y="66"/>
                        </a:lnTo>
                        <a:lnTo>
                          <a:pt x="1733" y="70"/>
                        </a:lnTo>
                        <a:lnTo>
                          <a:pt x="1735" y="66"/>
                        </a:lnTo>
                        <a:lnTo>
                          <a:pt x="1735" y="61"/>
                        </a:lnTo>
                        <a:lnTo>
                          <a:pt x="1738" y="60"/>
                        </a:lnTo>
                        <a:lnTo>
                          <a:pt x="1741" y="58"/>
                        </a:lnTo>
                        <a:lnTo>
                          <a:pt x="1741" y="61"/>
                        </a:lnTo>
                        <a:lnTo>
                          <a:pt x="1740" y="63"/>
                        </a:lnTo>
                        <a:lnTo>
                          <a:pt x="1741" y="66"/>
                        </a:lnTo>
                        <a:lnTo>
                          <a:pt x="1743" y="70"/>
                        </a:lnTo>
                        <a:lnTo>
                          <a:pt x="1746" y="65"/>
                        </a:lnTo>
                        <a:lnTo>
                          <a:pt x="1748" y="65"/>
                        </a:lnTo>
                        <a:lnTo>
                          <a:pt x="1748" y="70"/>
                        </a:lnTo>
                        <a:lnTo>
                          <a:pt x="1751" y="66"/>
                        </a:lnTo>
                        <a:lnTo>
                          <a:pt x="1750" y="61"/>
                        </a:lnTo>
                        <a:lnTo>
                          <a:pt x="1746" y="56"/>
                        </a:lnTo>
                        <a:lnTo>
                          <a:pt x="1745" y="56"/>
                        </a:lnTo>
                        <a:lnTo>
                          <a:pt x="1741" y="53"/>
                        </a:lnTo>
                        <a:lnTo>
                          <a:pt x="1741" y="48"/>
                        </a:lnTo>
                        <a:lnTo>
                          <a:pt x="1738" y="45"/>
                        </a:lnTo>
                        <a:lnTo>
                          <a:pt x="1736" y="42"/>
                        </a:lnTo>
                        <a:lnTo>
                          <a:pt x="1735" y="38"/>
                        </a:lnTo>
                        <a:lnTo>
                          <a:pt x="1735" y="33"/>
                        </a:lnTo>
                        <a:lnTo>
                          <a:pt x="1740" y="35"/>
                        </a:lnTo>
                        <a:lnTo>
                          <a:pt x="1743" y="37"/>
                        </a:lnTo>
                        <a:lnTo>
                          <a:pt x="1748" y="35"/>
                        </a:lnTo>
                        <a:lnTo>
                          <a:pt x="1753" y="37"/>
                        </a:lnTo>
                        <a:lnTo>
                          <a:pt x="1755" y="35"/>
                        </a:lnTo>
                        <a:lnTo>
                          <a:pt x="1755" y="27"/>
                        </a:lnTo>
                        <a:lnTo>
                          <a:pt x="1751" y="23"/>
                        </a:lnTo>
                        <a:lnTo>
                          <a:pt x="1753" y="20"/>
                        </a:lnTo>
                        <a:lnTo>
                          <a:pt x="1758" y="18"/>
                        </a:lnTo>
                        <a:lnTo>
                          <a:pt x="1760" y="20"/>
                        </a:lnTo>
                        <a:lnTo>
                          <a:pt x="1770" y="20"/>
                        </a:lnTo>
                        <a:lnTo>
                          <a:pt x="1773" y="23"/>
                        </a:lnTo>
                        <a:lnTo>
                          <a:pt x="1773" y="27"/>
                        </a:lnTo>
                        <a:lnTo>
                          <a:pt x="1770" y="28"/>
                        </a:lnTo>
                        <a:lnTo>
                          <a:pt x="1770" y="32"/>
                        </a:lnTo>
                        <a:lnTo>
                          <a:pt x="1780" y="35"/>
                        </a:lnTo>
                        <a:lnTo>
                          <a:pt x="1780" y="37"/>
                        </a:lnTo>
                        <a:lnTo>
                          <a:pt x="1778" y="43"/>
                        </a:lnTo>
                        <a:lnTo>
                          <a:pt x="1778" y="53"/>
                        </a:lnTo>
                        <a:lnTo>
                          <a:pt x="1783" y="51"/>
                        </a:lnTo>
                        <a:lnTo>
                          <a:pt x="1784" y="47"/>
                        </a:lnTo>
                        <a:lnTo>
                          <a:pt x="1788" y="47"/>
                        </a:lnTo>
                        <a:lnTo>
                          <a:pt x="1788" y="50"/>
                        </a:lnTo>
                        <a:lnTo>
                          <a:pt x="1789" y="53"/>
                        </a:lnTo>
                        <a:lnTo>
                          <a:pt x="1793" y="50"/>
                        </a:lnTo>
                        <a:lnTo>
                          <a:pt x="1796" y="47"/>
                        </a:lnTo>
                        <a:lnTo>
                          <a:pt x="1801" y="45"/>
                        </a:lnTo>
                        <a:lnTo>
                          <a:pt x="1801" y="43"/>
                        </a:lnTo>
                        <a:lnTo>
                          <a:pt x="1799" y="35"/>
                        </a:lnTo>
                        <a:lnTo>
                          <a:pt x="1801" y="32"/>
                        </a:lnTo>
                        <a:lnTo>
                          <a:pt x="1804" y="32"/>
                        </a:lnTo>
                        <a:lnTo>
                          <a:pt x="1808" y="33"/>
                        </a:lnTo>
                        <a:lnTo>
                          <a:pt x="1814" y="33"/>
                        </a:lnTo>
                        <a:lnTo>
                          <a:pt x="1814" y="30"/>
                        </a:lnTo>
                        <a:lnTo>
                          <a:pt x="1808" y="25"/>
                        </a:lnTo>
                        <a:lnTo>
                          <a:pt x="1806" y="20"/>
                        </a:lnTo>
                        <a:lnTo>
                          <a:pt x="1808" y="18"/>
                        </a:lnTo>
                        <a:lnTo>
                          <a:pt x="1809" y="13"/>
                        </a:lnTo>
                        <a:lnTo>
                          <a:pt x="1811" y="13"/>
                        </a:lnTo>
                        <a:lnTo>
                          <a:pt x="1821" y="17"/>
                        </a:lnTo>
                        <a:lnTo>
                          <a:pt x="1823" y="23"/>
                        </a:lnTo>
                        <a:lnTo>
                          <a:pt x="1823" y="28"/>
                        </a:lnTo>
                        <a:lnTo>
                          <a:pt x="1823" y="33"/>
                        </a:lnTo>
                        <a:lnTo>
                          <a:pt x="1824" y="37"/>
                        </a:lnTo>
                        <a:lnTo>
                          <a:pt x="1826" y="43"/>
                        </a:lnTo>
                        <a:lnTo>
                          <a:pt x="1828" y="47"/>
                        </a:lnTo>
                        <a:lnTo>
                          <a:pt x="1831" y="45"/>
                        </a:lnTo>
                        <a:lnTo>
                          <a:pt x="1831" y="40"/>
                        </a:lnTo>
                        <a:lnTo>
                          <a:pt x="1829" y="37"/>
                        </a:lnTo>
                        <a:lnTo>
                          <a:pt x="1829" y="30"/>
                        </a:lnTo>
                        <a:lnTo>
                          <a:pt x="1826" y="25"/>
                        </a:lnTo>
                        <a:lnTo>
                          <a:pt x="1828" y="17"/>
                        </a:lnTo>
                        <a:lnTo>
                          <a:pt x="1828" y="8"/>
                        </a:lnTo>
                        <a:lnTo>
                          <a:pt x="1829" y="5"/>
                        </a:lnTo>
                        <a:lnTo>
                          <a:pt x="1833" y="5"/>
                        </a:lnTo>
                        <a:lnTo>
                          <a:pt x="1836" y="8"/>
                        </a:lnTo>
                        <a:lnTo>
                          <a:pt x="1839" y="8"/>
                        </a:lnTo>
                        <a:lnTo>
                          <a:pt x="1841" y="10"/>
                        </a:lnTo>
                        <a:lnTo>
                          <a:pt x="1841" y="17"/>
                        </a:lnTo>
                        <a:lnTo>
                          <a:pt x="1844" y="20"/>
                        </a:lnTo>
                        <a:lnTo>
                          <a:pt x="1844" y="25"/>
                        </a:lnTo>
                        <a:lnTo>
                          <a:pt x="1844" y="33"/>
                        </a:lnTo>
                        <a:lnTo>
                          <a:pt x="1846" y="33"/>
                        </a:lnTo>
                        <a:lnTo>
                          <a:pt x="1846" y="30"/>
                        </a:lnTo>
                        <a:lnTo>
                          <a:pt x="1848" y="27"/>
                        </a:lnTo>
                        <a:lnTo>
                          <a:pt x="1849" y="27"/>
                        </a:lnTo>
                        <a:lnTo>
                          <a:pt x="1859" y="35"/>
                        </a:lnTo>
                        <a:lnTo>
                          <a:pt x="1859" y="33"/>
                        </a:lnTo>
                        <a:lnTo>
                          <a:pt x="1863" y="33"/>
                        </a:lnTo>
                        <a:lnTo>
                          <a:pt x="1863" y="32"/>
                        </a:lnTo>
                        <a:lnTo>
                          <a:pt x="1859" y="30"/>
                        </a:lnTo>
                        <a:lnTo>
                          <a:pt x="1856" y="25"/>
                        </a:lnTo>
                        <a:lnTo>
                          <a:pt x="1858" y="23"/>
                        </a:lnTo>
                        <a:lnTo>
                          <a:pt x="1858" y="22"/>
                        </a:lnTo>
                        <a:lnTo>
                          <a:pt x="1853" y="17"/>
                        </a:lnTo>
                        <a:lnTo>
                          <a:pt x="1851" y="13"/>
                        </a:lnTo>
                        <a:lnTo>
                          <a:pt x="1853" y="12"/>
                        </a:lnTo>
                        <a:lnTo>
                          <a:pt x="1858" y="12"/>
                        </a:lnTo>
                        <a:lnTo>
                          <a:pt x="1856" y="10"/>
                        </a:lnTo>
                        <a:lnTo>
                          <a:pt x="1851" y="8"/>
                        </a:lnTo>
                        <a:lnTo>
                          <a:pt x="1849" y="5"/>
                        </a:lnTo>
                        <a:lnTo>
                          <a:pt x="1851" y="5"/>
                        </a:lnTo>
                        <a:lnTo>
                          <a:pt x="1856" y="5"/>
                        </a:lnTo>
                        <a:lnTo>
                          <a:pt x="1861" y="0"/>
                        </a:lnTo>
                        <a:lnTo>
                          <a:pt x="1871" y="2"/>
                        </a:lnTo>
                        <a:lnTo>
                          <a:pt x="1873" y="3"/>
                        </a:lnTo>
                        <a:lnTo>
                          <a:pt x="1873" y="8"/>
                        </a:lnTo>
                        <a:lnTo>
                          <a:pt x="1869" y="13"/>
                        </a:lnTo>
                        <a:lnTo>
                          <a:pt x="1871" y="15"/>
                        </a:lnTo>
                        <a:lnTo>
                          <a:pt x="1874" y="15"/>
                        </a:lnTo>
                        <a:lnTo>
                          <a:pt x="1878" y="8"/>
                        </a:lnTo>
                        <a:lnTo>
                          <a:pt x="1879" y="7"/>
                        </a:lnTo>
                        <a:lnTo>
                          <a:pt x="1881" y="10"/>
                        </a:lnTo>
                        <a:lnTo>
                          <a:pt x="1879" y="17"/>
                        </a:lnTo>
                        <a:lnTo>
                          <a:pt x="1882" y="18"/>
                        </a:lnTo>
                        <a:lnTo>
                          <a:pt x="1884" y="17"/>
                        </a:lnTo>
                        <a:lnTo>
                          <a:pt x="1886" y="15"/>
                        </a:lnTo>
                        <a:lnTo>
                          <a:pt x="1892" y="10"/>
                        </a:lnTo>
                        <a:lnTo>
                          <a:pt x="1894" y="12"/>
                        </a:lnTo>
                        <a:lnTo>
                          <a:pt x="1892" y="17"/>
                        </a:lnTo>
                        <a:lnTo>
                          <a:pt x="1891" y="20"/>
                        </a:lnTo>
                        <a:lnTo>
                          <a:pt x="1892" y="28"/>
                        </a:lnTo>
                        <a:lnTo>
                          <a:pt x="1889" y="32"/>
                        </a:lnTo>
                        <a:lnTo>
                          <a:pt x="1892" y="33"/>
                        </a:lnTo>
                        <a:lnTo>
                          <a:pt x="1897" y="32"/>
                        </a:lnTo>
                        <a:lnTo>
                          <a:pt x="1901" y="33"/>
                        </a:lnTo>
                        <a:lnTo>
                          <a:pt x="1902" y="32"/>
                        </a:lnTo>
                        <a:lnTo>
                          <a:pt x="1902" y="25"/>
                        </a:lnTo>
                        <a:lnTo>
                          <a:pt x="1906" y="17"/>
                        </a:lnTo>
                        <a:lnTo>
                          <a:pt x="1902" y="8"/>
                        </a:lnTo>
                        <a:lnTo>
                          <a:pt x="1902" y="2"/>
                        </a:lnTo>
                        <a:lnTo>
                          <a:pt x="1906" y="0"/>
                        </a:lnTo>
                        <a:lnTo>
                          <a:pt x="1909" y="2"/>
                        </a:lnTo>
                        <a:lnTo>
                          <a:pt x="1912" y="2"/>
                        </a:lnTo>
                        <a:lnTo>
                          <a:pt x="1917" y="3"/>
                        </a:lnTo>
                        <a:lnTo>
                          <a:pt x="1924" y="2"/>
                        </a:lnTo>
                        <a:lnTo>
                          <a:pt x="1929" y="3"/>
                        </a:lnTo>
                        <a:lnTo>
                          <a:pt x="1931" y="7"/>
                        </a:lnTo>
                        <a:lnTo>
                          <a:pt x="1937" y="8"/>
                        </a:lnTo>
                        <a:lnTo>
                          <a:pt x="1942" y="7"/>
                        </a:lnTo>
                        <a:lnTo>
                          <a:pt x="1949" y="10"/>
                        </a:lnTo>
                        <a:lnTo>
                          <a:pt x="1951" y="13"/>
                        </a:lnTo>
                        <a:lnTo>
                          <a:pt x="1952" y="17"/>
                        </a:lnTo>
                        <a:lnTo>
                          <a:pt x="1952" y="22"/>
                        </a:lnTo>
                        <a:lnTo>
                          <a:pt x="1951" y="27"/>
                        </a:lnTo>
                        <a:lnTo>
                          <a:pt x="1951" y="28"/>
                        </a:lnTo>
                        <a:lnTo>
                          <a:pt x="1956" y="28"/>
                        </a:lnTo>
                        <a:lnTo>
                          <a:pt x="1961" y="23"/>
                        </a:lnTo>
                        <a:lnTo>
                          <a:pt x="1967" y="18"/>
                        </a:lnTo>
                        <a:lnTo>
                          <a:pt x="1971" y="15"/>
                        </a:lnTo>
                        <a:lnTo>
                          <a:pt x="1976" y="13"/>
                        </a:lnTo>
                        <a:lnTo>
                          <a:pt x="1980" y="17"/>
                        </a:lnTo>
                        <a:lnTo>
                          <a:pt x="1987" y="17"/>
                        </a:lnTo>
                        <a:lnTo>
                          <a:pt x="1987" y="20"/>
                        </a:lnTo>
                        <a:lnTo>
                          <a:pt x="1982" y="25"/>
                        </a:lnTo>
                        <a:lnTo>
                          <a:pt x="1984" y="28"/>
                        </a:lnTo>
                        <a:lnTo>
                          <a:pt x="1987" y="28"/>
                        </a:lnTo>
                        <a:lnTo>
                          <a:pt x="1987" y="23"/>
                        </a:lnTo>
                        <a:lnTo>
                          <a:pt x="1992" y="20"/>
                        </a:lnTo>
                        <a:lnTo>
                          <a:pt x="1997" y="18"/>
                        </a:lnTo>
                        <a:lnTo>
                          <a:pt x="2005" y="22"/>
                        </a:lnTo>
                        <a:lnTo>
                          <a:pt x="2014" y="23"/>
                        </a:lnTo>
                        <a:lnTo>
                          <a:pt x="2017" y="27"/>
                        </a:lnTo>
                        <a:lnTo>
                          <a:pt x="2015" y="28"/>
                        </a:lnTo>
                        <a:lnTo>
                          <a:pt x="2012" y="28"/>
                        </a:lnTo>
                        <a:lnTo>
                          <a:pt x="2014" y="32"/>
                        </a:lnTo>
                        <a:lnTo>
                          <a:pt x="2010" y="35"/>
                        </a:lnTo>
                        <a:lnTo>
                          <a:pt x="2012" y="38"/>
                        </a:lnTo>
                        <a:lnTo>
                          <a:pt x="2015" y="35"/>
                        </a:lnTo>
                        <a:lnTo>
                          <a:pt x="2020" y="33"/>
                        </a:lnTo>
                        <a:lnTo>
                          <a:pt x="2020" y="38"/>
                        </a:lnTo>
                        <a:lnTo>
                          <a:pt x="2024" y="40"/>
                        </a:lnTo>
                        <a:lnTo>
                          <a:pt x="2027" y="35"/>
                        </a:lnTo>
                        <a:lnTo>
                          <a:pt x="2034" y="35"/>
                        </a:lnTo>
                        <a:lnTo>
                          <a:pt x="2034" y="38"/>
                        </a:lnTo>
                        <a:lnTo>
                          <a:pt x="2032" y="40"/>
                        </a:lnTo>
                        <a:lnTo>
                          <a:pt x="2032" y="43"/>
                        </a:lnTo>
                        <a:lnTo>
                          <a:pt x="2035" y="45"/>
                        </a:lnTo>
                        <a:lnTo>
                          <a:pt x="2039" y="43"/>
                        </a:lnTo>
                        <a:lnTo>
                          <a:pt x="2042" y="40"/>
                        </a:lnTo>
                        <a:lnTo>
                          <a:pt x="2044" y="40"/>
                        </a:lnTo>
                        <a:lnTo>
                          <a:pt x="2045" y="43"/>
                        </a:lnTo>
                        <a:lnTo>
                          <a:pt x="2055" y="48"/>
                        </a:lnTo>
                        <a:lnTo>
                          <a:pt x="2059" y="48"/>
                        </a:lnTo>
                        <a:lnTo>
                          <a:pt x="2060" y="50"/>
                        </a:lnTo>
                        <a:lnTo>
                          <a:pt x="2059" y="53"/>
                        </a:lnTo>
                        <a:lnTo>
                          <a:pt x="2049" y="56"/>
                        </a:lnTo>
                        <a:lnTo>
                          <a:pt x="2044" y="61"/>
                        </a:lnTo>
                        <a:lnTo>
                          <a:pt x="2039" y="63"/>
                        </a:lnTo>
                        <a:lnTo>
                          <a:pt x="2032" y="65"/>
                        </a:lnTo>
                        <a:lnTo>
                          <a:pt x="2029" y="66"/>
                        </a:lnTo>
                        <a:lnTo>
                          <a:pt x="2025" y="65"/>
                        </a:lnTo>
                        <a:lnTo>
                          <a:pt x="2022" y="66"/>
                        </a:lnTo>
                        <a:lnTo>
                          <a:pt x="2015" y="68"/>
                        </a:lnTo>
                        <a:lnTo>
                          <a:pt x="2025" y="68"/>
                        </a:lnTo>
                        <a:lnTo>
                          <a:pt x="2035" y="70"/>
                        </a:lnTo>
                        <a:lnTo>
                          <a:pt x="2039" y="71"/>
                        </a:lnTo>
                        <a:lnTo>
                          <a:pt x="2042" y="71"/>
                        </a:lnTo>
                        <a:lnTo>
                          <a:pt x="2045" y="66"/>
                        </a:lnTo>
                        <a:lnTo>
                          <a:pt x="2047" y="66"/>
                        </a:lnTo>
                        <a:lnTo>
                          <a:pt x="2052" y="66"/>
                        </a:lnTo>
                        <a:lnTo>
                          <a:pt x="2055" y="61"/>
                        </a:lnTo>
                        <a:lnTo>
                          <a:pt x="2062" y="58"/>
                        </a:lnTo>
                        <a:lnTo>
                          <a:pt x="2067" y="58"/>
                        </a:lnTo>
                        <a:lnTo>
                          <a:pt x="2069" y="61"/>
                        </a:lnTo>
                        <a:lnTo>
                          <a:pt x="2065" y="66"/>
                        </a:lnTo>
                        <a:lnTo>
                          <a:pt x="2069" y="68"/>
                        </a:lnTo>
                        <a:lnTo>
                          <a:pt x="2070" y="66"/>
                        </a:lnTo>
                        <a:lnTo>
                          <a:pt x="2072" y="63"/>
                        </a:lnTo>
                        <a:lnTo>
                          <a:pt x="2077" y="60"/>
                        </a:lnTo>
                        <a:lnTo>
                          <a:pt x="2079" y="61"/>
                        </a:lnTo>
                        <a:lnTo>
                          <a:pt x="2077" y="65"/>
                        </a:lnTo>
                        <a:lnTo>
                          <a:pt x="2077" y="66"/>
                        </a:lnTo>
                        <a:lnTo>
                          <a:pt x="2075" y="70"/>
                        </a:lnTo>
                        <a:lnTo>
                          <a:pt x="2077" y="73"/>
                        </a:lnTo>
                        <a:lnTo>
                          <a:pt x="2080" y="71"/>
                        </a:lnTo>
                        <a:lnTo>
                          <a:pt x="2082" y="70"/>
                        </a:lnTo>
                        <a:lnTo>
                          <a:pt x="2083" y="65"/>
                        </a:lnTo>
                        <a:lnTo>
                          <a:pt x="2088" y="65"/>
                        </a:lnTo>
                        <a:lnTo>
                          <a:pt x="2092" y="65"/>
                        </a:lnTo>
                        <a:lnTo>
                          <a:pt x="2090" y="75"/>
                        </a:lnTo>
                        <a:lnTo>
                          <a:pt x="2087" y="76"/>
                        </a:lnTo>
                        <a:lnTo>
                          <a:pt x="2088" y="76"/>
                        </a:lnTo>
                        <a:lnTo>
                          <a:pt x="2090" y="81"/>
                        </a:lnTo>
                        <a:lnTo>
                          <a:pt x="2090" y="88"/>
                        </a:lnTo>
                        <a:lnTo>
                          <a:pt x="2085" y="90"/>
                        </a:lnTo>
                        <a:lnTo>
                          <a:pt x="2085" y="93"/>
                        </a:lnTo>
                        <a:lnTo>
                          <a:pt x="2079" y="100"/>
                        </a:lnTo>
                        <a:lnTo>
                          <a:pt x="2080" y="101"/>
                        </a:lnTo>
                        <a:lnTo>
                          <a:pt x="2083" y="101"/>
                        </a:lnTo>
                        <a:lnTo>
                          <a:pt x="2087" y="96"/>
                        </a:lnTo>
                        <a:lnTo>
                          <a:pt x="2092" y="96"/>
                        </a:lnTo>
                        <a:lnTo>
                          <a:pt x="2092" y="95"/>
                        </a:lnTo>
                        <a:lnTo>
                          <a:pt x="2095" y="95"/>
                        </a:lnTo>
                        <a:lnTo>
                          <a:pt x="2102" y="98"/>
                        </a:lnTo>
                        <a:lnTo>
                          <a:pt x="2103" y="103"/>
                        </a:lnTo>
                        <a:lnTo>
                          <a:pt x="2105" y="110"/>
                        </a:lnTo>
                        <a:lnTo>
                          <a:pt x="2103" y="120"/>
                        </a:lnTo>
                        <a:lnTo>
                          <a:pt x="2097" y="130"/>
                        </a:lnTo>
                        <a:lnTo>
                          <a:pt x="2088" y="135"/>
                        </a:lnTo>
                        <a:lnTo>
                          <a:pt x="2085" y="136"/>
                        </a:lnTo>
                        <a:lnTo>
                          <a:pt x="2082" y="136"/>
                        </a:lnTo>
                        <a:lnTo>
                          <a:pt x="2077" y="138"/>
                        </a:lnTo>
                        <a:lnTo>
                          <a:pt x="2077" y="140"/>
                        </a:lnTo>
                        <a:lnTo>
                          <a:pt x="2074" y="141"/>
                        </a:lnTo>
                        <a:lnTo>
                          <a:pt x="2059" y="148"/>
                        </a:lnTo>
                        <a:lnTo>
                          <a:pt x="2054" y="151"/>
                        </a:lnTo>
                        <a:lnTo>
                          <a:pt x="2049" y="153"/>
                        </a:lnTo>
                        <a:lnTo>
                          <a:pt x="2042" y="154"/>
                        </a:lnTo>
                        <a:lnTo>
                          <a:pt x="2035" y="154"/>
                        </a:lnTo>
                        <a:lnTo>
                          <a:pt x="2032" y="153"/>
                        </a:lnTo>
                        <a:lnTo>
                          <a:pt x="2030" y="156"/>
                        </a:lnTo>
                        <a:lnTo>
                          <a:pt x="2027" y="158"/>
                        </a:lnTo>
                        <a:lnTo>
                          <a:pt x="2022" y="154"/>
                        </a:lnTo>
                        <a:lnTo>
                          <a:pt x="2017" y="151"/>
                        </a:lnTo>
                        <a:lnTo>
                          <a:pt x="2009" y="151"/>
                        </a:lnTo>
                        <a:lnTo>
                          <a:pt x="2009" y="154"/>
                        </a:lnTo>
                        <a:lnTo>
                          <a:pt x="2014" y="154"/>
                        </a:lnTo>
                        <a:lnTo>
                          <a:pt x="2017" y="156"/>
                        </a:lnTo>
                        <a:lnTo>
                          <a:pt x="2014" y="158"/>
                        </a:lnTo>
                        <a:lnTo>
                          <a:pt x="2007" y="156"/>
                        </a:lnTo>
                        <a:lnTo>
                          <a:pt x="2004" y="158"/>
                        </a:lnTo>
                        <a:lnTo>
                          <a:pt x="2000" y="154"/>
                        </a:lnTo>
                        <a:lnTo>
                          <a:pt x="1992" y="154"/>
                        </a:lnTo>
                        <a:lnTo>
                          <a:pt x="1989" y="153"/>
                        </a:lnTo>
                        <a:lnTo>
                          <a:pt x="1987" y="153"/>
                        </a:lnTo>
                        <a:lnTo>
                          <a:pt x="1984" y="154"/>
                        </a:lnTo>
                        <a:lnTo>
                          <a:pt x="1977" y="146"/>
                        </a:lnTo>
                        <a:lnTo>
                          <a:pt x="1972" y="141"/>
                        </a:lnTo>
                        <a:lnTo>
                          <a:pt x="1974" y="146"/>
                        </a:lnTo>
                        <a:lnTo>
                          <a:pt x="1979" y="151"/>
                        </a:lnTo>
                        <a:lnTo>
                          <a:pt x="1979" y="153"/>
                        </a:lnTo>
                        <a:lnTo>
                          <a:pt x="1976" y="154"/>
                        </a:lnTo>
                        <a:lnTo>
                          <a:pt x="1967" y="151"/>
                        </a:lnTo>
                        <a:lnTo>
                          <a:pt x="1971" y="154"/>
                        </a:lnTo>
                        <a:lnTo>
                          <a:pt x="1987" y="158"/>
                        </a:lnTo>
                        <a:lnTo>
                          <a:pt x="1995" y="159"/>
                        </a:lnTo>
                        <a:lnTo>
                          <a:pt x="1999" y="161"/>
                        </a:lnTo>
                        <a:lnTo>
                          <a:pt x="1995" y="164"/>
                        </a:lnTo>
                        <a:lnTo>
                          <a:pt x="1974" y="171"/>
                        </a:lnTo>
                        <a:lnTo>
                          <a:pt x="1961" y="174"/>
                        </a:lnTo>
                        <a:lnTo>
                          <a:pt x="1956" y="174"/>
                        </a:lnTo>
                        <a:lnTo>
                          <a:pt x="1947" y="174"/>
                        </a:lnTo>
                        <a:lnTo>
                          <a:pt x="1942" y="174"/>
                        </a:lnTo>
                        <a:lnTo>
                          <a:pt x="1941" y="171"/>
                        </a:lnTo>
                        <a:lnTo>
                          <a:pt x="1936" y="173"/>
                        </a:lnTo>
                        <a:lnTo>
                          <a:pt x="1932" y="173"/>
                        </a:lnTo>
                        <a:lnTo>
                          <a:pt x="1927" y="173"/>
                        </a:lnTo>
                        <a:lnTo>
                          <a:pt x="1926" y="178"/>
                        </a:lnTo>
                        <a:lnTo>
                          <a:pt x="1931" y="176"/>
                        </a:lnTo>
                        <a:lnTo>
                          <a:pt x="1931" y="181"/>
                        </a:lnTo>
                        <a:lnTo>
                          <a:pt x="1937" y="178"/>
                        </a:lnTo>
                        <a:lnTo>
                          <a:pt x="1951" y="178"/>
                        </a:lnTo>
                        <a:lnTo>
                          <a:pt x="1957" y="178"/>
                        </a:lnTo>
                        <a:lnTo>
                          <a:pt x="1976" y="178"/>
                        </a:lnTo>
                        <a:lnTo>
                          <a:pt x="1987" y="176"/>
                        </a:lnTo>
                        <a:lnTo>
                          <a:pt x="1995" y="168"/>
                        </a:lnTo>
                        <a:lnTo>
                          <a:pt x="2000" y="168"/>
                        </a:lnTo>
                        <a:lnTo>
                          <a:pt x="2004" y="169"/>
                        </a:lnTo>
                        <a:lnTo>
                          <a:pt x="2010" y="168"/>
                        </a:lnTo>
                        <a:lnTo>
                          <a:pt x="2017" y="169"/>
                        </a:lnTo>
                        <a:lnTo>
                          <a:pt x="2015" y="174"/>
                        </a:lnTo>
                        <a:lnTo>
                          <a:pt x="2010" y="181"/>
                        </a:lnTo>
                        <a:lnTo>
                          <a:pt x="2002" y="184"/>
                        </a:lnTo>
                        <a:lnTo>
                          <a:pt x="2000" y="186"/>
                        </a:lnTo>
                        <a:lnTo>
                          <a:pt x="1990" y="188"/>
                        </a:lnTo>
                        <a:lnTo>
                          <a:pt x="1987" y="193"/>
                        </a:lnTo>
                        <a:lnTo>
                          <a:pt x="1984" y="193"/>
                        </a:lnTo>
                        <a:lnTo>
                          <a:pt x="1979" y="198"/>
                        </a:lnTo>
                        <a:lnTo>
                          <a:pt x="1971" y="201"/>
                        </a:lnTo>
                        <a:lnTo>
                          <a:pt x="1966" y="201"/>
                        </a:lnTo>
                        <a:lnTo>
                          <a:pt x="1962" y="203"/>
                        </a:lnTo>
                        <a:lnTo>
                          <a:pt x="1957" y="203"/>
                        </a:lnTo>
                        <a:lnTo>
                          <a:pt x="1952" y="206"/>
                        </a:lnTo>
                        <a:lnTo>
                          <a:pt x="1944" y="208"/>
                        </a:lnTo>
                        <a:lnTo>
                          <a:pt x="1941" y="213"/>
                        </a:lnTo>
                        <a:lnTo>
                          <a:pt x="1931" y="214"/>
                        </a:lnTo>
                        <a:lnTo>
                          <a:pt x="1927" y="216"/>
                        </a:lnTo>
                        <a:lnTo>
                          <a:pt x="1922" y="214"/>
                        </a:lnTo>
                        <a:lnTo>
                          <a:pt x="1919" y="218"/>
                        </a:lnTo>
                        <a:lnTo>
                          <a:pt x="1916" y="218"/>
                        </a:lnTo>
                        <a:lnTo>
                          <a:pt x="1914" y="219"/>
                        </a:lnTo>
                        <a:lnTo>
                          <a:pt x="1914" y="224"/>
                        </a:lnTo>
                        <a:lnTo>
                          <a:pt x="1909" y="228"/>
                        </a:lnTo>
                        <a:lnTo>
                          <a:pt x="1906" y="233"/>
                        </a:lnTo>
                        <a:lnTo>
                          <a:pt x="1894" y="233"/>
                        </a:lnTo>
                        <a:lnTo>
                          <a:pt x="1891" y="234"/>
                        </a:lnTo>
                        <a:lnTo>
                          <a:pt x="1887" y="233"/>
                        </a:lnTo>
                        <a:lnTo>
                          <a:pt x="1886" y="231"/>
                        </a:lnTo>
                        <a:lnTo>
                          <a:pt x="1889" y="228"/>
                        </a:lnTo>
                        <a:lnTo>
                          <a:pt x="1889" y="224"/>
                        </a:lnTo>
                        <a:lnTo>
                          <a:pt x="1886" y="221"/>
                        </a:lnTo>
                        <a:lnTo>
                          <a:pt x="1886" y="228"/>
                        </a:lnTo>
                        <a:lnTo>
                          <a:pt x="1884" y="229"/>
                        </a:lnTo>
                        <a:lnTo>
                          <a:pt x="1882" y="233"/>
                        </a:lnTo>
                        <a:lnTo>
                          <a:pt x="1887" y="236"/>
                        </a:lnTo>
                        <a:lnTo>
                          <a:pt x="1889" y="239"/>
                        </a:lnTo>
                        <a:lnTo>
                          <a:pt x="1884" y="244"/>
                        </a:lnTo>
                        <a:lnTo>
                          <a:pt x="1882" y="244"/>
                        </a:lnTo>
                        <a:lnTo>
                          <a:pt x="1878" y="241"/>
                        </a:lnTo>
                        <a:lnTo>
                          <a:pt x="1874" y="243"/>
                        </a:lnTo>
                        <a:lnTo>
                          <a:pt x="1866" y="241"/>
                        </a:lnTo>
                        <a:lnTo>
                          <a:pt x="1863" y="243"/>
                        </a:lnTo>
                        <a:lnTo>
                          <a:pt x="1859" y="243"/>
                        </a:lnTo>
                        <a:lnTo>
                          <a:pt x="1859" y="239"/>
                        </a:lnTo>
                        <a:lnTo>
                          <a:pt x="1858" y="238"/>
                        </a:lnTo>
                        <a:lnTo>
                          <a:pt x="1856" y="241"/>
                        </a:lnTo>
                        <a:lnTo>
                          <a:pt x="1851" y="241"/>
                        </a:lnTo>
                        <a:lnTo>
                          <a:pt x="1851" y="244"/>
                        </a:lnTo>
                        <a:lnTo>
                          <a:pt x="1859" y="246"/>
                        </a:lnTo>
                        <a:lnTo>
                          <a:pt x="1873" y="246"/>
                        </a:lnTo>
                        <a:lnTo>
                          <a:pt x="1876" y="249"/>
                        </a:lnTo>
                        <a:lnTo>
                          <a:pt x="1874" y="252"/>
                        </a:lnTo>
                        <a:lnTo>
                          <a:pt x="1869" y="256"/>
                        </a:lnTo>
                        <a:lnTo>
                          <a:pt x="1863" y="254"/>
                        </a:lnTo>
                        <a:lnTo>
                          <a:pt x="1856" y="256"/>
                        </a:lnTo>
                        <a:lnTo>
                          <a:pt x="1854" y="257"/>
                        </a:lnTo>
                        <a:lnTo>
                          <a:pt x="1858" y="259"/>
                        </a:lnTo>
                        <a:lnTo>
                          <a:pt x="1859" y="257"/>
                        </a:lnTo>
                        <a:lnTo>
                          <a:pt x="1863" y="261"/>
                        </a:lnTo>
                        <a:lnTo>
                          <a:pt x="1863" y="264"/>
                        </a:lnTo>
                        <a:lnTo>
                          <a:pt x="1854" y="271"/>
                        </a:lnTo>
                        <a:lnTo>
                          <a:pt x="1848" y="269"/>
                        </a:lnTo>
                        <a:lnTo>
                          <a:pt x="1836" y="269"/>
                        </a:lnTo>
                        <a:lnTo>
                          <a:pt x="1834" y="267"/>
                        </a:lnTo>
                        <a:lnTo>
                          <a:pt x="1829" y="267"/>
                        </a:lnTo>
                        <a:lnTo>
                          <a:pt x="1828" y="264"/>
                        </a:lnTo>
                        <a:lnTo>
                          <a:pt x="1828" y="257"/>
                        </a:lnTo>
                        <a:lnTo>
                          <a:pt x="1821" y="256"/>
                        </a:lnTo>
                        <a:lnTo>
                          <a:pt x="1818" y="254"/>
                        </a:lnTo>
                        <a:lnTo>
                          <a:pt x="1819" y="251"/>
                        </a:lnTo>
                        <a:lnTo>
                          <a:pt x="1816" y="247"/>
                        </a:lnTo>
                        <a:lnTo>
                          <a:pt x="1813" y="249"/>
                        </a:lnTo>
                        <a:lnTo>
                          <a:pt x="1809" y="247"/>
                        </a:lnTo>
                        <a:lnTo>
                          <a:pt x="1801" y="249"/>
                        </a:lnTo>
                        <a:lnTo>
                          <a:pt x="1801" y="251"/>
                        </a:lnTo>
                        <a:lnTo>
                          <a:pt x="1804" y="252"/>
                        </a:lnTo>
                        <a:lnTo>
                          <a:pt x="1806" y="251"/>
                        </a:lnTo>
                        <a:lnTo>
                          <a:pt x="1809" y="252"/>
                        </a:lnTo>
                        <a:lnTo>
                          <a:pt x="1821" y="261"/>
                        </a:lnTo>
                        <a:lnTo>
                          <a:pt x="1819" y="274"/>
                        </a:lnTo>
                        <a:lnTo>
                          <a:pt x="1818" y="276"/>
                        </a:lnTo>
                        <a:lnTo>
                          <a:pt x="1813" y="274"/>
                        </a:lnTo>
                        <a:lnTo>
                          <a:pt x="1809" y="271"/>
                        </a:lnTo>
                        <a:lnTo>
                          <a:pt x="1806" y="272"/>
                        </a:lnTo>
                        <a:lnTo>
                          <a:pt x="1806" y="276"/>
                        </a:lnTo>
                        <a:lnTo>
                          <a:pt x="1804" y="276"/>
                        </a:lnTo>
                        <a:lnTo>
                          <a:pt x="1799" y="272"/>
                        </a:lnTo>
                        <a:lnTo>
                          <a:pt x="1796" y="272"/>
                        </a:lnTo>
                        <a:lnTo>
                          <a:pt x="1793" y="276"/>
                        </a:lnTo>
                        <a:lnTo>
                          <a:pt x="1789" y="276"/>
                        </a:lnTo>
                        <a:lnTo>
                          <a:pt x="1788" y="272"/>
                        </a:lnTo>
                        <a:lnTo>
                          <a:pt x="1783" y="272"/>
                        </a:lnTo>
                        <a:lnTo>
                          <a:pt x="1780" y="267"/>
                        </a:lnTo>
                        <a:lnTo>
                          <a:pt x="1778" y="269"/>
                        </a:lnTo>
                        <a:lnTo>
                          <a:pt x="1776" y="264"/>
                        </a:lnTo>
                        <a:lnTo>
                          <a:pt x="1773" y="262"/>
                        </a:lnTo>
                        <a:lnTo>
                          <a:pt x="1766" y="262"/>
                        </a:lnTo>
                        <a:lnTo>
                          <a:pt x="1763" y="257"/>
                        </a:lnTo>
                        <a:lnTo>
                          <a:pt x="1761" y="259"/>
                        </a:lnTo>
                        <a:lnTo>
                          <a:pt x="1763" y="262"/>
                        </a:lnTo>
                        <a:lnTo>
                          <a:pt x="1766" y="266"/>
                        </a:lnTo>
                        <a:lnTo>
                          <a:pt x="1773" y="267"/>
                        </a:lnTo>
                        <a:lnTo>
                          <a:pt x="1778" y="276"/>
                        </a:lnTo>
                        <a:lnTo>
                          <a:pt x="1776" y="277"/>
                        </a:lnTo>
                        <a:lnTo>
                          <a:pt x="1763" y="274"/>
                        </a:lnTo>
                        <a:lnTo>
                          <a:pt x="1760" y="272"/>
                        </a:lnTo>
                        <a:lnTo>
                          <a:pt x="1760" y="267"/>
                        </a:lnTo>
                        <a:lnTo>
                          <a:pt x="1756" y="264"/>
                        </a:lnTo>
                        <a:lnTo>
                          <a:pt x="1755" y="266"/>
                        </a:lnTo>
                        <a:lnTo>
                          <a:pt x="1755" y="269"/>
                        </a:lnTo>
                        <a:lnTo>
                          <a:pt x="1755" y="271"/>
                        </a:lnTo>
                        <a:lnTo>
                          <a:pt x="1750" y="271"/>
                        </a:lnTo>
                        <a:lnTo>
                          <a:pt x="1746" y="267"/>
                        </a:lnTo>
                        <a:lnTo>
                          <a:pt x="1743" y="269"/>
                        </a:lnTo>
                        <a:lnTo>
                          <a:pt x="1743" y="272"/>
                        </a:lnTo>
                        <a:lnTo>
                          <a:pt x="1750" y="274"/>
                        </a:lnTo>
                        <a:lnTo>
                          <a:pt x="1750" y="277"/>
                        </a:lnTo>
                        <a:lnTo>
                          <a:pt x="1751" y="277"/>
                        </a:lnTo>
                        <a:lnTo>
                          <a:pt x="1755" y="276"/>
                        </a:lnTo>
                        <a:lnTo>
                          <a:pt x="1758" y="276"/>
                        </a:lnTo>
                        <a:lnTo>
                          <a:pt x="1761" y="279"/>
                        </a:lnTo>
                        <a:lnTo>
                          <a:pt x="1766" y="281"/>
                        </a:lnTo>
                        <a:lnTo>
                          <a:pt x="1771" y="286"/>
                        </a:lnTo>
                        <a:lnTo>
                          <a:pt x="1775" y="286"/>
                        </a:lnTo>
                        <a:lnTo>
                          <a:pt x="1778" y="284"/>
                        </a:lnTo>
                        <a:lnTo>
                          <a:pt x="1791" y="287"/>
                        </a:lnTo>
                        <a:lnTo>
                          <a:pt x="1794" y="289"/>
                        </a:lnTo>
                        <a:lnTo>
                          <a:pt x="1789" y="292"/>
                        </a:lnTo>
                        <a:lnTo>
                          <a:pt x="1791" y="294"/>
                        </a:lnTo>
                        <a:lnTo>
                          <a:pt x="1789" y="299"/>
                        </a:lnTo>
                        <a:lnTo>
                          <a:pt x="1791" y="302"/>
                        </a:lnTo>
                        <a:lnTo>
                          <a:pt x="1788" y="306"/>
                        </a:lnTo>
                        <a:lnTo>
                          <a:pt x="1786" y="304"/>
                        </a:lnTo>
                        <a:lnTo>
                          <a:pt x="1783" y="302"/>
                        </a:lnTo>
                        <a:lnTo>
                          <a:pt x="1776" y="301"/>
                        </a:lnTo>
                        <a:lnTo>
                          <a:pt x="1770" y="296"/>
                        </a:lnTo>
                        <a:lnTo>
                          <a:pt x="1768" y="292"/>
                        </a:lnTo>
                        <a:lnTo>
                          <a:pt x="1770" y="287"/>
                        </a:lnTo>
                        <a:lnTo>
                          <a:pt x="1766" y="284"/>
                        </a:lnTo>
                        <a:lnTo>
                          <a:pt x="1760" y="284"/>
                        </a:lnTo>
                        <a:lnTo>
                          <a:pt x="1748" y="282"/>
                        </a:lnTo>
                        <a:lnTo>
                          <a:pt x="1745" y="279"/>
                        </a:lnTo>
                        <a:lnTo>
                          <a:pt x="1740" y="281"/>
                        </a:lnTo>
                        <a:lnTo>
                          <a:pt x="1740" y="282"/>
                        </a:lnTo>
                        <a:lnTo>
                          <a:pt x="1746" y="284"/>
                        </a:lnTo>
                        <a:lnTo>
                          <a:pt x="1755" y="286"/>
                        </a:lnTo>
                        <a:lnTo>
                          <a:pt x="1765" y="289"/>
                        </a:lnTo>
                        <a:lnTo>
                          <a:pt x="1765" y="292"/>
                        </a:lnTo>
                        <a:lnTo>
                          <a:pt x="1763" y="294"/>
                        </a:lnTo>
                        <a:lnTo>
                          <a:pt x="1758" y="291"/>
                        </a:lnTo>
                        <a:lnTo>
                          <a:pt x="1750" y="291"/>
                        </a:lnTo>
                        <a:lnTo>
                          <a:pt x="1741" y="292"/>
                        </a:lnTo>
                        <a:lnTo>
                          <a:pt x="1741" y="289"/>
                        </a:lnTo>
                        <a:lnTo>
                          <a:pt x="1740" y="287"/>
                        </a:lnTo>
                        <a:lnTo>
                          <a:pt x="1731" y="286"/>
                        </a:lnTo>
                        <a:lnTo>
                          <a:pt x="1728" y="284"/>
                        </a:lnTo>
                        <a:lnTo>
                          <a:pt x="1728" y="286"/>
                        </a:lnTo>
                        <a:lnTo>
                          <a:pt x="1736" y="289"/>
                        </a:lnTo>
                        <a:lnTo>
                          <a:pt x="1736" y="292"/>
                        </a:lnTo>
                        <a:lnTo>
                          <a:pt x="1736" y="294"/>
                        </a:lnTo>
                        <a:lnTo>
                          <a:pt x="1740" y="296"/>
                        </a:lnTo>
                        <a:lnTo>
                          <a:pt x="1741" y="294"/>
                        </a:lnTo>
                        <a:lnTo>
                          <a:pt x="1743" y="296"/>
                        </a:lnTo>
                        <a:lnTo>
                          <a:pt x="1746" y="294"/>
                        </a:lnTo>
                        <a:lnTo>
                          <a:pt x="1748" y="292"/>
                        </a:lnTo>
                        <a:lnTo>
                          <a:pt x="1750" y="294"/>
                        </a:lnTo>
                        <a:lnTo>
                          <a:pt x="1755" y="294"/>
                        </a:lnTo>
                        <a:lnTo>
                          <a:pt x="1758" y="296"/>
                        </a:lnTo>
                        <a:lnTo>
                          <a:pt x="1765" y="301"/>
                        </a:lnTo>
                        <a:lnTo>
                          <a:pt x="1765" y="302"/>
                        </a:lnTo>
                        <a:lnTo>
                          <a:pt x="1760" y="302"/>
                        </a:lnTo>
                        <a:lnTo>
                          <a:pt x="1755" y="306"/>
                        </a:lnTo>
                        <a:lnTo>
                          <a:pt x="1753" y="307"/>
                        </a:lnTo>
                        <a:lnTo>
                          <a:pt x="1758" y="306"/>
                        </a:lnTo>
                        <a:lnTo>
                          <a:pt x="1761" y="306"/>
                        </a:lnTo>
                        <a:lnTo>
                          <a:pt x="1766" y="306"/>
                        </a:lnTo>
                        <a:lnTo>
                          <a:pt x="1771" y="309"/>
                        </a:lnTo>
                        <a:lnTo>
                          <a:pt x="1775" y="312"/>
                        </a:lnTo>
                        <a:lnTo>
                          <a:pt x="1775" y="316"/>
                        </a:lnTo>
                        <a:lnTo>
                          <a:pt x="1770" y="324"/>
                        </a:lnTo>
                        <a:lnTo>
                          <a:pt x="1768" y="331"/>
                        </a:lnTo>
                        <a:lnTo>
                          <a:pt x="1765" y="331"/>
                        </a:lnTo>
                        <a:lnTo>
                          <a:pt x="1758" y="336"/>
                        </a:lnTo>
                        <a:lnTo>
                          <a:pt x="1755" y="334"/>
                        </a:lnTo>
                        <a:lnTo>
                          <a:pt x="1751" y="334"/>
                        </a:lnTo>
                        <a:lnTo>
                          <a:pt x="1748" y="332"/>
                        </a:lnTo>
                        <a:lnTo>
                          <a:pt x="1746" y="331"/>
                        </a:lnTo>
                        <a:lnTo>
                          <a:pt x="1743" y="329"/>
                        </a:lnTo>
                        <a:lnTo>
                          <a:pt x="1738" y="329"/>
                        </a:lnTo>
                        <a:lnTo>
                          <a:pt x="1738" y="331"/>
                        </a:lnTo>
                        <a:lnTo>
                          <a:pt x="1743" y="332"/>
                        </a:lnTo>
                        <a:lnTo>
                          <a:pt x="1745" y="334"/>
                        </a:lnTo>
                        <a:lnTo>
                          <a:pt x="1748" y="336"/>
                        </a:lnTo>
                        <a:lnTo>
                          <a:pt x="1753" y="339"/>
                        </a:lnTo>
                        <a:lnTo>
                          <a:pt x="1755" y="344"/>
                        </a:lnTo>
                        <a:lnTo>
                          <a:pt x="1753" y="347"/>
                        </a:lnTo>
                        <a:lnTo>
                          <a:pt x="1748" y="347"/>
                        </a:lnTo>
                        <a:lnTo>
                          <a:pt x="1743" y="352"/>
                        </a:lnTo>
                        <a:lnTo>
                          <a:pt x="1740" y="352"/>
                        </a:lnTo>
                        <a:lnTo>
                          <a:pt x="1733" y="347"/>
                        </a:lnTo>
                        <a:lnTo>
                          <a:pt x="1728" y="347"/>
                        </a:lnTo>
                        <a:lnTo>
                          <a:pt x="1726" y="345"/>
                        </a:lnTo>
                        <a:lnTo>
                          <a:pt x="1721" y="345"/>
                        </a:lnTo>
                        <a:lnTo>
                          <a:pt x="1718" y="347"/>
                        </a:lnTo>
                        <a:lnTo>
                          <a:pt x="1720" y="349"/>
                        </a:lnTo>
                        <a:lnTo>
                          <a:pt x="1735" y="357"/>
                        </a:lnTo>
                        <a:lnTo>
                          <a:pt x="1740" y="357"/>
                        </a:lnTo>
                        <a:lnTo>
                          <a:pt x="1740" y="359"/>
                        </a:lnTo>
                        <a:lnTo>
                          <a:pt x="1735" y="360"/>
                        </a:lnTo>
                        <a:lnTo>
                          <a:pt x="1731" y="365"/>
                        </a:lnTo>
                        <a:lnTo>
                          <a:pt x="1728" y="365"/>
                        </a:lnTo>
                        <a:lnTo>
                          <a:pt x="1723" y="362"/>
                        </a:lnTo>
                        <a:lnTo>
                          <a:pt x="1720" y="362"/>
                        </a:lnTo>
                        <a:lnTo>
                          <a:pt x="1715" y="365"/>
                        </a:lnTo>
                        <a:lnTo>
                          <a:pt x="1708" y="365"/>
                        </a:lnTo>
                        <a:lnTo>
                          <a:pt x="1705" y="362"/>
                        </a:lnTo>
                        <a:lnTo>
                          <a:pt x="1695" y="360"/>
                        </a:lnTo>
                        <a:lnTo>
                          <a:pt x="1690" y="362"/>
                        </a:lnTo>
                        <a:lnTo>
                          <a:pt x="1688" y="369"/>
                        </a:lnTo>
                        <a:lnTo>
                          <a:pt x="1683" y="374"/>
                        </a:lnTo>
                        <a:lnTo>
                          <a:pt x="1688" y="374"/>
                        </a:lnTo>
                        <a:lnTo>
                          <a:pt x="1690" y="374"/>
                        </a:lnTo>
                        <a:lnTo>
                          <a:pt x="1690" y="379"/>
                        </a:lnTo>
                        <a:lnTo>
                          <a:pt x="1682" y="382"/>
                        </a:lnTo>
                        <a:lnTo>
                          <a:pt x="1682" y="387"/>
                        </a:lnTo>
                        <a:lnTo>
                          <a:pt x="1677" y="390"/>
                        </a:lnTo>
                        <a:lnTo>
                          <a:pt x="1675" y="389"/>
                        </a:lnTo>
                        <a:lnTo>
                          <a:pt x="1673" y="389"/>
                        </a:lnTo>
                        <a:lnTo>
                          <a:pt x="1672" y="392"/>
                        </a:lnTo>
                        <a:lnTo>
                          <a:pt x="1668" y="394"/>
                        </a:lnTo>
                        <a:lnTo>
                          <a:pt x="1665" y="394"/>
                        </a:lnTo>
                        <a:lnTo>
                          <a:pt x="1667" y="390"/>
                        </a:lnTo>
                        <a:lnTo>
                          <a:pt x="1663" y="390"/>
                        </a:lnTo>
                        <a:lnTo>
                          <a:pt x="1662" y="394"/>
                        </a:lnTo>
                        <a:lnTo>
                          <a:pt x="1658" y="399"/>
                        </a:lnTo>
                        <a:lnTo>
                          <a:pt x="1655" y="400"/>
                        </a:lnTo>
                        <a:lnTo>
                          <a:pt x="1643" y="395"/>
                        </a:lnTo>
                        <a:lnTo>
                          <a:pt x="1638" y="395"/>
                        </a:lnTo>
                        <a:lnTo>
                          <a:pt x="1637" y="397"/>
                        </a:lnTo>
                        <a:lnTo>
                          <a:pt x="1630" y="395"/>
                        </a:lnTo>
                        <a:lnTo>
                          <a:pt x="1620" y="384"/>
                        </a:lnTo>
                        <a:lnTo>
                          <a:pt x="1618" y="375"/>
                        </a:lnTo>
                        <a:lnTo>
                          <a:pt x="1622" y="374"/>
                        </a:lnTo>
                        <a:lnTo>
                          <a:pt x="1622" y="370"/>
                        </a:lnTo>
                        <a:lnTo>
                          <a:pt x="1620" y="367"/>
                        </a:lnTo>
                        <a:lnTo>
                          <a:pt x="1620" y="364"/>
                        </a:lnTo>
                        <a:lnTo>
                          <a:pt x="1617" y="369"/>
                        </a:lnTo>
                        <a:lnTo>
                          <a:pt x="1617" y="372"/>
                        </a:lnTo>
                        <a:lnTo>
                          <a:pt x="1615" y="379"/>
                        </a:lnTo>
                        <a:lnTo>
                          <a:pt x="1612" y="382"/>
                        </a:lnTo>
                        <a:lnTo>
                          <a:pt x="1617" y="387"/>
                        </a:lnTo>
                        <a:lnTo>
                          <a:pt x="1615" y="389"/>
                        </a:lnTo>
                        <a:lnTo>
                          <a:pt x="1613" y="389"/>
                        </a:lnTo>
                        <a:lnTo>
                          <a:pt x="1607" y="389"/>
                        </a:lnTo>
                        <a:lnTo>
                          <a:pt x="1605" y="389"/>
                        </a:lnTo>
                        <a:lnTo>
                          <a:pt x="1600" y="389"/>
                        </a:lnTo>
                        <a:lnTo>
                          <a:pt x="1605" y="392"/>
                        </a:lnTo>
                        <a:lnTo>
                          <a:pt x="1602" y="399"/>
                        </a:lnTo>
                        <a:lnTo>
                          <a:pt x="1605" y="399"/>
                        </a:lnTo>
                        <a:lnTo>
                          <a:pt x="1612" y="394"/>
                        </a:lnTo>
                        <a:lnTo>
                          <a:pt x="1613" y="394"/>
                        </a:lnTo>
                        <a:lnTo>
                          <a:pt x="1615" y="392"/>
                        </a:lnTo>
                        <a:lnTo>
                          <a:pt x="1618" y="390"/>
                        </a:lnTo>
                        <a:lnTo>
                          <a:pt x="1625" y="394"/>
                        </a:lnTo>
                        <a:lnTo>
                          <a:pt x="1628" y="399"/>
                        </a:lnTo>
                        <a:lnTo>
                          <a:pt x="1627" y="404"/>
                        </a:lnTo>
                        <a:lnTo>
                          <a:pt x="1632" y="400"/>
                        </a:lnTo>
                        <a:lnTo>
                          <a:pt x="1640" y="397"/>
                        </a:lnTo>
                        <a:lnTo>
                          <a:pt x="1647" y="400"/>
                        </a:lnTo>
                        <a:lnTo>
                          <a:pt x="1647" y="404"/>
                        </a:lnTo>
                        <a:lnTo>
                          <a:pt x="1645" y="407"/>
                        </a:lnTo>
                        <a:lnTo>
                          <a:pt x="1642" y="414"/>
                        </a:lnTo>
                        <a:lnTo>
                          <a:pt x="1640" y="415"/>
                        </a:lnTo>
                        <a:lnTo>
                          <a:pt x="1638" y="417"/>
                        </a:lnTo>
                        <a:lnTo>
                          <a:pt x="1640" y="419"/>
                        </a:lnTo>
                        <a:lnTo>
                          <a:pt x="1643" y="419"/>
                        </a:lnTo>
                        <a:lnTo>
                          <a:pt x="1643" y="422"/>
                        </a:lnTo>
                        <a:lnTo>
                          <a:pt x="1638" y="425"/>
                        </a:lnTo>
                        <a:lnTo>
                          <a:pt x="1643" y="425"/>
                        </a:lnTo>
                        <a:lnTo>
                          <a:pt x="1645" y="422"/>
                        </a:lnTo>
                        <a:lnTo>
                          <a:pt x="1652" y="419"/>
                        </a:lnTo>
                        <a:lnTo>
                          <a:pt x="1655" y="419"/>
                        </a:lnTo>
                        <a:lnTo>
                          <a:pt x="1657" y="419"/>
                        </a:lnTo>
                        <a:lnTo>
                          <a:pt x="1660" y="419"/>
                        </a:lnTo>
                        <a:lnTo>
                          <a:pt x="1658" y="424"/>
                        </a:lnTo>
                        <a:lnTo>
                          <a:pt x="1660" y="427"/>
                        </a:lnTo>
                        <a:lnTo>
                          <a:pt x="1658" y="434"/>
                        </a:lnTo>
                        <a:lnTo>
                          <a:pt x="1653" y="442"/>
                        </a:lnTo>
                        <a:lnTo>
                          <a:pt x="1648" y="442"/>
                        </a:lnTo>
                        <a:lnTo>
                          <a:pt x="1643" y="445"/>
                        </a:lnTo>
                        <a:lnTo>
                          <a:pt x="1640" y="450"/>
                        </a:lnTo>
                        <a:lnTo>
                          <a:pt x="1637" y="453"/>
                        </a:lnTo>
                        <a:lnTo>
                          <a:pt x="1635" y="452"/>
                        </a:lnTo>
                        <a:lnTo>
                          <a:pt x="1637" y="447"/>
                        </a:lnTo>
                        <a:lnTo>
                          <a:pt x="1637" y="442"/>
                        </a:lnTo>
                        <a:lnTo>
                          <a:pt x="1635" y="440"/>
                        </a:lnTo>
                        <a:lnTo>
                          <a:pt x="1632" y="442"/>
                        </a:lnTo>
                        <a:lnTo>
                          <a:pt x="1628" y="448"/>
                        </a:lnTo>
                        <a:lnTo>
                          <a:pt x="1625" y="448"/>
                        </a:lnTo>
                        <a:lnTo>
                          <a:pt x="1618" y="455"/>
                        </a:lnTo>
                        <a:lnTo>
                          <a:pt x="1617" y="453"/>
                        </a:lnTo>
                        <a:lnTo>
                          <a:pt x="1612" y="453"/>
                        </a:lnTo>
                        <a:lnTo>
                          <a:pt x="1603" y="458"/>
                        </a:lnTo>
                        <a:lnTo>
                          <a:pt x="1602" y="458"/>
                        </a:lnTo>
                        <a:lnTo>
                          <a:pt x="1597" y="460"/>
                        </a:lnTo>
                        <a:lnTo>
                          <a:pt x="1593" y="458"/>
                        </a:lnTo>
                        <a:lnTo>
                          <a:pt x="1592" y="457"/>
                        </a:lnTo>
                        <a:lnTo>
                          <a:pt x="1588" y="455"/>
                        </a:lnTo>
                        <a:lnTo>
                          <a:pt x="1593" y="452"/>
                        </a:lnTo>
                        <a:lnTo>
                          <a:pt x="1597" y="448"/>
                        </a:lnTo>
                        <a:lnTo>
                          <a:pt x="1597" y="443"/>
                        </a:lnTo>
                        <a:lnTo>
                          <a:pt x="1592" y="437"/>
                        </a:lnTo>
                        <a:lnTo>
                          <a:pt x="1588" y="440"/>
                        </a:lnTo>
                        <a:lnTo>
                          <a:pt x="1582" y="439"/>
                        </a:lnTo>
                        <a:lnTo>
                          <a:pt x="1580" y="435"/>
                        </a:lnTo>
                        <a:lnTo>
                          <a:pt x="1583" y="430"/>
                        </a:lnTo>
                        <a:lnTo>
                          <a:pt x="1587" y="430"/>
                        </a:lnTo>
                        <a:lnTo>
                          <a:pt x="1583" y="429"/>
                        </a:lnTo>
                        <a:lnTo>
                          <a:pt x="1580" y="427"/>
                        </a:lnTo>
                        <a:lnTo>
                          <a:pt x="1577" y="422"/>
                        </a:lnTo>
                        <a:lnTo>
                          <a:pt x="1579" y="419"/>
                        </a:lnTo>
                        <a:lnTo>
                          <a:pt x="1579" y="414"/>
                        </a:lnTo>
                        <a:lnTo>
                          <a:pt x="1577" y="410"/>
                        </a:lnTo>
                        <a:lnTo>
                          <a:pt x="1577" y="415"/>
                        </a:lnTo>
                        <a:lnTo>
                          <a:pt x="1574" y="422"/>
                        </a:lnTo>
                        <a:lnTo>
                          <a:pt x="1579" y="429"/>
                        </a:lnTo>
                        <a:lnTo>
                          <a:pt x="1579" y="432"/>
                        </a:lnTo>
                        <a:lnTo>
                          <a:pt x="1575" y="434"/>
                        </a:lnTo>
                        <a:lnTo>
                          <a:pt x="1575" y="439"/>
                        </a:lnTo>
                        <a:lnTo>
                          <a:pt x="1572" y="440"/>
                        </a:lnTo>
                        <a:lnTo>
                          <a:pt x="1569" y="439"/>
                        </a:lnTo>
                        <a:lnTo>
                          <a:pt x="1565" y="440"/>
                        </a:lnTo>
                        <a:lnTo>
                          <a:pt x="1562" y="437"/>
                        </a:lnTo>
                        <a:lnTo>
                          <a:pt x="1560" y="434"/>
                        </a:lnTo>
                        <a:lnTo>
                          <a:pt x="1564" y="427"/>
                        </a:lnTo>
                        <a:lnTo>
                          <a:pt x="1562" y="422"/>
                        </a:lnTo>
                        <a:lnTo>
                          <a:pt x="1564" y="419"/>
                        </a:lnTo>
                        <a:lnTo>
                          <a:pt x="1569" y="414"/>
                        </a:lnTo>
                        <a:lnTo>
                          <a:pt x="1564" y="415"/>
                        </a:lnTo>
                        <a:lnTo>
                          <a:pt x="1559" y="419"/>
                        </a:lnTo>
                        <a:lnTo>
                          <a:pt x="1559" y="424"/>
                        </a:lnTo>
                        <a:lnTo>
                          <a:pt x="1560" y="429"/>
                        </a:lnTo>
                        <a:lnTo>
                          <a:pt x="1557" y="435"/>
                        </a:lnTo>
                        <a:lnTo>
                          <a:pt x="1552" y="435"/>
                        </a:lnTo>
                        <a:lnTo>
                          <a:pt x="1547" y="434"/>
                        </a:lnTo>
                        <a:lnTo>
                          <a:pt x="1549" y="430"/>
                        </a:lnTo>
                        <a:lnTo>
                          <a:pt x="1547" y="429"/>
                        </a:lnTo>
                        <a:lnTo>
                          <a:pt x="1547" y="425"/>
                        </a:lnTo>
                        <a:lnTo>
                          <a:pt x="1549" y="422"/>
                        </a:lnTo>
                        <a:lnTo>
                          <a:pt x="1550" y="419"/>
                        </a:lnTo>
                        <a:lnTo>
                          <a:pt x="1549" y="415"/>
                        </a:lnTo>
                        <a:lnTo>
                          <a:pt x="1547" y="414"/>
                        </a:lnTo>
                        <a:lnTo>
                          <a:pt x="1545" y="417"/>
                        </a:lnTo>
                        <a:lnTo>
                          <a:pt x="1545" y="420"/>
                        </a:lnTo>
                        <a:lnTo>
                          <a:pt x="1542" y="424"/>
                        </a:lnTo>
                        <a:lnTo>
                          <a:pt x="1542" y="427"/>
                        </a:lnTo>
                        <a:lnTo>
                          <a:pt x="1540" y="429"/>
                        </a:lnTo>
                        <a:lnTo>
                          <a:pt x="1537" y="429"/>
                        </a:lnTo>
                        <a:lnTo>
                          <a:pt x="1535" y="430"/>
                        </a:lnTo>
                        <a:lnTo>
                          <a:pt x="1532" y="430"/>
                        </a:lnTo>
                        <a:lnTo>
                          <a:pt x="1532" y="430"/>
                        </a:lnTo>
                        <a:close/>
                        <a:moveTo>
                          <a:pt x="1663" y="1080"/>
                        </a:moveTo>
                        <a:lnTo>
                          <a:pt x="1663" y="1086"/>
                        </a:lnTo>
                        <a:lnTo>
                          <a:pt x="1662" y="1091"/>
                        </a:lnTo>
                        <a:lnTo>
                          <a:pt x="1663" y="1095"/>
                        </a:lnTo>
                        <a:lnTo>
                          <a:pt x="1665" y="1093"/>
                        </a:lnTo>
                        <a:lnTo>
                          <a:pt x="1665" y="1091"/>
                        </a:lnTo>
                        <a:lnTo>
                          <a:pt x="1667" y="1086"/>
                        </a:lnTo>
                        <a:lnTo>
                          <a:pt x="1665" y="1081"/>
                        </a:lnTo>
                        <a:lnTo>
                          <a:pt x="1663" y="1080"/>
                        </a:lnTo>
                        <a:lnTo>
                          <a:pt x="1663" y="1080"/>
                        </a:lnTo>
                        <a:close/>
                        <a:moveTo>
                          <a:pt x="1658" y="1056"/>
                        </a:moveTo>
                        <a:lnTo>
                          <a:pt x="1658" y="1055"/>
                        </a:lnTo>
                        <a:lnTo>
                          <a:pt x="1660" y="1053"/>
                        </a:lnTo>
                        <a:lnTo>
                          <a:pt x="1662" y="1055"/>
                        </a:lnTo>
                        <a:lnTo>
                          <a:pt x="1660" y="1056"/>
                        </a:lnTo>
                        <a:lnTo>
                          <a:pt x="1658" y="1056"/>
                        </a:lnTo>
                        <a:lnTo>
                          <a:pt x="1658" y="1056"/>
                        </a:lnTo>
                        <a:close/>
                        <a:moveTo>
                          <a:pt x="1652" y="1043"/>
                        </a:moveTo>
                        <a:lnTo>
                          <a:pt x="1655" y="1038"/>
                        </a:lnTo>
                        <a:lnTo>
                          <a:pt x="1658" y="1036"/>
                        </a:lnTo>
                        <a:lnTo>
                          <a:pt x="1660" y="1040"/>
                        </a:lnTo>
                        <a:lnTo>
                          <a:pt x="1655" y="1041"/>
                        </a:lnTo>
                        <a:lnTo>
                          <a:pt x="1653" y="1043"/>
                        </a:lnTo>
                        <a:lnTo>
                          <a:pt x="1652" y="1043"/>
                        </a:lnTo>
                        <a:lnTo>
                          <a:pt x="1652" y="1043"/>
                        </a:lnTo>
                        <a:close/>
                        <a:moveTo>
                          <a:pt x="1613" y="716"/>
                        </a:moveTo>
                        <a:lnTo>
                          <a:pt x="1613" y="713"/>
                        </a:lnTo>
                        <a:lnTo>
                          <a:pt x="1615" y="711"/>
                        </a:lnTo>
                        <a:lnTo>
                          <a:pt x="1615" y="716"/>
                        </a:lnTo>
                        <a:lnTo>
                          <a:pt x="1613" y="716"/>
                        </a:lnTo>
                        <a:lnTo>
                          <a:pt x="1613" y="716"/>
                        </a:lnTo>
                        <a:close/>
                        <a:moveTo>
                          <a:pt x="1620" y="719"/>
                        </a:moveTo>
                        <a:lnTo>
                          <a:pt x="1618" y="718"/>
                        </a:lnTo>
                        <a:lnTo>
                          <a:pt x="1618" y="714"/>
                        </a:lnTo>
                        <a:lnTo>
                          <a:pt x="1622" y="713"/>
                        </a:lnTo>
                        <a:lnTo>
                          <a:pt x="1623" y="716"/>
                        </a:lnTo>
                        <a:lnTo>
                          <a:pt x="1622" y="719"/>
                        </a:lnTo>
                        <a:lnTo>
                          <a:pt x="1620" y="719"/>
                        </a:lnTo>
                        <a:lnTo>
                          <a:pt x="1620" y="719"/>
                        </a:lnTo>
                        <a:close/>
                        <a:moveTo>
                          <a:pt x="1612" y="731"/>
                        </a:moveTo>
                        <a:lnTo>
                          <a:pt x="1610" y="728"/>
                        </a:lnTo>
                        <a:lnTo>
                          <a:pt x="1612" y="726"/>
                        </a:lnTo>
                        <a:lnTo>
                          <a:pt x="1610" y="721"/>
                        </a:lnTo>
                        <a:lnTo>
                          <a:pt x="1613" y="719"/>
                        </a:lnTo>
                        <a:lnTo>
                          <a:pt x="1615" y="723"/>
                        </a:lnTo>
                        <a:lnTo>
                          <a:pt x="1617" y="723"/>
                        </a:lnTo>
                        <a:lnTo>
                          <a:pt x="1618" y="724"/>
                        </a:lnTo>
                        <a:lnTo>
                          <a:pt x="1615" y="726"/>
                        </a:lnTo>
                        <a:lnTo>
                          <a:pt x="1613" y="731"/>
                        </a:lnTo>
                        <a:lnTo>
                          <a:pt x="1612" y="731"/>
                        </a:lnTo>
                        <a:lnTo>
                          <a:pt x="1612" y="731"/>
                        </a:lnTo>
                        <a:close/>
                        <a:moveTo>
                          <a:pt x="1685" y="829"/>
                        </a:moveTo>
                        <a:lnTo>
                          <a:pt x="1688" y="826"/>
                        </a:lnTo>
                        <a:lnTo>
                          <a:pt x="1691" y="827"/>
                        </a:lnTo>
                        <a:lnTo>
                          <a:pt x="1688" y="829"/>
                        </a:lnTo>
                        <a:lnTo>
                          <a:pt x="1686" y="829"/>
                        </a:lnTo>
                        <a:lnTo>
                          <a:pt x="1685" y="829"/>
                        </a:lnTo>
                        <a:lnTo>
                          <a:pt x="1685" y="829"/>
                        </a:lnTo>
                        <a:close/>
                        <a:moveTo>
                          <a:pt x="1677" y="827"/>
                        </a:moveTo>
                        <a:lnTo>
                          <a:pt x="1677" y="824"/>
                        </a:lnTo>
                        <a:lnTo>
                          <a:pt x="1682" y="824"/>
                        </a:lnTo>
                        <a:lnTo>
                          <a:pt x="1683" y="822"/>
                        </a:lnTo>
                        <a:lnTo>
                          <a:pt x="1685" y="824"/>
                        </a:lnTo>
                        <a:lnTo>
                          <a:pt x="1680" y="829"/>
                        </a:lnTo>
                        <a:lnTo>
                          <a:pt x="1677" y="829"/>
                        </a:lnTo>
                        <a:lnTo>
                          <a:pt x="1677" y="827"/>
                        </a:lnTo>
                        <a:lnTo>
                          <a:pt x="1677" y="827"/>
                        </a:lnTo>
                        <a:close/>
                        <a:moveTo>
                          <a:pt x="1662" y="872"/>
                        </a:moveTo>
                        <a:lnTo>
                          <a:pt x="1665" y="874"/>
                        </a:lnTo>
                        <a:lnTo>
                          <a:pt x="1667" y="874"/>
                        </a:lnTo>
                        <a:lnTo>
                          <a:pt x="1665" y="872"/>
                        </a:lnTo>
                        <a:lnTo>
                          <a:pt x="1662" y="872"/>
                        </a:lnTo>
                        <a:lnTo>
                          <a:pt x="1662" y="872"/>
                        </a:lnTo>
                        <a:close/>
                        <a:moveTo>
                          <a:pt x="1682" y="892"/>
                        </a:moveTo>
                        <a:lnTo>
                          <a:pt x="1686" y="894"/>
                        </a:lnTo>
                        <a:lnTo>
                          <a:pt x="1688" y="894"/>
                        </a:lnTo>
                        <a:lnTo>
                          <a:pt x="1686" y="890"/>
                        </a:lnTo>
                        <a:lnTo>
                          <a:pt x="1685" y="890"/>
                        </a:lnTo>
                        <a:lnTo>
                          <a:pt x="1685" y="890"/>
                        </a:lnTo>
                        <a:lnTo>
                          <a:pt x="1682" y="892"/>
                        </a:lnTo>
                        <a:lnTo>
                          <a:pt x="1682" y="892"/>
                        </a:lnTo>
                        <a:close/>
                        <a:moveTo>
                          <a:pt x="1720" y="925"/>
                        </a:moveTo>
                        <a:lnTo>
                          <a:pt x="1718" y="920"/>
                        </a:lnTo>
                        <a:lnTo>
                          <a:pt x="1721" y="917"/>
                        </a:lnTo>
                        <a:lnTo>
                          <a:pt x="1725" y="920"/>
                        </a:lnTo>
                        <a:lnTo>
                          <a:pt x="1725" y="925"/>
                        </a:lnTo>
                        <a:lnTo>
                          <a:pt x="1721" y="925"/>
                        </a:lnTo>
                        <a:lnTo>
                          <a:pt x="1720" y="925"/>
                        </a:lnTo>
                        <a:lnTo>
                          <a:pt x="1720" y="925"/>
                        </a:lnTo>
                        <a:close/>
                        <a:moveTo>
                          <a:pt x="1738" y="947"/>
                        </a:moveTo>
                        <a:lnTo>
                          <a:pt x="1738" y="942"/>
                        </a:lnTo>
                        <a:lnTo>
                          <a:pt x="1741" y="940"/>
                        </a:lnTo>
                        <a:lnTo>
                          <a:pt x="1743" y="938"/>
                        </a:lnTo>
                        <a:lnTo>
                          <a:pt x="1746" y="940"/>
                        </a:lnTo>
                        <a:lnTo>
                          <a:pt x="1743" y="945"/>
                        </a:lnTo>
                        <a:lnTo>
                          <a:pt x="1740" y="945"/>
                        </a:lnTo>
                        <a:lnTo>
                          <a:pt x="1740" y="945"/>
                        </a:lnTo>
                        <a:lnTo>
                          <a:pt x="1738" y="947"/>
                        </a:lnTo>
                        <a:lnTo>
                          <a:pt x="1738" y="947"/>
                        </a:lnTo>
                        <a:close/>
                        <a:moveTo>
                          <a:pt x="1603" y="478"/>
                        </a:moveTo>
                        <a:lnTo>
                          <a:pt x="1603" y="473"/>
                        </a:lnTo>
                        <a:lnTo>
                          <a:pt x="1607" y="472"/>
                        </a:lnTo>
                        <a:lnTo>
                          <a:pt x="1608" y="468"/>
                        </a:lnTo>
                        <a:lnTo>
                          <a:pt x="1620" y="462"/>
                        </a:lnTo>
                        <a:lnTo>
                          <a:pt x="1625" y="462"/>
                        </a:lnTo>
                        <a:lnTo>
                          <a:pt x="1622" y="465"/>
                        </a:lnTo>
                        <a:lnTo>
                          <a:pt x="1615" y="470"/>
                        </a:lnTo>
                        <a:lnTo>
                          <a:pt x="1613" y="473"/>
                        </a:lnTo>
                        <a:lnTo>
                          <a:pt x="1615" y="477"/>
                        </a:lnTo>
                        <a:lnTo>
                          <a:pt x="1615" y="478"/>
                        </a:lnTo>
                        <a:lnTo>
                          <a:pt x="1612" y="478"/>
                        </a:lnTo>
                        <a:lnTo>
                          <a:pt x="1610" y="475"/>
                        </a:lnTo>
                        <a:lnTo>
                          <a:pt x="1608" y="477"/>
                        </a:lnTo>
                        <a:lnTo>
                          <a:pt x="1607" y="478"/>
                        </a:lnTo>
                        <a:lnTo>
                          <a:pt x="1603" y="478"/>
                        </a:lnTo>
                        <a:lnTo>
                          <a:pt x="1603" y="478"/>
                        </a:lnTo>
                        <a:close/>
                        <a:moveTo>
                          <a:pt x="1580" y="458"/>
                        </a:moveTo>
                        <a:lnTo>
                          <a:pt x="1580" y="458"/>
                        </a:lnTo>
                        <a:lnTo>
                          <a:pt x="1582" y="460"/>
                        </a:lnTo>
                        <a:lnTo>
                          <a:pt x="1585" y="460"/>
                        </a:lnTo>
                        <a:lnTo>
                          <a:pt x="1587" y="458"/>
                        </a:lnTo>
                        <a:lnTo>
                          <a:pt x="1585" y="457"/>
                        </a:lnTo>
                        <a:lnTo>
                          <a:pt x="1580" y="458"/>
                        </a:lnTo>
                        <a:lnTo>
                          <a:pt x="1580" y="458"/>
                        </a:lnTo>
                        <a:close/>
                        <a:moveTo>
                          <a:pt x="1449" y="405"/>
                        </a:moveTo>
                        <a:lnTo>
                          <a:pt x="1444" y="404"/>
                        </a:lnTo>
                        <a:lnTo>
                          <a:pt x="1444" y="399"/>
                        </a:lnTo>
                        <a:lnTo>
                          <a:pt x="1444" y="392"/>
                        </a:lnTo>
                        <a:lnTo>
                          <a:pt x="1442" y="389"/>
                        </a:lnTo>
                        <a:lnTo>
                          <a:pt x="1442" y="384"/>
                        </a:lnTo>
                        <a:lnTo>
                          <a:pt x="1441" y="384"/>
                        </a:lnTo>
                        <a:lnTo>
                          <a:pt x="1446" y="382"/>
                        </a:lnTo>
                        <a:lnTo>
                          <a:pt x="1454" y="384"/>
                        </a:lnTo>
                        <a:lnTo>
                          <a:pt x="1454" y="389"/>
                        </a:lnTo>
                        <a:lnTo>
                          <a:pt x="1451" y="399"/>
                        </a:lnTo>
                        <a:lnTo>
                          <a:pt x="1449" y="400"/>
                        </a:lnTo>
                        <a:lnTo>
                          <a:pt x="1451" y="402"/>
                        </a:lnTo>
                        <a:lnTo>
                          <a:pt x="1452" y="405"/>
                        </a:lnTo>
                        <a:lnTo>
                          <a:pt x="1449" y="405"/>
                        </a:lnTo>
                        <a:lnTo>
                          <a:pt x="1449" y="405"/>
                        </a:lnTo>
                        <a:close/>
                        <a:moveTo>
                          <a:pt x="1449" y="163"/>
                        </a:moveTo>
                        <a:lnTo>
                          <a:pt x="1454" y="159"/>
                        </a:lnTo>
                        <a:lnTo>
                          <a:pt x="1457" y="153"/>
                        </a:lnTo>
                        <a:lnTo>
                          <a:pt x="1457" y="149"/>
                        </a:lnTo>
                        <a:lnTo>
                          <a:pt x="1462" y="146"/>
                        </a:lnTo>
                        <a:lnTo>
                          <a:pt x="1466" y="140"/>
                        </a:lnTo>
                        <a:lnTo>
                          <a:pt x="1464" y="136"/>
                        </a:lnTo>
                        <a:lnTo>
                          <a:pt x="1459" y="136"/>
                        </a:lnTo>
                        <a:lnTo>
                          <a:pt x="1456" y="135"/>
                        </a:lnTo>
                        <a:lnTo>
                          <a:pt x="1457" y="131"/>
                        </a:lnTo>
                        <a:lnTo>
                          <a:pt x="1456" y="131"/>
                        </a:lnTo>
                        <a:lnTo>
                          <a:pt x="1449" y="136"/>
                        </a:lnTo>
                        <a:lnTo>
                          <a:pt x="1442" y="138"/>
                        </a:lnTo>
                        <a:lnTo>
                          <a:pt x="1442" y="141"/>
                        </a:lnTo>
                        <a:lnTo>
                          <a:pt x="1439" y="143"/>
                        </a:lnTo>
                        <a:lnTo>
                          <a:pt x="1439" y="146"/>
                        </a:lnTo>
                        <a:lnTo>
                          <a:pt x="1444" y="148"/>
                        </a:lnTo>
                        <a:lnTo>
                          <a:pt x="1449" y="146"/>
                        </a:lnTo>
                        <a:lnTo>
                          <a:pt x="1449" y="151"/>
                        </a:lnTo>
                        <a:lnTo>
                          <a:pt x="1444" y="154"/>
                        </a:lnTo>
                        <a:lnTo>
                          <a:pt x="1444" y="158"/>
                        </a:lnTo>
                        <a:lnTo>
                          <a:pt x="1447" y="159"/>
                        </a:lnTo>
                        <a:lnTo>
                          <a:pt x="1449" y="163"/>
                        </a:lnTo>
                        <a:lnTo>
                          <a:pt x="1449" y="163"/>
                        </a:lnTo>
                        <a:close/>
                        <a:moveTo>
                          <a:pt x="1386" y="294"/>
                        </a:moveTo>
                        <a:lnTo>
                          <a:pt x="1386" y="289"/>
                        </a:lnTo>
                        <a:lnTo>
                          <a:pt x="1389" y="286"/>
                        </a:lnTo>
                        <a:lnTo>
                          <a:pt x="1386" y="284"/>
                        </a:lnTo>
                        <a:lnTo>
                          <a:pt x="1386" y="279"/>
                        </a:lnTo>
                        <a:lnTo>
                          <a:pt x="1381" y="277"/>
                        </a:lnTo>
                        <a:lnTo>
                          <a:pt x="1383" y="274"/>
                        </a:lnTo>
                        <a:lnTo>
                          <a:pt x="1384" y="271"/>
                        </a:lnTo>
                        <a:lnTo>
                          <a:pt x="1389" y="271"/>
                        </a:lnTo>
                        <a:lnTo>
                          <a:pt x="1394" y="276"/>
                        </a:lnTo>
                        <a:lnTo>
                          <a:pt x="1397" y="276"/>
                        </a:lnTo>
                        <a:lnTo>
                          <a:pt x="1397" y="271"/>
                        </a:lnTo>
                        <a:lnTo>
                          <a:pt x="1392" y="264"/>
                        </a:lnTo>
                        <a:lnTo>
                          <a:pt x="1387" y="262"/>
                        </a:lnTo>
                        <a:lnTo>
                          <a:pt x="1387" y="261"/>
                        </a:lnTo>
                        <a:lnTo>
                          <a:pt x="1391" y="259"/>
                        </a:lnTo>
                        <a:lnTo>
                          <a:pt x="1389" y="256"/>
                        </a:lnTo>
                        <a:lnTo>
                          <a:pt x="1392" y="251"/>
                        </a:lnTo>
                        <a:lnTo>
                          <a:pt x="1392" y="244"/>
                        </a:lnTo>
                        <a:lnTo>
                          <a:pt x="1394" y="239"/>
                        </a:lnTo>
                        <a:lnTo>
                          <a:pt x="1397" y="239"/>
                        </a:lnTo>
                        <a:lnTo>
                          <a:pt x="1401" y="238"/>
                        </a:lnTo>
                        <a:lnTo>
                          <a:pt x="1402" y="231"/>
                        </a:lnTo>
                        <a:lnTo>
                          <a:pt x="1406" y="228"/>
                        </a:lnTo>
                        <a:lnTo>
                          <a:pt x="1411" y="223"/>
                        </a:lnTo>
                        <a:lnTo>
                          <a:pt x="1416" y="223"/>
                        </a:lnTo>
                        <a:lnTo>
                          <a:pt x="1421" y="229"/>
                        </a:lnTo>
                        <a:lnTo>
                          <a:pt x="1424" y="234"/>
                        </a:lnTo>
                        <a:lnTo>
                          <a:pt x="1422" y="238"/>
                        </a:lnTo>
                        <a:lnTo>
                          <a:pt x="1424" y="241"/>
                        </a:lnTo>
                        <a:lnTo>
                          <a:pt x="1427" y="243"/>
                        </a:lnTo>
                        <a:lnTo>
                          <a:pt x="1427" y="247"/>
                        </a:lnTo>
                        <a:lnTo>
                          <a:pt x="1431" y="247"/>
                        </a:lnTo>
                        <a:lnTo>
                          <a:pt x="1431" y="251"/>
                        </a:lnTo>
                        <a:lnTo>
                          <a:pt x="1432" y="256"/>
                        </a:lnTo>
                        <a:lnTo>
                          <a:pt x="1437" y="256"/>
                        </a:lnTo>
                        <a:lnTo>
                          <a:pt x="1437" y="257"/>
                        </a:lnTo>
                        <a:lnTo>
                          <a:pt x="1441" y="261"/>
                        </a:lnTo>
                        <a:lnTo>
                          <a:pt x="1442" y="269"/>
                        </a:lnTo>
                        <a:lnTo>
                          <a:pt x="1437" y="272"/>
                        </a:lnTo>
                        <a:lnTo>
                          <a:pt x="1434" y="276"/>
                        </a:lnTo>
                        <a:lnTo>
                          <a:pt x="1431" y="276"/>
                        </a:lnTo>
                        <a:lnTo>
                          <a:pt x="1427" y="277"/>
                        </a:lnTo>
                        <a:lnTo>
                          <a:pt x="1429" y="279"/>
                        </a:lnTo>
                        <a:lnTo>
                          <a:pt x="1432" y="279"/>
                        </a:lnTo>
                        <a:lnTo>
                          <a:pt x="1432" y="286"/>
                        </a:lnTo>
                        <a:lnTo>
                          <a:pt x="1432" y="289"/>
                        </a:lnTo>
                        <a:lnTo>
                          <a:pt x="1424" y="294"/>
                        </a:lnTo>
                        <a:lnTo>
                          <a:pt x="1421" y="297"/>
                        </a:lnTo>
                        <a:lnTo>
                          <a:pt x="1419" y="297"/>
                        </a:lnTo>
                        <a:lnTo>
                          <a:pt x="1417" y="292"/>
                        </a:lnTo>
                        <a:lnTo>
                          <a:pt x="1416" y="291"/>
                        </a:lnTo>
                        <a:lnTo>
                          <a:pt x="1411" y="296"/>
                        </a:lnTo>
                        <a:lnTo>
                          <a:pt x="1406" y="294"/>
                        </a:lnTo>
                        <a:lnTo>
                          <a:pt x="1399" y="296"/>
                        </a:lnTo>
                        <a:lnTo>
                          <a:pt x="1396" y="296"/>
                        </a:lnTo>
                        <a:lnTo>
                          <a:pt x="1396" y="291"/>
                        </a:lnTo>
                        <a:lnTo>
                          <a:pt x="1391" y="291"/>
                        </a:lnTo>
                        <a:lnTo>
                          <a:pt x="1391" y="292"/>
                        </a:lnTo>
                        <a:lnTo>
                          <a:pt x="1386" y="294"/>
                        </a:lnTo>
                        <a:lnTo>
                          <a:pt x="1386" y="294"/>
                        </a:lnTo>
                        <a:close/>
                        <a:moveTo>
                          <a:pt x="1441" y="287"/>
                        </a:moveTo>
                        <a:lnTo>
                          <a:pt x="1444" y="287"/>
                        </a:lnTo>
                        <a:lnTo>
                          <a:pt x="1444" y="284"/>
                        </a:lnTo>
                        <a:lnTo>
                          <a:pt x="1444" y="277"/>
                        </a:lnTo>
                        <a:lnTo>
                          <a:pt x="1441" y="277"/>
                        </a:lnTo>
                        <a:lnTo>
                          <a:pt x="1439" y="279"/>
                        </a:lnTo>
                        <a:lnTo>
                          <a:pt x="1441" y="284"/>
                        </a:lnTo>
                        <a:lnTo>
                          <a:pt x="1441" y="287"/>
                        </a:lnTo>
                        <a:lnTo>
                          <a:pt x="1441" y="287"/>
                        </a:lnTo>
                        <a:close/>
                        <a:moveTo>
                          <a:pt x="1459" y="354"/>
                        </a:moveTo>
                        <a:lnTo>
                          <a:pt x="1459" y="357"/>
                        </a:lnTo>
                        <a:lnTo>
                          <a:pt x="1462" y="360"/>
                        </a:lnTo>
                        <a:lnTo>
                          <a:pt x="1469" y="360"/>
                        </a:lnTo>
                        <a:lnTo>
                          <a:pt x="1474" y="359"/>
                        </a:lnTo>
                        <a:lnTo>
                          <a:pt x="1479" y="352"/>
                        </a:lnTo>
                        <a:lnTo>
                          <a:pt x="1479" y="349"/>
                        </a:lnTo>
                        <a:lnTo>
                          <a:pt x="1477" y="347"/>
                        </a:lnTo>
                        <a:lnTo>
                          <a:pt x="1477" y="345"/>
                        </a:lnTo>
                        <a:lnTo>
                          <a:pt x="1476" y="342"/>
                        </a:lnTo>
                        <a:lnTo>
                          <a:pt x="1472" y="342"/>
                        </a:lnTo>
                        <a:lnTo>
                          <a:pt x="1469" y="337"/>
                        </a:lnTo>
                        <a:lnTo>
                          <a:pt x="1466" y="337"/>
                        </a:lnTo>
                        <a:lnTo>
                          <a:pt x="1461" y="341"/>
                        </a:lnTo>
                        <a:lnTo>
                          <a:pt x="1461" y="345"/>
                        </a:lnTo>
                        <a:lnTo>
                          <a:pt x="1457" y="349"/>
                        </a:lnTo>
                        <a:lnTo>
                          <a:pt x="1459" y="354"/>
                        </a:lnTo>
                        <a:lnTo>
                          <a:pt x="1459" y="354"/>
                        </a:lnTo>
                        <a:close/>
                        <a:moveTo>
                          <a:pt x="1452" y="355"/>
                        </a:moveTo>
                        <a:lnTo>
                          <a:pt x="1452" y="359"/>
                        </a:lnTo>
                        <a:lnTo>
                          <a:pt x="1454" y="362"/>
                        </a:lnTo>
                        <a:lnTo>
                          <a:pt x="1456" y="364"/>
                        </a:lnTo>
                        <a:lnTo>
                          <a:pt x="1457" y="362"/>
                        </a:lnTo>
                        <a:lnTo>
                          <a:pt x="1457" y="360"/>
                        </a:lnTo>
                        <a:lnTo>
                          <a:pt x="1456" y="359"/>
                        </a:lnTo>
                        <a:lnTo>
                          <a:pt x="1454" y="355"/>
                        </a:lnTo>
                        <a:lnTo>
                          <a:pt x="1452" y="355"/>
                        </a:lnTo>
                        <a:lnTo>
                          <a:pt x="1452" y="355"/>
                        </a:lnTo>
                        <a:close/>
                        <a:moveTo>
                          <a:pt x="1383" y="322"/>
                        </a:moveTo>
                        <a:lnTo>
                          <a:pt x="1381" y="316"/>
                        </a:lnTo>
                        <a:lnTo>
                          <a:pt x="1384" y="309"/>
                        </a:lnTo>
                        <a:lnTo>
                          <a:pt x="1387" y="306"/>
                        </a:lnTo>
                        <a:lnTo>
                          <a:pt x="1392" y="306"/>
                        </a:lnTo>
                        <a:lnTo>
                          <a:pt x="1396" y="304"/>
                        </a:lnTo>
                        <a:lnTo>
                          <a:pt x="1399" y="306"/>
                        </a:lnTo>
                        <a:lnTo>
                          <a:pt x="1402" y="306"/>
                        </a:lnTo>
                        <a:lnTo>
                          <a:pt x="1406" y="306"/>
                        </a:lnTo>
                        <a:lnTo>
                          <a:pt x="1406" y="307"/>
                        </a:lnTo>
                        <a:lnTo>
                          <a:pt x="1411" y="309"/>
                        </a:lnTo>
                        <a:lnTo>
                          <a:pt x="1412" y="307"/>
                        </a:lnTo>
                        <a:lnTo>
                          <a:pt x="1416" y="309"/>
                        </a:lnTo>
                        <a:lnTo>
                          <a:pt x="1419" y="309"/>
                        </a:lnTo>
                        <a:lnTo>
                          <a:pt x="1424" y="316"/>
                        </a:lnTo>
                        <a:lnTo>
                          <a:pt x="1427" y="317"/>
                        </a:lnTo>
                        <a:lnTo>
                          <a:pt x="1426" y="319"/>
                        </a:lnTo>
                        <a:lnTo>
                          <a:pt x="1427" y="321"/>
                        </a:lnTo>
                        <a:lnTo>
                          <a:pt x="1431" y="321"/>
                        </a:lnTo>
                        <a:lnTo>
                          <a:pt x="1434" y="319"/>
                        </a:lnTo>
                        <a:lnTo>
                          <a:pt x="1437" y="322"/>
                        </a:lnTo>
                        <a:lnTo>
                          <a:pt x="1441" y="324"/>
                        </a:lnTo>
                        <a:lnTo>
                          <a:pt x="1439" y="327"/>
                        </a:lnTo>
                        <a:lnTo>
                          <a:pt x="1441" y="329"/>
                        </a:lnTo>
                        <a:lnTo>
                          <a:pt x="1439" y="331"/>
                        </a:lnTo>
                        <a:lnTo>
                          <a:pt x="1432" y="331"/>
                        </a:lnTo>
                        <a:lnTo>
                          <a:pt x="1427" y="336"/>
                        </a:lnTo>
                        <a:lnTo>
                          <a:pt x="1422" y="336"/>
                        </a:lnTo>
                        <a:lnTo>
                          <a:pt x="1417" y="332"/>
                        </a:lnTo>
                        <a:lnTo>
                          <a:pt x="1409" y="332"/>
                        </a:lnTo>
                        <a:lnTo>
                          <a:pt x="1402" y="327"/>
                        </a:lnTo>
                        <a:lnTo>
                          <a:pt x="1397" y="327"/>
                        </a:lnTo>
                        <a:lnTo>
                          <a:pt x="1392" y="326"/>
                        </a:lnTo>
                        <a:lnTo>
                          <a:pt x="1389" y="322"/>
                        </a:lnTo>
                        <a:lnTo>
                          <a:pt x="1384" y="322"/>
                        </a:lnTo>
                        <a:lnTo>
                          <a:pt x="1383" y="322"/>
                        </a:lnTo>
                        <a:lnTo>
                          <a:pt x="1383" y="322"/>
                        </a:lnTo>
                        <a:close/>
                        <a:moveTo>
                          <a:pt x="1323" y="249"/>
                        </a:moveTo>
                        <a:lnTo>
                          <a:pt x="1324" y="247"/>
                        </a:lnTo>
                        <a:lnTo>
                          <a:pt x="1326" y="246"/>
                        </a:lnTo>
                        <a:lnTo>
                          <a:pt x="1328" y="247"/>
                        </a:lnTo>
                        <a:lnTo>
                          <a:pt x="1326" y="251"/>
                        </a:lnTo>
                        <a:lnTo>
                          <a:pt x="1324" y="251"/>
                        </a:lnTo>
                        <a:lnTo>
                          <a:pt x="1323" y="249"/>
                        </a:lnTo>
                        <a:lnTo>
                          <a:pt x="1323" y="249"/>
                        </a:lnTo>
                        <a:close/>
                        <a:moveTo>
                          <a:pt x="1326" y="274"/>
                        </a:moveTo>
                        <a:lnTo>
                          <a:pt x="1329" y="281"/>
                        </a:lnTo>
                        <a:lnTo>
                          <a:pt x="1331" y="286"/>
                        </a:lnTo>
                        <a:lnTo>
                          <a:pt x="1334" y="284"/>
                        </a:lnTo>
                        <a:lnTo>
                          <a:pt x="1339" y="284"/>
                        </a:lnTo>
                        <a:lnTo>
                          <a:pt x="1341" y="286"/>
                        </a:lnTo>
                        <a:lnTo>
                          <a:pt x="1344" y="286"/>
                        </a:lnTo>
                        <a:lnTo>
                          <a:pt x="1351" y="282"/>
                        </a:lnTo>
                        <a:lnTo>
                          <a:pt x="1351" y="279"/>
                        </a:lnTo>
                        <a:lnTo>
                          <a:pt x="1356" y="277"/>
                        </a:lnTo>
                        <a:lnTo>
                          <a:pt x="1359" y="272"/>
                        </a:lnTo>
                        <a:lnTo>
                          <a:pt x="1359" y="267"/>
                        </a:lnTo>
                        <a:lnTo>
                          <a:pt x="1361" y="261"/>
                        </a:lnTo>
                        <a:lnTo>
                          <a:pt x="1364" y="254"/>
                        </a:lnTo>
                        <a:lnTo>
                          <a:pt x="1363" y="252"/>
                        </a:lnTo>
                        <a:lnTo>
                          <a:pt x="1363" y="251"/>
                        </a:lnTo>
                        <a:lnTo>
                          <a:pt x="1366" y="247"/>
                        </a:lnTo>
                        <a:lnTo>
                          <a:pt x="1369" y="243"/>
                        </a:lnTo>
                        <a:lnTo>
                          <a:pt x="1373" y="243"/>
                        </a:lnTo>
                        <a:lnTo>
                          <a:pt x="1376" y="239"/>
                        </a:lnTo>
                        <a:lnTo>
                          <a:pt x="1381" y="236"/>
                        </a:lnTo>
                        <a:lnTo>
                          <a:pt x="1383" y="229"/>
                        </a:lnTo>
                        <a:lnTo>
                          <a:pt x="1383" y="226"/>
                        </a:lnTo>
                        <a:lnTo>
                          <a:pt x="1386" y="223"/>
                        </a:lnTo>
                        <a:lnTo>
                          <a:pt x="1386" y="219"/>
                        </a:lnTo>
                        <a:lnTo>
                          <a:pt x="1384" y="216"/>
                        </a:lnTo>
                        <a:lnTo>
                          <a:pt x="1383" y="211"/>
                        </a:lnTo>
                        <a:lnTo>
                          <a:pt x="1381" y="211"/>
                        </a:lnTo>
                        <a:lnTo>
                          <a:pt x="1376" y="209"/>
                        </a:lnTo>
                        <a:lnTo>
                          <a:pt x="1371" y="209"/>
                        </a:lnTo>
                        <a:lnTo>
                          <a:pt x="1369" y="208"/>
                        </a:lnTo>
                        <a:lnTo>
                          <a:pt x="1371" y="204"/>
                        </a:lnTo>
                        <a:lnTo>
                          <a:pt x="1379" y="199"/>
                        </a:lnTo>
                        <a:lnTo>
                          <a:pt x="1379" y="198"/>
                        </a:lnTo>
                        <a:lnTo>
                          <a:pt x="1376" y="194"/>
                        </a:lnTo>
                        <a:lnTo>
                          <a:pt x="1376" y="189"/>
                        </a:lnTo>
                        <a:lnTo>
                          <a:pt x="1378" y="186"/>
                        </a:lnTo>
                        <a:lnTo>
                          <a:pt x="1373" y="181"/>
                        </a:lnTo>
                        <a:lnTo>
                          <a:pt x="1369" y="181"/>
                        </a:lnTo>
                        <a:lnTo>
                          <a:pt x="1364" y="184"/>
                        </a:lnTo>
                        <a:lnTo>
                          <a:pt x="1358" y="186"/>
                        </a:lnTo>
                        <a:lnTo>
                          <a:pt x="1356" y="189"/>
                        </a:lnTo>
                        <a:lnTo>
                          <a:pt x="1353" y="193"/>
                        </a:lnTo>
                        <a:lnTo>
                          <a:pt x="1349" y="193"/>
                        </a:lnTo>
                        <a:lnTo>
                          <a:pt x="1348" y="189"/>
                        </a:lnTo>
                        <a:lnTo>
                          <a:pt x="1353" y="186"/>
                        </a:lnTo>
                        <a:lnTo>
                          <a:pt x="1356" y="183"/>
                        </a:lnTo>
                        <a:lnTo>
                          <a:pt x="1356" y="178"/>
                        </a:lnTo>
                        <a:lnTo>
                          <a:pt x="1358" y="169"/>
                        </a:lnTo>
                        <a:lnTo>
                          <a:pt x="1356" y="166"/>
                        </a:lnTo>
                        <a:lnTo>
                          <a:pt x="1353" y="163"/>
                        </a:lnTo>
                        <a:lnTo>
                          <a:pt x="1351" y="159"/>
                        </a:lnTo>
                        <a:lnTo>
                          <a:pt x="1346" y="156"/>
                        </a:lnTo>
                        <a:lnTo>
                          <a:pt x="1341" y="158"/>
                        </a:lnTo>
                        <a:lnTo>
                          <a:pt x="1336" y="156"/>
                        </a:lnTo>
                        <a:lnTo>
                          <a:pt x="1329" y="161"/>
                        </a:lnTo>
                        <a:lnTo>
                          <a:pt x="1326" y="159"/>
                        </a:lnTo>
                        <a:lnTo>
                          <a:pt x="1326" y="153"/>
                        </a:lnTo>
                        <a:lnTo>
                          <a:pt x="1324" y="151"/>
                        </a:lnTo>
                        <a:lnTo>
                          <a:pt x="1321" y="154"/>
                        </a:lnTo>
                        <a:lnTo>
                          <a:pt x="1319" y="158"/>
                        </a:lnTo>
                        <a:lnTo>
                          <a:pt x="1314" y="161"/>
                        </a:lnTo>
                        <a:lnTo>
                          <a:pt x="1313" y="164"/>
                        </a:lnTo>
                        <a:lnTo>
                          <a:pt x="1308" y="171"/>
                        </a:lnTo>
                        <a:lnTo>
                          <a:pt x="1308" y="174"/>
                        </a:lnTo>
                        <a:lnTo>
                          <a:pt x="1311" y="178"/>
                        </a:lnTo>
                        <a:lnTo>
                          <a:pt x="1314" y="174"/>
                        </a:lnTo>
                        <a:lnTo>
                          <a:pt x="1319" y="174"/>
                        </a:lnTo>
                        <a:lnTo>
                          <a:pt x="1321" y="176"/>
                        </a:lnTo>
                        <a:lnTo>
                          <a:pt x="1316" y="181"/>
                        </a:lnTo>
                        <a:lnTo>
                          <a:pt x="1309" y="183"/>
                        </a:lnTo>
                        <a:lnTo>
                          <a:pt x="1304" y="189"/>
                        </a:lnTo>
                        <a:lnTo>
                          <a:pt x="1306" y="191"/>
                        </a:lnTo>
                        <a:lnTo>
                          <a:pt x="1313" y="189"/>
                        </a:lnTo>
                        <a:lnTo>
                          <a:pt x="1319" y="183"/>
                        </a:lnTo>
                        <a:lnTo>
                          <a:pt x="1321" y="183"/>
                        </a:lnTo>
                        <a:lnTo>
                          <a:pt x="1324" y="181"/>
                        </a:lnTo>
                        <a:lnTo>
                          <a:pt x="1328" y="184"/>
                        </a:lnTo>
                        <a:lnTo>
                          <a:pt x="1326" y="189"/>
                        </a:lnTo>
                        <a:lnTo>
                          <a:pt x="1323" y="189"/>
                        </a:lnTo>
                        <a:lnTo>
                          <a:pt x="1318" y="194"/>
                        </a:lnTo>
                        <a:lnTo>
                          <a:pt x="1316" y="198"/>
                        </a:lnTo>
                        <a:lnTo>
                          <a:pt x="1318" y="201"/>
                        </a:lnTo>
                        <a:lnTo>
                          <a:pt x="1324" y="199"/>
                        </a:lnTo>
                        <a:lnTo>
                          <a:pt x="1328" y="201"/>
                        </a:lnTo>
                        <a:lnTo>
                          <a:pt x="1323" y="204"/>
                        </a:lnTo>
                        <a:lnTo>
                          <a:pt x="1316" y="208"/>
                        </a:lnTo>
                        <a:lnTo>
                          <a:pt x="1313" y="206"/>
                        </a:lnTo>
                        <a:lnTo>
                          <a:pt x="1311" y="209"/>
                        </a:lnTo>
                        <a:lnTo>
                          <a:pt x="1316" y="209"/>
                        </a:lnTo>
                        <a:lnTo>
                          <a:pt x="1316" y="213"/>
                        </a:lnTo>
                        <a:lnTo>
                          <a:pt x="1309" y="219"/>
                        </a:lnTo>
                        <a:lnTo>
                          <a:pt x="1308" y="219"/>
                        </a:lnTo>
                        <a:lnTo>
                          <a:pt x="1304" y="213"/>
                        </a:lnTo>
                        <a:lnTo>
                          <a:pt x="1301" y="211"/>
                        </a:lnTo>
                        <a:lnTo>
                          <a:pt x="1296" y="206"/>
                        </a:lnTo>
                        <a:lnTo>
                          <a:pt x="1288" y="211"/>
                        </a:lnTo>
                        <a:lnTo>
                          <a:pt x="1288" y="213"/>
                        </a:lnTo>
                        <a:lnTo>
                          <a:pt x="1283" y="221"/>
                        </a:lnTo>
                        <a:lnTo>
                          <a:pt x="1286" y="226"/>
                        </a:lnTo>
                        <a:lnTo>
                          <a:pt x="1286" y="229"/>
                        </a:lnTo>
                        <a:lnTo>
                          <a:pt x="1289" y="231"/>
                        </a:lnTo>
                        <a:lnTo>
                          <a:pt x="1293" y="229"/>
                        </a:lnTo>
                        <a:lnTo>
                          <a:pt x="1298" y="228"/>
                        </a:lnTo>
                        <a:lnTo>
                          <a:pt x="1304" y="231"/>
                        </a:lnTo>
                        <a:lnTo>
                          <a:pt x="1313" y="231"/>
                        </a:lnTo>
                        <a:lnTo>
                          <a:pt x="1314" y="233"/>
                        </a:lnTo>
                        <a:lnTo>
                          <a:pt x="1321" y="231"/>
                        </a:lnTo>
                        <a:lnTo>
                          <a:pt x="1321" y="234"/>
                        </a:lnTo>
                        <a:lnTo>
                          <a:pt x="1318" y="234"/>
                        </a:lnTo>
                        <a:lnTo>
                          <a:pt x="1316" y="238"/>
                        </a:lnTo>
                        <a:lnTo>
                          <a:pt x="1316" y="241"/>
                        </a:lnTo>
                        <a:lnTo>
                          <a:pt x="1323" y="241"/>
                        </a:lnTo>
                        <a:lnTo>
                          <a:pt x="1328" y="244"/>
                        </a:lnTo>
                        <a:lnTo>
                          <a:pt x="1331" y="251"/>
                        </a:lnTo>
                        <a:lnTo>
                          <a:pt x="1334" y="251"/>
                        </a:lnTo>
                        <a:lnTo>
                          <a:pt x="1336" y="252"/>
                        </a:lnTo>
                        <a:lnTo>
                          <a:pt x="1334" y="256"/>
                        </a:lnTo>
                        <a:lnTo>
                          <a:pt x="1334" y="261"/>
                        </a:lnTo>
                        <a:lnTo>
                          <a:pt x="1326" y="274"/>
                        </a:lnTo>
                        <a:lnTo>
                          <a:pt x="1326" y="274"/>
                        </a:lnTo>
                        <a:close/>
                        <a:moveTo>
                          <a:pt x="1301" y="243"/>
                        </a:moveTo>
                        <a:lnTo>
                          <a:pt x="1303" y="238"/>
                        </a:lnTo>
                        <a:lnTo>
                          <a:pt x="1308" y="236"/>
                        </a:lnTo>
                        <a:lnTo>
                          <a:pt x="1313" y="236"/>
                        </a:lnTo>
                        <a:lnTo>
                          <a:pt x="1309" y="238"/>
                        </a:lnTo>
                        <a:lnTo>
                          <a:pt x="1309" y="241"/>
                        </a:lnTo>
                        <a:lnTo>
                          <a:pt x="1304" y="243"/>
                        </a:lnTo>
                        <a:lnTo>
                          <a:pt x="1301" y="243"/>
                        </a:lnTo>
                        <a:lnTo>
                          <a:pt x="1301" y="243"/>
                        </a:lnTo>
                        <a:close/>
                        <a:moveTo>
                          <a:pt x="1291" y="266"/>
                        </a:moveTo>
                        <a:lnTo>
                          <a:pt x="1293" y="262"/>
                        </a:lnTo>
                        <a:lnTo>
                          <a:pt x="1301" y="261"/>
                        </a:lnTo>
                        <a:lnTo>
                          <a:pt x="1308" y="262"/>
                        </a:lnTo>
                        <a:lnTo>
                          <a:pt x="1316" y="271"/>
                        </a:lnTo>
                        <a:lnTo>
                          <a:pt x="1314" y="276"/>
                        </a:lnTo>
                        <a:lnTo>
                          <a:pt x="1316" y="282"/>
                        </a:lnTo>
                        <a:lnTo>
                          <a:pt x="1313" y="282"/>
                        </a:lnTo>
                        <a:lnTo>
                          <a:pt x="1308" y="281"/>
                        </a:lnTo>
                        <a:lnTo>
                          <a:pt x="1303" y="282"/>
                        </a:lnTo>
                        <a:lnTo>
                          <a:pt x="1299" y="282"/>
                        </a:lnTo>
                        <a:lnTo>
                          <a:pt x="1296" y="276"/>
                        </a:lnTo>
                        <a:lnTo>
                          <a:pt x="1291" y="272"/>
                        </a:lnTo>
                        <a:lnTo>
                          <a:pt x="1291" y="266"/>
                        </a:lnTo>
                        <a:lnTo>
                          <a:pt x="1291" y="266"/>
                        </a:lnTo>
                        <a:close/>
                        <a:moveTo>
                          <a:pt x="1230" y="304"/>
                        </a:moveTo>
                        <a:lnTo>
                          <a:pt x="1233" y="301"/>
                        </a:lnTo>
                        <a:lnTo>
                          <a:pt x="1241" y="301"/>
                        </a:lnTo>
                        <a:lnTo>
                          <a:pt x="1238" y="304"/>
                        </a:lnTo>
                        <a:lnTo>
                          <a:pt x="1233" y="306"/>
                        </a:lnTo>
                        <a:lnTo>
                          <a:pt x="1230" y="304"/>
                        </a:lnTo>
                        <a:lnTo>
                          <a:pt x="1230" y="304"/>
                        </a:lnTo>
                        <a:close/>
                        <a:moveTo>
                          <a:pt x="1226" y="297"/>
                        </a:moveTo>
                        <a:lnTo>
                          <a:pt x="1223" y="292"/>
                        </a:lnTo>
                        <a:lnTo>
                          <a:pt x="1226" y="287"/>
                        </a:lnTo>
                        <a:lnTo>
                          <a:pt x="1228" y="282"/>
                        </a:lnTo>
                        <a:lnTo>
                          <a:pt x="1228" y="277"/>
                        </a:lnTo>
                        <a:lnTo>
                          <a:pt x="1233" y="274"/>
                        </a:lnTo>
                        <a:lnTo>
                          <a:pt x="1233" y="271"/>
                        </a:lnTo>
                        <a:lnTo>
                          <a:pt x="1235" y="269"/>
                        </a:lnTo>
                        <a:lnTo>
                          <a:pt x="1235" y="267"/>
                        </a:lnTo>
                        <a:lnTo>
                          <a:pt x="1238" y="261"/>
                        </a:lnTo>
                        <a:lnTo>
                          <a:pt x="1238" y="256"/>
                        </a:lnTo>
                        <a:lnTo>
                          <a:pt x="1240" y="254"/>
                        </a:lnTo>
                        <a:lnTo>
                          <a:pt x="1243" y="257"/>
                        </a:lnTo>
                        <a:lnTo>
                          <a:pt x="1245" y="262"/>
                        </a:lnTo>
                        <a:lnTo>
                          <a:pt x="1246" y="266"/>
                        </a:lnTo>
                        <a:lnTo>
                          <a:pt x="1241" y="274"/>
                        </a:lnTo>
                        <a:lnTo>
                          <a:pt x="1243" y="277"/>
                        </a:lnTo>
                        <a:lnTo>
                          <a:pt x="1240" y="282"/>
                        </a:lnTo>
                        <a:lnTo>
                          <a:pt x="1241" y="286"/>
                        </a:lnTo>
                        <a:lnTo>
                          <a:pt x="1238" y="296"/>
                        </a:lnTo>
                        <a:lnTo>
                          <a:pt x="1233" y="299"/>
                        </a:lnTo>
                        <a:lnTo>
                          <a:pt x="1226" y="297"/>
                        </a:lnTo>
                        <a:lnTo>
                          <a:pt x="1226" y="297"/>
                        </a:lnTo>
                        <a:close/>
                        <a:moveTo>
                          <a:pt x="1172" y="198"/>
                        </a:moveTo>
                        <a:lnTo>
                          <a:pt x="1168" y="193"/>
                        </a:lnTo>
                        <a:lnTo>
                          <a:pt x="1167" y="188"/>
                        </a:lnTo>
                        <a:lnTo>
                          <a:pt x="1170" y="186"/>
                        </a:lnTo>
                        <a:lnTo>
                          <a:pt x="1167" y="183"/>
                        </a:lnTo>
                        <a:lnTo>
                          <a:pt x="1162" y="184"/>
                        </a:lnTo>
                        <a:lnTo>
                          <a:pt x="1158" y="183"/>
                        </a:lnTo>
                        <a:lnTo>
                          <a:pt x="1155" y="184"/>
                        </a:lnTo>
                        <a:lnTo>
                          <a:pt x="1150" y="184"/>
                        </a:lnTo>
                        <a:lnTo>
                          <a:pt x="1147" y="184"/>
                        </a:lnTo>
                        <a:lnTo>
                          <a:pt x="1147" y="181"/>
                        </a:lnTo>
                        <a:lnTo>
                          <a:pt x="1150" y="178"/>
                        </a:lnTo>
                        <a:lnTo>
                          <a:pt x="1152" y="174"/>
                        </a:lnTo>
                        <a:lnTo>
                          <a:pt x="1157" y="174"/>
                        </a:lnTo>
                        <a:lnTo>
                          <a:pt x="1162" y="174"/>
                        </a:lnTo>
                        <a:lnTo>
                          <a:pt x="1175" y="169"/>
                        </a:lnTo>
                        <a:lnTo>
                          <a:pt x="1180" y="171"/>
                        </a:lnTo>
                        <a:lnTo>
                          <a:pt x="1183" y="173"/>
                        </a:lnTo>
                        <a:lnTo>
                          <a:pt x="1187" y="173"/>
                        </a:lnTo>
                        <a:lnTo>
                          <a:pt x="1193" y="173"/>
                        </a:lnTo>
                        <a:lnTo>
                          <a:pt x="1198" y="169"/>
                        </a:lnTo>
                        <a:lnTo>
                          <a:pt x="1206" y="169"/>
                        </a:lnTo>
                        <a:lnTo>
                          <a:pt x="1208" y="169"/>
                        </a:lnTo>
                        <a:lnTo>
                          <a:pt x="1211" y="168"/>
                        </a:lnTo>
                        <a:lnTo>
                          <a:pt x="1215" y="168"/>
                        </a:lnTo>
                        <a:lnTo>
                          <a:pt x="1215" y="171"/>
                        </a:lnTo>
                        <a:lnTo>
                          <a:pt x="1216" y="176"/>
                        </a:lnTo>
                        <a:lnTo>
                          <a:pt x="1216" y="179"/>
                        </a:lnTo>
                        <a:lnTo>
                          <a:pt x="1213" y="186"/>
                        </a:lnTo>
                        <a:lnTo>
                          <a:pt x="1216" y="191"/>
                        </a:lnTo>
                        <a:lnTo>
                          <a:pt x="1213" y="201"/>
                        </a:lnTo>
                        <a:lnTo>
                          <a:pt x="1206" y="203"/>
                        </a:lnTo>
                        <a:lnTo>
                          <a:pt x="1203" y="208"/>
                        </a:lnTo>
                        <a:lnTo>
                          <a:pt x="1198" y="206"/>
                        </a:lnTo>
                        <a:lnTo>
                          <a:pt x="1195" y="206"/>
                        </a:lnTo>
                        <a:lnTo>
                          <a:pt x="1191" y="204"/>
                        </a:lnTo>
                        <a:lnTo>
                          <a:pt x="1187" y="204"/>
                        </a:lnTo>
                        <a:lnTo>
                          <a:pt x="1182" y="199"/>
                        </a:lnTo>
                        <a:lnTo>
                          <a:pt x="1182" y="193"/>
                        </a:lnTo>
                        <a:lnTo>
                          <a:pt x="1178" y="188"/>
                        </a:lnTo>
                        <a:lnTo>
                          <a:pt x="1175" y="191"/>
                        </a:lnTo>
                        <a:lnTo>
                          <a:pt x="1177" y="194"/>
                        </a:lnTo>
                        <a:lnTo>
                          <a:pt x="1172" y="198"/>
                        </a:lnTo>
                        <a:lnTo>
                          <a:pt x="1172" y="198"/>
                        </a:lnTo>
                        <a:close/>
                        <a:moveTo>
                          <a:pt x="1105" y="231"/>
                        </a:moveTo>
                        <a:lnTo>
                          <a:pt x="1108" y="228"/>
                        </a:lnTo>
                        <a:lnTo>
                          <a:pt x="1108" y="224"/>
                        </a:lnTo>
                        <a:lnTo>
                          <a:pt x="1113" y="219"/>
                        </a:lnTo>
                        <a:lnTo>
                          <a:pt x="1115" y="214"/>
                        </a:lnTo>
                        <a:lnTo>
                          <a:pt x="1120" y="213"/>
                        </a:lnTo>
                        <a:lnTo>
                          <a:pt x="1123" y="209"/>
                        </a:lnTo>
                        <a:lnTo>
                          <a:pt x="1127" y="209"/>
                        </a:lnTo>
                        <a:lnTo>
                          <a:pt x="1138" y="208"/>
                        </a:lnTo>
                        <a:lnTo>
                          <a:pt x="1142" y="209"/>
                        </a:lnTo>
                        <a:lnTo>
                          <a:pt x="1147" y="209"/>
                        </a:lnTo>
                        <a:lnTo>
                          <a:pt x="1150" y="211"/>
                        </a:lnTo>
                        <a:lnTo>
                          <a:pt x="1155" y="211"/>
                        </a:lnTo>
                        <a:lnTo>
                          <a:pt x="1158" y="209"/>
                        </a:lnTo>
                        <a:lnTo>
                          <a:pt x="1165" y="211"/>
                        </a:lnTo>
                        <a:lnTo>
                          <a:pt x="1165" y="213"/>
                        </a:lnTo>
                        <a:lnTo>
                          <a:pt x="1172" y="213"/>
                        </a:lnTo>
                        <a:lnTo>
                          <a:pt x="1178" y="214"/>
                        </a:lnTo>
                        <a:lnTo>
                          <a:pt x="1180" y="216"/>
                        </a:lnTo>
                        <a:lnTo>
                          <a:pt x="1185" y="216"/>
                        </a:lnTo>
                        <a:lnTo>
                          <a:pt x="1187" y="218"/>
                        </a:lnTo>
                        <a:lnTo>
                          <a:pt x="1182" y="226"/>
                        </a:lnTo>
                        <a:lnTo>
                          <a:pt x="1178" y="224"/>
                        </a:lnTo>
                        <a:lnTo>
                          <a:pt x="1167" y="228"/>
                        </a:lnTo>
                        <a:lnTo>
                          <a:pt x="1162" y="229"/>
                        </a:lnTo>
                        <a:lnTo>
                          <a:pt x="1157" y="233"/>
                        </a:lnTo>
                        <a:lnTo>
                          <a:pt x="1157" y="236"/>
                        </a:lnTo>
                        <a:lnTo>
                          <a:pt x="1162" y="236"/>
                        </a:lnTo>
                        <a:lnTo>
                          <a:pt x="1163" y="236"/>
                        </a:lnTo>
                        <a:lnTo>
                          <a:pt x="1165" y="239"/>
                        </a:lnTo>
                        <a:lnTo>
                          <a:pt x="1158" y="246"/>
                        </a:lnTo>
                        <a:lnTo>
                          <a:pt x="1157" y="247"/>
                        </a:lnTo>
                        <a:lnTo>
                          <a:pt x="1153" y="249"/>
                        </a:lnTo>
                        <a:lnTo>
                          <a:pt x="1153" y="251"/>
                        </a:lnTo>
                        <a:lnTo>
                          <a:pt x="1150" y="256"/>
                        </a:lnTo>
                        <a:lnTo>
                          <a:pt x="1145" y="256"/>
                        </a:lnTo>
                        <a:lnTo>
                          <a:pt x="1140" y="257"/>
                        </a:lnTo>
                        <a:lnTo>
                          <a:pt x="1133" y="257"/>
                        </a:lnTo>
                        <a:lnTo>
                          <a:pt x="1130" y="254"/>
                        </a:lnTo>
                        <a:lnTo>
                          <a:pt x="1127" y="256"/>
                        </a:lnTo>
                        <a:lnTo>
                          <a:pt x="1122" y="254"/>
                        </a:lnTo>
                        <a:lnTo>
                          <a:pt x="1117" y="254"/>
                        </a:lnTo>
                        <a:lnTo>
                          <a:pt x="1115" y="252"/>
                        </a:lnTo>
                        <a:lnTo>
                          <a:pt x="1118" y="251"/>
                        </a:lnTo>
                        <a:lnTo>
                          <a:pt x="1115" y="244"/>
                        </a:lnTo>
                        <a:lnTo>
                          <a:pt x="1110" y="243"/>
                        </a:lnTo>
                        <a:lnTo>
                          <a:pt x="1107" y="241"/>
                        </a:lnTo>
                        <a:lnTo>
                          <a:pt x="1105" y="236"/>
                        </a:lnTo>
                        <a:lnTo>
                          <a:pt x="1105" y="231"/>
                        </a:lnTo>
                        <a:lnTo>
                          <a:pt x="1105" y="231"/>
                        </a:lnTo>
                        <a:close/>
                        <a:moveTo>
                          <a:pt x="1098" y="216"/>
                        </a:moveTo>
                        <a:lnTo>
                          <a:pt x="1102" y="218"/>
                        </a:lnTo>
                        <a:lnTo>
                          <a:pt x="1108" y="216"/>
                        </a:lnTo>
                        <a:lnTo>
                          <a:pt x="1112" y="211"/>
                        </a:lnTo>
                        <a:lnTo>
                          <a:pt x="1112" y="206"/>
                        </a:lnTo>
                        <a:lnTo>
                          <a:pt x="1113" y="203"/>
                        </a:lnTo>
                        <a:lnTo>
                          <a:pt x="1113" y="199"/>
                        </a:lnTo>
                        <a:lnTo>
                          <a:pt x="1113" y="194"/>
                        </a:lnTo>
                        <a:lnTo>
                          <a:pt x="1110" y="194"/>
                        </a:lnTo>
                        <a:lnTo>
                          <a:pt x="1107" y="194"/>
                        </a:lnTo>
                        <a:lnTo>
                          <a:pt x="1103" y="193"/>
                        </a:lnTo>
                        <a:lnTo>
                          <a:pt x="1100" y="196"/>
                        </a:lnTo>
                        <a:lnTo>
                          <a:pt x="1097" y="196"/>
                        </a:lnTo>
                        <a:lnTo>
                          <a:pt x="1095" y="199"/>
                        </a:lnTo>
                        <a:lnTo>
                          <a:pt x="1095" y="204"/>
                        </a:lnTo>
                        <a:lnTo>
                          <a:pt x="1095" y="209"/>
                        </a:lnTo>
                        <a:lnTo>
                          <a:pt x="1098" y="216"/>
                        </a:lnTo>
                        <a:lnTo>
                          <a:pt x="1098" y="216"/>
                        </a:lnTo>
                        <a:close/>
                        <a:moveTo>
                          <a:pt x="1507" y="538"/>
                        </a:moveTo>
                        <a:lnTo>
                          <a:pt x="1512" y="540"/>
                        </a:lnTo>
                        <a:lnTo>
                          <a:pt x="1517" y="538"/>
                        </a:lnTo>
                        <a:lnTo>
                          <a:pt x="1517" y="543"/>
                        </a:lnTo>
                        <a:lnTo>
                          <a:pt x="1522" y="543"/>
                        </a:lnTo>
                        <a:lnTo>
                          <a:pt x="1524" y="545"/>
                        </a:lnTo>
                        <a:lnTo>
                          <a:pt x="1527" y="545"/>
                        </a:lnTo>
                        <a:lnTo>
                          <a:pt x="1535" y="540"/>
                        </a:lnTo>
                        <a:lnTo>
                          <a:pt x="1540" y="538"/>
                        </a:lnTo>
                        <a:lnTo>
                          <a:pt x="1547" y="541"/>
                        </a:lnTo>
                        <a:lnTo>
                          <a:pt x="1552" y="541"/>
                        </a:lnTo>
                        <a:lnTo>
                          <a:pt x="1554" y="543"/>
                        </a:lnTo>
                        <a:lnTo>
                          <a:pt x="1557" y="541"/>
                        </a:lnTo>
                        <a:lnTo>
                          <a:pt x="1557" y="538"/>
                        </a:lnTo>
                        <a:lnTo>
                          <a:pt x="1560" y="533"/>
                        </a:lnTo>
                        <a:lnTo>
                          <a:pt x="1564" y="533"/>
                        </a:lnTo>
                        <a:lnTo>
                          <a:pt x="1564" y="530"/>
                        </a:lnTo>
                        <a:lnTo>
                          <a:pt x="1560" y="525"/>
                        </a:lnTo>
                        <a:lnTo>
                          <a:pt x="1560" y="522"/>
                        </a:lnTo>
                        <a:lnTo>
                          <a:pt x="1564" y="523"/>
                        </a:lnTo>
                        <a:lnTo>
                          <a:pt x="1564" y="527"/>
                        </a:lnTo>
                        <a:lnTo>
                          <a:pt x="1567" y="532"/>
                        </a:lnTo>
                        <a:lnTo>
                          <a:pt x="1570" y="528"/>
                        </a:lnTo>
                        <a:lnTo>
                          <a:pt x="1572" y="528"/>
                        </a:lnTo>
                        <a:lnTo>
                          <a:pt x="1575" y="528"/>
                        </a:lnTo>
                        <a:lnTo>
                          <a:pt x="1579" y="530"/>
                        </a:lnTo>
                        <a:lnTo>
                          <a:pt x="1579" y="527"/>
                        </a:lnTo>
                        <a:lnTo>
                          <a:pt x="1577" y="522"/>
                        </a:lnTo>
                        <a:lnTo>
                          <a:pt x="1579" y="520"/>
                        </a:lnTo>
                        <a:lnTo>
                          <a:pt x="1575" y="517"/>
                        </a:lnTo>
                        <a:lnTo>
                          <a:pt x="1570" y="518"/>
                        </a:lnTo>
                        <a:lnTo>
                          <a:pt x="1564" y="520"/>
                        </a:lnTo>
                        <a:lnTo>
                          <a:pt x="1564" y="515"/>
                        </a:lnTo>
                        <a:lnTo>
                          <a:pt x="1565" y="515"/>
                        </a:lnTo>
                        <a:lnTo>
                          <a:pt x="1569" y="515"/>
                        </a:lnTo>
                        <a:lnTo>
                          <a:pt x="1574" y="513"/>
                        </a:lnTo>
                        <a:lnTo>
                          <a:pt x="1575" y="510"/>
                        </a:lnTo>
                        <a:lnTo>
                          <a:pt x="1579" y="512"/>
                        </a:lnTo>
                        <a:lnTo>
                          <a:pt x="1582" y="512"/>
                        </a:lnTo>
                        <a:lnTo>
                          <a:pt x="1583" y="508"/>
                        </a:lnTo>
                        <a:lnTo>
                          <a:pt x="1583" y="505"/>
                        </a:lnTo>
                        <a:lnTo>
                          <a:pt x="1585" y="502"/>
                        </a:lnTo>
                        <a:lnTo>
                          <a:pt x="1585" y="498"/>
                        </a:lnTo>
                        <a:lnTo>
                          <a:pt x="1588" y="498"/>
                        </a:lnTo>
                        <a:lnTo>
                          <a:pt x="1588" y="495"/>
                        </a:lnTo>
                        <a:lnTo>
                          <a:pt x="1582" y="493"/>
                        </a:lnTo>
                        <a:lnTo>
                          <a:pt x="1579" y="495"/>
                        </a:lnTo>
                        <a:lnTo>
                          <a:pt x="1580" y="492"/>
                        </a:lnTo>
                        <a:lnTo>
                          <a:pt x="1582" y="490"/>
                        </a:lnTo>
                        <a:lnTo>
                          <a:pt x="1583" y="487"/>
                        </a:lnTo>
                        <a:lnTo>
                          <a:pt x="1579" y="483"/>
                        </a:lnTo>
                        <a:lnTo>
                          <a:pt x="1569" y="483"/>
                        </a:lnTo>
                        <a:lnTo>
                          <a:pt x="1567" y="482"/>
                        </a:lnTo>
                        <a:lnTo>
                          <a:pt x="1569" y="478"/>
                        </a:lnTo>
                        <a:lnTo>
                          <a:pt x="1570" y="478"/>
                        </a:lnTo>
                        <a:lnTo>
                          <a:pt x="1569" y="473"/>
                        </a:lnTo>
                        <a:lnTo>
                          <a:pt x="1562" y="468"/>
                        </a:lnTo>
                        <a:lnTo>
                          <a:pt x="1557" y="468"/>
                        </a:lnTo>
                        <a:lnTo>
                          <a:pt x="1554" y="470"/>
                        </a:lnTo>
                        <a:lnTo>
                          <a:pt x="1547" y="470"/>
                        </a:lnTo>
                        <a:lnTo>
                          <a:pt x="1540" y="472"/>
                        </a:lnTo>
                        <a:lnTo>
                          <a:pt x="1532" y="467"/>
                        </a:lnTo>
                        <a:lnTo>
                          <a:pt x="1530" y="463"/>
                        </a:lnTo>
                        <a:lnTo>
                          <a:pt x="1529" y="462"/>
                        </a:lnTo>
                        <a:lnTo>
                          <a:pt x="1524" y="465"/>
                        </a:lnTo>
                        <a:lnTo>
                          <a:pt x="1520" y="465"/>
                        </a:lnTo>
                        <a:lnTo>
                          <a:pt x="1517" y="465"/>
                        </a:lnTo>
                        <a:lnTo>
                          <a:pt x="1512" y="467"/>
                        </a:lnTo>
                        <a:lnTo>
                          <a:pt x="1510" y="470"/>
                        </a:lnTo>
                        <a:lnTo>
                          <a:pt x="1507" y="467"/>
                        </a:lnTo>
                        <a:lnTo>
                          <a:pt x="1504" y="465"/>
                        </a:lnTo>
                        <a:lnTo>
                          <a:pt x="1499" y="467"/>
                        </a:lnTo>
                        <a:lnTo>
                          <a:pt x="1494" y="467"/>
                        </a:lnTo>
                        <a:lnTo>
                          <a:pt x="1494" y="470"/>
                        </a:lnTo>
                        <a:lnTo>
                          <a:pt x="1492" y="472"/>
                        </a:lnTo>
                        <a:lnTo>
                          <a:pt x="1492" y="468"/>
                        </a:lnTo>
                        <a:lnTo>
                          <a:pt x="1490" y="467"/>
                        </a:lnTo>
                        <a:lnTo>
                          <a:pt x="1485" y="468"/>
                        </a:lnTo>
                        <a:lnTo>
                          <a:pt x="1476" y="467"/>
                        </a:lnTo>
                        <a:lnTo>
                          <a:pt x="1474" y="468"/>
                        </a:lnTo>
                        <a:lnTo>
                          <a:pt x="1477" y="472"/>
                        </a:lnTo>
                        <a:lnTo>
                          <a:pt x="1477" y="475"/>
                        </a:lnTo>
                        <a:lnTo>
                          <a:pt x="1481" y="477"/>
                        </a:lnTo>
                        <a:lnTo>
                          <a:pt x="1476" y="477"/>
                        </a:lnTo>
                        <a:lnTo>
                          <a:pt x="1474" y="473"/>
                        </a:lnTo>
                        <a:lnTo>
                          <a:pt x="1471" y="473"/>
                        </a:lnTo>
                        <a:lnTo>
                          <a:pt x="1464" y="475"/>
                        </a:lnTo>
                        <a:lnTo>
                          <a:pt x="1461" y="473"/>
                        </a:lnTo>
                        <a:lnTo>
                          <a:pt x="1466" y="472"/>
                        </a:lnTo>
                        <a:lnTo>
                          <a:pt x="1467" y="468"/>
                        </a:lnTo>
                        <a:lnTo>
                          <a:pt x="1462" y="463"/>
                        </a:lnTo>
                        <a:lnTo>
                          <a:pt x="1462" y="460"/>
                        </a:lnTo>
                        <a:lnTo>
                          <a:pt x="1461" y="458"/>
                        </a:lnTo>
                        <a:lnTo>
                          <a:pt x="1454" y="460"/>
                        </a:lnTo>
                        <a:lnTo>
                          <a:pt x="1456" y="463"/>
                        </a:lnTo>
                        <a:lnTo>
                          <a:pt x="1454" y="467"/>
                        </a:lnTo>
                        <a:lnTo>
                          <a:pt x="1451" y="465"/>
                        </a:lnTo>
                        <a:lnTo>
                          <a:pt x="1452" y="462"/>
                        </a:lnTo>
                        <a:lnTo>
                          <a:pt x="1452" y="460"/>
                        </a:lnTo>
                        <a:lnTo>
                          <a:pt x="1447" y="458"/>
                        </a:lnTo>
                        <a:lnTo>
                          <a:pt x="1444" y="460"/>
                        </a:lnTo>
                        <a:lnTo>
                          <a:pt x="1441" y="460"/>
                        </a:lnTo>
                        <a:lnTo>
                          <a:pt x="1442" y="457"/>
                        </a:lnTo>
                        <a:lnTo>
                          <a:pt x="1442" y="455"/>
                        </a:lnTo>
                        <a:lnTo>
                          <a:pt x="1442" y="450"/>
                        </a:lnTo>
                        <a:lnTo>
                          <a:pt x="1437" y="450"/>
                        </a:lnTo>
                        <a:lnTo>
                          <a:pt x="1432" y="455"/>
                        </a:lnTo>
                        <a:lnTo>
                          <a:pt x="1432" y="462"/>
                        </a:lnTo>
                        <a:lnTo>
                          <a:pt x="1429" y="462"/>
                        </a:lnTo>
                        <a:lnTo>
                          <a:pt x="1427" y="457"/>
                        </a:lnTo>
                        <a:lnTo>
                          <a:pt x="1429" y="453"/>
                        </a:lnTo>
                        <a:lnTo>
                          <a:pt x="1429" y="452"/>
                        </a:lnTo>
                        <a:lnTo>
                          <a:pt x="1432" y="445"/>
                        </a:lnTo>
                        <a:lnTo>
                          <a:pt x="1429" y="442"/>
                        </a:lnTo>
                        <a:lnTo>
                          <a:pt x="1422" y="443"/>
                        </a:lnTo>
                        <a:lnTo>
                          <a:pt x="1422" y="442"/>
                        </a:lnTo>
                        <a:lnTo>
                          <a:pt x="1427" y="440"/>
                        </a:lnTo>
                        <a:lnTo>
                          <a:pt x="1429" y="435"/>
                        </a:lnTo>
                        <a:lnTo>
                          <a:pt x="1429" y="432"/>
                        </a:lnTo>
                        <a:lnTo>
                          <a:pt x="1426" y="434"/>
                        </a:lnTo>
                        <a:lnTo>
                          <a:pt x="1421" y="432"/>
                        </a:lnTo>
                        <a:lnTo>
                          <a:pt x="1419" y="434"/>
                        </a:lnTo>
                        <a:lnTo>
                          <a:pt x="1416" y="434"/>
                        </a:lnTo>
                        <a:lnTo>
                          <a:pt x="1417" y="432"/>
                        </a:lnTo>
                        <a:lnTo>
                          <a:pt x="1417" y="429"/>
                        </a:lnTo>
                        <a:lnTo>
                          <a:pt x="1412" y="429"/>
                        </a:lnTo>
                        <a:lnTo>
                          <a:pt x="1411" y="432"/>
                        </a:lnTo>
                        <a:lnTo>
                          <a:pt x="1404" y="434"/>
                        </a:lnTo>
                        <a:lnTo>
                          <a:pt x="1404" y="430"/>
                        </a:lnTo>
                        <a:lnTo>
                          <a:pt x="1407" y="429"/>
                        </a:lnTo>
                        <a:lnTo>
                          <a:pt x="1409" y="425"/>
                        </a:lnTo>
                        <a:lnTo>
                          <a:pt x="1411" y="422"/>
                        </a:lnTo>
                        <a:lnTo>
                          <a:pt x="1414" y="422"/>
                        </a:lnTo>
                        <a:lnTo>
                          <a:pt x="1417" y="427"/>
                        </a:lnTo>
                        <a:lnTo>
                          <a:pt x="1424" y="427"/>
                        </a:lnTo>
                        <a:lnTo>
                          <a:pt x="1424" y="424"/>
                        </a:lnTo>
                        <a:lnTo>
                          <a:pt x="1419" y="420"/>
                        </a:lnTo>
                        <a:lnTo>
                          <a:pt x="1416" y="419"/>
                        </a:lnTo>
                        <a:lnTo>
                          <a:pt x="1417" y="417"/>
                        </a:lnTo>
                        <a:lnTo>
                          <a:pt x="1412" y="412"/>
                        </a:lnTo>
                        <a:lnTo>
                          <a:pt x="1407" y="410"/>
                        </a:lnTo>
                        <a:lnTo>
                          <a:pt x="1409" y="409"/>
                        </a:lnTo>
                        <a:lnTo>
                          <a:pt x="1411" y="407"/>
                        </a:lnTo>
                        <a:lnTo>
                          <a:pt x="1412" y="407"/>
                        </a:lnTo>
                        <a:lnTo>
                          <a:pt x="1416" y="410"/>
                        </a:lnTo>
                        <a:lnTo>
                          <a:pt x="1419" y="415"/>
                        </a:lnTo>
                        <a:lnTo>
                          <a:pt x="1426" y="417"/>
                        </a:lnTo>
                        <a:lnTo>
                          <a:pt x="1429" y="420"/>
                        </a:lnTo>
                        <a:lnTo>
                          <a:pt x="1432" y="417"/>
                        </a:lnTo>
                        <a:lnTo>
                          <a:pt x="1434" y="420"/>
                        </a:lnTo>
                        <a:lnTo>
                          <a:pt x="1442" y="422"/>
                        </a:lnTo>
                        <a:lnTo>
                          <a:pt x="1447" y="422"/>
                        </a:lnTo>
                        <a:lnTo>
                          <a:pt x="1449" y="419"/>
                        </a:lnTo>
                        <a:lnTo>
                          <a:pt x="1447" y="414"/>
                        </a:lnTo>
                        <a:lnTo>
                          <a:pt x="1437" y="407"/>
                        </a:lnTo>
                        <a:lnTo>
                          <a:pt x="1434" y="404"/>
                        </a:lnTo>
                        <a:lnTo>
                          <a:pt x="1431" y="404"/>
                        </a:lnTo>
                        <a:lnTo>
                          <a:pt x="1429" y="400"/>
                        </a:lnTo>
                        <a:lnTo>
                          <a:pt x="1426" y="395"/>
                        </a:lnTo>
                        <a:lnTo>
                          <a:pt x="1422" y="395"/>
                        </a:lnTo>
                        <a:lnTo>
                          <a:pt x="1421" y="394"/>
                        </a:lnTo>
                        <a:lnTo>
                          <a:pt x="1422" y="390"/>
                        </a:lnTo>
                        <a:lnTo>
                          <a:pt x="1426" y="392"/>
                        </a:lnTo>
                        <a:lnTo>
                          <a:pt x="1429" y="395"/>
                        </a:lnTo>
                        <a:lnTo>
                          <a:pt x="1432" y="395"/>
                        </a:lnTo>
                        <a:lnTo>
                          <a:pt x="1434" y="399"/>
                        </a:lnTo>
                        <a:lnTo>
                          <a:pt x="1436" y="400"/>
                        </a:lnTo>
                        <a:lnTo>
                          <a:pt x="1437" y="397"/>
                        </a:lnTo>
                        <a:lnTo>
                          <a:pt x="1436" y="389"/>
                        </a:lnTo>
                        <a:lnTo>
                          <a:pt x="1431" y="384"/>
                        </a:lnTo>
                        <a:lnTo>
                          <a:pt x="1427" y="384"/>
                        </a:lnTo>
                        <a:lnTo>
                          <a:pt x="1426" y="382"/>
                        </a:lnTo>
                        <a:lnTo>
                          <a:pt x="1421" y="382"/>
                        </a:lnTo>
                        <a:lnTo>
                          <a:pt x="1416" y="385"/>
                        </a:lnTo>
                        <a:lnTo>
                          <a:pt x="1411" y="385"/>
                        </a:lnTo>
                        <a:lnTo>
                          <a:pt x="1407" y="382"/>
                        </a:lnTo>
                        <a:lnTo>
                          <a:pt x="1404" y="384"/>
                        </a:lnTo>
                        <a:lnTo>
                          <a:pt x="1401" y="380"/>
                        </a:lnTo>
                        <a:lnTo>
                          <a:pt x="1396" y="387"/>
                        </a:lnTo>
                        <a:lnTo>
                          <a:pt x="1389" y="390"/>
                        </a:lnTo>
                        <a:lnTo>
                          <a:pt x="1387" y="394"/>
                        </a:lnTo>
                        <a:lnTo>
                          <a:pt x="1384" y="395"/>
                        </a:lnTo>
                        <a:lnTo>
                          <a:pt x="1384" y="392"/>
                        </a:lnTo>
                        <a:lnTo>
                          <a:pt x="1387" y="389"/>
                        </a:lnTo>
                        <a:lnTo>
                          <a:pt x="1389" y="387"/>
                        </a:lnTo>
                        <a:lnTo>
                          <a:pt x="1399" y="379"/>
                        </a:lnTo>
                        <a:lnTo>
                          <a:pt x="1401" y="375"/>
                        </a:lnTo>
                        <a:lnTo>
                          <a:pt x="1399" y="372"/>
                        </a:lnTo>
                        <a:lnTo>
                          <a:pt x="1399" y="362"/>
                        </a:lnTo>
                        <a:lnTo>
                          <a:pt x="1401" y="360"/>
                        </a:lnTo>
                        <a:lnTo>
                          <a:pt x="1396" y="357"/>
                        </a:lnTo>
                        <a:lnTo>
                          <a:pt x="1394" y="359"/>
                        </a:lnTo>
                        <a:lnTo>
                          <a:pt x="1389" y="359"/>
                        </a:lnTo>
                        <a:lnTo>
                          <a:pt x="1387" y="357"/>
                        </a:lnTo>
                        <a:lnTo>
                          <a:pt x="1386" y="352"/>
                        </a:lnTo>
                        <a:lnTo>
                          <a:pt x="1386" y="350"/>
                        </a:lnTo>
                        <a:lnTo>
                          <a:pt x="1378" y="347"/>
                        </a:lnTo>
                        <a:lnTo>
                          <a:pt x="1374" y="344"/>
                        </a:lnTo>
                        <a:lnTo>
                          <a:pt x="1369" y="344"/>
                        </a:lnTo>
                        <a:lnTo>
                          <a:pt x="1364" y="341"/>
                        </a:lnTo>
                        <a:lnTo>
                          <a:pt x="1363" y="344"/>
                        </a:lnTo>
                        <a:lnTo>
                          <a:pt x="1353" y="344"/>
                        </a:lnTo>
                        <a:lnTo>
                          <a:pt x="1353" y="345"/>
                        </a:lnTo>
                        <a:lnTo>
                          <a:pt x="1349" y="345"/>
                        </a:lnTo>
                        <a:lnTo>
                          <a:pt x="1348" y="350"/>
                        </a:lnTo>
                        <a:lnTo>
                          <a:pt x="1351" y="354"/>
                        </a:lnTo>
                        <a:lnTo>
                          <a:pt x="1353" y="357"/>
                        </a:lnTo>
                        <a:lnTo>
                          <a:pt x="1349" y="357"/>
                        </a:lnTo>
                        <a:lnTo>
                          <a:pt x="1344" y="350"/>
                        </a:lnTo>
                        <a:lnTo>
                          <a:pt x="1343" y="355"/>
                        </a:lnTo>
                        <a:lnTo>
                          <a:pt x="1344" y="359"/>
                        </a:lnTo>
                        <a:lnTo>
                          <a:pt x="1349" y="362"/>
                        </a:lnTo>
                        <a:lnTo>
                          <a:pt x="1354" y="369"/>
                        </a:lnTo>
                        <a:lnTo>
                          <a:pt x="1359" y="369"/>
                        </a:lnTo>
                        <a:lnTo>
                          <a:pt x="1356" y="370"/>
                        </a:lnTo>
                        <a:lnTo>
                          <a:pt x="1353" y="370"/>
                        </a:lnTo>
                        <a:lnTo>
                          <a:pt x="1351" y="375"/>
                        </a:lnTo>
                        <a:lnTo>
                          <a:pt x="1358" y="382"/>
                        </a:lnTo>
                        <a:lnTo>
                          <a:pt x="1361" y="384"/>
                        </a:lnTo>
                        <a:lnTo>
                          <a:pt x="1361" y="387"/>
                        </a:lnTo>
                        <a:lnTo>
                          <a:pt x="1359" y="385"/>
                        </a:lnTo>
                        <a:lnTo>
                          <a:pt x="1353" y="385"/>
                        </a:lnTo>
                        <a:lnTo>
                          <a:pt x="1353" y="387"/>
                        </a:lnTo>
                        <a:lnTo>
                          <a:pt x="1349" y="389"/>
                        </a:lnTo>
                        <a:lnTo>
                          <a:pt x="1348" y="392"/>
                        </a:lnTo>
                        <a:lnTo>
                          <a:pt x="1354" y="390"/>
                        </a:lnTo>
                        <a:lnTo>
                          <a:pt x="1358" y="392"/>
                        </a:lnTo>
                        <a:lnTo>
                          <a:pt x="1366" y="390"/>
                        </a:lnTo>
                        <a:lnTo>
                          <a:pt x="1366" y="392"/>
                        </a:lnTo>
                        <a:lnTo>
                          <a:pt x="1371" y="394"/>
                        </a:lnTo>
                        <a:lnTo>
                          <a:pt x="1373" y="397"/>
                        </a:lnTo>
                        <a:lnTo>
                          <a:pt x="1379" y="400"/>
                        </a:lnTo>
                        <a:lnTo>
                          <a:pt x="1381" y="400"/>
                        </a:lnTo>
                        <a:lnTo>
                          <a:pt x="1381" y="399"/>
                        </a:lnTo>
                        <a:lnTo>
                          <a:pt x="1383" y="400"/>
                        </a:lnTo>
                        <a:lnTo>
                          <a:pt x="1387" y="397"/>
                        </a:lnTo>
                        <a:lnTo>
                          <a:pt x="1391" y="399"/>
                        </a:lnTo>
                        <a:lnTo>
                          <a:pt x="1392" y="400"/>
                        </a:lnTo>
                        <a:lnTo>
                          <a:pt x="1391" y="405"/>
                        </a:lnTo>
                        <a:lnTo>
                          <a:pt x="1391" y="412"/>
                        </a:lnTo>
                        <a:lnTo>
                          <a:pt x="1389" y="419"/>
                        </a:lnTo>
                        <a:lnTo>
                          <a:pt x="1389" y="422"/>
                        </a:lnTo>
                        <a:lnTo>
                          <a:pt x="1391" y="425"/>
                        </a:lnTo>
                        <a:lnTo>
                          <a:pt x="1389" y="432"/>
                        </a:lnTo>
                        <a:lnTo>
                          <a:pt x="1389" y="434"/>
                        </a:lnTo>
                        <a:lnTo>
                          <a:pt x="1387" y="439"/>
                        </a:lnTo>
                        <a:lnTo>
                          <a:pt x="1381" y="443"/>
                        </a:lnTo>
                        <a:lnTo>
                          <a:pt x="1376" y="445"/>
                        </a:lnTo>
                        <a:lnTo>
                          <a:pt x="1374" y="448"/>
                        </a:lnTo>
                        <a:lnTo>
                          <a:pt x="1369" y="453"/>
                        </a:lnTo>
                        <a:lnTo>
                          <a:pt x="1369" y="457"/>
                        </a:lnTo>
                        <a:lnTo>
                          <a:pt x="1366" y="460"/>
                        </a:lnTo>
                        <a:lnTo>
                          <a:pt x="1363" y="463"/>
                        </a:lnTo>
                        <a:lnTo>
                          <a:pt x="1363" y="468"/>
                        </a:lnTo>
                        <a:lnTo>
                          <a:pt x="1366" y="468"/>
                        </a:lnTo>
                        <a:lnTo>
                          <a:pt x="1366" y="472"/>
                        </a:lnTo>
                        <a:lnTo>
                          <a:pt x="1363" y="473"/>
                        </a:lnTo>
                        <a:lnTo>
                          <a:pt x="1361" y="477"/>
                        </a:lnTo>
                        <a:lnTo>
                          <a:pt x="1364" y="478"/>
                        </a:lnTo>
                        <a:lnTo>
                          <a:pt x="1359" y="483"/>
                        </a:lnTo>
                        <a:lnTo>
                          <a:pt x="1359" y="487"/>
                        </a:lnTo>
                        <a:lnTo>
                          <a:pt x="1361" y="492"/>
                        </a:lnTo>
                        <a:lnTo>
                          <a:pt x="1364" y="492"/>
                        </a:lnTo>
                        <a:lnTo>
                          <a:pt x="1364" y="495"/>
                        </a:lnTo>
                        <a:lnTo>
                          <a:pt x="1368" y="498"/>
                        </a:lnTo>
                        <a:lnTo>
                          <a:pt x="1371" y="497"/>
                        </a:lnTo>
                        <a:lnTo>
                          <a:pt x="1371" y="493"/>
                        </a:lnTo>
                        <a:lnTo>
                          <a:pt x="1373" y="492"/>
                        </a:lnTo>
                        <a:lnTo>
                          <a:pt x="1374" y="493"/>
                        </a:lnTo>
                        <a:lnTo>
                          <a:pt x="1378" y="493"/>
                        </a:lnTo>
                        <a:lnTo>
                          <a:pt x="1381" y="487"/>
                        </a:lnTo>
                        <a:lnTo>
                          <a:pt x="1383" y="490"/>
                        </a:lnTo>
                        <a:lnTo>
                          <a:pt x="1381" y="495"/>
                        </a:lnTo>
                        <a:lnTo>
                          <a:pt x="1376" y="495"/>
                        </a:lnTo>
                        <a:lnTo>
                          <a:pt x="1376" y="498"/>
                        </a:lnTo>
                        <a:lnTo>
                          <a:pt x="1378" y="500"/>
                        </a:lnTo>
                        <a:lnTo>
                          <a:pt x="1378" y="502"/>
                        </a:lnTo>
                        <a:lnTo>
                          <a:pt x="1383" y="507"/>
                        </a:lnTo>
                        <a:lnTo>
                          <a:pt x="1387" y="507"/>
                        </a:lnTo>
                        <a:lnTo>
                          <a:pt x="1387" y="508"/>
                        </a:lnTo>
                        <a:lnTo>
                          <a:pt x="1394" y="508"/>
                        </a:lnTo>
                        <a:lnTo>
                          <a:pt x="1397" y="507"/>
                        </a:lnTo>
                        <a:lnTo>
                          <a:pt x="1402" y="505"/>
                        </a:lnTo>
                        <a:lnTo>
                          <a:pt x="1402" y="498"/>
                        </a:lnTo>
                        <a:lnTo>
                          <a:pt x="1404" y="498"/>
                        </a:lnTo>
                        <a:lnTo>
                          <a:pt x="1407" y="497"/>
                        </a:lnTo>
                        <a:lnTo>
                          <a:pt x="1407" y="500"/>
                        </a:lnTo>
                        <a:lnTo>
                          <a:pt x="1407" y="502"/>
                        </a:lnTo>
                        <a:lnTo>
                          <a:pt x="1407" y="505"/>
                        </a:lnTo>
                        <a:lnTo>
                          <a:pt x="1409" y="503"/>
                        </a:lnTo>
                        <a:lnTo>
                          <a:pt x="1412" y="497"/>
                        </a:lnTo>
                        <a:lnTo>
                          <a:pt x="1416" y="497"/>
                        </a:lnTo>
                        <a:lnTo>
                          <a:pt x="1416" y="498"/>
                        </a:lnTo>
                        <a:lnTo>
                          <a:pt x="1416" y="503"/>
                        </a:lnTo>
                        <a:lnTo>
                          <a:pt x="1409" y="510"/>
                        </a:lnTo>
                        <a:lnTo>
                          <a:pt x="1406" y="513"/>
                        </a:lnTo>
                        <a:lnTo>
                          <a:pt x="1406" y="517"/>
                        </a:lnTo>
                        <a:lnTo>
                          <a:pt x="1411" y="518"/>
                        </a:lnTo>
                        <a:lnTo>
                          <a:pt x="1416" y="522"/>
                        </a:lnTo>
                        <a:lnTo>
                          <a:pt x="1419" y="520"/>
                        </a:lnTo>
                        <a:lnTo>
                          <a:pt x="1421" y="522"/>
                        </a:lnTo>
                        <a:lnTo>
                          <a:pt x="1426" y="523"/>
                        </a:lnTo>
                        <a:lnTo>
                          <a:pt x="1427" y="520"/>
                        </a:lnTo>
                        <a:lnTo>
                          <a:pt x="1432" y="520"/>
                        </a:lnTo>
                        <a:lnTo>
                          <a:pt x="1431" y="522"/>
                        </a:lnTo>
                        <a:lnTo>
                          <a:pt x="1431" y="523"/>
                        </a:lnTo>
                        <a:lnTo>
                          <a:pt x="1434" y="525"/>
                        </a:lnTo>
                        <a:lnTo>
                          <a:pt x="1437" y="527"/>
                        </a:lnTo>
                        <a:lnTo>
                          <a:pt x="1441" y="525"/>
                        </a:lnTo>
                        <a:lnTo>
                          <a:pt x="1441" y="523"/>
                        </a:lnTo>
                        <a:lnTo>
                          <a:pt x="1439" y="520"/>
                        </a:lnTo>
                        <a:lnTo>
                          <a:pt x="1442" y="515"/>
                        </a:lnTo>
                        <a:lnTo>
                          <a:pt x="1444" y="518"/>
                        </a:lnTo>
                        <a:lnTo>
                          <a:pt x="1442" y="523"/>
                        </a:lnTo>
                        <a:lnTo>
                          <a:pt x="1444" y="527"/>
                        </a:lnTo>
                        <a:lnTo>
                          <a:pt x="1447" y="527"/>
                        </a:lnTo>
                        <a:lnTo>
                          <a:pt x="1449" y="523"/>
                        </a:lnTo>
                        <a:lnTo>
                          <a:pt x="1451" y="520"/>
                        </a:lnTo>
                        <a:lnTo>
                          <a:pt x="1454" y="520"/>
                        </a:lnTo>
                        <a:lnTo>
                          <a:pt x="1452" y="523"/>
                        </a:lnTo>
                        <a:lnTo>
                          <a:pt x="1451" y="525"/>
                        </a:lnTo>
                        <a:lnTo>
                          <a:pt x="1451" y="528"/>
                        </a:lnTo>
                        <a:lnTo>
                          <a:pt x="1457" y="528"/>
                        </a:lnTo>
                        <a:lnTo>
                          <a:pt x="1461" y="525"/>
                        </a:lnTo>
                        <a:lnTo>
                          <a:pt x="1464" y="518"/>
                        </a:lnTo>
                        <a:lnTo>
                          <a:pt x="1466" y="522"/>
                        </a:lnTo>
                        <a:lnTo>
                          <a:pt x="1462" y="525"/>
                        </a:lnTo>
                        <a:lnTo>
                          <a:pt x="1462" y="528"/>
                        </a:lnTo>
                        <a:lnTo>
                          <a:pt x="1469" y="527"/>
                        </a:lnTo>
                        <a:lnTo>
                          <a:pt x="1471" y="522"/>
                        </a:lnTo>
                        <a:lnTo>
                          <a:pt x="1472" y="518"/>
                        </a:lnTo>
                        <a:lnTo>
                          <a:pt x="1471" y="528"/>
                        </a:lnTo>
                        <a:lnTo>
                          <a:pt x="1472" y="530"/>
                        </a:lnTo>
                        <a:lnTo>
                          <a:pt x="1477" y="532"/>
                        </a:lnTo>
                        <a:lnTo>
                          <a:pt x="1484" y="535"/>
                        </a:lnTo>
                        <a:lnTo>
                          <a:pt x="1487" y="533"/>
                        </a:lnTo>
                        <a:lnTo>
                          <a:pt x="1490" y="532"/>
                        </a:lnTo>
                        <a:lnTo>
                          <a:pt x="1492" y="535"/>
                        </a:lnTo>
                        <a:lnTo>
                          <a:pt x="1497" y="533"/>
                        </a:lnTo>
                        <a:lnTo>
                          <a:pt x="1500" y="532"/>
                        </a:lnTo>
                        <a:lnTo>
                          <a:pt x="1500" y="527"/>
                        </a:lnTo>
                        <a:lnTo>
                          <a:pt x="1505" y="523"/>
                        </a:lnTo>
                        <a:lnTo>
                          <a:pt x="1507" y="520"/>
                        </a:lnTo>
                        <a:lnTo>
                          <a:pt x="1504" y="517"/>
                        </a:lnTo>
                        <a:lnTo>
                          <a:pt x="1507" y="512"/>
                        </a:lnTo>
                        <a:lnTo>
                          <a:pt x="1509" y="513"/>
                        </a:lnTo>
                        <a:lnTo>
                          <a:pt x="1509" y="518"/>
                        </a:lnTo>
                        <a:lnTo>
                          <a:pt x="1512" y="518"/>
                        </a:lnTo>
                        <a:lnTo>
                          <a:pt x="1512" y="522"/>
                        </a:lnTo>
                        <a:lnTo>
                          <a:pt x="1509" y="523"/>
                        </a:lnTo>
                        <a:lnTo>
                          <a:pt x="1505" y="530"/>
                        </a:lnTo>
                        <a:lnTo>
                          <a:pt x="1507" y="538"/>
                        </a:lnTo>
                        <a:lnTo>
                          <a:pt x="1507" y="538"/>
                        </a:lnTo>
                        <a:close/>
                        <a:moveTo>
                          <a:pt x="1341" y="341"/>
                        </a:moveTo>
                        <a:lnTo>
                          <a:pt x="1344" y="339"/>
                        </a:lnTo>
                        <a:lnTo>
                          <a:pt x="1344" y="337"/>
                        </a:lnTo>
                        <a:lnTo>
                          <a:pt x="1341" y="337"/>
                        </a:lnTo>
                        <a:lnTo>
                          <a:pt x="1339" y="339"/>
                        </a:lnTo>
                        <a:lnTo>
                          <a:pt x="1341" y="341"/>
                        </a:lnTo>
                        <a:lnTo>
                          <a:pt x="1341" y="341"/>
                        </a:lnTo>
                        <a:close/>
                        <a:moveTo>
                          <a:pt x="1333" y="367"/>
                        </a:moveTo>
                        <a:lnTo>
                          <a:pt x="1336" y="364"/>
                        </a:lnTo>
                        <a:lnTo>
                          <a:pt x="1336" y="360"/>
                        </a:lnTo>
                        <a:lnTo>
                          <a:pt x="1338" y="364"/>
                        </a:lnTo>
                        <a:lnTo>
                          <a:pt x="1334" y="367"/>
                        </a:lnTo>
                        <a:lnTo>
                          <a:pt x="1333" y="367"/>
                        </a:lnTo>
                        <a:lnTo>
                          <a:pt x="1333" y="367"/>
                        </a:lnTo>
                        <a:close/>
                        <a:moveTo>
                          <a:pt x="1216" y="405"/>
                        </a:moveTo>
                        <a:lnTo>
                          <a:pt x="1215" y="407"/>
                        </a:lnTo>
                        <a:lnTo>
                          <a:pt x="1216" y="409"/>
                        </a:lnTo>
                        <a:lnTo>
                          <a:pt x="1218" y="407"/>
                        </a:lnTo>
                        <a:lnTo>
                          <a:pt x="1216" y="405"/>
                        </a:lnTo>
                        <a:lnTo>
                          <a:pt x="1216" y="405"/>
                        </a:lnTo>
                        <a:close/>
                        <a:moveTo>
                          <a:pt x="1291" y="339"/>
                        </a:moveTo>
                        <a:lnTo>
                          <a:pt x="1291" y="341"/>
                        </a:lnTo>
                        <a:lnTo>
                          <a:pt x="1294" y="344"/>
                        </a:lnTo>
                        <a:lnTo>
                          <a:pt x="1294" y="347"/>
                        </a:lnTo>
                        <a:lnTo>
                          <a:pt x="1298" y="345"/>
                        </a:lnTo>
                        <a:lnTo>
                          <a:pt x="1296" y="342"/>
                        </a:lnTo>
                        <a:lnTo>
                          <a:pt x="1294" y="339"/>
                        </a:lnTo>
                        <a:lnTo>
                          <a:pt x="1291" y="339"/>
                        </a:lnTo>
                        <a:lnTo>
                          <a:pt x="1291" y="339"/>
                        </a:lnTo>
                        <a:close/>
                        <a:moveTo>
                          <a:pt x="1255" y="341"/>
                        </a:moveTo>
                        <a:lnTo>
                          <a:pt x="1255" y="342"/>
                        </a:lnTo>
                        <a:lnTo>
                          <a:pt x="1258" y="344"/>
                        </a:lnTo>
                        <a:lnTo>
                          <a:pt x="1261" y="342"/>
                        </a:lnTo>
                        <a:lnTo>
                          <a:pt x="1266" y="342"/>
                        </a:lnTo>
                        <a:lnTo>
                          <a:pt x="1270" y="342"/>
                        </a:lnTo>
                        <a:lnTo>
                          <a:pt x="1276" y="339"/>
                        </a:lnTo>
                        <a:lnTo>
                          <a:pt x="1280" y="339"/>
                        </a:lnTo>
                        <a:lnTo>
                          <a:pt x="1285" y="337"/>
                        </a:lnTo>
                        <a:lnTo>
                          <a:pt x="1283" y="336"/>
                        </a:lnTo>
                        <a:lnTo>
                          <a:pt x="1276" y="336"/>
                        </a:lnTo>
                        <a:lnTo>
                          <a:pt x="1270" y="336"/>
                        </a:lnTo>
                        <a:lnTo>
                          <a:pt x="1270" y="336"/>
                        </a:lnTo>
                        <a:lnTo>
                          <a:pt x="1266" y="339"/>
                        </a:lnTo>
                        <a:lnTo>
                          <a:pt x="1266" y="339"/>
                        </a:lnTo>
                        <a:lnTo>
                          <a:pt x="1263" y="337"/>
                        </a:lnTo>
                        <a:lnTo>
                          <a:pt x="1258" y="339"/>
                        </a:lnTo>
                        <a:lnTo>
                          <a:pt x="1255" y="341"/>
                        </a:lnTo>
                        <a:lnTo>
                          <a:pt x="1255" y="341"/>
                        </a:lnTo>
                        <a:close/>
                        <a:moveTo>
                          <a:pt x="1218" y="352"/>
                        </a:moveTo>
                        <a:lnTo>
                          <a:pt x="1215" y="349"/>
                        </a:lnTo>
                        <a:lnTo>
                          <a:pt x="1208" y="349"/>
                        </a:lnTo>
                        <a:lnTo>
                          <a:pt x="1205" y="347"/>
                        </a:lnTo>
                        <a:lnTo>
                          <a:pt x="1203" y="342"/>
                        </a:lnTo>
                        <a:lnTo>
                          <a:pt x="1206" y="339"/>
                        </a:lnTo>
                        <a:lnTo>
                          <a:pt x="1206" y="336"/>
                        </a:lnTo>
                        <a:lnTo>
                          <a:pt x="1206" y="332"/>
                        </a:lnTo>
                        <a:lnTo>
                          <a:pt x="1206" y="329"/>
                        </a:lnTo>
                        <a:lnTo>
                          <a:pt x="1210" y="327"/>
                        </a:lnTo>
                        <a:lnTo>
                          <a:pt x="1216" y="327"/>
                        </a:lnTo>
                        <a:lnTo>
                          <a:pt x="1218" y="327"/>
                        </a:lnTo>
                        <a:lnTo>
                          <a:pt x="1220" y="329"/>
                        </a:lnTo>
                        <a:lnTo>
                          <a:pt x="1220" y="331"/>
                        </a:lnTo>
                        <a:lnTo>
                          <a:pt x="1218" y="332"/>
                        </a:lnTo>
                        <a:lnTo>
                          <a:pt x="1216" y="336"/>
                        </a:lnTo>
                        <a:lnTo>
                          <a:pt x="1218" y="336"/>
                        </a:lnTo>
                        <a:lnTo>
                          <a:pt x="1223" y="336"/>
                        </a:lnTo>
                        <a:lnTo>
                          <a:pt x="1223" y="337"/>
                        </a:lnTo>
                        <a:lnTo>
                          <a:pt x="1221" y="341"/>
                        </a:lnTo>
                        <a:lnTo>
                          <a:pt x="1223" y="342"/>
                        </a:lnTo>
                        <a:lnTo>
                          <a:pt x="1223" y="347"/>
                        </a:lnTo>
                        <a:lnTo>
                          <a:pt x="1221" y="350"/>
                        </a:lnTo>
                        <a:lnTo>
                          <a:pt x="1218" y="352"/>
                        </a:lnTo>
                        <a:lnTo>
                          <a:pt x="1218" y="352"/>
                        </a:lnTo>
                        <a:close/>
                        <a:moveTo>
                          <a:pt x="1211" y="367"/>
                        </a:moveTo>
                        <a:lnTo>
                          <a:pt x="1221" y="369"/>
                        </a:lnTo>
                        <a:lnTo>
                          <a:pt x="1225" y="365"/>
                        </a:lnTo>
                        <a:lnTo>
                          <a:pt x="1228" y="360"/>
                        </a:lnTo>
                        <a:lnTo>
                          <a:pt x="1225" y="355"/>
                        </a:lnTo>
                        <a:lnTo>
                          <a:pt x="1220" y="357"/>
                        </a:lnTo>
                        <a:lnTo>
                          <a:pt x="1215" y="354"/>
                        </a:lnTo>
                        <a:lnTo>
                          <a:pt x="1208" y="354"/>
                        </a:lnTo>
                        <a:lnTo>
                          <a:pt x="1205" y="354"/>
                        </a:lnTo>
                        <a:lnTo>
                          <a:pt x="1200" y="354"/>
                        </a:lnTo>
                        <a:lnTo>
                          <a:pt x="1198" y="355"/>
                        </a:lnTo>
                        <a:lnTo>
                          <a:pt x="1195" y="357"/>
                        </a:lnTo>
                        <a:lnTo>
                          <a:pt x="1195" y="360"/>
                        </a:lnTo>
                        <a:lnTo>
                          <a:pt x="1195" y="362"/>
                        </a:lnTo>
                        <a:lnTo>
                          <a:pt x="1196" y="362"/>
                        </a:lnTo>
                        <a:lnTo>
                          <a:pt x="1198" y="364"/>
                        </a:lnTo>
                        <a:lnTo>
                          <a:pt x="1201" y="365"/>
                        </a:lnTo>
                        <a:lnTo>
                          <a:pt x="1206" y="367"/>
                        </a:lnTo>
                        <a:lnTo>
                          <a:pt x="1211" y="367"/>
                        </a:lnTo>
                        <a:lnTo>
                          <a:pt x="1211" y="367"/>
                        </a:lnTo>
                        <a:close/>
                        <a:moveTo>
                          <a:pt x="1195" y="374"/>
                        </a:moveTo>
                        <a:lnTo>
                          <a:pt x="1205" y="377"/>
                        </a:lnTo>
                        <a:lnTo>
                          <a:pt x="1210" y="375"/>
                        </a:lnTo>
                        <a:lnTo>
                          <a:pt x="1213" y="375"/>
                        </a:lnTo>
                        <a:lnTo>
                          <a:pt x="1215" y="375"/>
                        </a:lnTo>
                        <a:lnTo>
                          <a:pt x="1218" y="375"/>
                        </a:lnTo>
                        <a:lnTo>
                          <a:pt x="1223" y="374"/>
                        </a:lnTo>
                        <a:lnTo>
                          <a:pt x="1223" y="372"/>
                        </a:lnTo>
                        <a:lnTo>
                          <a:pt x="1220" y="370"/>
                        </a:lnTo>
                        <a:lnTo>
                          <a:pt x="1210" y="372"/>
                        </a:lnTo>
                        <a:lnTo>
                          <a:pt x="1205" y="372"/>
                        </a:lnTo>
                        <a:lnTo>
                          <a:pt x="1203" y="370"/>
                        </a:lnTo>
                        <a:lnTo>
                          <a:pt x="1196" y="370"/>
                        </a:lnTo>
                        <a:lnTo>
                          <a:pt x="1193" y="372"/>
                        </a:lnTo>
                        <a:lnTo>
                          <a:pt x="1195" y="374"/>
                        </a:lnTo>
                        <a:lnTo>
                          <a:pt x="1195" y="374"/>
                        </a:lnTo>
                        <a:close/>
                        <a:moveTo>
                          <a:pt x="1191" y="385"/>
                        </a:moveTo>
                        <a:lnTo>
                          <a:pt x="1195" y="384"/>
                        </a:lnTo>
                        <a:lnTo>
                          <a:pt x="1200" y="384"/>
                        </a:lnTo>
                        <a:lnTo>
                          <a:pt x="1205" y="380"/>
                        </a:lnTo>
                        <a:lnTo>
                          <a:pt x="1215" y="379"/>
                        </a:lnTo>
                        <a:lnTo>
                          <a:pt x="1216" y="379"/>
                        </a:lnTo>
                        <a:lnTo>
                          <a:pt x="1220" y="379"/>
                        </a:lnTo>
                        <a:lnTo>
                          <a:pt x="1223" y="379"/>
                        </a:lnTo>
                        <a:lnTo>
                          <a:pt x="1223" y="380"/>
                        </a:lnTo>
                        <a:lnTo>
                          <a:pt x="1220" y="384"/>
                        </a:lnTo>
                        <a:lnTo>
                          <a:pt x="1216" y="384"/>
                        </a:lnTo>
                        <a:lnTo>
                          <a:pt x="1211" y="384"/>
                        </a:lnTo>
                        <a:lnTo>
                          <a:pt x="1210" y="385"/>
                        </a:lnTo>
                        <a:lnTo>
                          <a:pt x="1205" y="389"/>
                        </a:lnTo>
                        <a:lnTo>
                          <a:pt x="1200" y="387"/>
                        </a:lnTo>
                        <a:lnTo>
                          <a:pt x="1195" y="387"/>
                        </a:lnTo>
                        <a:lnTo>
                          <a:pt x="1193" y="389"/>
                        </a:lnTo>
                        <a:lnTo>
                          <a:pt x="1191" y="387"/>
                        </a:lnTo>
                        <a:lnTo>
                          <a:pt x="1191" y="385"/>
                        </a:lnTo>
                        <a:lnTo>
                          <a:pt x="1191" y="385"/>
                        </a:lnTo>
                        <a:close/>
                        <a:moveTo>
                          <a:pt x="1079" y="254"/>
                        </a:moveTo>
                        <a:lnTo>
                          <a:pt x="1077" y="252"/>
                        </a:lnTo>
                        <a:lnTo>
                          <a:pt x="1079" y="249"/>
                        </a:lnTo>
                        <a:lnTo>
                          <a:pt x="1084" y="249"/>
                        </a:lnTo>
                        <a:lnTo>
                          <a:pt x="1082" y="252"/>
                        </a:lnTo>
                        <a:lnTo>
                          <a:pt x="1079" y="254"/>
                        </a:lnTo>
                        <a:lnTo>
                          <a:pt x="1079" y="254"/>
                        </a:lnTo>
                        <a:close/>
                        <a:moveTo>
                          <a:pt x="1045" y="266"/>
                        </a:moveTo>
                        <a:lnTo>
                          <a:pt x="1050" y="266"/>
                        </a:lnTo>
                        <a:lnTo>
                          <a:pt x="1052" y="264"/>
                        </a:lnTo>
                        <a:lnTo>
                          <a:pt x="1059" y="267"/>
                        </a:lnTo>
                        <a:lnTo>
                          <a:pt x="1064" y="266"/>
                        </a:lnTo>
                        <a:lnTo>
                          <a:pt x="1067" y="267"/>
                        </a:lnTo>
                        <a:lnTo>
                          <a:pt x="1067" y="271"/>
                        </a:lnTo>
                        <a:lnTo>
                          <a:pt x="1069" y="272"/>
                        </a:lnTo>
                        <a:lnTo>
                          <a:pt x="1065" y="276"/>
                        </a:lnTo>
                        <a:lnTo>
                          <a:pt x="1062" y="277"/>
                        </a:lnTo>
                        <a:lnTo>
                          <a:pt x="1057" y="276"/>
                        </a:lnTo>
                        <a:lnTo>
                          <a:pt x="1054" y="276"/>
                        </a:lnTo>
                        <a:lnTo>
                          <a:pt x="1052" y="272"/>
                        </a:lnTo>
                        <a:lnTo>
                          <a:pt x="1049" y="269"/>
                        </a:lnTo>
                        <a:lnTo>
                          <a:pt x="1047" y="267"/>
                        </a:lnTo>
                        <a:lnTo>
                          <a:pt x="1047" y="267"/>
                        </a:lnTo>
                        <a:lnTo>
                          <a:pt x="1045" y="266"/>
                        </a:lnTo>
                        <a:lnTo>
                          <a:pt x="1045" y="266"/>
                        </a:lnTo>
                        <a:close/>
                        <a:moveTo>
                          <a:pt x="876" y="274"/>
                        </a:moveTo>
                        <a:lnTo>
                          <a:pt x="871" y="272"/>
                        </a:lnTo>
                        <a:lnTo>
                          <a:pt x="871" y="271"/>
                        </a:lnTo>
                        <a:lnTo>
                          <a:pt x="873" y="271"/>
                        </a:lnTo>
                        <a:lnTo>
                          <a:pt x="878" y="271"/>
                        </a:lnTo>
                        <a:lnTo>
                          <a:pt x="878" y="274"/>
                        </a:lnTo>
                        <a:lnTo>
                          <a:pt x="876" y="274"/>
                        </a:lnTo>
                        <a:lnTo>
                          <a:pt x="876" y="274"/>
                        </a:lnTo>
                        <a:close/>
                        <a:moveTo>
                          <a:pt x="894" y="296"/>
                        </a:moveTo>
                        <a:lnTo>
                          <a:pt x="899" y="292"/>
                        </a:lnTo>
                        <a:lnTo>
                          <a:pt x="899" y="294"/>
                        </a:lnTo>
                        <a:lnTo>
                          <a:pt x="894" y="297"/>
                        </a:lnTo>
                        <a:lnTo>
                          <a:pt x="894" y="297"/>
                        </a:lnTo>
                        <a:lnTo>
                          <a:pt x="894" y="296"/>
                        </a:lnTo>
                        <a:lnTo>
                          <a:pt x="894" y="296"/>
                        </a:lnTo>
                        <a:close/>
                        <a:moveTo>
                          <a:pt x="902" y="289"/>
                        </a:moveTo>
                        <a:lnTo>
                          <a:pt x="904" y="287"/>
                        </a:lnTo>
                        <a:lnTo>
                          <a:pt x="904" y="284"/>
                        </a:lnTo>
                        <a:lnTo>
                          <a:pt x="906" y="282"/>
                        </a:lnTo>
                        <a:lnTo>
                          <a:pt x="909" y="277"/>
                        </a:lnTo>
                        <a:lnTo>
                          <a:pt x="911" y="277"/>
                        </a:lnTo>
                        <a:lnTo>
                          <a:pt x="916" y="274"/>
                        </a:lnTo>
                        <a:lnTo>
                          <a:pt x="919" y="276"/>
                        </a:lnTo>
                        <a:lnTo>
                          <a:pt x="919" y="279"/>
                        </a:lnTo>
                        <a:lnTo>
                          <a:pt x="914" y="281"/>
                        </a:lnTo>
                        <a:lnTo>
                          <a:pt x="911" y="287"/>
                        </a:lnTo>
                        <a:lnTo>
                          <a:pt x="914" y="291"/>
                        </a:lnTo>
                        <a:lnTo>
                          <a:pt x="911" y="292"/>
                        </a:lnTo>
                        <a:lnTo>
                          <a:pt x="909" y="296"/>
                        </a:lnTo>
                        <a:lnTo>
                          <a:pt x="911" y="299"/>
                        </a:lnTo>
                        <a:lnTo>
                          <a:pt x="912" y="296"/>
                        </a:lnTo>
                        <a:lnTo>
                          <a:pt x="916" y="297"/>
                        </a:lnTo>
                        <a:lnTo>
                          <a:pt x="916" y="301"/>
                        </a:lnTo>
                        <a:lnTo>
                          <a:pt x="917" y="301"/>
                        </a:lnTo>
                        <a:lnTo>
                          <a:pt x="926" y="296"/>
                        </a:lnTo>
                        <a:lnTo>
                          <a:pt x="929" y="292"/>
                        </a:lnTo>
                        <a:lnTo>
                          <a:pt x="932" y="292"/>
                        </a:lnTo>
                        <a:lnTo>
                          <a:pt x="936" y="289"/>
                        </a:lnTo>
                        <a:lnTo>
                          <a:pt x="934" y="284"/>
                        </a:lnTo>
                        <a:lnTo>
                          <a:pt x="937" y="284"/>
                        </a:lnTo>
                        <a:lnTo>
                          <a:pt x="941" y="281"/>
                        </a:lnTo>
                        <a:lnTo>
                          <a:pt x="941" y="276"/>
                        </a:lnTo>
                        <a:lnTo>
                          <a:pt x="942" y="274"/>
                        </a:lnTo>
                        <a:lnTo>
                          <a:pt x="946" y="274"/>
                        </a:lnTo>
                        <a:lnTo>
                          <a:pt x="944" y="279"/>
                        </a:lnTo>
                        <a:lnTo>
                          <a:pt x="944" y="281"/>
                        </a:lnTo>
                        <a:lnTo>
                          <a:pt x="942" y="286"/>
                        </a:lnTo>
                        <a:lnTo>
                          <a:pt x="946" y="291"/>
                        </a:lnTo>
                        <a:lnTo>
                          <a:pt x="947" y="291"/>
                        </a:lnTo>
                        <a:lnTo>
                          <a:pt x="952" y="286"/>
                        </a:lnTo>
                        <a:lnTo>
                          <a:pt x="952" y="281"/>
                        </a:lnTo>
                        <a:lnTo>
                          <a:pt x="952" y="279"/>
                        </a:lnTo>
                        <a:lnTo>
                          <a:pt x="957" y="279"/>
                        </a:lnTo>
                        <a:lnTo>
                          <a:pt x="962" y="272"/>
                        </a:lnTo>
                        <a:lnTo>
                          <a:pt x="962" y="267"/>
                        </a:lnTo>
                        <a:lnTo>
                          <a:pt x="962" y="264"/>
                        </a:lnTo>
                        <a:lnTo>
                          <a:pt x="964" y="259"/>
                        </a:lnTo>
                        <a:lnTo>
                          <a:pt x="967" y="264"/>
                        </a:lnTo>
                        <a:lnTo>
                          <a:pt x="976" y="259"/>
                        </a:lnTo>
                        <a:lnTo>
                          <a:pt x="977" y="254"/>
                        </a:lnTo>
                        <a:lnTo>
                          <a:pt x="979" y="249"/>
                        </a:lnTo>
                        <a:lnTo>
                          <a:pt x="982" y="249"/>
                        </a:lnTo>
                        <a:lnTo>
                          <a:pt x="986" y="247"/>
                        </a:lnTo>
                        <a:lnTo>
                          <a:pt x="989" y="249"/>
                        </a:lnTo>
                        <a:lnTo>
                          <a:pt x="992" y="246"/>
                        </a:lnTo>
                        <a:lnTo>
                          <a:pt x="995" y="247"/>
                        </a:lnTo>
                        <a:lnTo>
                          <a:pt x="992" y="256"/>
                        </a:lnTo>
                        <a:lnTo>
                          <a:pt x="987" y="261"/>
                        </a:lnTo>
                        <a:lnTo>
                          <a:pt x="986" y="266"/>
                        </a:lnTo>
                        <a:lnTo>
                          <a:pt x="982" y="269"/>
                        </a:lnTo>
                        <a:lnTo>
                          <a:pt x="982" y="271"/>
                        </a:lnTo>
                        <a:lnTo>
                          <a:pt x="979" y="272"/>
                        </a:lnTo>
                        <a:lnTo>
                          <a:pt x="972" y="281"/>
                        </a:lnTo>
                        <a:lnTo>
                          <a:pt x="972" y="284"/>
                        </a:lnTo>
                        <a:lnTo>
                          <a:pt x="974" y="287"/>
                        </a:lnTo>
                        <a:lnTo>
                          <a:pt x="972" y="291"/>
                        </a:lnTo>
                        <a:lnTo>
                          <a:pt x="977" y="292"/>
                        </a:lnTo>
                        <a:lnTo>
                          <a:pt x="981" y="294"/>
                        </a:lnTo>
                        <a:lnTo>
                          <a:pt x="984" y="291"/>
                        </a:lnTo>
                        <a:lnTo>
                          <a:pt x="989" y="289"/>
                        </a:lnTo>
                        <a:lnTo>
                          <a:pt x="989" y="286"/>
                        </a:lnTo>
                        <a:lnTo>
                          <a:pt x="989" y="281"/>
                        </a:lnTo>
                        <a:lnTo>
                          <a:pt x="992" y="279"/>
                        </a:lnTo>
                        <a:lnTo>
                          <a:pt x="995" y="274"/>
                        </a:lnTo>
                        <a:lnTo>
                          <a:pt x="999" y="274"/>
                        </a:lnTo>
                        <a:lnTo>
                          <a:pt x="1000" y="272"/>
                        </a:lnTo>
                        <a:lnTo>
                          <a:pt x="1004" y="276"/>
                        </a:lnTo>
                        <a:lnTo>
                          <a:pt x="1009" y="276"/>
                        </a:lnTo>
                        <a:lnTo>
                          <a:pt x="1010" y="272"/>
                        </a:lnTo>
                        <a:lnTo>
                          <a:pt x="1019" y="272"/>
                        </a:lnTo>
                        <a:lnTo>
                          <a:pt x="1022" y="269"/>
                        </a:lnTo>
                        <a:lnTo>
                          <a:pt x="1024" y="262"/>
                        </a:lnTo>
                        <a:lnTo>
                          <a:pt x="1027" y="256"/>
                        </a:lnTo>
                        <a:lnTo>
                          <a:pt x="1029" y="251"/>
                        </a:lnTo>
                        <a:lnTo>
                          <a:pt x="1029" y="249"/>
                        </a:lnTo>
                        <a:lnTo>
                          <a:pt x="1034" y="254"/>
                        </a:lnTo>
                        <a:lnTo>
                          <a:pt x="1037" y="256"/>
                        </a:lnTo>
                        <a:lnTo>
                          <a:pt x="1039" y="252"/>
                        </a:lnTo>
                        <a:lnTo>
                          <a:pt x="1039" y="251"/>
                        </a:lnTo>
                        <a:lnTo>
                          <a:pt x="1034" y="244"/>
                        </a:lnTo>
                        <a:lnTo>
                          <a:pt x="1034" y="241"/>
                        </a:lnTo>
                        <a:lnTo>
                          <a:pt x="1039" y="238"/>
                        </a:lnTo>
                        <a:lnTo>
                          <a:pt x="1044" y="236"/>
                        </a:lnTo>
                        <a:lnTo>
                          <a:pt x="1049" y="234"/>
                        </a:lnTo>
                        <a:lnTo>
                          <a:pt x="1052" y="236"/>
                        </a:lnTo>
                        <a:lnTo>
                          <a:pt x="1054" y="236"/>
                        </a:lnTo>
                        <a:lnTo>
                          <a:pt x="1059" y="231"/>
                        </a:lnTo>
                        <a:lnTo>
                          <a:pt x="1057" y="228"/>
                        </a:lnTo>
                        <a:lnTo>
                          <a:pt x="1057" y="218"/>
                        </a:lnTo>
                        <a:lnTo>
                          <a:pt x="1059" y="216"/>
                        </a:lnTo>
                        <a:lnTo>
                          <a:pt x="1057" y="214"/>
                        </a:lnTo>
                        <a:lnTo>
                          <a:pt x="1057" y="209"/>
                        </a:lnTo>
                        <a:lnTo>
                          <a:pt x="1054" y="208"/>
                        </a:lnTo>
                        <a:lnTo>
                          <a:pt x="1050" y="209"/>
                        </a:lnTo>
                        <a:lnTo>
                          <a:pt x="1044" y="211"/>
                        </a:lnTo>
                        <a:lnTo>
                          <a:pt x="1044" y="218"/>
                        </a:lnTo>
                        <a:lnTo>
                          <a:pt x="1044" y="221"/>
                        </a:lnTo>
                        <a:lnTo>
                          <a:pt x="1044" y="223"/>
                        </a:lnTo>
                        <a:lnTo>
                          <a:pt x="1040" y="224"/>
                        </a:lnTo>
                        <a:lnTo>
                          <a:pt x="1039" y="219"/>
                        </a:lnTo>
                        <a:lnTo>
                          <a:pt x="1037" y="219"/>
                        </a:lnTo>
                        <a:lnTo>
                          <a:pt x="1037" y="223"/>
                        </a:lnTo>
                        <a:lnTo>
                          <a:pt x="1035" y="224"/>
                        </a:lnTo>
                        <a:lnTo>
                          <a:pt x="1032" y="221"/>
                        </a:lnTo>
                        <a:lnTo>
                          <a:pt x="1032" y="214"/>
                        </a:lnTo>
                        <a:lnTo>
                          <a:pt x="1027" y="211"/>
                        </a:lnTo>
                        <a:lnTo>
                          <a:pt x="1025" y="211"/>
                        </a:lnTo>
                        <a:lnTo>
                          <a:pt x="1024" y="213"/>
                        </a:lnTo>
                        <a:lnTo>
                          <a:pt x="1017" y="213"/>
                        </a:lnTo>
                        <a:lnTo>
                          <a:pt x="1012" y="211"/>
                        </a:lnTo>
                        <a:lnTo>
                          <a:pt x="1009" y="211"/>
                        </a:lnTo>
                        <a:lnTo>
                          <a:pt x="999" y="209"/>
                        </a:lnTo>
                        <a:lnTo>
                          <a:pt x="994" y="213"/>
                        </a:lnTo>
                        <a:lnTo>
                          <a:pt x="992" y="216"/>
                        </a:lnTo>
                        <a:lnTo>
                          <a:pt x="990" y="219"/>
                        </a:lnTo>
                        <a:lnTo>
                          <a:pt x="987" y="219"/>
                        </a:lnTo>
                        <a:lnTo>
                          <a:pt x="986" y="219"/>
                        </a:lnTo>
                        <a:lnTo>
                          <a:pt x="974" y="226"/>
                        </a:lnTo>
                        <a:lnTo>
                          <a:pt x="971" y="229"/>
                        </a:lnTo>
                        <a:lnTo>
                          <a:pt x="966" y="229"/>
                        </a:lnTo>
                        <a:lnTo>
                          <a:pt x="961" y="234"/>
                        </a:lnTo>
                        <a:lnTo>
                          <a:pt x="956" y="234"/>
                        </a:lnTo>
                        <a:lnTo>
                          <a:pt x="952" y="238"/>
                        </a:lnTo>
                        <a:lnTo>
                          <a:pt x="951" y="239"/>
                        </a:lnTo>
                        <a:lnTo>
                          <a:pt x="944" y="239"/>
                        </a:lnTo>
                        <a:lnTo>
                          <a:pt x="941" y="241"/>
                        </a:lnTo>
                        <a:lnTo>
                          <a:pt x="936" y="241"/>
                        </a:lnTo>
                        <a:lnTo>
                          <a:pt x="934" y="243"/>
                        </a:lnTo>
                        <a:lnTo>
                          <a:pt x="931" y="243"/>
                        </a:lnTo>
                        <a:lnTo>
                          <a:pt x="922" y="247"/>
                        </a:lnTo>
                        <a:lnTo>
                          <a:pt x="917" y="251"/>
                        </a:lnTo>
                        <a:lnTo>
                          <a:pt x="912" y="249"/>
                        </a:lnTo>
                        <a:lnTo>
                          <a:pt x="907" y="251"/>
                        </a:lnTo>
                        <a:lnTo>
                          <a:pt x="896" y="252"/>
                        </a:lnTo>
                        <a:lnTo>
                          <a:pt x="891" y="259"/>
                        </a:lnTo>
                        <a:lnTo>
                          <a:pt x="888" y="261"/>
                        </a:lnTo>
                        <a:lnTo>
                          <a:pt x="881" y="261"/>
                        </a:lnTo>
                        <a:lnTo>
                          <a:pt x="878" y="266"/>
                        </a:lnTo>
                        <a:lnTo>
                          <a:pt x="883" y="266"/>
                        </a:lnTo>
                        <a:lnTo>
                          <a:pt x="884" y="267"/>
                        </a:lnTo>
                        <a:lnTo>
                          <a:pt x="881" y="267"/>
                        </a:lnTo>
                        <a:lnTo>
                          <a:pt x="879" y="271"/>
                        </a:lnTo>
                        <a:lnTo>
                          <a:pt x="883" y="272"/>
                        </a:lnTo>
                        <a:lnTo>
                          <a:pt x="881" y="276"/>
                        </a:lnTo>
                        <a:lnTo>
                          <a:pt x="874" y="277"/>
                        </a:lnTo>
                        <a:lnTo>
                          <a:pt x="874" y="279"/>
                        </a:lnTo>
                        <a:lnTo>
                          <a:pt x="879" y="281"/>
                        </a:lnTo>
                        <a:lnTo>
                          <a:pt x="884" y="281"/>
                        </a:lnTo>
                        <a:lnTo>
                          <a:pt x="886" y="277"/>
                        </a:lnTo>
                        <a:lnTo>
                          <a:pt x="889" y="276"/>
                        </a:lnTo>
                        <a:lnTo>
                          <a:pt x="894" y="277"/>
                        </a:lnTo>
                        <a:lnTo>
                          <a:pt x="897" y="284"/>
                        </a:lnTo>
                        <a:lnTo>
                          <a:pt x="897" y="287"/>
                        </a:lnTo>
                        <a:lnTo>
                          <a:pt x="902" y="289"/>
                        </a:lnTo>
                        <a:lnTo>
                          <a:pt x="902" y="289"/>
                        </a:lnTo>
                        <a:close/>
                        <a:moveTo>
                          <a:pt x="1364" y="535"/>
                        </a:moveTo>
                        <a:lnTo>
                          <a:pt x="1366" y="533"/>
                        </a:lnTo>
                        <a:lnTo>
                          <a:pt x="1371" y="535"/>
                        </a:lnTo>
                        <a:lnTo>
                          <a:pt x="1373" y="537"/>
                        </a:lnTo>
                        <a:lnTo>
                          <a:pt x="1369" y="538"/>
                        </a:lnTo>
                        <a:lnTo>
                          <a:pt x="1368" y="538"/>
                        </a:lnTo>
                        <a:lnTo>
                          <a:pt x="1364" y="535"/>
                        </a:lnTo>
                        <a:lnTo>
                          <a:pt x="1364" y="535"/>
                        </a:lnTo>
                        <a:close/>
                        <a:moveTo>
                          <a:pt x="1311" y="440"/>
                        </a:moveTo>
                        <a:lnTo>
                          <a:pt x="1306" y="437"/>
                        </a:lnTo>
                        <a:lnTo>
                          <a:pt x="1303" y="437"/>
                        </a:lnTo>
                        <a:lnTo>
                          <a:pt x="1301" y="439"/>
                        </a:lnTo>
                        <a:lnTo>
                          <a:pt x="1306" y="439"/>
                        </a:lnTo>
                        <a:lnTo>
                          <a:pt x="1308" y="440"/>
                        </a:lnTo>
                        <a:lnTo>
                          <a:pt x="1306" y="442"/>
                        </a:lnTo>
                        <a:lnTo>
                          <a:pt x="1301" y="443"/>
                        </a:lnTo>
                        <a:lnTo>
                          <a:pt x="1298" y="443"/>
                        </a:lnTo>
                        <a:lnTo>
                          <a:pt x="1301" y="448"/>
                        </a:lnTo>
                        <a:lnTo>
                          <a:pt x="1301" y="448"/>
                        </a:lnTo>
                        <a:lnTo>
                          <a:pt x="1301" y="450"/>
                        </a:lnTo>
                        <a:lnTo>
                          <a:pt x="1296" y="448"/>
                        </a:lnTo>
                        <a:lnTo>
                          <a:pt x="1291" y="450"/>
                        </a:lnTo>
                        <a:lnTo>
                          <a:pt x="1288" y="453"/>
                        </a:lnTo>
                        <a:lnTo>
                          <a:pt x="1285" y="457"/>
                        </a:lnTo>
                        <a:lnTo>
                          <a:pt x="1285" y="458"/>
                        </a:lnTo>
                        <a:lnTo>
                          <a:pt x="1285" y="460"/>
                        </a:lnTo>
                        <a:lnTo>
                          <a:pt x="1286" y="460"/>
                        </a:lnTo>
                        <a:lnTo>
                          <a:pt x="1286" y="462"/>
                        </a:lnTo>
                        <a:lnTo>
                          <a:pt x="1285" y="465"/>
                        </a:lnTo>
                        <a:lnTo>
                          <a:pt x="1286" y="465"/>
                        </a:lnTo>
                        <a:lnTo>
                          <a:pt x="1289" y="462"/>
                        </a:lnTo>
                        <a:lnTo>
                          <a:pt x="1291" y="463"/>
                        </a:lnTo>
                        <a:lnTo>
                          <a:pt x="1289" y="467"/>
                        </a:lnTo>
                        <a:lnTo>
                          <a:pt x="1289" y="470"/>
                        </a:lnTo>
                        <a:lnTo>
                          <a:pt x="1293" y="472"/>
                        </a:lnTo>
                        <a:lnTo>
                          <a:pt x="1294" y="470"/>
                        </a:lnTo>
                        <a:lnTo>
                          <a:pt x="1296" y="472"/>
                        </a:lnTo>
                        <a:lnTo>
                          <a:pt x="1296" y="475"/>
                        </a:lnTo>
                        <a:lnTo>
                          <a:pt x="1298" y="475"/>
                        </a:lnTo>
                        <a:lnTo>
                          <a:pt x="1301" y="473"/>
                        </a:lnTo>
                        <a:lnTo>
                          <a:pt x="1303" y="473"/>
                        </a:lnTo>
                        <a:lnTo>
                          <a:pt x="1303" y="478"/>
                        </a:lnTo>
                        <a:lnTo>
                          <a:pt x="1304" y="482"/>
                        </a:lnTo>
                        <a:lnTo>
                          <a:pt x="1308" y="480"/>
                        </a:lnTo>
                        <a:lnTo>
                          <a:pt x="1309" y="485"/>
                        </a:lnTo>
                        <a:lnTo>
                          <a:pt x="1314" y="485"/>
                        </a:lnTo>
                        <a:lnTo>
                          <a:pt x="1319" y="488"/>
                        </a:lnTo>
                        <a:lnTo>
                          <a:pt x="1324" y="488"/>
                        </a:lnTo>
                        <a:lnTo>
                          <a:pt x="1326" y="488"/>
                        </a:lnTo>
                        <a:lnTo>
                          <a:pt x="1328" y="488"/>
                        </a:lnTo>
                        <a:lnTo>
                          <a:pt x="1326" y="485"/>
                        </a:lnTo>
                        <a:lnTo>
                          <a:pt x="1329" y="483"/>
                        </a:lnTo>
                        <a:lnTo>
                          <a:pt x="1333" y="478"/>
                        </a:lnTo>
                        <a:lnTo>
                          <a:pt x="1331" y="473"/>
                        </a:lnTo>
                        <a:lnTo>
                          <a:pt x="1334" y="467"/>
                        </a:lnTo>
                        <a:lnTo>
                          <a:pt x="1336" y="465"/>
                        </a:lnTo>
                        <a:lnTo>
                          <a:pt x="1339" y="458"/>
                        </a:lnTo>
                        <a:lnTo>
                          <a:pt x="1339" y="453"/>
                        </a:lnTo>
                        <a:lnTo>
                          <a:pt x="1341" y="452"/>
                        </a:lnTo>
                        <a:lnTo>
                          <a:pt x="1339" y="447"/>
                        </a:lnTo>
                        <a:lnTo>
                          <a:pt x="1336" y="443"/>
                        </a:lnTo>
                        <a:lnTo>
                          <a:pt x="1336" y="440"/>
                        </a:lnTo>
                        <a:lnTo>
                          <a:pt x="1333" y="437"/>
                        </a:lnTo>
                        <a:lnTo>
                          <a:pt x="1333" y="434"/>
                        </a:lnTo>
                        <a:lnTo>
                          <a:pt x="1326" y="430"/>
                        </a:lnTo>
                        <a:lnTo>
                          <a:pt x="1321" y="434"/>
                        </a:lnTo>
                        <a:lnTo>
                          <a:pt x="1318" y="432"/>
                        </a:lnTo>
                        <a:lnTo>
                          <a:pt x="1311" y="432"/>
                        </a:lnTo>
                        <a:lnTo>
                          <a:pt x="1309" y="434"/>
                        </a:lnTo>
                        <a:lnTo>
                          <a:pt x="1313" y="437"/>
                        </a:lnTo>
                        <a:lnTo>
                          <a:pt x="1313" y="440"/>
                        </a:lnTo>
                        <a:lnTo>
                          <a:pt x="1311" y="440"/>
                        </a:lnTo>
                        <a:lnTo>
                          <a:pt x="1311" y="440"/>
                        </a:lnTo>
                        <a:close/>
                        <a:moveTo>
                          <a:pt x="1343" y="405"/>
                        </a:moveTo>
                        <a:lnTo>
                          <a:pt x="1339" y="404"/>
                        </a:lnTo>
                        <a:lnTo>
                          <a:pt x="1339" y="402"/>
                        </a:lnTo>
                        <a:lnTo>
                          <a:pt x="1344" y="400"/>
                        </a:lnTo>
                        <a:lnTo>
                          <a:pt x="1344" y="400"/>
                        </a:lnTo>
                        <a:lnTo>
                          <a:pt x="1343" y="405"/>
                        </a:lnTo>
                        <a:lnTo>
                          <a:pt x="1343" y="405"/>
                        </a:lnTo>
                        <a:close/>
                        <a:moveTo>
                          <a:pt x="1336" y="427"/>
                        </a:moveTo>
                        <a:lnTo>
                          <a:pt x="1336" y="424"/>
                        </a:lnTo>
                        <a:lnTo>
                          <a:pt x="1334" y="422"/>
                        </a:lnTo>
                        <a:lnTo>
                          <a:pt x="1334" y="420"/>
                        </a:lnTo>
                        <a:lnTo>
                          <a:pt x="1336" y="419"/>
                        </a:lnTo>
                        <a:lnTo>
                          <a:pt x="1336" y="414"/>
                        </a:lnTo>
                        <a:lnTo>
                          <a:pt x="1336" y="412"/>
                        </a:lnTo>
                        <a:lnTo>
                          <a:pt x="1343" y="412"/>
                        </a:lnTo>
                        <a:lnTo>
                          <a:pt x="1341" y="422"/>
                        </a:lnTo>
                        <a:lnTo>
                          <a:pt x="1338" y="425"/>
                        </a:lnTo>
                        <a:lnTo>
                          <a:pt x="1338" y="425"/>
                        </a:lnTo>
                        <a:lnTo>
                          <a:pt x="1336" y="427"/>
                        </a:lnTo>
                        <a:lnTo>
                          <a:pt x="1336" y="427"/>
                        </a:lnTo>
                        <a:close/>
                        <a:moveTo>
                          <a:pt x="1303" y="417"/>
                        </a:moveTo>
                        <a:lnTo>
                          <a:pt x="1301" y="415"/>
                        </a:lnTo>
                        <a:lnTo>
                          <a:pt x="1303" y="414"/>
                        </a:lnTo>
                        <a:lnTo>
                          <a:pt x="1308" y="414"/>
                        </a:lnTo>
                        <a:lnTo>
                          <a:pt x="1309" y="414"/>
                        </a:lnTo>
                        <a:lnTo>
                          <a:pt x="1306" y="415"/>
                        </a:lnTo>
                        <a:lnTo>
                          <a:pt x="1304" y="417"/>
                        </a:lnTo>
                        <a:lnTo>
                          <a:pt x="1303" y="417"/>
                        </a:lnTo>
                        <a:lnTo>
                          <a:pt x="1303" y="417"/>
                        </a:lnTo>
                        <a:close/>
                        <a:moveTo>
                          <a:pt x="1294" y="424"/>
                        </a:moveTo>
                        <a:lnTo>
                          <a:pt x="1293" y="422"/>
                        </a:lnTo>
                        <a:lnTo>
                          <a:pt x="1296" y="420"/>
                        </a:lnTo>
                        <a:lnTo>
                          <a:pt x="1298" y="420"/>
                        </a:lnTo>
                        <a:lnTo>
                          <a:pt x="1296" y="422"/>
                        </a:lnTo>
                        <a:lnTo>
                          <a:pt x="1294" y="424"/>
                        </a:lnTo>
                        <a:lnTo>
                          <a:pt x="1294" y="424"/>
                        </a:lnTo>
                        <a:close/>
                        <a:moveTo>
                          <a:pt x="1301" y="434"/>
                        </a:moveTo>
                        <a:lnTo>
                          <a:pt x="1301" y="430"/>
                        </a:lnTo>
                        <a:lnTo>
                          <a:pt x="1299" y="429"/>
                        </a:lnTo>
                        <a:lnTo>
                          <a:pt x="1301" y="425"/>
                        </a:lnTo>
                        <a:lnTo>
                          <a:pt x="1303" y="425"/>
                        </a:lnTo>
                        <a:lnTo>
                          <a:pt x="1304" y="427"/>
                        </a:lnTo>
                        <a:lnTo>
                          <a:pt x="1306" y="430"/>
                        </a:lnTo>
                        <a:lnTo>
                          <a:pt x="1303" y="432"/>
                        </a:lnTo>
                        <a:lnTo>
                          <a:pt x="1301" y="434"/>
                        </a:lnTo>
                        <a:lnTo>
                          <a:pt x="1301" y="434"/>
                        </a:lnTo>
                        <a:close/>
                        <a:moveTo>
                          <a:pt x="1291" y="437"/>
                        </a:moveTo>
                        <a:lnTo>
                          <a:pt x="1288" y="435"/>
                        </a:lnTo>
                        <a:lnTo>
                          <a:pt x="1288" y="430"/>
                        </a:lnTo>
                        <a:lnTo>
                          <a:pt x="1289" y="429"/>
                        </a:lnTo>
                        <a:lnTo>
                          <a:pt x="1291" y="427"/>
                        </a:lnTo>
                        <a:lnTo>
                          <a:pt x="1294" y="427"/>
                        </a:lnTo>
                        <a:lnTo>
                          <a:pt x="1296" y="429"/>
                        </a:lnTo>
                        <a:lnTo>
                          <a:pt x="1298" y="429"/>
                        </a:lnTo>
                        <a:lnTo>
                          <a:pt x="1298" y="430"/>
                        </a:lnTo>
                        <a:lnTo>
                          <a:pt x="1298" y="434"/>
                        </a:lnTo>
                        <a:lnTo>
                          <a:pt x="1294" y="435"/>
                        </a:lnTo>
                        <a:lnTo>
                          <a:pt x="1293" y="437"/>
                        </a:lnTo>
                        <a:lnTo>
                          <a:pt x="1291" y="437"/>
                        </a:lnTo>
                        <a:lnTo>
                          <a:pt x="1291" y="437"/>
                        </a:lnTo>
                        <a:close/>
                        <a:moveTo>
                          <a:pt x="1278" y="439"/>
                        </a:moveTo>
                        <a:lnTo>
                          <a:pt x="1278" y="435"/>
                        </a:lnTo>
                        <a:lnTo>
                          <a:pt x="1280" y="435"/>
                        </a:lnTo>
                        <a:lnTo>
                          <a:pt x="1281" y="437"/>
                        </a:lnTo>
                        <a:lnTo>
                          <a:pt x="1280" y="439"/>
                        </a:lnTo>
                        <a:lnTo>
                          <a:pt x="1278" y="439"/>
                        </a:lnTo>
                        <a:lnTo>
                          <a:pt x="1278" y="439"/>
                        </a:lnTo>
                        <a:close/>
                        <a:moveTo>
                          <a:pt x="1228" y="445"/>
                        </a:moveTo>
                        <a:lnTo>
                          <a:pt x="1226" y="442"/>
                        </a:lnTo>
                        <a:lnTo>
                          <a:pt x="1221" y="443"/>
                        </a:lnTo>
                        <a:lnTo>
                          <a:pt x="1220" y="440"/>
                        </a:lnTo>
                        <a:lnTo>
                          <a:pt x="1220" y="437"/>
                        </a:lnTo>
                        <a:lnTo>
                          <a:pt x="1220" y="435"/>
                        </a:lnTo>
                        <a:lnTo>
                          <a:pt x="1220" y="432"/>
                        </a:lnTo>
                        <a:lnTo>
                          <a:pt x="1221" y="429"/>
                        </a:lnTo>
                        <a:lnTo>
                          <a:pt x="1223" y="429"/>
                        </a:lnTo>
                        <a:lnTo>
                          <a:pt x="1226" y="432"/>
                        </a:lnTo>
                        <a:lnTo>
                          <a:pt x="1228" y="430"/>
                        </a:lnTo>
                        <a:lnTo>
                          <a:pt x="1225" y="429"/>
                        </a:lnTo>
                        <a:lnTo>
                          <a:pt x="1226" y="425"/>
                        </a:lnTo>
                        <a:lnTo>
                          <a:pt x="1223" y="425"/>
                        </a:lnTo>
                        <a:lnTo>
                          <a:pt x="1221" y="422"/>
                        </a:lnTo>
                        <a:lnTo>
                          <a:pt x="1221" y="420"/>
                        </a:lnTo>
                        <a:lnTo>
                          <a:pt x="1220" y="419"/>
                        </a:lnTo>
                        <a:lnTo>
                          <a:pt x="1221" y="419"/>
                        </a:lnTo>
                        <a:lnTo>
                          <a:pt x="1225" y="420"/>
                        </a:lnTo>
                        <a:lnTo>
                          <a:pt x="1225" y="419"/>
                        </a:lnTo>
                        <a:lnTo>
                          <a:pt x="1225" y="417"/>
                        </a:lnTo>
                        <a:lnTo>
                          <a:pt x="1228" y="415"/>
                        </a:lnTo>
                        <a:lnTo>
                          <a:pt x="1231" y="417"/>
                        </a:lnTo>
                        <a:lnTo>
                          <a:pt x="1238" y="419"/>
                        </a:lnTo>
                        <a:lnTo>
                          <a:pt x="1241" y="417"/>
                        </a:lnTo>
                        <a:lnTo>
                          <a:pt x="1238" y="415"/>
                        </a:lnTo>
                        <a:lnTo>
                          <a:pt x="1235" y="415"/>
                        </a:lnTo>
                        <a:lnTo>
                          <a:pt x="1236" y="414"/>
                        </a:lnTo>
                        <a:lnTo>
                          <a:pt x="1245" y="414"/>
                        </a:lnTo>
                        <a:lnTo>
                          <a:pt x="1250" y="410"/>
                        </a:lnTo>
                        <a:lnTo>
                          <a:pt x="1255" y="410"/>
                        </a:lnTo>
                        <a:lnTo>
                          <a:pt x="1260" y="412"/>
                        </a:lnTo>
                        <a:lnTo>
                          <a:pt x="1265" y="409"/>
                        </a:lnTo>
                        <a:lnTo>
                          <a:pt x="1261" y="407"/>
                        </a:lnTo>
                        <a:lnTo>
                          <a:pt x="1241" y="404"/>
                        </a:lnTo>
                        <a:lnTo>
                          <a:pt x="1236" y="404"/>
                        </a:lnTo>
                        <a:lnTo>
                          <a:pt x="1233" y="404"/>
                        </a:lnTo>
                        <a:lnTo>
                          <a:pt x="1226" y="404"/>
                        </a:lnTo>
                        <a:lnTo>
                          <a:pt x="1221" y="402"/>
                        </a:lnTo>
                        <a:lnTo>
                          <a:pt x="1218" y="402"/>
                        </a:lnTo>
                        <a:lnTo>
                          <a:pt x="1215" y="400"/>
                        </a:lnTo>
                        <a:lnTo>
                          <a:pt x="1211" y="400"/>
                        </a:lnTo>
                        <a:lnTo>
                          <a:pt x="1210" y="402"/>
                        </a:lnTo>
                        <a:lnTo>
                          <a:pt x="1206" y="400"/>
                        </a:lnTo>
                        <a:lnTo>
                          <a:pt x="1203" y="402"/>
                        </a:lnTo>
                        <a:lnTo>
                          <a:pt x="1201" y="400"/>
                        </a:lnTo>
                        <a:lnTo>
                          <a:pt x="1201" y="395"/>
                        </a:lnTo>
                        <a:lnTo>
                          <a:pt x="1205" y="395"/>
                        </a:lnTo>
                        <a:lnTo>
                          <a:pt x="1208" y="394"/>
                        </a:lnTo>
                        <a:lnTo>
                          <a:pt x="1211" y="395"/>
                        </a:lnTo>
                        <a:lnTo>
                          <a:pt x="1213" y="394"/>
                        </a:lnTo>
                        <a:lnTo>
                          <a:pt x="1211" y="392"/>
                        </a:lnTo>
                        <a:lnTo>
                          <a:pt x="1213" y="389"/>
                        </a:lnTo>
                        <a:lnTo>
                          <a:pt x="1216" y="387"/>
                        </a:lnTo>
                        <a:lnTo>
                          <a:pt x="1221" y="387"/>
                        </a:lnTo>
                        <a:lnTo>
                          <a:pt x="1223" y="385"/>
                        </a:lnTo>
                        <a:lnTo>
                          <a:pt x="1223" y="389"/>
                        </a:lnTo>
                        <a:lnTo>
                          <a:pt x="1226" y="390"/>
                        </a:lnTo>
                        <a:lnTo>
                          <a:pt x="1226" y="397"/>
                        </a:lnTo>
                        <a:lnTo>
                          <a:pt x="1228" y="397"/>
                        </a:lnTo>
                        <a:lnTo>
                          <a:pt x="1230" y="395"/>
                        </a:lnTo>
                        <a:lnTo>
                          <a:pt x="1230" y="390"/>
                        </a:lnTo>
                        <a:lnTo>
                          <a:pt x="1226" y="389"/>
                        </a:lnTo>
                        <a:lnTo>
                          <a:pt x="1228" y="384"/>
                        </a:lnTo>
                        <a:lnTo>
                          <a:pt x="1233" y="382"/>
                        </a:lnTo>
                        <a:lnTo>
                          <a:pt x="1233" y="380"/>
                        </a:lnTo>
                        <a:lnTo>
                          <a:pt x="1230" y="379"/>
                        </a:lnTo>
                        <a:lnTo>
                          <a:pt x="1231" y="374"/>
                        </a:lnTo>
                        <a:lnTo>
                          <a:pt x="1236" y="372"/>
                        </a:lnTo>
                        <a:lnTo>
                          <a:pt x="1236" y="369"/>
                        </a:lnTo>
                        <a:lnTo>
                          <a:pt x="1241" y="367"/>
                        </a:lnTo>
                        <a:lnTo>
                          <a:pt x="1240" y="364"/>
                        </a:lnTo>
                        <a:lnTo>
                          <a:pt x="1236" y="365"/>
                        </a:lnTo>
                        <a:lnTo>
                          <a:pt x="1235" y="364"/>
                        </a:lnTo>
                        <a:lnTo>
                          <a:pt x="1235" y="362"/>
                        </a:lnTo>
                        <a:lnTo>
                          <a:pt x="1240" y="359"/>
                        </a:lnTo>
                        <a:lnTo>
                          <a:pt x="1241" y="355"/>
                        </a:lnTo>
                        <a:lnTo>
                          <a:pt x="1246" y="354"/>
                        </a:lnTo>
                        <a:lnTo>
                          <a:pt x="1248" y="355"/>
                        </a:lnTo>
                        <a:lnTo>
                          <a:pt x="1248" y="360"/>
                        </a:lnTo>
                        <a:lnTo>
                          <a:pt x="1251" y="362"/>
                        </a:lnTo>
                        <a:lnTo>
                          <a:pt x="1251" y="365"/>
                        </a:lnTo>
                        <a:lnTo>
                          <a:pt x="1250" y="367"/>
                        </a:lnTo>
                        <a:lnTo>
                          <a:pt x="1251" y="370"/>
                        </a:lnTo>
                        <a:lnTo>
                          <a:pt x="1255" y="372"/>
                        </a:lnTo>
                        <a:lnTo>
                          <a:pt x="1255" y="385"/>
                        </a:lnTo>
                        <a:lnTo>
                          <a:pt x="1255" y="389"/>
                        </a:lnTo>
                        <a:lnTo>
                          <a:pt x="1255" y="390"/>
                        </a:lnTo>
                        <a:lnTo>
                          <a:pt x="1260" y="394"/>
                        </a:lnTo>
                        <a:lnTo>
                          <a:pt x="1263" y="390"/>
                        </a:lnTo>
                        <a:lnTo>
                          <a:pt x="1261" y="387"/>
                        </a:lnTo>
                        <a:lnTo>
                          <a:pt x="1263" y="380"/>
                        </a:lnTo>
                        <a:lnTo>
                          <a:pt x="1266" y="380"/>
                        </a:lnTo>
                        <a:lnTo>
                          <a:pt x="1266" y="377"/>
                        </a:lnTo>
                        <a:lnTo>
                          <a:pt x="1260" y="372"/>
                        </a:lnTo>
                        <a:lnTo>
                          <a:pt x="1260" y="370"/>
                        </a:lnTo>
                        <a:lnTo>
                          <a:pt x="1265" y="370"/>
                        </a:lnTo>
                        <a:lnTo>
                          <a:pt x="1268" y="372"/>
                        </a:lnTo>
                        <a:lnTo>
                          <a:pt x="1268" y="369"/>
                        </a:lnTo>
                        <a:lnTo>
                          <a:pt x="1263" y="365"/>
                        </a:lnTo>
                        <a:lnTo>
                          <a:pt x="1261" y="359"/>
                        </a:lnTo>
                        <a:lnTo>
                          <a:pt x="1263" y="357"/>
                        </a:lnTo>
                        <a:lnTo>
                          <a:pt x="1263" y="350"/>
                        </a:lnTo>
                        <a:lnTo>
                          <a:pt x="1266" y="349"/>
                        </a:lnTo>
                        <a:lnTo>
                          <a:pt x="1270" y="349"/>
                        </a:lnTo>
                        <a:lnTo>
                          <a:pt x="1271" y="347"/>
                        </a:lnTo>
                        <a:lnTo>
                          <a:pt x="1276" y="347"/>
                        </a:lnTo>
                        <a:lnTo>
                          <a:pt x="1276" y="347"/>
                        </a:lnTo>
                        <a:lnTo>
                          <a:pt x="1281" y="344"/>
                        </a:lnTo>
                        <a:lnTo>
                          <a:pt x="1281" y="344"/>
                        </a:lnTo>
                        <a:lnTo>
                          <a:pt x="1285" y="344"/>
                        </a:lnTo>
                        <a:lnTo>
                          <a:pt x="1286" y="347"/>
                        </a:lnTo>
                        <a:lnTo>
                          <a:pt x="1289" y="349"/>
                        </a:lnTo>
                        <a:lnTo>
                          <a:pt x="1293" y="349"/>
                        </a:lnTo>
                        <a:lnTo>
                          <a:pt x="1294" y="350"/>
                        </a:lnTo>
                        <a:lnTo>
                          <a:pt x="1293" y="359"/>
                        </a:lnTo>
                        <a:lnTo>
                          <a:pt x="1289" y="362"/>
                        </a:lnTo>
                        <a:lnTo>
                          <a:pt x="1291" y="365"/>
                        </a:lnTo>
                        <a:lnTo>
                          <a:pt x="1293" y="365"/>
                        </a:lnTo>
                        <a:lnTo>
                          <a:pt x="1294" y="364"/>
                        </a:lnTo>
                        <a:lnTo>
                          <a:pt x="1298" y="364"/>
                        </a:lnTo>
                        <a:lnTo>
                          <a:pt x="1299" y="362"/>
                        </a:lnTo>
                        <a:lnTo>
                          <a:pt x="1299" y="355"/>
                        </a:lnTo>
                        <a:lnTo>
                          <a:pt x="1303" y="352"/>
                        </a:lnTo>
                        <a:lnTo>
                          <a:pt x="1308" y="355"/>
                        </a:lnTo>
                        <a:lnTo>
                          <a:pt x="1311" y="354"/>
                        </a:lnTo>
                        <a:lnTo>
                          <a:pt x="1309" y="350"/>
                        </a:lnTo>
                        <a:lnTo>
                          <a:pt x="1309" y="349"/>
                        </a:lnTo>
                        <a:lnTo>
                          <a:pt x="1313" y="349"/>
                        </a:lnTo>
                        <a:lnTo>
                          <a:pt x="1314" y="352"/>
                        </a:lnTo>
                        <a:lnTo>
                          <a:pt x="1313" y="355"/>
                        </a:lnTo>
                        <a:lnTo>
                          <a:pt x="1314" y="357"/>
                        </a:lnTo>
                        <a:lnTo>
                          <a:pt x="1313" y="359"/>
                        </a:lnTo>
                        <a:lnTo>
                          <a:pt x="1311" y="359"/>
                        </a:lnTo>
                        <a:lnTo>
                          <a:pt x="1313" y="362"/>
                        </a:lnTo>
                        <a:lnTo>
                          <a:pt x="1318" y="364"/>
                        </a:lnTo>
                        <a:lnTo>
                          <a:pt x="1319" y="367"/>
                        </a:lnTo>
                        <a:lnTo>
                          <a:pt x="1318" y="372"/>
                        </a:lnTo>
                        <a:lnTo>
                          <a:pt x="1314" y="375"/>
                        </a:lnTo>
                        <a:lnTo>
                          <a:pt x="1309" y="382"/>
                        </a:lnTo>
                        <a:lnTo>
                          <a:pt x="1309" y="385"/>
                        </a:lnTo>
                        <a:lnTo>
                          <a:pt x="1309" y="389"/>
                        </a:lnTo>
                        <a:lnTo>
                          <a:pt x="1304" y="392"/>
                        </a:lnTo>
                        <a:lnTo>
                          <a:pt x="1299" y="397"/>
                        </a:lnTo>
                        <a:lnTo>
                          <a:pt x="1298" y="399"/>
                        </a:lnTo>
                        <a:lnTo>
                          <a:pt x="1293" y="404"/>
                        </a:lnTo>
                        <a:lnTo>
                          <a:pt x="1293" y="405"/>
                        </a:lnTo>
                        <a:lnTo>
                          <a:pt x="1291" y="410"/>
                        </a:lnTo>
                        <a:lnTo>
                          <a:pt x="1288" y="410"/>
                        </a:lnTo>
                        <a:lnTo>
                          <a:pt x="1286" y="409"/>
                        </a:lnTo>
                        <a:lnTo>
                          <a:pt x="1283" y="410"/>
                        </a:lnTo>
                        <a:lnTo>
                          <a:pt x="1283" y="414"/>
                        </a:lnTo>
                        <a:lnTo>
                          <a:pt x="1289" y="415"/>
                        </a:lnTo>
                        <a:lnTo>
                          <a:pt x="1289" y="419"/>
                        </a:lnTo>
                        <a:lnTo>
                          <a:pt x="1283" y="425"/>
                        </a:lnTo>
                        <a:lnTo>
                          <a:pt x="1281" y="427"/>
                        </a:lnTo>
                        <a:lnTo>
                          <a:pt x="1281" y="425"/>
                        </a:lnTo>
                        <a:lnTo>
                          <a:pt x="1281" y="422"/>
                        </a:lnTo>
                        <a:lnTo>
                          <a:pt x="1278" y="420"/>
                        </a:lnTo>
                        <a:lnTo>
                          <a:pt x="1276" y="422"/>
                        </a:lnTo>
                        <a:lnTo>
                          <a:pt x="1275" y="425"/>
                        </a:lnTo>
                        <a:lnTo>
                          <a:pt x="1273" y="427"/>
                        </a:lnTo>
                        <a:lnTo>
                          <a:pt x="1270" y="430"/>
                        </a:lnTo>
                        <a:lnTo>
                          <a:pt x="1265" y="430"/>
                        </a:lnTo>
                        <a:lnTo>
                          <a:pt x="1263" y="434"/>
                        </a:lnTo>
                        <a:lnTo>
                          <a:pt x="1266" y="435"/>
                        </a:lnTo>
                        <a:lnTo>
                          <a:pt x="1270" y="435"/>
                        </a:lnTo>
                        <a:lnTo>
                          <a:pt x="1270" y="437"/>
                        </a:lnTo>
                        <a:lnTo>
                          <a:pt x="1268" y="440"/>
                        </a:lnTo>
                        <a:lnTo>
                          <a:pt x="1268" y="442"/>
                        </a:lnTo>
                        <a:lnTo>
                          <a:pt x="1268" y="445"/>
                        </a:lnTo>
                        <a:lnTo>
                          <a:pt x="1266" y="447"/>
                        </a:lnTo>
                        <a:lnTo>
                          <a:pt x="1263" y="443"/>
                        </a:lnTo>
                        <a:lnTo>
                          <a:pt x="1263" y="439"/>
                        </a:lnTo>
                        <a:lnTo>
                          <a:pt x="1261" y="437"/>
                        </a:lnTo>
                        <a:lnTo>
                          <a:pt x="1260" y="439"/>
                        </a:lnTo>
                        <a:lnTo>
                          <a:pt x="1260" y="442"/>
                        </a:lnTo>
                        <a:lnTo>
                          <a:pt x="1261" y="445"/>
                        </a:lnTo>
                        <a:lnTo>
                          <a:pt x="1256" y="448"/>
                        </a:lnTo>
                        <a:lnTo>
                          <a:pt x="1245" y="448"/>
                        </a:lnTo>
                        <a:lnTo>
                          <a:pt x="1245" y="445"/>
                        </a:lnTo>
                        <a:lnTo>
                          <a:pt x="1243" y="443"/>
                        </a:lnTo>
                        <a:lnTo>
                          <a:pt x="1240" y="445"/>
                        </a:lnTo>
                        <a:lnTo>
                          <a:pt x="1235" y="445"/>
                        </a:lnTo>
                        <a:lnTo>
                          <a:pt x="1235" y="443"/>
                        </a:lnTo>
                        <a:lnTo>
                          <a:pt x="1238" y="439"/>
                        </a:lnTo>
                        <a:lnTo>
                          <a:pt x="1233" y="442"/>
                        </a:lnTo>
                        <a:lnTo>
                          <a:pt x="1231" y="443"/>
                        </a:lnTo>
                        <a:lnTo>
                          <a:pt x="1228" y="445"/>
                        </a:lnTo>
                        <a:lnTo>
                          <a:pt x="1228" y="445"/>
                        </a:lnTo>
                        <a:close/>
                        <a:moveTo>
                          <a:pt x="914" y="326"/>
                        </a:moveTo>
                        <a:lnTo>
                          <a:pt x="912" y="324"/>
                        </a:lnTo>
                        <a:lnTo>
                          <a:pt x="914" y="319"/>
                        </a:lnTo>
                        <a:lnTo>
                          <a:pt x="924" y="311"/>
                        </a:lnTo>
                        <a:lnTo>
                          <a:pt x="931" y="309"/>
                        </a:lnTo>
                        <a:lnTo>
                          <a:pt x="934" y="307"/>
                        </a:lnTo>
                        <a:lnTo>
                          <a:pt x="937" y="306"/>
                        </a:lnTo>
                        <a:lnTo>
                          <a:pt x="944" y="302"/>
                        </a:lnTo>
                        <a:lnTo>
                          <a:pt x="951" y="301"/>
                        </a:lnTo>
                        <a:lnTo>
                          <a:pt x="954" y="299"/>
                        </a:lnTo>
                        <a:lnTo>
                          <a:pt x="957" y="299"/>
                        </a:lnTo>
                        <a:lnTo>
                          <a:pt x="966" y="297"/>
                        </a:lnTo>
                        <a:lnTo>
                          <a:pt x="967" y="297"/>
                        </a:lnTo>
                        <a:lnTo>
                          <a:pt x="966" y="301"/>
                        </a:lnTo>
                        <a:lnTo>
                          <a:pt x="959" y="306"/>
                        </a:lnTo>
                        <a:lnTo>
                          <a:pt x="951" y="311"/>
                        </a:lnTo>
                        <a:lnTo>
                          <a:pt x="937" y="321"/>
                        </a:lnTo>
                        <a:lnTo>
                          <a:pt x="932" y="326"/>
                        </a:lnTo>
                        <a:lnTo>
                          <a:pt x="929" y="327"/>
                        </a:lnTo>
                        <a:lnTo>
                          <a:pt x="926" y="327"/>
                        </a:lnTo>
                        <a:lnTo>
                          <a:pt x="924" y="329"/>
                        </a:lnTo>
                        <a:lnTo>
                          <a:pt x="921" y="331"/>
                        </a:lnTo>
                        <a:lnTo>
                          <a:pt x="919" y="326"/>
                        </a:lnTo>
                        <a:lnTo>
                          <a:pt x="916" y="324"/>
                        </a:lnTo>
                        <a:lnTo>
                          <a:pt x="914" y="326"/>
                        </a:lnTo>
                        <a:lnTo>
                          <a:pt x="914" y="326"/>
                        </a:lnTo>
                        <a:close/>
                        <a:moveTo>
                          <a:pt x="1147" y="414"/>
                        </a:moveTo>
                        <a:lnTo>
                          <a:pt x="1147" y="412"/>
                        </a:lnTo>
                        <a:lnTo>
                          <a:pt x="1147" y="412"/>
                        </a:lnTo>
                        <a:lnTo>
                          <a:pt x="1152" y="410"/>
                        </a:lnTo>
                        <a:lnTo>
                          <a:pt x="1153" y="407"/>
                        </a:lnTo>
                        <a:lnTo>
                          <a:pt x="1153" y="404"/>
                        </a:lnTo>
                        <a:lnTo>
                          <a:pt x="1162" y="400"/>
                        </a:lnTo>
                        <a:lnTo>
                          <a:pt x="1162" y="399"/>
                        </a:lnTo>
                        <a:lnTo>
                          <a:pt x="1167" y="399"/>
                        </a:lnTo>
                        <a:lnTo>
                          <a:pt x="1167" y="404"/>
                        </a:lnTo>
                        <a:lnTo>
                          <a:pt x="1168" y="405"/>
                        </a:lnTo>
                        <a:lnTo>
                          <a:pt x="1168" y="412"/>
                        </a:lnTo>
                        <a:lnTo>
                          <a:pt x="1167" y="415"/>
                        </a:lnTo>
                        <a:lnTo>
                          <a:pt x="1162" y="419"/>
                        </a:lnTo>
                        <a:lnTo>
                          <a:pt x="1158" y="419"/>
                        </a:lnTo>
                        <a:lnTo>
                          <a:pt x="1155" y="420"/>
                        </a:lnTo>
                        <a:lnTo>
                          <a:pt x="1152" y="420"/>
                        </a:lnTo>
                        <a:lnTo>
                          <a:pt x="1150" y="417"/>
                        </a:lnTo>
                        <a:lnTo>
                          <a:pt x="1147" y="414"/>
                        </a:lnTo>
                        <a:lnTo>
                          <a:pt x="1147" y="414"/>
                        </a:lnTo>
                        <a:close/>
                        <a:moveTo>
                          <a:pt x="961" y="409"/>
                        </a:moveTo>
                        <a:lnTo>
                          <a:pt x="962" y="404"/>
                        </a:lnTo>
                        <a:lnTo>
                          <a:pt x="961" y="400"/>
                        </a:lnTo>
                        <a:lnTo>
                          <a:pt x="962" y="394"/>
                        </a:lnTo>
                        <a:lnTo>
                          <a:pt x="969" y="392"/>
                        </a:lnTo>
                        <a:lnTo>
                          <a:pt x="977" y="394"/>
                        </a:lnTo>
                        <a:lnTo>
                          <a:pt x="981" y="392"/>
                        </a:lnTo>
                        <a:lnTo>
                          <a:pt x="986" y="392"/>
                        </a:lnTo>
                        <a:lnTo>
                          <a:pt x="990" y="392"/>
                        </a:lnTo>
                        <a:lnTo>
                          <a:pt x="997" y="389"/>
                        </a:lnTo>
                        <a:lnTo>
                          <a:pt x="1004" y="389"/>
                        </a:lnTo>
                        <a:lnTo>
                          <a:pt x="1012" y="392"/>
                        </a:lnTo>
                        <a:lnTo>
                          <a:pt x="1017" y="392"/>
                        </a:lnTo>
                        <a:lnTo>
                          <a:pt x="1020" y="392"/>
                        </a:lnTo>
                        <a:lnTo>
                          <a:pt x="1024" y="390"/>
                        </a:lnTo>
                        <a:lnTo>
                          <a:pt x="1037" y="389"/>
                        </a:lnTo>
                        <a:lnTo>
                          <a:pt x="1037" y="387"/>
                        </a:lnTo>
                        <a:lnTo>
                          <a:pt x="1040" y="384"/>
                        </a:lnTo>
                        <a:lnTo>
                          <a:pt x="1039" y="382"/>
                        </a:lnTo>
                        <a:lnTo>
                          <a:pt x="1035" y="385"/>
                        </a:lnTo>
                        <a:lnTo>
                          <a:pt x="1029" y="385"/>
                        </a:lnTo>
                        <a:lnTo>
                          <a:pt x="1029" y="382"/>
                        </a:lnTo>
                        <a:lnTo>
                          <a:pt x="1020" y="385"/>
                        </a:lnTo>
                        <a:lnTo>
                          <a:pt x="1015" y="385"/>
                        </a:lnTo>
                        <a:lnTo>
                          <a:pt x="1015" y="382"/>
                        </a:lnTo>
                        <a:lnTo>
                          <a:pt x="1012" y="380"/>
                        </a:lnTo>
                        <a:lnTo>
                          <a:pt x="1009" y="382"/>
                        </a:lnTo>
                        <a:lnTo>
                          <a:pt x="1004" y="384"/>
                        </a:lnTo>
                        <a:lnTo>
                          <a:pt x="999" y="384"/>
                        </a:lnTo>
                        <a:lnTo>
                          <a:pt x="997" y="382"/>
                        </a:lnTo>
                        <a:lnTo>
                          <a:pt x="992" y="384"/>
                        </a:lnTo>
                        <a:lnTo>
                          <a:pt x="987" y="382"/>
                        </a:lnTo>
                        <a:lnTo>
                          <a:pt x="987" y="379"/>
                        </a:lnTo>
                        <a:lnTo>
                          <a:pt x="992" y="374"/>
                        </a:lnTo>
                        <a:lnTo>
                          <a:pt x="997" y="370"/>
                        </a:lnTo>
                        <a:lnTo>
                          <a:pt x="994" y="370"/>
                        </a:lnTo>
                        <a:lnTo>
                          <a:pt x="989" y="372"/>
                        </a:lnTo>
                        <a:lnTo>
                          <a:pt x="986" y="375"/>
                        </a:lnTo>
                        <a:lnTo>
                          <a:pt x="984" y="370"/>
                        </a:lnTo>
                        <a:lnTo>
                          <a:pt x="982" y="372"/>
                        </a:lnTo>
                        <a:lnTo>
                          <a:pt x="981" y="375"/>
                        </a:lnTo>
                        <a:lnTo>
                          <a:pt x="972" y="380"/>
                        </a:lnTo>
                        <a:lnTo>
                          <a:pt x="972" y="382"/>
                        </a:lnTo>
                        <a:lnTo>
                          <a:pt x="967" y="384"/>
                        </a:lnTo>
                        <a:lnTo>
                          <a:pt x="962" y="380"/>
                        </a:lnTo>
                        <a:lnTo>
                          <a:pt x="962" y="377"/>
                        </a:lnTo>
                        <a:lnTo>
                          <a:pt x="964" y="374"/>
                        </a:lnTo>
                        <a:lnTo>
                          <a:pt x="961" y="374"/>
                        </a:lnTo>
                        <a:lnTo>
                          <a:pt x="959" y="372"/>
                        </a:lnTo>
                        <a:lnTo>
                          <a:pt x="957" y="379"/>
                        </a:lnTo>
                        <a:lnTo>
                          <a:pt x="954" y="380"/>
                        </a:lnTo>
                        <a:lnTo>
                          <a:pt x="951" y="379"/>
                        </a:lnTo>
                        <a:lnTo>
                          <a:pt x="951" y="374"/>
                        </a:lnTo>
                        <a:lnTo>
                          <a:pt x="946" y="370"/>
                        </a:lnTo>
                        <a:lnTo>
                          <a:pt x="946" y="367"/>
                        </a:lnTo>
                        <a:lnTo>
                          <a:pt x="944" y="365"/>
                        </a:lnTo>
                        <a:lnTo>
                          <a:pt x="942" y="370"/>
                        </a:lnTo>
                        <a:lnTo>
                          <a:pt x="941" y="369"/>
                        </a:lnTo>
                        <a:lnTo>
                          <a:pt x="936" y="364"/>
                        </a:lnTo>
                        <a:lnTo>
                          <a:pt x="927" y="359"/>
                        </a:lnTo>
                        <a:lnTo>
                          <a:pt x="927" y="357"/>
                        </a:lnTo>
                        <a:lnTo>
                          <a:pt x="932" y="355"/>
                        </a:lnTo>
                        <a:lnTo>
                          <a:pt x="932" y="352"/>
                        </a:lnTo>
                        <a:lnTo>
                          <a:pt x="931" y="349"/>
                        </a:lnTo>
                        <a:lnTo>
                          <a:pt x="939" y="344"/>
                        </a:lnTo>
                        <a:lnTo>
                          <a:pt x="946" y="342"/>
                        </a:lnTo>
                        <a:lnTo>
                          <a:pt x="947" y="344"/>
                        </a:lnTo>
                        <a:lnTo>
                          <a:pt x="956" y="344"/>
                        </a:lnTo>
                        <a:lnTo>
                          <a:pt x="962" y="347"/>
                        </a:lnTo>
                        <a:lnTo>
                          <a:pt x="967" y="347"/>
                        </a:lnTo>
                        <a:lnTo>
                          <a:pt x="972" y="345"/>
                        </a:lnTo>
                        <a:lnTo>
                          <a:pt x="977" y="344"/>
                        </a:lnTo>
                        <a:lnTo>
                          <a:pt x="984" y="341"/>
                        </a:lnTo>
                        <a:lnTo>
                          <a:pt x="979" y="339"/>
                        </a:lnTo>
                        <a:lnTo>
                          <a:pt x="977" y="337"/>
                        </a:lnTo>
                        <a:lnTo>
                          <a:pt x="972" y="337"/>
                        </a:lnTo>
                        <a:lnTo>
                          <a:pt x="967" y="339"/>
                        </a:lnTo>
                        <a:lnTo>
                          <a:pt x="959" y="336"/>
                        </a:lnTo>
                        <a:lnTo>
                          <a:pt x="954" y="336"/>
                        </a:lnTo>
                        <a:lnTo>
                          <a:pt x="952" y="334"/>
                        </a:lnTo>
                        <a:lnTo>
                          <a:pt x="959" y="327"/>
                        </a:lnTo>
                        <a:lnTo>
                          <a:pt x="966" y="322"/>
                        </a:lnTo>
                        <a:lnTo>
                          <a:pt x="971" y="321"/>
                        </a:lnTo>
                        <a:lnTo>
                          <a:pt x="972" y="322"/>
                        </a:lnTo>
                        <a:lnTo>
                          <a:pt x="982" y="321"/>
                        </a:lnTo>
                        <a:lnTo>
                          <a:pt x="992" y="321"/>
                        </a:lnTo>
                        <a:lnTo>
                          <a:pt x="999" y="322"/>
                        </a:lnTo>
                        <a:lnTo>
                          <a:pt x="1000" y="322"/>
                        </a:lnTo>
                        <a:lnTo>
                          <a:pt x="999" y="319"/>
                        </a:lnTo>
                        <a:lnTo>
                          <a:pt x="997" y="319"/>
                        </a:lnTo>
                        <a:lnTo>
                          <a:pt x="992" y="317"/>
                        </a:lnTo>
                        <a:lnTo>
                          <a:pt x="987" y="317"/>
                        </a:lnTo>
                        <a:lnTo>
                          <a:pt x="977" y="314"/>
                        </a:lnTo>
                        <a:lnTo>
                          <a:pt x="974" y="311"/>
                        </a:lnTo>
                        <a:lnTo>
                          <a:pt x="979" y="307"/>
                        </a:lnTo>
                        <a:lnTo>
                          <a:pt x="982" y="304"/>
                        </a:lnTo>
                        <a:lnTo>
                          <a:pt x="986" y="301"/>
                        </a:lnTo>
                        <a:lnTo>
                          <a:pt x="989" y="301"/>
                        </a:lnTo>
                        <a:lnTo>
                          <a:pt x="994" y="299"/>
                        </a:lnTo>
                        <a:lnTo>
                          <a:pt x="999" y="299"/>
                        </a:lnTo>
                        <a:lnTo>
                          <a:pt x="1000" y="301"/>
                        </a:lnTo>
                        <a:lnTo>
                          <a:pt x="1004" y="301"/>
                        </a:lnTo>
                        <a:lnTo>
                          <a:pt x="1010" y="306"/>
                        </a:lnTo>
                        <a:lnTo>
                          <a:pt x="1012" y="306"/>
                        </a:lnTo>
                        <a:lnTo>
                          <a:pt x="1010" y="302"/>
                        </a:lnTo>
                        <a:lnTo>
                          <a:pt x="1005" y="299"/>
                        </a:lnTo>
                        <a:lnTo>
                          <a:pt x="1005" y="296"/>
                        </a:lnTo>
                        <a:lnTo>
                          <a:pt x="1002" y="294"/>
                        </a:lnTo>
                        <a:lnTo>
                          <a:pt x="1005" y="291"/>
                        </a:lnTo>
                        <a:lnTo>
                          <a:pt x="1019" y="289"/>
                        </a:lnTo>
                        <a:lnTo>
                          <a:pt x="1022" y="289"/>
                        </a:lnTo>
                        <a:lnTo>
                          <a:pt x="1030" y="289"/>
                        </a:lnTo>
                        <a:lnTo>
                          <a:pt x="1035" y="292"/>
                        </a:lnTo>
                        <a:lnTo>
                          <a:pt x="1037" y="299"/>
                        </a:lnTo>
                        <a:lnTo>
                          <a:pt x="1034" y="301"/>
                        </a:lnTo>
                        <a:lnTo>
                          <a:pt x="1029" y="307"/>
                        </a:lnTo>
                        <a:lnTo>
                          <a:pt x="1030" y="311"/>
                        </a:lnTo>
                        <a:lnTo>
                          <a:pt x="1040" y="311"/>
                        </a:lnTo>
                        <a:lnTo>
                          <a:pt x="1044" y="307"/>
                        </a:lnTo>
                        <a:lnTo>
                          <a:pt x="1047" y="311"/>
                        </a:lnTo>
                        <a:lnTo>
                          <a:pt x="1049" y="311"/>
                        </a:lnTo>
                        <a:lnTo>
                          <a:pt x="1050" y="312"/>
                        </a:lnTo>
                        <a:lnTo>
                          <a:pt x="1052" y="316"/>
                        </a:lnTo>
                        <a:lnTo>
                          <a:pt x="1054" y="317"/>
                        </a:lnTo>
                        <a:lnTo>
                          <a:pt x="1054" y="321"/>
                        </a:lnTo>
                        <a:lnTo>
                          <a:pt x="1050" y="322"/>
                        </a:lnTo>
                        <a:lnTo>
                          <a:pt x="1049" y="326"/>
                        </a:lnTo>
                        <a:lnTo>
                          <a:pt x="1054" y="331"/>
                        </a:lnTo>
                        <a:lnTo>
                          <a:pt x="1054" y="339"/>
                        </a:lnTo>
                        <a:lnTo>
                          <a:pt x="1052" y="342"/>
                        </a:lnTo>
                        <a:lnTo>
                          <a:pt x="1047" y="341"/>
                        </a:lnTo>
                        <a:lnTo>
                          <a:pt x="1044" y="342"/>
                        </a:lnTo>
                        <a:lnTo>
                          <a:pt x="1044" y="345"/>
                        </a:lnTo>
                        <a:lnTo>
                          <a:pt x="1049" y="344"/>
                        </a:lnTo>
                        <a:lnTo>
                          <a:pt x="1054" y="345"/>
                        </a:lnTo>
                        <a:lnTo>
                          <a:pt x="1057" y="345"/>
                        </a:lnTo>
                        <a:lnTo>
                          <a:pt x="1054" y="355"/>
                        </a:lnTo>
                        <a:lnTo>
                          <a:pt x="1050" y="357"/>
                        </a:lnTo>
                        <a:lnTo>
                          <a:pt x="1050" y="365"/>
                        </a:lnTo>
                        <a:lnTo>
                          <a:pt x="1052" y="367"/>
                        </a:lnTo>
                        <a:lnTo>
                          <a:pt x="1059" y="365"/>
                        </a:lnTo>
                        <a:lnTo>
                          <a:pt x="1060" y="362"/>
                        </a:lnTo>
                        <a:lnTo>
                          <a:pt x="1064" y="365"/>
                        </a:lnTo>
                        <a:lnTo>
                          <a:pt x="1064" y="367"/>
                        </a:lnTo>
                        <a:lnTo>
                          <a:pt x="1069" y="369"/>
                        </a:lnTo>
                        <a:lnTo>
                          <a:pt x="1072" y="367"/>
                        </a:lnTo>
                        <a:lnTo>
                          <a:pt x="1080" y="370"/>
                        </a:lnTo>
                        <a:lnTo>
                          <a:pt x="1085" y="375"/>
                        </a:lnTo>
                        <a:lnTo>
                          <a:pt x="1087" y="374"/>
                        </a:lnTo>
                        <a:lnTo>
                          <a:pt x="1087" y="370"/>
                        </a:lnTo>
                        <a:lnTo>
                          <a:pt x="1085" y="370"/>
                        </a:lnTo>
                        <a:lnTo>
                          <a:pt x="1092" y="367"/>
                        </a:lnTo>
                        <a:lnTo>
                          <a:pt x="1090" y="359"/>
                        </a:lnTo>
                        <a:lnTo>
                          <a:pt x="1087" y="355"/>
                        </a:lnTo>
                        <a:lnTo>
                          <a:pt x="1087" y="352"/>
                        </a:lnTo>
                        <a:lnTo>
                          <a:pt x="1084" y="347"/>
                        </a:lnTo>
                        <a:lnTo>
                          <a:pt x="1087" y="345"/>
                        </a:lnTo>
                        <a:lnTo>
                          <a:pt x="1088" y="345"/>
                        </a:lnTo>
                        <a:lnTo>
                          <a:pt x="1097" y="344"/>
                        </a:lnTo>
                        <a:lnTo>
                          <a:pt x="1102" y="344"/>
                        </a:lnTo>
                        <a:lnTo>
                          <a:pt x="1103" y="337"/>
                        </a:lnTo>
                        <a:lnTo>
                          <a:pt x="1100" y="331"/>
                        </a:lnTo>
                        <a:lnTo>
                          <a:pt x="1098" y="329"/>
                        </a:lnTo>
                        <a:lnTo>
                          <a:pt x="1098" y="324"/>
                        </a:lnTo>
                        <a:lnTo>
                          <a:pt x="1097" y="319"/>
                        </a:lnTo>
                        <a:lnTo>
                          <a:pt x="1100" y="314"/>
                        </a:lnTo>
                        <a:lnTo>
                          <a:pt x="1105" y="311"/>
                        </a:lnTo>
                        <a:lnTo>
                          <a:pt x="1107" y="312"/>
                        </a:lnTo>
                        <a:lnTo>
                          <a:pt x="1112" y="312"/>
                        </a:lnTo>
                        <a:lnTo>
                          <a:pt x="1110" y="309"/>
                        </a:lnTo>
                        <a:lnTo>
                          <a:pt x="1113" y="306"/>
                        </a:lnTo>
                        <a:lnTo>
                          <a:pt x="1118" y="304"/>
                        </a:lnTo>
                        <a:lnTo>
                          <a:pt x="1128" y="294"/>
                        </a:lnTo>
                        <a:lnTo>
                          <a:pt x="1132" y="296"/>
                        </a:lnTo>
                        <a:lnTo>
                          <a:pt x="1138" y="297"/>
                        </a:lnTo>
                        <a:lnTo>
                          <a:pt x="1138" y="301"/>
                        </a:lnTo>
                        <a:lnTo>
                          <a:pt x="1140" y="304"/>
                        </a:lnTo>
                        <a:lnTo>
                          <a:pt x="1138" y="307"/>
                        </a:lnTo>
                        <a:lnTo>
                          <a:pt x="1133" y="307"/>
                        </a:lnTo>
                        <a:lnTo>
                          <a:pt x="1132" y="309"/>
                        </a:lnTo>
                        <a:lnTo>
                          <a:pt x="1132" y="312"/>
                        </a:lnTo>
                        <a:lnTo>
                          <a:pt x="1130" y="317"/>
                        </a:lnTo>
                        <a:lnTo>
                          <a:pt x="1130" y="322"/>
                        </a:lnTo>
                        <a:lnTo>
                          <a:pt x="1132" y="324"/>
                        </a:lnTo>
                        <a:lnTo>
                          <a:pt x="1132" y="336"/>
                        </a:lnTo>
                        <a:lnTo>
                          <a:pt x="1128" y="337"/>
                        </a:lnTo>
                        <a:lnTo>
                          <a:pt x="1127" y="337"/>
                        </a:lnTo>
                        <a:lnTo>
                          <a:pt x="1120" y="342"/>
                        </a:lnTo>
                        <a:lnTo>
                          <a:pt x="1117" y="344"/>
                        </a:lnTo>
                        <a:lnTo>
                          <a:pt x="1117" y="345"/>
                        </a:lnTo>
                        <a:lnTo>
                          <a:pt x="1118" y="347"/>
                        </a:lnTo>
                        <a:lnTo>
                          <a:pt x="1123" y="345"/>
                        </a:lnTo>
                        <a:lnTo>
                          <a:pt x="1130" y="345"/>
                        </a:lnTo>
                        <a:lnTo>
                          <a:pt x="1130" y="347"/>
                        </a:lnTo>
                        <a:lnTo>
                          <a:pt x="1127" y="352"/>
                        </a:lnTo>
                        <a:lnTo>
                          <a:pt x="1120" y="357"/>
                        </a:lnTo>
                        <a:lnTo>
                          <a:pt x="1113" y="362"/>
                        </a:lnTo>
                        <a:lnTo>
                          <a:pt x="1112" y="365"/>
                        </a:lnTo>
                        <a:lnTo>
                          <a:pt x="1113" y="369"/>
                        </a:lnTo>
                        <a:lnTo>
                          <a:pt x="1115" y="364"/>
                        </a:lnTo>
                        <a:lnTo>
                          <a:pt x="1123" y="360"/>
                        </a:lnTo>
                        <a:lnTo>
                          <a:pt x="1127" y="357"/>
                        </a:lnTo>
                        <a:lnTo>
                          <a:pt x="1130" y="357"/>
                        </a:lnTo>
                        <a:lnTo>
                          <a:pt x="1137" y="359"/>
                        </a:lnTo>
                        <a:lnTo>
                          <a:pt x="1137" y="365"/>
                        </a:lnTo>
                        <a:lnTo>
                          <a:pt x="1132" y="372"/>
                        </a:lnTo>
                        <a:lnTo>
                          <a:pt x="1133" y="374"/>
                        </a:lnTo>
                        <a:lnTo>
                          <a:pt x="1138" y="369"/>
                        </a:lnTo>
                        <a:lnTo>
                          <a:pt x="1142" y="370"/>
                        </a:lnTo>
                        <a:lnTo>
                          <a:pt x="1142" y="367"/>
                        </a:lnTo>
                        <a:lnTo>
                          <a:pt x="1142" y="365"/>
                        </a:lnTo>
                        <a:lnTo>
                          <a:pt x="1145" y="362"/>
                        </a:lnTo>
                        <a:lnTo>
                          <a:pt x="1145" y="357"/>
                        </a:lnTo>
                        <a:lnTo>
                          <a:pt x="1153" y="352"/>
                        </a:lnTo>
                        <a:lnTo>
                          <a:pt x="1155" y="352"/>
                        </a:lnTo>
                        <a:lnTo>
                          <a:pt x="1162" y="355"/>
                        </a:lnTo>
                        <a:lnTo>
                          <a:pt x="1165" y="364"/>
                        </a:lnTo>
                        <a:lnTo>
                          <a:pt x="1167" y="367"/>
                        </a:lnTo>
                        <a:lnTo>
                          <a:pt x="1165" y="372"/>
                        </a:lnTo>
                        <a:lnTo>
                          <a:pt x="1158" y="382"/>
                        </a:lnTo>
                        <a:lnTo>
                          <a:pt x="1153" y="387"/>
                        </a:lnTo>
                        <a:lnTo>
                          <a:pt x="1148" y="389"/>
                        </a:lnTo>
                        <a:lnTo>
                          <a:pt x="1145" y="389"/>
                        </a:lnTo>
                        <a:lnTo>
                          <a:pt x="1143" y="392"/>
                        </a:lnTo>
                        <a:lnTo>
                          <a:pt x="1145" y="395"/>
                        </a:lnTo>
                        <a:lnTo>
                          <a:pt x="1140" y="400"/>
                        </a:lnTo>
                        <a:lnTo>
                          <a:pt x="1137" y="400"/>
                        </a:lnTo>
                        <a:lnTo>
                          <a:pt x="1132" y="404"/>
                        </a:lnTo>
                        <a:lnTo>
                          <a:pt x="1132" y="407"/>
                        </a:lnTo>
                        <a:lnTo>
                          <a:pt x="1130" y="410"/>
                        </a:lnTo>
                        <a:lnTo>
                          <a:pt x="1127" y="410"/>
                        </a:lnTo>
                        <a:lnTo>
                          <a:pt x="1125" y="412"/>
                        </a:lnTo>
                        <a:lnTo>
                          <a:pt x="1125" y="414"/>
                        </a:lnTo>
                        <a:lnTo>
                          <a:pt x="1122" y="415"/>
                        </a:lnTo>
                        <a:lnTo>
                          <a:pt x="1118" y="412"/>
                        </a:lnTo>
                        <a:lnTo>
                          <a:pt x="1115" y="414"/>
                        </a:lnTo>
                        <a:lnTo>
                          <a:pt x="1112" y="414"/>
                        </a:lnTo>
                        <a:lnTo>
                          <a:pt x="1103" y="417"/>
                        </a:lnTo>
                        <a:lnTo>
                          <a:pt x="1097" y="417"/>
                        </a:lnTo>
                        <a:lnTo>
                          <a:pt x="1090" y="415"/>
                        </a:lnTo>
                        <a:lnTo>
                          <a:pt x="1090" y="412"/>
                        </a:lnTo>
                        <a:lnTo>
                          <a:pt x="1092" y="409"/>
                        </a:lnTo>
                        <a:lnTo>
                          <a:pt x="1092" y="407"/>
                        </a:lnTo>
                        <a:lnTo>
                          <a:pt x="1090" y="405"/>
                        </a:lnTo>
                        <a:lnTo>
                          <a:pt x="1085" y="409"/>
                        </a:lnTo>
                        <a:lnTo>
                          <a:pt x="1084" y="410"/>
                        </a:lnTo>
                        <a:lnTo>
                          <a:pt x="1080" y="412"/>
                        </a:lnTo>
                        <a:lnTo>
                          <a:pt x="1075" y="410"/>
                        </a:lnTo>
                        <a:lnTo>
                          <a:pt x="1075" y="407"/>
                        </a:lnTo>
                        <a:lnTo>
                          <a:pt x="1077" y="405"/>
                        </a:lnTo>
                        <a:lnTo>
                          <a:pt x="1075" y="402"/>
                        </a:lnTo>
                        <a:lnTo>
                          <a:pt x="1072" y="402"/>
                        </a:lnTo>
                        <a:lnTo>
                          <a:pt x="1072" y="404"/>
                        </a:lnTo>
                        <a:lnTo>
                          <a:pt x="1069" y="405"/>
                        </a:lnTo>
                        <a:lnTo>
                          <a:pt x="1065" y="405"/>
                        </a:lnTo>
                        <a:lnTo>
                          <a:pt x="1057" y="409"/>
                        </a:lnTo>
                        <a:lnTo>
                          <a:pt x="1055" y="410"/>
                        </a:lnTo>
                        <a:lnTo>
                          <a:pt x="1050" y="410"/>
                        </a:lnTo>
                        <a:lnTo>
                          <a:pt x="1049" y="409"/>
                        </a:lnTo>
                        <a:lnTo>
                          <a:pt x="1042" y="410"/>
                        </a:lnTo>
                        <a:lnTo>
                          <a:pt x="1039" y="407"/>
                        </a:lnTo>
                        <a:lnTo>
                          <a:pt x="1037" y="410"/>
                        </a:lnTo>
                        <a:lnTo>
                          <a:pt x="1034" y="410"/>
                        </a:lnTo>
                        <a:lnTo>
                          <a:pt x="1030" y="412"/>
                        </a:lnTo>
                        <a:lnTo>
                          <a:pt x="1030" y="415"/>
                        </a:lnTo>
                        <a:lnTo>
                          <a:pt x="1027" y="417"/>
                        </a:lnTo>
                        <a:lnTo>
                          <a:pt x="1022" y="417"/>
                        </a:lnTo>
                        <a:lnTo>
                          <a:pt x="1020" y="419"/>
                        </a:lnTo>
                        <a:lnTo>
                          <a:pt x="1015" y="420"/>
                        </a:lnTo>
                        <a:lnTo>
                          <a:pt x="1014" y="420"/>
                        </a:lnTo>
                        <a:lnTo>
                          <a:pt x="1009" y="422"/>
                        </a:lnTo>
                        <a:lnTo>
                          <a:pt x="1004" y="422"/>
                        </a:lnTo>
                        <a:lnTo>
                          <a:pt x="1002" y="419"/>
                        </a:lnTo>
                        <a:lnTo>
                          <a:pt x="995" y="419"/>
                        </a:lnTo>
                        <a:lnTo>
                          <a:pt x="989" y="422"/>
                        </a:lnTo>
                        <a:lnTo>
                          <a:pt x="982" y="422"/>
                        </a:lnTo>
                        <a:lnTo>
                          <a:pt x="974" y="419"/>
                        </a:lnTo>
                        <a:lnTo>
                          <a:pt x="969" y="417"/>
                        </a:lnTo>
                        <a:lnTo>
                          <a:pt x="966" y="414"/>
                        </a:lnTo>
                        <a:lnTo>
                          <a:pt x="961" y="409"/>
                        </a:lnTo>
                        <a:lnTo>
                          <a:pt x="961" y="409"/>
                        </a:lnTo>
                        <a:close/>
                        <a:moveTo>
                          <a:pt x="672" y="545"/>
                        </a:moveTo>
                        <a:lnTo>
                          <a:pt x="672" y="537"/>
                        </a:lnTo>
                        <a:lnTo>
                          <a:pt x="677" y="530"/>
                        </a:lnTo>
                        <a:lnTo>
                          <a:pt x="675" y="525"/>
                        </a:lnTo>
                        <a:lnTo>
                          <a:pt x="677" y="518"/>
                        </a:lnTo>
                        <a:lnTo>
                          <a:pt x="677" y="513"/>
                        </a:lnTo>
                        <a:lnTo>
                          <a:pt x="673" y="512"/>
                        </a:lnTo>
                        <a:lnTo>
                          <a:pt x="670" y="500"/>
                        </a:lnTo>
                        <a:lnTo>
                          <a:pt x="675" y="502"/>
                        </a:lnTo>
                        <a:lnTo>
                          <a:pt x="675" y="497"/>
                        </a:lnTo>
                        <a:lnTo>
                          <a:pt x="667" y="497"/>
                        </a:lnTo>
                        <a:lnTo>
                          <a:pt x="658" y="495"/>
                        </a:lnTo>
                        <a:lnTo>
                          <a:pt x="658" y="490"/>
                        </a:lnTo>
                        <a:lnTo>
                          <a:pt x="662" y="492"/>
                        </a:lnTo>
                        <a:lnTo>
                          <a:pt x="667" y="488"/>
                        </a:lnTo>
                        <a:lnTo>
                          <a:pt x="673" y="485"/>
                        </a:lnTo>
                        <a:lnTo>
                          <a:pt x="675" y="482"/>
                        </a:lnTo>
                        <a:lnTo>
                          <a:pt x="677" y="482"/>
                        </a:lnTo>
                        <a:lnTo>
                          <a:pt x="682" y="478"/>
                        </a:lnTo>
                        <a:lnTo>
                          <a:pt x="685" y="477"/>
                        </a:lnTo>
                        <a:lnTo>
                          <a:pt x="688" y="472"/>
                        </a:lnTo>
                        <a:lnTo>
                          <a:pt x="696" y="470"/>
                        </a:lnTo>
                        <a:lnTo>
                          <a:pt x="696" y="467"/>
                        </a:lnTo>
                        <a:lnTo>
                          <a:pt x="700" y="467"/>
                        </a:lnTo>
                        <a:lnTo>
                          <a:pt x="705" y="460"/>
                        </a:lnTo>
                        <a:lnTo>
                          <a:pt x="705" y="453"/>
                        </a:lnTo>
                        <a:lnTo>
                          <a:pt x="706" y="455"/>
                        </a:lnTo>
                        <a:lnTo>
                          <a:pt x="720" y="457"/>
                        </a:lnTo>
                        <a:lnTo>
                          <a:pt x="720" y="452"/>
                        </a:lnTo>
                        <a:lnTo>
                          <a:pt x="718" y="445"/>
                        </a:lnTo>
                        <a:lnTo>
                          <a:pt x="718" y="442"/>
                        </a:lnTo>
                        <a:lnTo>
                          <a:pt x="723" y="440"/>
                        </a:lnTo>
                        <a:lnTo>
                          <a:pt x="733" y="434"/>
                        </a:lnTo>
                        <a:lnTo>
                          <a:pt x="738" y="427"/>
                        </a:lnTo>
                        <a:lnTo>
                          <a:pt x="748" y="424"/>
                        </a:lnTo>
                        <a:lnTo>
                          <a:pt x="750" y="420"/>
                        </a:lnTo>
                        <a:lnTo>
                          <a:pt x="756" y="414"/>
                        </a:lnTo>
                        <a:lnTo>
                          <a:pt x="761" y="414"/>
                        </a:lnTo>
                        <a:lnTo>
                          <a:pt x="765" y="410"/>
                        </a:lnTo>
                        <a:lnTo>
                          <a:pt x="761" y="407"/>
                        </a:lnTo>
                        <a:lnTo>
                          <a:pt x="763" y="397"/>
                        </a:lnTo>
                        <a:lnTo>
                          <a:pt x="763" y="392"/>
                        </a:lnTo>
                        <a:lnTo>
                          <a:pt x="765" y="387"/>
                        </a:lnTo>
                        <a:lnTo>
                          <a:pt x="763" y="385"/>
                        </a:lnTo>
                        <a:lnTo>
                          <a:pt x="765" y="382"/>
                        </a:lnTo>
                        <a:lnTo>
                          <a:pt x="773" y="380"/>
                        </a:lnTo>
                        <a:lnTo>
                          <a:pt x="776" y="380"/>
                        </a:lnTo>
                        <a:lnTo>
                          <a:pt x="791" y="380"/>
                        </a:lnTo>
                        <a:lnTo>
                          <a:pt x="794" y="382"/>
                        </a:lnTo>
                        <a:lnTo>
                          <a:pt x="811" y="382"/>
                        </a:lnTo>
                        <a:lnTo>
                          <a:pt x="821" y="377"/>
                        </a:lnTo>
                        <a:lnTo>
                          <a:pt x="834" y="380"/>
                        </a:lnTo>
                        <a:lnTo>
                          <a:pt x="833" y="385"/>
                        </a:lnTo>
                        <a:lnTo>
                          <a:pt x="836" y="387"/>
                        </a:lnTo>
                        <a:lnTo>
                          <a:pt x="839" y="392"/>
                        </a:lnTo>
                        <a:lnTo>
                          <a:pt x="853" y="399"/>
                        </a:lnTo>
                        <a:lnTo>
                          <a:pt x="853" y="402"/>
                        </a:lnTo>
                        <a:lnTo>
                          <a:pt x="849" y="405"/>
                        </a:lnTo>
                        <a:lnTo>
                          <a:pt x="854" y="405"/>
                        </a:lnTo>
                        <a:lnTo>
                          <a:pt x="858" y="402"/>
                        </a:lnTo>
                        <a:lnTo>
                          <a:pt x="863" y="405"/>
                        </a:lnTo>
                        <a:lnTo>
                          <a:pt x="861" y="410"/>
                        </a:lnTo>
                        <a:lnTo>
                          <a:pt x="854" y="417"/>
                        </a:lnTo>
                        <a:lnTo>
                          <a:pt x="854" y="419"/>
                        </a:lnTo>
                        <a:lnTo>
                          <a:pt x="864" y="414"/>
                        </a:lnTo>
                        <a:lnTo>
                          <a:pt x="864" y="409"/>
                        </a:lnTo>
                        <a:lnTo>
                          <a:pt x="868" y="405"/>
                        </a:lnTo>
                        <a:lnTo>
                          <a:pt x="874" y="407"/>
                        </a:lnTo>
                        <a:lnTo>
                          <a:pt x="881" y="405"/>
                        </a:lnTo>
                        <a:lnTo>
                          <a:pt x="884" y="405"/>
                        </a:lnTo>
                        <a:lnTo>
                          <a:pt x="884" y="410"/>
                        </a:lnTo>
                        <a:lnTo>
                          <a:pt x="894" y="419"/>
                        </a:lnTo>
                        <a:lnTo>
                          <a:pt x="896" y="429"/>
                        </a:lnTo>
                        <a:lnTo>
                          <a:pt x="892" y="434"/>
                        </a:lnTo>
                        <a:lnTo>
                          <a:pt x="896" y="440"/>
                        </a:lnTo>
                        <a:lnTo>
                          <a:pt x="896" y="447"/>
                        </a:lnTo>
                        <a:lnTo>
                          <a:pt x="894" y="448"/>
                        </a:lnTo>
                        <a:lnTo>
                          <a:pt x="897" y="452"/>
                        </a:lnTo>
                        <a:lnTo>
                          <a:pt x="897" y="457"/>
                        </a:lnTo>
                        <a:lnTo>
                          <a:pt x="897" y="460"/>
                        </a:lnTo>
                        <a:lnTo>
                          <a:pt x="894" y="465"/>
                        </a:lnTo>
                        <a:lnTo>
                          <a:pt x="884" y="467"/>
                        </a:lnTo>
                        <a:lnTo>
                          <a:pt x="881" y="470"/>
                        </a:lnTo>
                        <a:lnTo>
                          <a:pt x="871" y="470"/>
                        </a:lnTo>
                        <a:lnTo>
                          <a:pt x="864" y="470"/>
                        </a:lnTo>
                        <a:lnTo>
                          <a:pt x="851" y="475"/>
                        </a:lnTo>
                        <a:lnTo>
                          <a:pt x="841" y="477"/>
                        </a:lnTo>
                        <a:lnTo>
                          <a:pt x="831" y="480"/>
                        </a:lnTo>
                        <a:lnTo>
                          <a:pt x="828" y="480"/>
                        </a:lnTo>
                        <a:lnTo>
                          <a:pt x="821" y="483"/>
                        </a:lnTo>
                        <a:lnTo>
                          <a:pt x="813" y="483"/>
                        </a:lnTo>
                        <a:lnTo>
                          <a:pt x="809" y="487"/>
                        </a:lnTo>
                        <a:lnTo>
                          <a:pt x="808" y="483"/>
                        </a:lnTo>
                        <a:lnTo>
                          <a:pt x="804" y="485"/>
                        </a:lnTo>
                        <a:lnTo>
                          <a:pt x="796" y="487"/>
                        </a:lnTo>
                        <a:lnTo>
                          <a:pt x="794" y="492"/>
                        </a:lnTo>
                        <a:lnTo>
                          <a:pt x="790" y="497"/>
                        </a:lnTo>
                        <a:lnTo>
                          <a:pt x="788" y="497"/>
                        </a:lnTo>
                        <a:lnTo>
                          <a:pt x="785" y="503"/>
                        </a:lnTo>
                        <a:lnTo>
                          <a:pt x="780" y="505"/>
                        </a:lnTo>
                        <a:lnTo>
                          <a:pt x="773" y="508"/>
                        </a:lnTo>
                        <a:lnTo>
                          <a:pt x="766" y="508"/>
                        </a:lnTo>
                        <a:lnTo>
                          <a:pt x="763" y="502"/>
                        </a:lnTo>
                        <a:lnTo>
                          <a:pt x="760" y="508"/>
                        </a:lnTo>
                        <a:lnTo>
                          <a:pt x="760" y="512"/>
                        </a:lnTo>
                        <a:lnTo>
                          <a:pt x="755" y="515"/>
                        </a:lnTo>
                        <a:lnTo>
                          <a:pt x="748" y="520"/>
                        </a:lnTo>
                        <a:lnTo>
                          <a:pt x="746" y="523"/>
                        </a:lnTo>
                        <a:lnTo>
                          <a:pt x="741" y="528"/>
                        </a:lnTo>
                        <a:lnTo>
                          <a:pt x="741" y="532"/>
                        </a:lnTo>
                        <a:lnTo>
                          <a:pt x="735" y="538"/>
                        </a:lnTo>
                        <a:lnTo>
                          <a:pt x="730" y="543"/>
                        </a:lnTo>
                        <a:lnTo>
                          <a:pt x="723" y="541"/>
                        </a:lnTo>
                        <a:lnTo>
                          <a:pt x="716" y="545"/>
                        </a:lnTo>
                        <a:lnTo>
                          <a:pt x="713" y="545"/>
                        </a:lnTo>
                        <a:lnTo>
                          <a:pt x="710" y="541"/>
                        </a:lnTo>
                        <a:lnTo>
                          <a:pt x="713" y="538"/>
                        </a:lnTo>
                        <a:lnTo>
                          <a:pt x="713" y="533"/>
                        </a:lnTo>
                        <a:lnTo>
                          <a:pt x="711" y="530"/>
                        </a:lnTo>
                        <a:lnTo>
                          <a:pt x="706" y="533"/>
                        </a:lnTo>
                        <a:lnTo>
                          <a:pt x="706" y="537"/>
                        </a:lnTo>
                        <a:lnTo>
                          <a:pt x="705" y="537"/>
                        </a:lnTo>
                        <a:lnTo>
                          <a:pt x="696" y="543"/>
                        </a:lnTo>
                        <a:lnTo>
                          <a:pt x="691" y="545"/>
                        </a:lnTo>
                        <a:lnTo>
                          <a:pt x="687" y="543"/>
                        </a:lnTo>
                        <a:lnTo>
                          <a:pt x="682" y="545"/>
                        </a:lnTo>
                        <a:lnTo>
                          <a:pt x="678" y="548"/>
                        </a:lnTo>
                        <a:lnTo>
                          <a:pt x="675" y="546"/>
                        </a:lnTo>
                        <a:lnTo>
                          <a:pt x="672" y="546"/>
                        </a:lnTo>
                        <a:lnTo>
                          <a:pt x="672" y="545"/>
                        </a:lnTo>
                        <a:lnTo>
                          <a:pt x="672" y="545"/>
                        </a:lnTo>
                        <a:close/>
                        <a:moveTo>
                          <a:pt x="1288" y="480"/>
                        </a:moveTo>
                        <a:lnTo>
                          <a:pt x="1289" y="480"/>
                        </a:lnTo>
                        <a:lnTo>
                          <a:pt x="1293" y="483"/>
                        </a:lnTo>
                        <a:lnTo>
                          <a:pt x="1291" y="488"/>
                        </a:lnTo>
                        <a:lnTo>
                          <a:pt x="1289" y="488"/>
                        </a:lnTo>
                        <a:lnTo>
                          <a:pt x="1288" y="487"/>
                        </a:lnTo>
                        <a:lnTo>
                          <a:pt x="1286" y="482"/>
                        </a:lnTo>
                        <a:lnTo>
                          <a:pt x="1288" y="480"/>
                        </a:lnTo>
                        <a:lnTo>
                          <a:pt x="1288" y="480"/>
                        </a:lnTo>
                        <a:close/>
                        <a:moveTo>
                          <a:pt x="1241" y="480"/>
                        </a:moveTo>
                        <a:lnTo>
                          <a:pt x="1243" y="475"/>
                        </a:lnTo>
                        <a:lnTo>
                          <a:pt x="1250" y="473"/>
                        </a:lnTo>
                        <a:lnTo>
                          <a:pt x="1253" y="475"/>
                        </a:lnTo>
                        <a:lnTo>
                          <a:pt x="1251" y="478"/>
                        </a:lnTo>
                        <a:lnTo>
                          <a:pt x="1248" y="478"/>
                        </a:lnTo>
                        <a:lnTo>
                          <a:pt x="1245" y="480"/>
                        </a:lnTo>
                        <a:lnTo>
                          <a:pt x="1241" y="480"/>
                        </a:lnTo>
                        <a:lnTo>
                          <a:pt x="1241" y="480"/>
                        </a:lnTo>
                        <a:close/>
                        <a:moveTo>
                          <a:pt x="1195" y="505"/>
                        </a:moveTo>
                        <a:lnTo>
                          <a:pt x="1196" y="507"/>
                        </a:lnTo>
                        <a:lnTo>
                          <a:pt x="1203" y="508"/>
                        </a:lnTo>
                        <a:lnTo>
                          <a:pt x="1208" y="513"/>
                        </a:lnTo>
                        <a:lnTo>
                          <a:pt x="1211" y="510"/>
                        </a:lnTo>
                        <a:lnTo>
                          <a:pt x="1215" y="512"/>
                        </a:lnTo>
                        <a:lnTo>
                          <a:pt x="1221" y="510"/>
                        </a:lnTo>
                        <a:lnTo>
                          <a:pt x="1225" y="510"/>
                        </a:lnTo>
                        <a:lnTo>
                          <a:pt x="1228" y="510"/>
                        </a:lnTo>
                        <a:lnTo>
                          <a:pt x="1231" y="507"/>
                        </a:lnTo>
                        <a:lnTo>
                          <a:pt x="1238" y="507"/>
                        </a:lnTo>
                        <a:lnTo>
                          <a:pt x="1236" y="503"/>
                        </a:lnTo>
                        <a:lnTo>
                          <a:pt x="1230" y="500"/>
                        </a:lnTo>
                        <a:lnTo>
                          <a:pt x="1226" y="502"/>
                        </a:lnTo>
                        <a:lnTo>
                          <a:pt x="1220" y="502"/>
                        </a:lnTo>
                        <a:lnTo>
                          <a:pt x="1218" y="502"/>
                        </a:lnTo>
                        <a:lnTo>
                          <a:pt x="1213" y="503"/>
                        </a:lnTo>
                        <a:lnTo>
                          <a:pt x="1206" y="502"/>
                        </a:lnTo>
                        <a:lnTo>
                          <a:pt x="1201" y="505"/>
                        </a:lnTo>
                        <a:lnTo>
                          <a:pt x="1196" y="503"/>
                        </a:lnTo>
                        <a:lnTo>
                          <a:pt x="1195" y="505"/>
                        </a:lnTo>
                        <a:lnTo>
                          <a:pt x="1195" y="505"/>
                        </a:lnTo>
                        <a:close/>
                        <a:moveTo>
                          <a:pt x="1168" y="658"/>
                        </a:moveTo>
                        <a:lnTo>
                          <a:pt x="1167" y="656"/>
                        </a:lnTo>
                        <a:lnTo>
                          <a:pt x="1167" y="653"/>
                        </a:lnTo>
                        <a:lnTo>
                          <a:pt x="1170" y="653"/>
                        </a:lnTo>
                        <a:lnTo>
                          <a:pt x="1170" y="656"/>
                        </a:lnTo>
                        <a:lnTo>
                          <a:pt x="1168" y="658"/>
                        </a:lnTo>
                        <a:lnTo>
                          <a:pt x="1168" y="658"/>
                        </a:lnTo>
                        <a:close/>
                        <a:moveTo>
                          <a:pt x="1138" y="653"/>
                        </a:moveTo>
                        <a:lnTo>
                          <a:pt x="1137" y="651"/>
                        </a:lnTo>
                        <a:lnTo>
                          <a:pt x="1135" y="646"/>
                        </a:lnTo>
                        <a:lnTo>
                          <a:pt x="1133" y="643"/>
                        </a:lnTo>
                        <a:lnTo>
                          <a:pt x="1130" y="646"/>
                        </a:lnTo>
                        <a:lnTo>
                          <a:pt x="1130" y="643"/>
                        </a:lnTo>
                        <a:lnTo>
                          <a:pt x="1130" y="639"/>
                        </a:lnTo>
                        <a:lnTo>
                          <a:pt x="1130" y="635"/>
                        </a:lnTo>
                        <a:lnTo>
                          <a:pt x="1127" y="631"/>
                        </a:lnTo>
                        <a:lnTo>
                          <a:pt x="1130" y="626"/>
                        </a:lnTo>
                        <a:lnTo>
                          <a:pt x="1128" y="621"/>
                        </a:lnTo>
                        <a:lnTo>
                          <a:pt x="1130" y="618"/>
                        </a:lnTo>
                        <a:lnTo>
                          <a:pt x="1127" y="616"/>
                        </a:lnTo>
                        <a:lnTo>
                          <a:pt x="1125" y="613"/>
                        </a:lnTo>
                        <a:lnTo>
                          <a:pt x="1125" y="610"/>
                        </a:lnTo>
                        <a:lnTo>
                          <a:pt x="1120" y="605"/>
                        </a:lnTo>
                        <a:lnTo>
                          <a:pt x="1120" y="598"/>
                        </a:lnTo>
                        <a:lnTo>
                          <a:pt x="1117" y="593"/>
                        </a:lnTo>
                        <a:lnTo>
                          <a:pt x="1115" y="593"/>
                        </a:lnTo>
                        <a:lnTo>
                          <a:pt x="1113" y="590"/>
                        </a:lnTo>
                        <a:lnTo>
                          <a:pt x="1113" y="585"/>
                        </a:lnTo>
                        <a:lnTo>
                          <a:pt x="1112" y="585"/>
                        </a:lnTo>
                        <a:lnTo>
                          <a:pt x="1108" y="586"/>
                        </a:lnTo>
                        <a:lnTo>
                          <a:pt x="1105" y="585"/>
                        </a:lnTo>
                        <a:lnTo>
                          <a:pt x="1102" y="585"/>
                        </a:lnTo>
                        <a:lnTo>
                          <a:pt x="1100" y="583"/>
                        </a:lnTo>
                        <a:lnTo>
                          <a:pt x="1100" y="578"/>
                        </a:lnTo>
                        <a:lnTo>
                          <a:pt x="1105" y="576"/>
                        </a:lnTo>
                        <a:lnTo>
                          <a:pt x="1105" y="570"/>
                        </a:lnTo>
                        <a:lnTo>
                          <a:pt x="1103" y="566"/>
                        </a:lnTo>
                        <a:lnTo>
                          <a:pt x="1105" y="565"/>
                        </a:lnTo>
                        <a:lnTo>
                          <a:pt x="1105" y="556"/>
                        </a:lnTo>
                        <a:lnTo>
                          <a:pt x="1102" y="553"/>
                        </a:lnTo>
                        <a:lnTo>
                          <a:pt x="1108" y="546"/>
                        </a:lnTo>
                        <a:lnTo>
                          <a:pt x="1113" y="545"/>
                        </a:lnTo>
                        <a:lnTo>
                          <a:pt x="1115" y="543"/>
                        </a:lnTo>
                        <a:lnTo>
                          <a:pt x="1117" y="541"/>
                        </a:lnTo>
                        <a:lnTo>
                          <a:pt x="1118" y="545"/>
                        </a:lnTo>
                        <a:lnTo>
                          <a:pt x="1127" y="541"/>
                        </a:lnTo>
                        <a:lnTo>
                          <a:pt x="1130" y="543"/>
                        </a:lnTo>
                        <a:lnTo>
                          <a:pt x="1132" y="546"/>
                        </a:lnTo>
                        <a:lnTo>
                          <a:pt x="1130" y="548"/>
                        </a:lnTo>
                        <a:lnTo>
                          <a:pt x="1128" y="548"/>
                        </a:lnTo>
                        <a:lnTo>
                          <a:pt x="1128" y="551"/>
                        </a:lnTo>
                        <a:lnTo>
                          <a:pt x="1132" y="551"/>
                        </a:lnTo>
                        <a:lnTo>
                          <a:pt x="1133" y="555"/>
                        </a:lnTo>
                        <a:lnTo>
                          <a:pt x="1132" y="558"/>
                        </a:lnTo>
                        <a:lnTo>
                          <a:pt x="1138" y="563"/>
                        </a:lnTo>
                        <a:lnTo>
                          <a:pt x="1138" y="568"/>
                        </a:lnTo>
                        <a:lnTo>
                          <a:pt x="1142" y="571"/>
                        </a:lnTo>
                        <a:lnTo>
                          <a:pt x="1147" y="571"/>
                        </a:lnTo>
                        <a:lnTo>
                          <a:pt x="1148" y="570"/>
                        </a:lnTo>
                        <a:lnTo>
                          <a:pt x="1147" y="566"/>
                        </a:lnTo>
                        <a:lnTo>
                          <a:pt x="1150" y="565"/>
                        </a:lnTo>
                        <a:lnTo>
                          <a:pt x="1153" y="560"/>
                        </a:lnTo>
                        <a:lnTo>
                          <a:pt x="1152" y="556"/>
                        </a:lnTo>
                        <a:lnTo>
                          <a:pt x="1155" y="555"/>
                        </a:lnTo>
                        <a:lnTo>
                          <a:pt x="1157" y="551"/>
                        </a:lnTo>
                        <a:lnTo>
                          <a:pt x="1155" y="548"/>
                        </a:lnTo>
                        <a:lnTo>
                          <a:pt x="1157" y="545"/>
                        </a:lnTo>
                        <a:lnTo>
                          <a:pt x="1160" y="545"/>
                        </a:lnTo>
                        <a:lnTo>
                          <a:pt x="1163" y="545"/>
                        </a:lnTo>
                        <a:lnTo>
                          <a:pt x="1165" y="550"/>
                        </a:lnTo>
                        <a:lnTo>
                          <a:pt x="1168" y="550"/>
                        </a:lnTo>
                        <a:lnTo>
                          <a:pt x="1168" y="548"/>
                        </a:lnTo>
                        <a:lnTo>
                          <a:pt x="1165" y="541"/>
                        </a:lnTo>
                        <a:lnTo>
                          <a:pt x="1163" y="538"/>
                        </a:lnTo>
                        <a:lnTo>
                          <a:pt x="1163" y="538"/>
                        </a:lnTo>
                        <a:lnTo>
                          <a:pt x="1160" y="541"/>
                        </a:lnTo>
                        <a:lnTo>
                          <a:pt x="1155" y="543"/>
                        </a:lnTo>
                        <a:lnTo>
                          <a:pt x="1150" y="537"/>
                        </a:lnTo>
                        <a:lnTo>
                          <a:pt x="1150" y="535"/>
                        </a:lnTo>
                        <a:lnTo>
                          <a:pt x="1147" y="530"/>
                        </a:lnTo>
                        <a:lnTo>
                          <a:pt x="1147" y="525"/>
                        </a:lnTo>
                        <a:lnTo>
                          <a:pt x="1150" y="522"/>
                        </a:lnTo>
                        <a:lnTo>
                          <a:pt x="1153" y="523"/>
                        </a:lnTo>
                        <a:lnTo>
                          <a:pt x="1155" y="520"/>
                        </a:lnTo>
                        <a:lnTo>
                          <a:pt x="1158" y="522"/>
                        </a:lnTo>
                        <a:lnTo>
                          <a:pt x="1160" y="525"/>
                        </a:lnTo>
                        <a:lnTo>
                          <a:pt x="1162" y="533"/>
                        </a:lnTo>
                        <a:lnTo>
                          <a:pt x="1163" y="533"/>
                        </a:lnTo>
                        <a:lnTo>
                          <a:pt x="1165" y="528"/>
                        </a:lnTo>
                        <a:lnTo>
                          <a:pt x="1167" y="527"/>
                        </a:lnTo>
                        <a:lnTo>
                          <a:pt x="1165" y="522"/>
                        </a:lnTo>
                        <a:lnTo>
                          <a:pt x="1162" y="520"/>
                        </a:lnTo>
                        <a:lnTo>
                          <a:pt x="1162" y="517"/>
                        </a:lnTo>
                        <a:lnTo>
                          <a:pt x="1160" y="512"/>
                        </a:lnTo>
                        <a:lnTo>
                          <a:pt x="1163" y="512"/>
                        </a:lnTo>
                        <a:lnTo>
                          <a:pt x="1165" y="507"/>
                        </a:lnTo>
                        <a:lnTo>
                          <a:pt x="1168" y="505"/>
                        </a:lnTo>
                        <a:lnTo>
                          <a:pt x="1172" y="507"/>
                        </a:lnTo>
                        <a:lnTo>
                          <a:pt x="1173" y="505"/>
                        </a:lnTo>
                        <a:lnTo>
                          <a:pt x="1177" y="510"/>
                        </a:lnTo>
                        <a:lnTo>
                          <a:pt x="1182" y="512"/>
                        </a:lnTo>
                        <a:lnTo>
                          <a:pt x="1185" y="508"/>
                        </a:lnTo>
                        <a:lnTo>
                          <a:pt x="1180" y="508"/>
                        </a:lnTo>
                        <a:lnTo>
                          <a:pt x="1178" y="505"/>
                        </a:lnTo>
                        <a:lnTo>
                          <a:pt x="1180" y="503"/>
                        </a:lnTo>
                        <a:lnTo>
                          <a:pt x="1183" y="502"/>
                        </a:lnTo>
                        <a:lnTo>
                          <a:pt x="1190" y="503"/>
                        </a:lnTo>
                        <a:lnTo>
                          <a:pt x="1191" y="505"/>
                        </a:lnTo>
                        <a:lnTo>
                          <a:pt x="1190" y="507"/>
                        </a:lnTo>
                        <a:lnTo>
                          <a:pt x="1190" y="510"/>
                        </a:lnTo>
                        <a:lnTo>
                          <a:pt x="1193" y="512"/>
                        </a:lnTo>
                        <a:lnTo>
                          <a:pt x="1196" y="515"/>
                        </a:lnTo>
                        <a:lnTo>
                          <a:pt x="1200" y="515"/>
                        </a:lnTo>
                        <a:lnTo>
                          <a:pt x="1205" y="517"/>
                        </a:lnTo>
                        <a:lnTo>
                          <a:pt x="1211" y="517"/>
                        </a:lnTo>
                        <a:lnTo>
                          <a:pt x="1213" y="515"/>
                        </a:lnTo>
                        <a:lnTo>
                          <a:pt x="1216" y="515"/>
                        </a:lnTo>
                        <a:lnTo>
                          <a:pt x="1228" y="515"/>
                        </a:lnTo>
                        <a:lnTo>
                          <a:pt x="1231" y="518"/>
                        </a:lnTo>
                        <a:lnTo>
                          <a:pt x="1235" y="518"/>
                        </a:lnTo>
                        <a:lnTo>
                          <a:pt x="1236" y="522"/>
                        </a:lnTo>
                        <a:lnTo>
                          <a:pt x="1235" y="523"/>
                        </a:lnTo>
                        <a:lnTo>
                          <a:pt x="1236" y="527"/>
                        </a:lnTo>
                        <a:lnTo>
                          <a:pt x="1235" y="530"/>
                        </a:lnTo>
                        <a:lnTo>
                          <a:pt x="1228" y="533"/>
                        </a:lnTo>
                        <a:lnTo>
                          <a:pt x="1225" y="532"/>
                        </a:lnTo>
                        <a:lnTo>
                          <a:pt x="1223" y="530"/>
                        </a:lnTo>
                        <a:lnTo>
                          <a:pt x="1221" y="532"/>
                        </a:lnTo>
                        <a:lnTo>
                          <a:pt x="1218" y="533"/>
                        </a:lnTo>
                        <a:lnTo>
                          <a:pt x="1220" y="535"/>
                        </a:lnTo>
                        <a:lnTo>
                          <a:pt x="1225" y="538"/>
                        </a:lnTo>
                        <a:lnTo>
                          <a:pt x="1223" y="541"/>
                        </a:lnTo>
                        <a:lnTo>
                          <a:pt x="1221" y="546"/>
                        </a:lnTo>
                        <a:lnTo>
                          <a:pt x="1220" y="548"/>
                        </a:lnTo>
                        <a:lnTo>
                          <a:pt x="1218" y="546"/>
                        </a:lnTo>
                        <a:lnTo>
                          <a:pt x="1215" y="546"/>
                        </a:lnTo>
                        <a:lnTo>
                          <a:pt x="1210" y="548"/>
                        </a:lnTo>
                        <a:lnTo>
                          <a:pt x="1206" y="550"/>
                        </a:lnTo>
                        <a:lnTo>
                          <a:pt x="1198" y="551"/>
                        </a:lnTo>
                        <a:lnTo>
                          <a:pt x="1193" y="556"/>
                        </a:lnTo>
                        <a:lnTo>
                          <a:pt x="1190" y="556"/>
                        </a:lnTo>
                        <a:lnTo>
                          <a:pt x="1187" y="561"/>
                        </a:lnTo>
                        <a:lnTo>
                          <a:pt x="1187" y="565"/>
                        </a:lnTo>
                        <a:lnTo>
                          <a:pt x="1190" y="563"/>
                        </a:lnTo>
                        <a:lnTo>
                          <a:pt x="1190" y="561"/>
                        </a:lnTo>
                        <a:lnTo>
                          <a:pt x="1198" y="560"/>
                        </a:lnTo>
                        <a:lnTo>
                          <a:pt x="1200" y="560"/>
                        </a:lnTo>
                        <a:lnTo>
                          <a:pt x="1208" y="563"/>
                        </a:lnTo>
                        <a:lnTo>
                          <a:pt x="1208" y="568"/>
                        </a:lnTo>
                        <a:lnTo>
                          <a:pt x="1206" y="570"/>
                        </a:lnTo>
                        <a:lnTo>
                          <a:pt x="1203" y="570"/>
                        </a:lnTo>
                        <a:lnTo>
                          <a:pt x="1206" y="571"/>
                        </a:lnTo>
                        <a:lnTo>
                          <a:pt x="1208" y="575"/>
                        </a:lnTo>
                        <a:lnTo>
                          <a:pt x="1208" y="578"/>
                        </a:lnTo>
                        <a:lnTo>
                          <a:pt x="1203" y="581"/>
                        </a:lnTo>
                        <a:lnTo>
                          <a:pt x="1203" y="585"/>
                        </a:lnTo>
                        <a:lnTo>
                          <a:pt x="1205" y="586"/>
                        </a:lnTo>
                        <a:lnTo>
                          <a:pt x="1208" y="583"/>
                        </a:lnTo>
                        <a:lnTo>
                          <a:pt x="1213" y="580"/>
                        </a:lnTo>
                        <a:lnTo>
                          <a:pt x="1215" y="578"/>
                        </a:lnTo>
                        <a:lnTo>
                          <a:pt x="1218" y="578"/>
                        </a:lnTo>
                        <a:lnTo>
                          <a:pt x="1215" y="581"/>
                        </a:lnTo>
                        <a:lnTo>
                          <a:pt x="1216" y="588"/>
                        </a:lnTo>
                        <a:lnTo>
                          <a:pt x="1213" y="595"/>
                        </a:lnTo>
                        <a:lnTo>
                          <a:pt x="1213" y="598"/>
                        </a:lnTo>
                        <a:lnTo>
                          <a:pt x="1205" y="603"/>
                        </a:lnTo>
                        <a:lnTo>
                          <a:pt x="1201" y="603"/>
                        </a:lnTo>
                        <a:lnTo>
                          <a:pt x="1200" y="605"/>
                        </a:lnTo>
                        <a:lnTo>
                          <a:pt x="1201" y="608"/>
                        </a:lnTo>
                        <a:lnTo>
                          <a:pt x="1200" y="613"/>
                        </a:lnTo>
                        <a:lnTo>
                          <a:pt x="1196" y="615"/>
                        </a:lnTo>
                        <a:lnTo>
                          <a:pt x="1195" y="611"/>
                        </a:lnTo>
                        <a:lnTo>
                          <a:pt x="1191" y="613"/>
                        </a:lnTo>
                        <a:lnTo>
                          <a:pt x="1191" y="615"/>
                        </a:lnTo>
                        <a:lnTo>
                          <a:pt x="1198" y="618"/>
                        </a:lnTo>
                        <a:lnTo>
                          <a:pt x="1196" y="621"/>
                        </a:lnTo>
                        <a:lnTo>
                          <a:pt x="1193" y="621"/>
                        </a:lnTo>
                        <a:lnTo>
                          <a:pt x="1195" y="625"/>
                        </a:lnTo>
                        <a:lnTo>
                          <a:pt x="1190" y="630"/>
                        </a:lnTo>
                        <a:lnTo>
                          <a:pt x="1188" y="628"/>
                        </a:lnTo>
                        <a:lnTo>
                          <a:pt x="1185" y="630"/>
                        </a:lnTo>
                        <a:lnTo>
                          <a:pt x="1180" y="630"/>
                        </a:lnTo>
                        <a:lnTo>
                          <a:pt x="1175" y="631"/>
                        </a:lnTo>
                        <a:lnTo>
                          <a:pt x="1175" y="635"/>
                        </a:lnTo>
                        <a:lnTo>
                          <a:pt x="1168" y="636"/>
                        </a:lnTo>
                        <a:lnTo>
                          <a:pt x="1162" y="633"/>
                        </a:lnTo>
                        <a:lnTo>
                          <a:pt x="1158" y="636"/>
                        </a:lnTo>
                        <a:lnTo>
                          <a:pt x="1155" y="635"/>
                        </a:lnTo>
                        <a:lnTo>
                          <a:pt x="1153" y="626"/>
                        </a:lnTo>
                        <a:lnTo>
                          <a:pt x="1157" y="621"/>
                        </a:lnTo>
                        <a:lnTo>
                          <a:pt x="1157" y="618"/>
                        </a:lnTo>
                        <a:lnTo>
                          <a:pt x="1148" y="625"/>
                        </a:lnTo>
                        <a:lnTo>
                          <a:pt x="1148" y="630"/>
                        </a:lnTo>
                        <a:lnTo>
                          <a:pt x="1152" y="636"/>
                        </a:lnTo>
                        <a:lnTo>
                          <a:pt x="1155" y="639"/>
                        </a:lnTo>
                        <a:lnTo>
                          <a:pt x="1153" y="643"/>
                        </a:lnTo>
                        <a:lnTo>
                          <a:pt x="1148" y="646"/>
                        </a:lnTo>
                        <a:lnTo>
                          <a:pt x="1145" y="651"/>
                        </a:lnTo>
                        <a:lnTo>
                          <a:pt x="1145" y="651"/>
                        </a:lnTo>
                        <a:lnTo>
                          <a:pt x="1138" y="653"/>
                        </a:lnTo>
                        <a:lnTo>
                          <a:pt x="1138" y="653"/>
                        </a:lnTo>
                        <a:close/>
                        <a:moveTo>
                          <a:pt x="1220" y="551"/>
                        </a:moveTo>
                        <a:lnTo>
                          <a:pt x="1220" y="553"/>
                        </a:lnTo>
                        <a:lnTo>
                          <a:pt x="1221" y="553"/>
                        </a:lnTo>
                        <a:lnTo>
                          <a:pt x="1223" y="551"/>
                        </a:lnTo>
                        <a:lnTo>
                          <a:pt x="1220" y="551"/>
                        </a:lnTo>
                        <a:lnTo>
                          <a:pt x="1220" y="551"/>
                        </a:lnTo>
                        <a:close/>
                        <a:moveTo>
                          <a:pt x="1216" y="568"/>
                        </a:moveTo>
                        <a:lnTo>
                          <a:pt x="1218" y="568"/>
                        </a:lnTo>
                        <a:lnTo>
                          <a:pt x="1223" y="563"/>
                        </a:lnTo>
                        <a:lnTo>
                          <a:pt x="1223" y="560"/>
                        </a:lnTo>
                        <a:lnTo>
                          <a:pt x="1221" y="558"/>
                        </a:lnTo>
                        <a:lnTo>
                          <a:pt x="1221" y="555"/>
                        </a:lnTo>
                        <a:lnTo>
                          <a:pt x="1218" y="556"/>
                        </a:lnTo>
                        <a:lnTo>
                          <a:pt x="1216" y="560"/>
                        </a:lnTo>
                        <a:lnTo>
                          <a:pt x="1213" y="561"/>
                        </a:lnTo>
                        <a:lnTo>
                          <a:pt x="1215" y="566"/>
                        </a:lnTo>
                        <a:lnTo>
                          <a:pt x="1216" y="568"/>
                        </a:lnTo>
                        <a:lnTo>
                          <a:pt x="1216" y="568"/>
                        </a:lnTo>
                        <a:close/>
                        <a:moveTo>
                          <a:pt x="1213" y="578"/>
                        </a:moveTo>
                        <a:lnTo>
                          <a:pt x="1216" y="576"/>
                        </a:lnTo>
                        <a:lnTo>
                          <a:pt x="1218" y="571"/>
                        </a:lnTo>
                        <a:lnTo>
                          <a:pt x="1215" y="571"/>
                        </a:lnTo>
                        <a:lnTo>
                          <a:pt x="1211" y="575"/>
                        </a:lnTo>
                        <a:lnTo>
                          <a:pt x="1211" y="576"/>
                        </a:lnTo>
                        <a:lnTo>
                          <a:pt x="1213" y="578"/>
                        </a:lnTo>
                        <a:lnTo>
                          <a:pt x="1213" y="578"/>
                        </a:lnTo>
                        <a:close/>
                        <a:moveTo>
                          <a:pt x="1029" y="485"/>
                        </a:moveTo>
                        <a:lnTo>
                          <a:pt x="1029" y="487"/>
                        </a:lnTo>
                        <a:lnTo>
                          <a:pt x="1030" y="488"/>
                        </a:lnTo>
                        <a:lnTo>
                          <a:pt x="1034" y="487"/>
                        </a:lnTo>
                        <a:lnTo>
                          <a:pt x="1037" y="488"/>
                        </a:lnTo>
                        <a:lnTo>
                          <a:pt x="1039" y="487"/>
                        </a:lnTo>
                        <a:lnTo>
                          <a:pt x="1037" y="485"/>
                        </a:lnTo>
                        <a:lnTo>
                          <a:pt x="1030" y="483"/>
                        </a:lnTo>
                        <a:lnTo>
                          <a:pt x="1029" y="485"/>
                        </a:lnTo>
                        <a:lnTo>
                          <a:pt x="1029" y="485"/>
                        </a:lnTo>
                        <a:close/>
                        <a:moveTo>
                          <a:pt x="1060" y="540"/>
                        </a:moveTo>
                        <a:lnTo>
                          <a:pt x="1057" y="535"/>
                        </a:lnTo>
                        <a:lnTo>
                          <a:pt x="1055" y="527"/>
                        </a:lnTo>
                        <a:lnTo>
                          <a:pt x="1054" y="522"/>
                        </a:lnTo>
                        <a:lnTo>
                          <a:pt x="1054" y="518"/>
                        </a:lnTo>
                        <a:lnTo>
                          <a:pt x="1054" y="517"/>
                        </a:lnTo>
                        <a:lnTo>
                          <a:pt x="1052" y="512"/>
                        </a:lnTo>
                        <a:lnTo>
                          <a:pt x="1052" y="505"/>
                        </a:lnTo>
                        <a:lnTo>
                          <a:pt x="1049" y="500"/>
                        </a:lnTo>
                        <a:lnTo>
                          <a:pt x="1044" y="497"/>
                        </a:lnTo>
                        <a:lnTo>
                          <a:pt x="1045" y="495"/>
                        </a:lnTo>
                        <a:lnTo>
                          <a:pt x="1052" y="490"/>
                        </a:lnTo>
                        <a:lnTo>
                          <a:pt x="1055" y="488"/>
                        </a:lnTo>
                        <a:lnTo>
                          <a:pt x="1060" y="485"/>
                        </a:lnTo>
                        <a:lnTo>
                          <a:pt x="1067" y="483"/>
                        </a:lnTo>
                        <a:lnTo>
                          <a:pt x="1070" y="487"/>
                        </a:lnTo>
                        <a:lnTo>
                          <a:pt x="1074" y="487"/>
                        </a:lnTo>
                        <a:lnTo>
                          <a:pt x="1079" y="490"/>
                        </a:lnTo>
                        <a:lnTo>
                          <a:pt x="1080" y="488"/>
                        </a:lnTo>
                        <a:lnTo>
                          <a:pt x="1085" y="490"/>
                        </a:lnTo>
                        <a:lnTo>
                          <a:pt x="1088" y="490"/>
                        </a:lnTo>
                        <a:lnTo>
                          <a:pt x="1092" y="490"/>
                        </a:lnTo>
                        <a:lnTo>
                          <a:pt x="1097" y="495"/>
                        </a:lnTo>
                        <a:lnTo>
                          <a:pt x="1095" y="498"/>
                        </a:lnTo>
                        <a:lnTo>
                          <a:pt x="1095" y="500"/>
                        </a:lnTo>
                        <a:lnTo>
                          <a:pt x="1097" y="505"/>
                        </a:lnTo>
                        <a:lnTo>
                          <a:pt x="1097" y="507"/>
                        </a:lnTo>
                        <a:lnTo>
                          <a:pt x="1095" y="508"/>
                        </a:lnTo>
                        <a:lnTo>
                          <a:pt x="1095" y="512"/>
                        </a:lnTo>
                        <a:lnTo>
                          <a:pt x="1090" y="517"/>
                        </a:lnTo>
                        <a:lnTo>
                          <a:pt x="1087" y="517"/>
                        </a:lnTo>
                        <a:lnTo>
                          <a:pt x="1080" y="523"/>
                        </a:lnTo>
                        <a:lnTo>
                          <a:pt x="1074" y="527"/>
                        </a:lnTo>
                        <a:lnTo>
                          <a:pt x="1069" y="533"/>
                        </a:lnTo>
                        <a:lnTo>
                          <a:pt x="1064" y="533"/>
                        </a:lnTo>
                        <a:lnTo>
                          <a:pt x="1062" y="535"/>
                        </a:lnTo>
                        <a:lnTo>
                          <a:pt x="1062" y="538"/>
                        </a:lnTo>
                        <a:lnTo>
                          <a:pt x="1060" y="540"/>
                        </a:lnTo>
                        <a:lnTo>
                          <a:pt x="1060" y="540"/>
                        </a:lnTo>
                        <a:close/>
                        <a:moveTo>
                          <a:pt x="1233" y="630"/>
                        </a:moveTo>
                        <a:lnTo>
                          <a:pt x="1226" y="623"/>
                        </a:lnTo>
                        <a:lnTo>
                          <a:pt x="1223" y="625"/>
                        </a:lnTo>
                        <a:lnTo>
                          <a:pt x="1215" y="623"/>
                        </a:lnTo>
                        <a:lnTo>
                          <a:pt x="1218" y="620"/>
                        </a:lnTo>
                        <a:lnTo>
                          <a:pt x="1221" y="618"/>
                        </a:lnTo>
                        <a:lnTo>
                          <a:pt x="1225" y="618"/>
                        </a:lnTo>
                        <a:lnTo>
                          <a:pt x="1226" y="616"/>
                        </a:lnTo>
                        <a:lnTo>
                          <a:pt x="1225" y="615"/>
                        </a:lnTo>
                        <a:lnTo>
                          <a:pt x="1221" y="615"/>
                        </a:lnTo>
                        <a:lnTo>
                          <a:pt x="1220" y="613"/>
                        </a:lnTo>
                        <a:lnTo>
                          <a:pt x="1226" y="606"/>
                        </a:lnTo>
                        <a:lnTo>
                          <a:pt x="1228" y="600"/>
                        </a:lnTo>
                        <a:lnTo>
                          <a:pt x="1228" y="595"/>
                        </a:lnTo>
                        <a:lnTo>
                          <a:pt x="1231" y="595"/>
                        </a:lnTo>
                        <a:lnTo>
                          <a:pt x="1231" y="591"/>
                        </a:lnTo>
                        <a:lnTo>
                          <a:pt x="1226" y="588"/>
                        </a:lnTo>
                        <a:lnTo>
                          <a:pt x="1230" y="586"/>
                        </a:lnTo>
                        <a:lnTo>
                          <a:pt x="1230" y="581"/>
                        </a:lnTo>
                        <a:lnTo>
                          <a:pt x="1233" y="571"/>
                        </a:lnTo>
                        <a:lnTo>
                          <a:pt x="1236" y="570"/>
                        </a:lnTo>
                        <a:lnTo>
                          <a:pt x="1236" y="566"/>
                        </a:lnTo>
                        <a:lnTo>
                          <a:pt x="1241" y="563"/>
                        </a:lnTo>
                        <a:lnTo>
                          <a:pt x="1243" y="558"/>
                        </a:lnTo>
                        <a:lnTo>
                          <a:pt x="1245" y="556"/>
                        </a:lnTo>
                        <a:lnTo>
                          <a:pt x="1246" y="551"/>
                        </a:lnTo>
                        <a:lnTo>
                          <a:pt x="1251" y="545"/>
                        </a:lnTo>
                        <a:lnTo>
                          <a:pt x="1253" y="540"/>
                        </a:lnTo>
                        <a:lnTo>
                          <a:pt x="1258" y="538"/>
                        </a:lnTo>
                        <a:lnTo>
                          <a:pt x="1258" y="535"/>
                        </a:lnTo>
                        <a:lnTo>
                          <a:pt x="1256" y="533"/>
                        </a:lnTo>
                        <a:lnTo>
                          <a:pt x="1260" y="528"/>
                        </a:lnTo>
                        <a:lnTo>
                          <a:pt x="1263" y="530"/>
                        </a:lnTo>
                        <a:lnTo>
                          <a:pt x="1266" y="535"/>
                        </a:lnTo>
                        <a:lnTo>
                          <a:pt x="1268" y="538"/>
                        </a:lnTo>
                        <a:lnTo>
                          <a:pt x="1273" y="540"/>
                        </a:lnTo>
                        <a:lnTo>
                          <a:pt x="1273" y="535"/>
                        </a:lnTo>
                        <a:lnTo>
                          <a:pt x="1268" y="530"/>
                        </a:lnTo>
                        <a:lnTo>
                          <a:pt x="1270" y="528"/>
                        </a:lnTo>
                        <a:lnTo>
                          <a:pt x="1273" y="528"/>
                        </a:lnTo>
                        <a:lnTo>
                          <a:pt x="1270" y="523"/>
                        </a:lnTo>
                        <a:lnTo>
                          <a:pt x="1273" y="518"/>
                        </a:lnTo>
                        <a:lnTo>
                          <a:pt x="1283" y="515"/>
                        </a:lnTo>
                        <a:lnTo>
                          <a:pt x="1291" y="515"/>
                        </a:lnTo>
                        <a:lnTo>
                          <a:pt x="1294" y="515"/>
                        </a:lnTo>
                        <a:lnTo>
                          <a:pt x="1298" y="515"/>
                        </a:lnTo>
                        <a:lnTo>
                          <a:pt x="1301" y="515"/>
                        </a:lnTo>
                        <a:lnTo>
                          <a:pt x="1303" y="518"/>
                        </a:lnTo>
                        <a:lnTo>
                          <a:pt x="1306" y="517"/>
                        </a:lnTo>
                        <a:lnTo>
                          <a:pt x="1313" y="517"/>
                        </a:lnTo>
                        <a:lnTo>
                          <a:pt x="1316" y="522"/>
                        </a:lnTo>
                        <a:lnTo>
                          <a:pt x="1319" y="522"/>
                        </a:lnTo>
                        <a:lnTo>
                          <a:pt x="1321" y="523"/>
                        </a:lnTo>
                        <a:lnTo>
                          <a:pt x="1323" y="523"/>
                        </a:lnTo>
                        <a:lnTo>
                          <a:pt x="1326" y="527"/>
                        </a:lnTo>
                        <a:lnTo>
                          <a:pt x="1326" y="532"/>
                        </a:lnTo>
                        <a:lnTo>
                          <a:pt x="1328" y="532"/>
                        </a:lnTo>
                        <a:lnTo>
                          <a:pt x="1331" y="532"/>
                        </a:lnTo>
                        <a:lnTo>
                          <a:pt x="1338" y="532"/>
                        </a:lnTo>
                        <a:lnTo>
                          <a:pt x="1348" y="533"/>
                        </a:lnTo>
                        <a:lnTo>
                          <a:pt x="1354" y="537"/>
                        </a:lnTo>
                        <a:lnTo>
                          <a:pt x="1354" y="540"/>
                        </a:lnTo>
                        <a:lnTo>
                          <a:pt x="1358" y="541"/>
                        </a:lnTo>
                        <a:lnTo>
                          <a:pt x="1359" y="545"/>
                        </a:lnTo>
                        <a:lnTo>
                          <a:pt x="1358" y="545"/>
                        </a:lnTo>
                        <a:lnTo>
                          <a:pt x="1356" y="545"/>
                        </a:lnTo>
                        <a:lnTo>
                          <a:pt x="1353" y="550"/>
                        </a:lnTo>
                        <a:lnTo>
                          <a:pt x="1346" y="555"/>
                        </a:lnTo>
                        <a:lnTo>
                          <a:pt x="1343" y="560"/>
                        </a:lnTo>
                        <a:lnTo>
                          <a:pt x="1338" y="561"/>
                        </a:lnTo>
                        <a:lnTo>
                          <a:pt x="1338" y="563"/>
                        </a:lnTo>
                        <a:lnTo>
                          <a:pt x="1328" y="570"/>
                        </a:lnTo>
                        <a:lnTo>
                          <a:pt x="1323" y="576"/>
                        </a:lnTo>
                        <a:lnTo>
                          <a:pt x="1318" y="576"/>
                        </a:lnTo>
                        <a:lnTo>
                          <a:pt x="1318" y="578"/>
                        </a:lnTo>
                        <a:lnTo>
                          <a:pt x="1319" y="580"/>
                        </a:lnTo>
                        <a:lnTo>
                          <a:pt x="1316" y="583"/>
                        </a:lnTo>
                        <a:lnTo>
                          <a:pt x="1309" y="588"/>
                        </a:lnTo>
                        <a:lnTo>
                          <a:pt x="1303" y="593"/>
                        </a:lnTo>
                        <a:lnTo>
                          <a:pt x="1294" y="598"/>
                        </a:lnTo>
                        <a:lnTo>
                          <a:pt x="1289" y="601"/>
                        </a:lnTo>
                        <a:lnTo>
                          <a:pt x="1286" y="600"/>
                        </a:lnTo>
                        <a:lnTo>
                          <a:pt x="1285" y="598"/>
                        </a:lnTo>
                        <a:lnTo>
                          <a:pt x="1281" y="598"/>
                        </a:lnTo>
                        <a:lnTo>
                          <a:pt x="1276" y="593"/>
                        </a:lnTo>
                        <a:lnTo>
                          <a:pt x="1275" y="590"/>
                        </a:lnTo>
                        <a:lnTo>
                          <a:pt x="1271" y="588"/>
                        </a:lnTo>
                        <a:lnTo>
                          <a:pt x="1268" y="590"/>
                        </a:lnTo>
                        <a:lnTo>
                          <a:pt x="1263" y="588"/>
                        </a:lnTo>
                        <a:lnTo>
                          <a:pt x="1260" y="588"/>
                        </a:lnTo>
                        <a:lnTo>
                          <a:pt x="1256" y="586"/>
                        </a:lnTo>
                        <a:lnTo>
                          <a:pt x="1253" y="586"/>
                        </a:lnTo>
                        <a:lnTo>
                          <a:pt x="1251" y="590"/>
                        </a:lnTo>
                        <a:lnTo>
                          <a:pt x="1253" y="591"/>
                        </a:lnTo>
                        <a:lnTo>
                          <a:pt x="1263" y="591"/>
                        </a:lnTo>
                        <a:lnTo>
                          <a:pt x="1261" y="595"/>
                        </a:lnTo>
                        <a:lnTo>
                          <a:pt x="1258" y="598"/>
                        </a:lnTo>
                        <a:lnTo>
                          <a:pt x="1260" y="601"/>
                        </a:lnTo>
                        <a:lnTo>
                          <a:pt x="1261" y="605"/>
                        </a:lnTo>
                        <a:lnTo>
                          <a:pt x="1258" y="610"/>
                        </a:lnTo>
                        <a:lnTo>
                          <a:pt x="1255" y="611"/>
                        </a:lnTo>
                        <a:lnTo>
                          <a:pt x="1253" y="615"/>
                        </a:lnTo>
                        <a:lnTo>
                          <a:pt x="1248" y="615"/>
                        </a:lnTo>
                        <a:lnTo>
                          <a:pt x="1245" y="616"/>
                        </a:lnTo>
                        <a:lnTo>
                          <a:pt x="1243" y="620"/>
                        </a:lnTo>
                        <a:lnTo>
                          <a:pt x="1238" y="623"/>
                        </a:lnTo>
                        <a:lnTo>
                          <a:pt x="1235" y="623"/>
                        </a:lnTo>
                        <a:lnTo>
                          <a:pt x="1235" y="628"/>
                        </a:lnTo>
                        <a:lnTo>
                          <a:pt x="1235" y="628"/>
                        </a:lnTo>
                        <a:lnTo>
                          <a:pt x="1233" y="630"/>
                        </a:lnTo>
                        <a:lnTo>
                          <a:pt x="1233" y="630"/>
                        </a:lnTo>
                        <a:close/>
                        <a:moveTo>
                          <a:pt x="1532" y="648"/>
                        </a:moveTo>
                        <a:lnTo>
                          <a:pt x="1525" y="644"/>
                        </a:lnTo>
                        <a:lnTo>
                          <a:pt x="1520" y="643"/>
                        </a:lnTo>
                        <a:lnTo>
                          <a:pt x="1519" y="638"/>
                        </a:lnTo>
                        <a:lnTo>
                          <a:pt x="1515" y="636"/>
                        </a:lnTo>
                        <a:lnTo>
                          <a:pt x="1514" y="633"/>
                        </a:lnTo>
                        <a:lnTo>
                          <a:pt x="1514" y="626"/>
                        </a:lnTo>
                        <a:lnTo>
                          <a:pt x="1519" y="625"/>
                        </a:lnTo>
                        <a:lnTo>
                          <a:pt x="1519" y="621"/>
                        </a:lnTo>
                        <a:lnTo>
                          <a:pt x="1522" y="618"/>
                        </a:lnTo>
                        <a:lnTo>
                          <a:pt x="1520" y="615"/>
                        </a:lnTo>
                        <a:lnTo>
                          <a:pt x="1517" y="613"/>
                        </a:lnTo>
                        <a:lnTo>
                          <a:pt x="1512" y="610"/>
                        </a:lnTo>
                        <a:lnTo>
                          <a:pt x="1517" y="601"/>
                        </a:lnTo>
                        <a:lnTo>
                          <a:pt x="1520" y="601"/>
                        </a:lnTo>
                        <a:lnTo>
                          <a:pt x="1520" y="600"/>
                        </a:lnTo>
                        <a:lnTo>
                          <a:pt x="1520" y="595"/>
                        </a:lnTo>
                        <a:lnTo>
                          <a:pt x="1524" y="591"/>
                        </a:lnTo>
                        <a:lnTo>
                          <a:pt x="1524" y="586"/>
                        </a:lnTo>
                        <a:lnTo>
                          <a:pt x="1529" y="585"/>
                        </a:lnTo>
                        <a:lnTo>
                          <a:pt x="1532" y="586"/>
                        </a:lnTo>
                        <a:lnTo>
                          <a:pt x="1534" y="591"/>
                        </a:lnTo>
                        <a:lnTo>
                          <a:pt x="1542" y="593"/>
                        </a:lnTo>
                        <a:lnTo>
                          <a:pt x="1545" y="596"/>
                        </a:lnTo>
                        <a:lnTo>
                          <a:pt x="1550" y="598"/>
                        </a:lnTo>
                        <a:lnTo>
                          <a:pt x="1554" y="596"/>
                        </a:lnTo>
                        <a:lnTo>
                          <a:pt x="1562" y="600"/>
                        </a:lnTo>
                        <a:lnTo>
                          <a:pt x="1569" y="600"/>
                        </a:lnTo>
                        <a:lnTo>
                          <a:pt x="1572" y="601"/>
                        </a:lnTo>
                        <a:lnTo>
                          <a:pt x="1574" y="605"/>
                        </a:lnTo>
                        <a:lnTo>
                          <a:pt x="1580" y="608"/>
                        </a:lnTo>
                        <a:lnTo>
                          <a:pt x="1582" y="613"/>
                        </a:lnTo>
                        <a:lnTo>
                          <a:pt x="1580" y="618"/>
                        </a:lnTo>
                        <a:lnTo>
                          <a:pt x="1580" y="621"/>
                        </a:lnTo>
                        <a:lnTo>
                          <a:pt x="1583" y="623"/>
                        </a:lnTo>
                        <a:lnTo>
                          <a:pt x="1583" y="626"/>
                        </a:lnTo>
                        <a:lnTo>
                          <a:pt x="1583" y="630"/>
                        </a:lnTo>
                        <a:lnTo>
                          <a:pt x="1583" y="631"/>
                        </a:lnTo>
                        <a:lnTo>
                          <a:pt x="1587" y="636"/>
                        </a:lnTo>
                        <a:lnTo>
                          <a:pt x="1585" y="639"/>
                        </a:lnTo>
                        <a:lnTo>
                          <a:pt x="1583" y="643"/>
                        </a:lnTo>
                        <a:lnTo>
                          <a:pt x="1588" y="644"/>
                        </a:lnTo>
                        <a:lnTo>
                          <a:pt x="1588" y="646"/>
                        </a:lnTo>
                        <a:lnTo>
                          <a:pt x="1587" y="649"/>
                        </a:lnTo>
                        <a:lnTo>
                          <a:pt x="1585" y="651"/>
                        </a:lnTo>
                        <a:lnTo>
                          <a:pt x="1575" y="649"/>
                        </a:lnTo>
                        <a:lnTo>
                          <a:pt x="1574" y="648"/>
                        </a:lnTo>
                        <a:lnTo>
                          <a:pt x="1565" y="646"/>
                        </a:lnTo>
                        <a:lnTo>
                          <a:pt x="1562" y="644"/>
                        </a:lnTo>
                        <a:lnTo>
                          <a:pt x="1557" y="643"/>
                        </a:lnTo>
                        <a:lnTo>
                          <a:pt x="1554" y="643"/>
                        </a:lnTo>
                        <a:lnTo>
                          <a:pt x="1550" y="641"/>
                        </a:lnTo>
                        <a:lnTo>
                          <a:pt x="1544" y="643"/>
                        </a:lnTo>
                        <a:lnTo>
                          <a:pt x="1539" y="643"/>
                        </a:lnTo>
                        <a:lnTo>
                          <a:pt x="1534" y="646"/>
                        </a:lnTo>
                        <a:lnTo>
                          <a:pt x="1532" y="648"/>
                        </a:lnTo>
                        <a:lnTo>
                          <a:pt x="1532" y="648"/>
                        </a:lnTo>
                        <a:close/>
                        <a:moveTo>
                          <a:pt x="1504" y="654"/>
                        </a:moveTo>
                        <a:lnTo>
                          <a:pt x="1504" y="649"/>
                        </a:lnTo>
                        <a:lnTo>
                          <a:pt x="1505" y="648"/>
                        </a:lnTo>
                        <a:lnTo>
                          <a:pt x="1507" y="649"/>
                        </a:lnTo>
                        <a:lnTo>
                          <a:pt x="1507" y="651"/>
                        </a:lnTo>
                        <a:lnTo>
                          <a:pt x="1504" y="654"/>
                        </a:lnTo>
                        <a:lnTo>
                          <a:pt x="1504" y="654"/>
                        </a:lnTo>
                        <a:close/>
                        <a:moveTo>
                          <a:pt x="1510" y="658"/>
                        </a:moveTo>
                        <a:lnTo>
                          <a:pt x="1509" y="654"/>
                        </a:lnTo>
                        <a:lnTo>
                          <a:pt x="1512" y="653"/>
                        </a:lnTo>
                        <a:lnTo>
                          <a:pt x="1514" y="654"/>
                        </a:lnTo>
                        <a:lnTo>
                          <a:pt x="1514" y="656"/>
                        </a:lnTo>
                        <a:lnTo>
                          <a:pt x="1510" y="658"/>
                        </a:lnTo>
                        <a:lnTo>
                          <a:pt x="1510" y="658"/>
                        </a:lnTo>
                        <a:close/>
                        <a:moveTo>
                          <a:pt x="1524" y="658"/>
                        </a:moveTo>
                        <a:lnTo>
                          <a:pt x="1520" y="658"/>
                        </a:lnTo>
                        <a:lnTo>
                          <a:pt x="1520" y="654"/>
                        </a:lnTo>
                        <a:lnTo>
                          <a:pt x="1522" y="654"/>
                        </a:lnTo>
                        <a:lnTo>
                          <a:pt x="1525" y="656"/>
                        </a:lnTo>
                        <a:lnTo>
                          <a:pt x="1524" y="658"/>
                        </a:lnTo>
                        <a:lnTo>
                          <a:pt x="1524" y="658"/>
                        </a:lnTo>
                        <a:close/>
                        <a:moveTo>
                          <a:pt x="1223" y="751"/>
                        </a:moveTo>
                        <a:lnTo>
                          <a:pt x="1221" y="749"/>
                        </a:lnTo>
                        <a:lnTo>
                          <a:pt x="1225" y="747"/>
                        </a:lnTo>
                        <a:lnTo>
                          <a:pt x="1226" y="747"/>
                        </a:lnTo>
                        <a:lnTo>
                          <a:pt x="1230" y="747"/>
                        </a:lnTo>
                        <a:lnTo>
                          <a:pt x="1228" y="749"/>
                        </a:lnTo>
                        <a:lnTo>
                          <a:pt x="1226" y="751"/>
                        </a:lnTo>
                        <a:lnTo>
                          <a:pt x="1223" y="751"/>
                        </a:lnTo>
                        <a:lnTo>
                          <a:pt x="1223" y="751"/>
                        </a:lnTo>
                        <a:close/>
                        <a:moveTo>
                          <a:pt x="1238" y="772"/>
                        </a:moveTo>
                        <a:lnTo>
                          <a:pt x="1238" y="777"/>
                        </a:lnTo>
                        <a:lnTo>
                          <a:pt x="1241" y="776"/>
                        </a:lnTo>
                        <a:lnTo>
                          <a:pt x="1241" y="776"/>
                        </a:lnTo>
                        <a:lnTo>
                          <a:pt x="1243" y="772"/>
                        </a:lnTo>
                        <a:lnTo>
                          <a:pt x="1240" y="771"/>
                        </a:lnTo>
                        <a:lnTo>
                          <a:pt x="1238" y="772"/>
                        </a:lnTo>
                        <a:lnTo>
                          <a:pt x="1238" y="772"/>
                        </a:lnTo>
                        <a:close/>
                        <a:moveTo>
                          <a:pt x="1233" y="772"/>
                        </a:moveTo>
                        <a:lnTo>
                          <a:pt x="1231" y="776"/>
                        </a:lnTo>
                        <a:lnTo>
                          <a:pt x="1235" y="777"/>
                        </a:lnTo>
                        <a:lnTo>
                          <a:pt x="1233" y="781"/>
                        </a:lnTo>
                        <a:lnTo>
                          <a:pt x="1235" y="781"/>
                        </a:lnTo>
                        <a:lnTo>
                          <a:pt x="1236" y="779"/>
                        </a:lnTo>
                        <a:lnTo>
                          <a:pt x="1236" y="774"/>
                        </a:lnTo>
                        <a:lnTo>
                          <a:pt x="1235" y="772"/>
                        </a:lnTo>
                        <a:lnTo>
                          <a:pt x="1233" y="772"/>
                        </a:lnTo>
                        <a:lnTo>
                          <a:pt x="1233" y="772"/>
                        </a:lnTo>
                        <a:close/>
                        <a:moveTo>
                          <a:pt x="1326" y="757"/>
                        </a:moveTo>
                        <a:lnTo>
                          <a:pt x="1324" y="756"/>
                        </a:lnTo>
                        <a:lnTo>
                          <a:pt x="1321" y="756"/>
                        </a:lnTo>
                        <a:lnTo>
                          <a:pt x="1319" y="754"/>
                        </a:lnTo>
                        <a:lnTo>
                          <a:pt x="1318" y="756"/>
                        </a:lnTo>
                        <a:lnTo>
                          <a:pt x="1314" y="754"/>
                        </a:lnTo>
                        <a:lnTo>
                          <a:pt x="1314" y="751"/>
                        </a:lnTo>
                        <a:lnTo>
                          <a:pt x="1313" y="749"/>
                        </a:lnTo>
                        <a:lnTo>
                          <a:pt x="1318" y="747"/>
                        </a:lnTo>
                        <a:lnTo>
                          <a:pt x="1318" y="747"/>
                        </a:lnTo>
                        <a:lnTo>
                          <a:pt x="1323" y="747"/>
                        </a:lnTo>
                        <a:lnTo>
                          <a:pt x="1324" y="751"/>
                        </a:lnTo>
                        <a:lnTo>
                          <a:pt x="1329" y="751"/>
                        </a:lnTo>
                        <a:lnTo>
                          <a:pt x="1331" y="754"/>
                        </a:lnTo>
                        <a:lnTo>
                          <a:pt x="1329" y="757"/>
                        </a:lnTo>
                        <a:lnTo>
                          <a:pt x="1329" y="757"/>
                        </a:lnTo>
                        <a:lnTo>
                          <a:pt x="1326" y="757"/>
                        </a:lnTo>
                        <a:lnTo>
                          <a:pt x="1326" y="757"/>
                        </a:lnTo>
                        <a:close/>
                        <a:moveTo>
                          <a:pt x="1379" y="777"/>
                        </a:moveTo>
                        <a:lnTo>
                          <a:pt x="1376" y="777"/>
                        </a:lnTo>
                        <a:lnTo>
                          <a:pt x="1374" y="772"/>
                        </a:lnTo>
                        <a:lnTo>
                          <a:pt x="1378" y="774"/>
                        </a:lnTo>
                        <a:lnTo>
                          <a:pt x="1379" y="774"/>
                        </a:lnTo>
                        <a:lnTo>
                          <a:pt x="1381" y="776"/>
                        </a:lnTo>
                        <a:lnTo>
                          <a:pt x="1379" y="777"/>
                        </a:lnTo>
                        <a:lnTo>
                          <a:pt x="1379" y="777"/>
                        </a:lnTo>
                        <a:close/>
                        <a:moveTo>
                          <a:pt x="1384" y="777"/>
                        </a:moveTo>
                        <a:lnTo>
                          <a:pt x="1389" y="779"/>
                        </a:lnTo>
                        <a:lnTo>
                          <a:pt x="1387" y="776"/>
                        </a:lnTo>
                        <a:lnTo>
                          <a:pt x="1384" y="777"/>
                        </a:lnTo>
                        <a:lnTo>
                          <a:pt x="1384" y="777"/>
                        </a:lnTo>
                        <a:close/>
                        <a:moveTo>
                          <a:pt x="1392" y="779"/>
                        </a:moveTo>
                        <a:lnTo>
                          <a:pt x="1396" y="781"/>
                        </a:lnTo>
                        <a:lnTo>
                          <a:pt x="1397" y="782"/>
                        </a:lnTo>
                        <a:lnTo>
                          <a:pt x="1401" y="781"/>
                        </a:lnTo>
                        <a:lnTo>
                          <a:pt x="1401" y="779"/>
                        </a:lnTo>
                        <a:lnTo>
                          <a:pt x="1396" y="777"/>
                        </a:lnTo>
                        <a:lnTo>
                          <a:pt x="1396" y="777"/>
                        </a:lnTo>
                        <a:lnTo>
                          <a:pt x="1392" y="777"/>
                        </a:lnTo>
                        <a:lnTo>
                          <a:pt x="1391" y="779"/>
                        </a:lnTo>
                        <a:lnTo>
                          <a:pt x="1392" y="779"/>
                        </a:lnTo>
                        <a:lnTo>
                          <a:pt x="1392" y="779"/>
                        </a:lnTo>
                        <a:close/>
                        <a:moveTo>
                          <a:pt x="1449" y="849"/>
                        </a:moveTo>
                        <a:lnTo>
                          <a:pt x="1449" y="845"/>
                        </a:lnTo>
                        <a:lnTo>
                          <a:pt x="1451" y="844"/>
                        </a:lnTo>
                        <a:lnTo>
                          <a:pt x="1449" y="840"/>
                        </a:lnTo>
                        <a:lnTo>
                          <a:pt x="1451" y="840"/>
                        </a:lnTo>
                        <a:lnTo>
                          <a:pt x="1454" y="842"/>
                        </a:lnTo>
                        <a:lnTo>
                          <a:pt x="1452" y="845"/>
                        </a:lnTo>
                        <a:lnTo>
                          <a:pt x="1452" y="847"/>
                        </a:lnTo>
                        <a:lnTo>
                          <a:pt x="1449" y="849"/>
                        </a:lnTo>
                        <a:lnTo>
                          <a:pt x="1449" y="849"/>
                        </a:lnTo>
                        <a:close/>
                        <a:moveTo>
                          <a:pt x="1444" y="862"/>
                        </a:moveTo>
                        <a:lnTo>
                          <a:pt x="1442" y="857"/>
                        </a:lnTo>
                        <a:lnTo>
                          <a:pt x="1444" y="854"/>
                        </a:lnTo>
                        <a:lnTo>
                          <a:pt x="1446" y="854"/>
                        </a:lnTo>
                        <a:lnTo>
                          <a:pt x="1449" y="854"/>
                        </a:lnTo>
                        <a:lnTo>
                          <a:pt x="1449" y="857"/>
                        </a:lnTo>
                        <a:lnTo>
                          <a:pt x="1446" y="857"/>
                        </a:lnTo>
                        <a:lnTo>
                          <a:pt x="1446" y="860"/>
                        </a:lnTo>
                        <a:lnTo>
                          <a:pt x="1444" y="862"/>
                        </a:lnTo>
                        <a:lnTo>
                          <a:pt x="1444" y="862"/>
                        </a:lnTo>
                        <a:close/>
                        <a:moveTo>
                          <a:pt x="1411" y="796"/>
                        </a:moveTo>
                        <a:lnTo>
                          <a:pt x="1409" y="794"/>
                        </a:lnTo>
                        <a:lnTo>
                          <a:pt x="1411" y="794"/>
                        </a:lnTo>
                        <a:lnTo>
                          <a:pt x="1411" y="796"/>
                        </a:lnTo>
                        <a:lnTo>
                          <a:pt x="1411" y="796"/>
                        </a:lnTo>
                        <a:close/>
                        <a:moveTo>
                          <a:pt x="1404" y="796"/>
                        </a:moveTo>
                        <a:lnTo>
                          <a:pt x="1401" y="792"/>
                        </a:lnTo>
                        <a:lnTo>
                          <a:pt x="1404" y="794"/>
                        </a:lnTo>
                        <a:lnTo>
                          <a:pt x="1404" y="796"/>
                        </a:lnTo>
                        <a:lnTo>
                          <a:pt x="1404" y="796"/>
                        </a:lnTo>
                        <a:lnTo>
                          <a:pt x="1404" y="796"/>
                        </a:lnTo>
                        <a:close/>
                        <a:moveTo>
                          <a:pt x="1406" y="799"/>
                        </a:moveTo>
                        <a:lnTo>
                          <a:pt x="1407" y="801"/>
                        </a:lnTo>
                        <a:lnTo>
                          <a:pt x="1409" y="801"/>
                        </a:lnTo>
                        <a:lnTo>
                          <a:pt x="1412" y="802"/>
                        </a:lnTo>
                        <a:lnTo>
                          <a:pt x="1412" y="799"/>
                        </a:lnTo>
                        <a:lnTo>
                          <a:pt x="1411" y="797"/>
                        </a:lnTo>
                        <a:lnTo>
                          <a:pt x="1406" y="797"/>
                        </a:lnTo>
                        <a:lnTo>
                          <a:pt x="1406" y="799"/>
                        </a:lnTo>
                        <a:lnTo>
                          <a:pt x="1406" y="799"/>
                        </a:lnTo>
                        <a:close/>
                        <a:moveTo>
                          <a:pt x="1436" y="787"/>
                        </a:moveTo>
                        <a:lnTo>
                          <a:pt x="1441" y="789"/>
                        </a:lnTo>
                        <a:lnTo>
                          <a:pt x="1441" y="791"/>
                        </a:lnTo>
                        <a:lnTo>
                          <a:pt x="1442" y="792"/>
                        </a:lnTo>
                        <a:lnTo>
                          <a:pt x="1441" y="794"/>
                        </a:lnTo>
                        <a:lnTo>
                          <a:pt x="1442" y="796"/>
                        </a:lnTo>
                        <a:lnTo>
                          <a:pt x="1446" y="796"/>
                        </a:lnTo>
                        <a:lnTo>
                          <a:pt x="1446" y="792"/>
                        </a:lnTo>
                        <a:lnTo>
                          <a:pt x="1449" y="792"/>
                        </a:lnTo>
                        <a:lnTo>
                          <a:pt x="1452" y="792"/>
                        </a:lnTo>
                        <a:lnTo>
                          <a:pt x="1454" y="792"/>
                        </a:lnTo>
                        <a:lnTo>
                          <a:pt x="1457" y="791"/>
                        </a:lnTo>
                        <a:lnTo>
                          <a:pt x="1454" y="787"/>
                        </a:lnTo>
                        <a:lnTo>
                          <a:pt x="1449" y="786"/>
                        </a:lnTo>
                        <a:lnTo>
                          <a:pt x="1446" y="784"/>
                        </a:lnTo>
                        <a:lnTo>
                          <a:pt x="1441" y="782"/>
                        </a:lnTo>
                        <a:lnTo>
                          <a:pt x="1441" y="786"/>
                        </a:lnTo>
                        <a:lnTo>
                          <a:pt x="1441" y="786"/>
                        </a:lnTo>
                        <a:lnTo>
                          <a:pt x="1436" y="787"/>
                        </a:lnTo>
                        <a:lnTo>
                          <a:pt x="1436" y="787"/>
                        </a:lnTo>
                        <a:close/>
                        <a:moveTo>
                          <a:pt x="1490" y="784"/>
                        </a:moveTo>
                        <a:lnTo>
                          <a:pt x="1492" y="781"/>
                        </a:lnTo>
                        <a:lnTo>
                          <a:pt x="1494" y="781"/>
                        </a:lnTo>
                        <a:lnTo>
                          <a:pt x="1492" y="784"/>
                        </a:lnTo>
                        <a:lnTo>
                          <a:pt x="1490" y="784"/>
                        </a:lnTo>
                        <a:lnTo>
                          <a:pt x="1490" y="784"/>
                        </a:lnTo>
                        <a:close/>
                        <a:moveTo>
                          <a:pt x="1472" y="804"/>
                        </a:moveTo>
                        <a:lnTo>
                          <a:pt x="1476" y="802"/>
                        </a:lnTo>
                        <a:lnTo>
                          <a:pt x="1477" y="797"/>
                        </a:lnTo>
                        <a:lnTo>
                          <a:pt x="1481" y="797"/>
                        </a:lnTo>
                        <a:lnTo>
                          <a:pt x="1482" y="796"/>
                        </a:lnTo>
                        <a:lnTo>
                          <a:pt x="1485" y="794"/>
                        </a:lnTo>
                        <a:lnTo>
                          <a:pt x="1487" y="797"/>
                        </a:lnTo>
                        <a:lnTo>
                          <a:pt x="1485" y="799"/>
                        </a:lnTo>
                        <a:lnTo>
                          <a:pt x="1482" y="801"/>
                        </a:lnTo>
                        <a:lnTo>
                          <a:pt x="1477" y="804"/>
                        </a:lnTo>
                        <a:lnTo>
                          <a:pt x="1474" y="804"/>
                        </a:lnTo>
                        <a:lnTo>
                          <a:pt x="1472" y="804"/>
                        </a:lnTo>
                        <a:lnTo>
                          <a:pt x="1472" y="804"/>
                        </a:lnTo>
                        <a:close/>
                        <a:moveTo>
                          <a:pt x="1454" y="831"/>
                        </a:moveTo>
                        <a:lnTo>
                          <a:pt x="1464" y="824"/>
                        </a:lnTo>
                        <a:lnTo>
                          <a:pt x="1466" y="821"/>
                        </a:lnTo>
                        <a:lnTo>
                          <a:pt x="1467" y="821"/>
                        </a:lnTo>
                        <a:lnTo>
                          <a:pt x="1472" y="817"/>
                        </a:lnTo>
                        <a:lnTo>
                          <a:pt x="1476" y="814"/>
                        </a:lnTo>
                        <a:lnTo>
                          <a:pt x="1476" y="811"/>
                        </a:lnTo>
                        <a:lnTo>
                          <a:pt x="1472" y="809"/>
                        </a:lnTo>
                        <a:lnTo>
                          <a:pt x="1469" y="811"/>
                        </a:lnTo>
                        <a:lnTo>
                          <a:pt x="1469" y="814"/>
                        </a:lnTo>
                        <a:lnTo>
                          <a:pt x="1466" y="814"/>
                        </a:lnTo>
                        <a:lnTo>
                          <a:pt x="1462" y="817"/>
                        </a:lnTo>
                        <a:lnTo>
                          <a:pt x="1459" y="819"/>
                        </a:lnTo>
                        <a:lnTo>
                          <a:pt x="1452" y="819"/>
                        </a:lnTo>
                        <a:lnTo>
                          <a:pt x="1449" y="821"/>
                        </a:lnTo>
                        <a:lnTo>
                          <a:pt x="1447" y="824"/>
                        </a:lnTo>
                        <a:lnTo>
                          <a:pt x="1444" y="827"/>
                        </a:lnTo>
                        <a:lnTo>
                          <a:pt x="1444" y="832"/>
                        </a:lnTo>
                        <a:lnTo>
                          <a:pt x="1446" y="831"/>
                        </a:lnTo>
                        <a:lnTo>
                          <a:pt x="1451" y="831"/>
                        </a:lnTo>
                        <a:lnTo>
                          <a:pt x="1454" y="831"/>
                        </a:lnTo>
                        <a:lnTo>
                          <a:pt x="1454" y="831"/>
                        </a:lnTo>
                        <a:close/>
                        <a:moveTo>
                          <a:pt x="1494" y="827"/>
                        </a:moveTo>
                        <a:lnTo>
                          <a:pt x="1492" y="821"/>
                        </a:lnTo>
                        <a:lnTo>
                          <a:pt x="1494" y="819"/>
                        </a:lnTo>
                        <a:lnTo>
                          <a:pt x="1495" y="814"/>
                        </a:lnTo>
                        <a:lnTo>
                          <a:pt x="1499" y="814"/>
                        </a:lnTo>
                        <a:lnTo>
                          <a:pt x="1504" y="816"/>
                        </a:lnTo>
                        <a:lnTo>
                          <a:pt x="1505" y="821"/>
                        </a:lnTo>
                        <a:lnTo>
                          <a:pt x="1502" y="824"/>
                        </a:lnTo>
                        <a:lnTo>
                          <a:pt x="1500" y="824"/>
                        </a:lnTo>
                        <a:lnTo>
                          <a:pt x="1497" y="827"/>
                        </a:lnTo>
                        <a:lnTo>
                          <a:pt x="1494" y="827"/>
                        </a:lnTo>
                        <a:lnTo>
                          <a:pt x="1494" y="827"/>
                        </a:lnTo>
                        <a:close/>
                        <a:moveTo>
                          <a:pt x="1525" y="862"/>
                        </a:moveTo>
                        <a:lnTo>
                          <a:pt x="1524" y="857"/>
                        </a:lnTo>
                        <a:lnTo>
                          <a:pt x="1525" y="850"/>
                        </a:lnTo>
                        <a:lnTo>
                          <a:pt x="1522" y="847"/>
                        </a:lnTo>
                        <a:lnTo>
                          <a:pt x="1520" y="847"/>
                        </a:lnTo>
                        <a:lnTo>
                          <a:pt x="1519" y="852"/>
                        </a:lnTo>
                        <a:lnTo>
                          <a:pt x="1517" y="855"/>
                        </a:lnTo>
                        <a:lnTo>
                          <a:pt x="1517" y="860"/>
                        </a:lnTo>
                        <a:lnTo>
                          <a:pt x="1519" y="862"/>
                        </a:lnTo>
                        <a:lnTo>
                          <a:pt x="1520" y="865"/>
                        </a:lnTo>
                        <a:lnTo>
                          <a:pt x="1522" y="864"/>
                        </a:lnTo>
                        <a:lnTo>
                          <a:pt x="1525" y="862"/>
                        </a:lnTo>
                        <a:lnTo>
                          <a:pt x="1525" y="862"/>
                        </a:lnTo>
                        <a:close/>
                        <a:moveTo>
                          <a:pt x="1529" y="859"/>
                        </a:moveTo>
                        <a:lnTo>
                          <a:pt x="1527" y="855"/>
                        </a:lnTo>
                        <a:lnTo>
                          <a:pt x="1529" y="850"/>
                        </a:lnTo>
                        <a:lnTo>
                          <a:pt x="1530" y="855"/>
                        </a:lnTo>
                        <a:lnTo>
                          <a:pt x="1532" y="857"/>
                        </a:lnTo>
                        <a:lnTo>
                          <a:pt x="1530" y="860"/>
                        </a:lnTo>
                        <a:lnTo>
                          <a:pt x="1529" y="859"/>
                        </a:lnTo>
                        <a:lnTo>
                          <a:pt x="1529" y="859"/>
                        </a:lnTo>
                        <a:close/>
                        <a:moveTo>
                          <a:pt x="1535" y="869"/>
                        </a:moveTo>
                        <a:lnTo>
                          <a:pt x="1534" y="865"/>
                        </a:lnTo>
                        <a:lnTo>
                          <a:pt x="1535" y="864"/>
                        </a:lnTo>
                        <a:lnTo>
                          <a:pt x="1537" y="864"/>
                        </a:lnTo>
                        <a:lnTo>
                          <a:pt x="1537" y="867"/>
                        </a:lnTo>
                        <a:lnTo>
                          <a:pt x="1535" y="869"/>
                        </a:lnTo>
                        <a:lnTo>
                          <a:pt x="1535" y="869"/>
                        </a:lnTo>
                        <a:close/>
                        <a:moveTo>
                          <a:pt x="1519" y="877"/>
                        </a:moveTo>
                        <a:lnTo>
                          <a:pt x="1519" y="879"/>
                        </a:lnTo>
                        <a:lnTo>
                          <a:pt x="1519" y="884"/>
                        </a:lnTo>
                        <a:lnTo>
                          <a:pt x="1520" y="889"/>
                        </a:lnTo>
                        <a:lnTo>
                          <a:pt x="1522" y="890"/>
                        </a:lnTo>
                        <a:lnTo>
                          <a:pt x="1525" y="889"/>
                        </a:lnTo>
                        <a:lnTo>
                          <a:pt x="1529" y="890"/>
                        </a:lnTo>
                        <a:lnTo>
                          <a:pt x="1532" y="890"/>
                        </a:lnTo>
                        <a:lnTo>
                          <a:pt x="1535" y="890"/>
                        </a:lnTo>
                        <a:lnTo>
                          <a:pt x="1540" y="892"/>
                        </a:lnTo>
                        <a:lnTo>
                          <a:pt x="1542" y="889"/>
                        </a:lnTo>
                        <a:lnTo>
                          <a:pt x="1540" y="885"/>
                        </a:lnTo>
                        <a:lnTo>
                          <a:pt x="1540" y="882"/>
                        </a:lnTo>
                        <a:lnTo>
                          <a:pt x="1535" y="882"/>
                        </a:lnTo>
                        <a:lnTo>
                          <a:pt x="1534" y="879"/>
                        </a:lnTo>
                        <a:lnTo>
                          <a:pt x="1530" y="877"/>
                        </a:lnTo>
                        <a:lnTo>
                          <a:pt x="1529" y="879"/>
                        </a:lnTo>
                        <a:lnTo>
                          <a:pt x="1529" y="877"/>
                        </a:lnTo>
                        <a:lnTo>
                          <a:pt x="1529" y="874"/>
                        </a:lnTo>
                        <a:lnTo>
                          <a:pt x="1527" y="875"/>
                        </a:lnTo>
                        <a:lnTo>
                          <a:pt x="1524" y="877"/>
                        </a:lnTo>
                        <a:lnTo>
                          <a:pt x="1522" y="877"/>
                        </a:lnTo>
                        <a:lnTo>
                          <a:pt x="1519" y="877"/>
                        </a:lnTo>
                        <a:lnTo>
                          <a:pt x="1519" y="877"/>
                        </a:lnTo>
                        <a:close/>
                        <a:moveTo>
                          <a:pt x="1392" y="1038"/>
                        </a:moveTo>
                        <a:lnTo>
                          <a:pt x="1397" y="1038"/>
                        </a:lnTo>
                        <a:lnTo>
                          <a:pt x="1399" y="1038"/>
                        </a:lnTo>
                        <a:lnTo>
                          <a:pt x="1397" y="1035"/>
                        </a:lnTo>
                        <a:lnTo>
                          <a:pt x="1394" y="1036"/>
                        </a:lnTo>
                        <a:lnTo>
                          <a:pt x="1392" y="1038"/>
                        </a:lnTo>
                        <a:lnTo>
                          <a:pt x="1392" y="1038"/>
                        </a:lnTo>
                        <a:close/>
                        <a:moveTo>
                          <a:pt x="1321" y="932"/>
                        </a:moveTo>
                        <a:lnTo>
                          <a:pt x="1324" y="933"/>
                        </a:lnTo>
                        <a:lnTo>
                          <a:pt x="1328" y="935"/>
                        </a:lnTo>
                        <a:lnTo>
                          <a:pt x="1328" y="933"/>
                        </a:lnTo>
                        <a:lnTo>
                          <a:pt x="1324" y="932"/>
                        </a:lnTo>
                        <a:lnTo>
                          <a:pt x="1323" y="930"/>
                        </a:lnTo>
                        <a:lnTo>
                          <a:pt x="1321" y="932"/>
                        </a:lnTo>
                        <a:lnTo>
                          <a:pt x="1321" y="932"/>
                        </a:lnTo>
                        <a:close/>
                        <a:moveTo>
                          <a:pt x="1306" y="957"/>
                        </a:moveTo>
                        <a:lnTo>
                          <a:pt x="1306" y="953"/>
                        </a:lnTo>
                        <a:lnTo>
                          <a:pt x="1303" y="950"/>
                        </a:lnTo>
                        <a:lnTo>
                          <a:pt x="1298" y="948"/>
                        </a:lnTo>
                        <a:lnTo>
                          <a:pt x="1299" y="945"/>
                        </a:lnTo>
                        <a:lnTo>
                          <a:pt x="1298" y="942"/>
                        </a:lnTo>
                        <a:lnTo>
                          <a:pt x="1294" y="940"/>
                        </a:lnTo>
                        <a:lnTo>
                          <a:pt x="1294" y="933"/>
                        </a:lnTo>
                        <a:lnTo>
                          <a:pt x="1296" y="932"/>
                        </a:lnTo>
                        <a:lnTo>
                          <a:pt x="1298" y="937"/>
                        </a:lnTo>
                        <a:lnTo>
                          <a:pt x="1303" y="938"/>
                        </a:lnTo>
                        <a:lnTo>
                          <a:pt x="1303" y="942"/>
                        </a:lnTo>
                        <a:lnTo>
                          <a:pt x="1306" y="943"/>
                        </a:lnTo>
                        <a:lnTo>
                          <a:pt x="1306" y="948"/>
                        </a:lnTo>
                        <a:lnTo>
                          <a:pt x="1311" y="952"/>
                        </a:lnTo>
                        <a:lnTo>
                          <a:pt x="1314" y="952"/>
                        </a:lnTo>
                        <a:lnTo>
                          <a:pt x="1313" y="957"/>
                        </a:lnTo>
                        <a:lnTo>
                          <a:pt x="1309" y="955"/>
                        </a:lnTo>
                        <a:lnTo>
                          <a:pt x="1306" y="957"/>
                        </a:lnTo>
                        <a:lnTo>
                          <a:pt x="1306" y="957"/>
                        </a:lnTo>
                        <a:close/>
                        <a:moveTo>
                          <a:pt x="1278" y="955"/>
                        </a:moveTo>
                        <a:lnTo>
                          <a:pt x="1278" y="950"/>
                        </a:lnTo>
                        <a:lnTo>
                          <a:pt x="1276" y="948"/>
                        </a:lnTo>
                        <a:lnTo>
                          <a:pt x="1278" y="945"/>
                        </a:lnTo>
                        <a:lnTo>
                          <a:pt x="1278" y="940"/>
                        </a:lnTo>
                        <a:lnTo>
                          <a:pt x="1280" y="935"/>
                        </a:lnTo>
                        <a:lnTo>
                          <a:pt x="1283" y="937"/>
                        </a:lnTo>
                        <a:lnTo>
                          <a:pt x="1283" y="940"/>
                        </a:lnTo>
                        <a:lnTo>
                          <a:pt x="1281" y="942"/>
                        </a:lnTo>
                        <a:lnTo>
                          <a:pt x="1281" y="943"/>
                        </a:lnTo>
                        <a:lnTo>
                          <a:pt x="1283" y="947"/>
                        </a:lnTo>
                        <a:lnTo>
                          <a:pt x="1280" y="953"/>
                        </a:lnTo>
                        <a:lnTo>
                          <a:pt x="1278" y="955"/>
                        </a:lnTo>
                        <a:lnTo>
                          <a:pt x="1278" y="955"/>
                        </a:lnTo>
                        <a:close/>
                        <a:moveTo>
                          <a:pt x="1275" y="850"/>
                        </a:moveTo>
                        <a:lnTo>
                          <a:pt x="1275" y="855"/>
                        </a:lnTo>
                        <a:lnTo>
                          <a:pt x="1276" y="855"/>
                        </a:lnTo>
                        <a:lnTo>
                          <a:pt x="1281" y="855"/>
                        </a:lnTo>
                        <a:lnTo>
                          <a:pt x="1285" y="854"/>
                        </a:lnTo>
                        <a:lnTo>
                          <a:pt x="1283" y="852"/>
                        </a:lnTo>
                        <a:lnTo>
                          <a:pt x="1280" y="850"/>
                        </a:lnTo>
                        <a:lnTo>
                          <a:pt x="1275" y="850"/>
                        </a:lnTo>
                        <a:lnTo>
                          <a:pt x="1275" y="850"/>
                        </a:lnTo>
                        <a:close/>
                        <a:moveTo>
                          <a:pt x="1276" y="849"/>
                        </a:moveTo>
                        <a:lnTo>
                          <a:pt x="1278" y="845"/>
                        </a:lnTo>
                        <a:lnTo>
                          <a:pt x="1278" y="840"/>
                        </a:lnTo>
                        <a:lnTo>
                          <a:pt x="1285" y="837"/>
                        </a:lnTo>
                        <a:lnTo>
                          <a:pt x="1288" y="834"/>
                        </a:lnTo>
                        <a:lnTo>
                          <a:pt x="1288" y="835"/>
                        </a:lnTo>
                        <a:lnTo>
                          <a:pt x="1288" y="840"/>
                        </a:lnTo>
                        <a:lnTo>
                          <a:pt x="1286" y="844"/>
                        </a:lnTo>
                        <a:lnTo>
                          <a:pt x="1286" y="849"/>
                        </a:lnTo>
                        <a:lnTo>
                          <a:pt x="1283" y="849"/>
                        </a:lnTo>
                        <a:lnTo>
                          <a:pt x="1276" y="849"/>
                        </a:lnTo>
                        <a:lnTo>
                          <a:pt x="1276" y="849"/>
                        </a:lnTo>
                        <a:close/>
                        <a:moveTo>
                          <a:pt x="1044" y="806"/>
                        </a:moveTo>
                        <a:lnTo>
                          <a:pt x="1047" y="804"/>
                        </a:lnTo>
                        <a:lnTo>
                          <a:pt x="1047" y="801"/>
                        </a:lnTo>
                        <a:lnTo>
                          <a:pt x="1042" y="801"/>
                        </a:lnTo>
                        <a:lnTo>
                          <a:pt x="1042" y="804"/>
                        </a:lnTo>
                        <a:lnTo>
                          <a:pt x="1044" y="806"/>
                        </a:lnTo>
                        <a:lnTo>
                          <a:pt x="1044" y="806"/>
                        </a:lnTo>
                        <a:close/>
                        <a:moveTo>
                          <a:pt x="846" y="756"/>
                        </a:moveTo>
                        <a:lnTo>
                          <a:pt x="848" y="754"/>
                        </a:lnTo>
                        <a:lnTo>
                          <a:pt x="851" y="754"/>
                        </a:lnTo>
                        <a:lnTo>
                          <a:pt x="848" y="756"/>
                        </a:lnTo>
                        <a:lnTo>
                          <a:pt x="848" y="756"/>
                        </a:lnTo>
                        <a:lnTo>
                          <a:pt x="846" y="756"/>
                        </a:lnTo>
                        <a:lnTo>
                          <a:pt x="846" y="756"/>
                        </a:lnTo>
                        <a:close/>
                        <a:moveTo>
                          <a:pt x="829" y="762"/>
                        </a:moveTo>
                        <a:lnTo>
                          <a:pt x="834" y="762"/>
                        </a:lnTo>
                        <a:lnTo>
                          <a:pt x="834" y="761"/>
                        </a:lnTo>
                        <a:lnTo>
                          <a:pt x="831" y="759"/>
                        </a:lnTo>
                        <a:lnTo>
                          <a:pt x="829" y="762"/>
                        </a:lnTo>
                        <a:lnTo>
                          <a:pt x="829" y="762"/>
                        </a:lnTo>
                        <a:close/>
                        <a:moveTo>
                          <a:pt x="836" y="777"/>
                        </a:moveTo>
                        <a:lnTo>
                          <a:pt x="836" y="776"/>
                        </a:lnTo>
                        <a:lnTo>
                          <a:pt x="838" y="774"/>
                        </a:lnTo>
                        <a:lnTo>
                          <a:pt x="838" y="777"/>
                        </a:lnTo>
                        <a:lnTo>
                          <a:pt x="836" y="777"/>
                        </a:lnTo>
                        <a:lnTo>
                          <a:pt x="836" y="777"/>
                        </a:lnTo>
                        <a:close/>
                        <a:moveTo>
                          <a:pt x="836" y="779"/>
                        </a:moveTo>
                        <a:lnTo>
                          <a:pt x="834" y="774"/>
                        </a:lnTo>
                        <a:lnTo>
                          <a:pt x="833" y="776"/>
                        </a:lnTo>
                        <a:lnTo>
                          <a:pt x="834" y="777"/>
                        </a:lnTo>
                        <a:lnTo>
                          <a:pt x="836" y="779"/>
                        </a:lnTo>
                        <a:lnTo>
                          <a:pt x="836" y="779"/>
                        </a:lnTo>
                        <a:close/>
                        <a:moveTo>
                          <a:pt x="844" y="789"/>
                        </a:moveTo>
                        <a:lnTo>
                          <a:pt x="846" y="796"/>
                        </a:lnTo>
                        <a:lnTo>
                          <a:pt x="848" y="796"/>
                        </a:lnTo>
                        <a:lnTo>
                          <a:pt x="851" y="792"/>
                        </a:lnTo>
                        <a:lnTo>
                          <a:pt x="851" y="791"/>
                        </a:lnTo>
                        <a:lnTo>
                          <a:pt x="853" y="787"/>
                        </a:lnTo>
                        <a:lnTo>
                          <a:pt x="849" y="787"/>
                        </a:lnTo>
                        <a:lnTo>
                          <a:pt x="848" y="791"/>
                        </a:lnTo>
                        <a:lnTo>
                          <a:pt x="846" y="789"/>
                        </a:lnTo>
                        <a:lnTo>
                          <a:pt x="844" y="789"/>
                        </a:lnTo>
                        <a:lnTo>
                          <a:pt x="844" y="789"/>
                        </a:lnTo>
                        <a:close/>
                        <a:moveTo>
                          <a:pt x="838" y="816"/>
                        </a:moveTo>
                        <a:lnTo>
                          <a:pt x="836" y="809"/>
                        </a:lnTo>
                        <a:lnTo>
                          <a:pt x="839" y="807"/>
                        </a:lnTo>
                        <a:lnTo>
                          <a:pt x="839" y="804"/>
                        </a:lnTo>
                        <a:lnTo>
                          <a:pt x="843" y="799"/>
                        </a:lnTo>
                        <a:lnTo>
                          <a:pt x="843" y="801"/>
                        </a:lnTo>
                        <a:lnTo>
                          <a:pt x="843" y="804"/>
                        </a:lnTo>
                        <a:lnTo>
                          <a:pt x="844" y="806"/>
                        </a:lnTo>
                        <a:lnTo>
                          <a:pt x="843" y="807"/>
                        </a:lnTo>
                        <a:lnTo>
                          <a:pt x="844" y="811"/>
                        </a:lnTo>
                        <a:lnTo>
                          <a:pt x="841" y="812"/>
                        </a:lnTo>
                        <a:lnTo>
                          <a:pt x="839" y="814"/>
                        </a:lnTo>
                        <a:lnTo>
                          <a:pt x="838" y="816"/>
                        </a:lnTo>
                        <a:lnTo>
                          <a:pt x="838" y="816"/>
                        </a:lnTo>
                        <a:close/>
                        <a:moveTo>
                          <a:pt x="1017" y="716"/>
                        </a:moveTo>
                        <a:lnTo>
                          <a:pt x="1017" y="714"/>
                        </a:lnTo>
                        <a:lnTo>
                          <a:pt x="1019" y="713"/>
                        </a:lnTo>
                        <a:lnTo>
                          <a:pt x="1020" y="714"/>
                        </a:lnTo>
                        <a:lnTo>
                          <a:pt x="1019" y="718"/>
                        </a:lnTo>
                        <a:lnTo>
                          <a:pt x="1017" y="716"/>
                        </a:lnTo>
                        <a:lnTo>
                          <a:pt x="1017" y="716"/>
                        </a:lnTo>
                        <a:close/>
                        <a:moveTo>
                          <a:pt x="1077" y="683"/>
                        </a:moveTo>
                        <a:lnTo>
                          <a:pt x="1077" y="678"/>
                        </a:lnTo>
                        <a:lnTo>
                          <a:pt x="1075" y="676"/>
                        </a:lnTo>
                        <a:lnTo>
                          <a:pt x="1077" y="671"/>
                        </a:lnTo>
                        <a:lnTo>
                          <a:pt x="1079" y="669"/>
                        </a:lnTo>
                        <a:lnTo>
                          <a:pt x="1080" y="671"/>
                        </a:lnTo>
                        <a:lnTo>
                          <a:pt x="1080" y="674"/>
                        </a:lnTo>
                        <a:lnTo>
                          <a:pt x="1082" y="676"/>
                        </a:lnTo>
                        <a:lnTo>
                          <a:pt x="1080" y="679"/>
                        </a:lnTo>
                        <a:lnTo>
                          <a:pt x="1080" y="683"/>
                        </a:lnTo>
                        <a:lnTo>
                          <a:pt x="1077" y="683"/>
                        </a:lnTo>
                        <a:lnTo>
                          <a:pt x="1077" y="683"/>
                        </a:lnTo>
                        <a:close/>
                        <a:moveTo>
                          <a:pt x="1010" y="749"/>
                        </a:moveTo>
                        <a:lnTo>
                          <a:pt x="1010" y="747"/>
                        </a:lnTo>
                        <a:lnTo>
                          <a:pt x="1010" y="744"/>
                        </a:lnTo>
                        <a:lnTo>
                          <a:pt x="1012" y="742"/>
                        </a:lnTo>
                        <a:lnTo>
                          <a:pt x="1012" y="741"/>
                        </a:lnTo>
                        <a:lnTo>
                          <a:pt x="1015" y="737"/>
                        </a:lnTo>
                        <a:lnTo>
                          <a:pt x="1015" y="734"/>
                        </a:lnTo>
                        <a:lnTo>
                          <a:pt x="1010" y="734"/>
                        </a:lnTo>
                        <a:lnTo>
                          <a:pt x="1010" y="731"/>
                        </a:lnTo>
                        <a:lnTo>
                          <a:pt x="1012" y="728"/>
                        </a:lnTo>
                        <a:lnTo>
                          <a:pt x="1015" y="728"/>
                        </a:lnTo>
                        <a:lnTo>
                          <a:pt x="1015" y="724"/>
                        </a:lnTo>
                        <a:lnTo>
                          <a:pt x="1010" y="721"/>
                        </a:lnTo>
                        <a:lnTo>
                          <a:pt x="1009" y="723"/>
                        </a:lnTo>
                        <a:lnTo>
                          <a:pt x="1007" y="724"/>
                        </a:lnTo>
                        <a:lnTo>
                          <a:pt x="1005" y="726"/>
                        </a:lnTo>
                        <a:lnTo>
                          <a:pt x="1004" y="724"/>
                        </a:lnTo>
                        <a:lnTo>
                          <a:pt x="997" y="724"/>
                        </a:lnTo>
                        <a:lnTo>
                          <a:pt x="992" y="729"/>
                        </a:lnTo>
                        <a:lnTo>
                          <a:pt x="987" y="733"/>
                        </a:lnTo>
                        <a:lnTo>
                          <a:pt x="987" y="731"/>
                        </a:lnTo>
                        <a:lnTo>
                          <a:pt x="992" y="728"/>
                        </a:lnTo>
                        <a:lnTo>
                          <a:pt x="995" y="724"/>
                        </a:lnTo>
                        <a:lnTo>
                          <a:pt x="995" y="719"/>
                        </a:lnTo>
                        <a:lnTo>
                          <a:pt x="992" y="723"/>
                        </a:lnTo>
                        <a:lnTo>
                          <a:pt x="990" y="721"/>
                        </a:lnTo>
                        <a:lnTo>
                          <a:pt x="990" y="718"/>
                        </a:lnTo>
                        <a:lnTo>
                          <a:pt x="994" y="716"/>
                        </a:lnTo>
                        <a:lnTo>
                          <a:pt x="992" y="711"/>
                        </a:lnTo>
                        <a:lnTo>
                          <a:pt x="994" y="708"/>
                        </a:lnTo>
                        <a:lnTo>
                          <a:pt x="997" y="708"/>
                        </a:lnTo>
                        <a:lnTo>
                          <a:pt x="997" y="709"/>
                        </a:lnTo>
                        <a:lnTo>
                          <a:pt x="999" y="716"/>
                        </a:lnTo>
                        <a:lnTo>
                          <a:pt x="1002" y="718"/>
                        </a:lnTo>
                        <a:lnTo>
                          <a:pt x="1004" y="718"/>
                        </a:lnTo>
                        <a:lnTo>
                          <a:pt x="1009" y="718"/>
                        </a:lnTo>
                        <a:lnTo>
                          <a:pt x="1012" y="713"/>
                        </a:lnTo>
                        <a:lnTo>
                          <a:pt x="1009" y="711"/>
                        </a:lnTo>
                        <a:lnTo>
                          <a:pt x="1009" y="709"/>
                        </a:lnTo>
                        <a:lnTo>
                          <a:pt x="1012" y="708"/>
                        </a:lnTo>
                        <a:lnTo>
                          <a:pt x="1014" y="709"/>
                        </a:lnTo>
                        <a:lnTo>
                          <a:pt x="1017" y="709"/>
                        </a:lnTo>
                        <a:lnTo>
                          <a:pt x="1020" y="706"/>
                        </a:lnTo>
                        <a:lnTo>
                          <a:pt x="1022" y="701"/>
                        </a:lnTo>
                        <a:lnTo>
                          <a:pt x="1022" y="706"/>
                        </a:lnTo>
                        <a:lnTo>
                          <a:pt x="1024" y="706"/>
                        </a:lnTo>
                        <a:lnTo>
                          <a:pt x="1029" y="703"/>
                        </a:lnTo>
                        <a:lnTo>
                          <a:pt x="1025" y="709"/>
                        </a:lnTo>
                        <a:lnTo>
                          <a:pt x="1025" y="714"/>
                        </a:lnTo>
                        <a:lnTo>
                          <a:pt x="1027" y="714"/>
                        </a:lnTo>
                        <a:lnTo>
                          <a:pt x="1029" y="714"/>
                        </a:lnTo>
                        <a:lnTo>
                          <a:pt x="1027" y="718"/>
                        </a:lnTo>
                        <a:lnTo>
                          <a:pt x="1030" y="718"/>
                        </a:lnTo>
                        <a:lnTo>
                          <a:pt x="1032" y="713"/>
                        </a:lnTo>
                        <a:lnTo>
                          <a:pt x="1035" y="713"/>
                        </a:lnTo>
                        <a:lnTo>
                          <a:pt x="1039" y="706"/>
                        </a:lnTo>
                        <a:lnTo>
                          <a:pt x="1042" y="704"/>
                        </a:lnTo>
                        <a:lnTo>
                          <a:pt x="1040" y="709"/>
                        </a:lnTo>
                        <a:lnTo>
                          <a:pt x="1037" y="713"/>
                        </a:lnTo>
                        <a:lnTo>
                          <a:pt x="1037" y="719"/>
                        </a:lnTo>
                        <a:lnTo>
                          <a:pt x="1040" y="719"/>
                        </a:lnTo>
                        <a:lnTo>
                          <a:pt x="1044" y="721"/>
                        </a:lnTo>
                        <a:lnTo>
                          <a:pt x="1045" y="719"/>
                        </a:lnTo>
                        <a:lnTo>
                          <a:pt x="1052" y="714"/>
                        </a:lnTo>
                        <a:lnTo>
                          <a:pt x="1054" y="708"/>
                        </a:lnTo>
                        <a:lnTo>
                          <a:pt x="1055" y="703"/>
                        </a:lnTo>
                        <a:lnTo>
                          <a:pt x="1054" y="699"/>
                        </a:lnTo>
                        <a:lnTo>
                          <a:pt x="1055" y="698"/>
                        </a:lnTo>
                        <a:lnTo>
                          <a:pt x="1055" y="694"/>
                        </a:lnTo>
                        <a:lnTo>
                          <a:pt x="1052" y="694"/>
                        </a:lnTo>
                        <a:lnTo>
                          <a:pt x="1050" y="694"/>
                        </a:lnTo>
                        <a:lnTo>
                          <a:pt x="1047" y="696"/>
                        </a:lnTo>
                        <a:lnTo>
                          <a:pt x="1047" y="691"/>
                        </a:lnTo>
                        <a:lnTo>
                          <a:pt x="1049" y="689"/>
                        </a:lnTo>
                        <a:lnTo>
                          <a:pt x="1047" y="688"/>
                        </a:lnTo>
                        <a:lnTo>
                          <a:pt x="1044" y="688"/>
                        </a:lnTo>
                        <a:lnTo>
                          <a:pt x="1042" y="686"/>
                        </a:lnTo>
                        <a:lnTo>
                          <a:pt x="1039" y="683"/>
                        </a:lnTo>
                        <a:lnTo>
                          <a:pt x="1039" y="679"/>
                        </a:lnTo>
                        <a:lnTo>
                          <a:pt x="1035" y="673"/>
                        </a:lnTo>
                        <a:lnTo>
                          <a:pt x="1034" y="668"/>
                        </a:lnTo>
                        <a:lnTo>
                          <a:pt x="1037" y="663"/>
                        </a:lnTo>
                        <a:lnTo>
                          <a:pt x="1034" y="656"/>
                        </a:lnTo>
                        <a:lnTo>
                          <a:pt x="1032" y="661"/>
                        </a:lnTo>
                        <a:lnTo>
                          <a:pt x="1032" y="666"/>
                        </a:lnTo>
                        <a:lnTo>
                          <a:pt x="1029" y="661"/>
                        </a:lnTo>
                        <a:lnTo>
                          <a:pt x="1024" y="659"/>
                        </a:lnTo>
                        <a:lnTo>
                          <a:pt x="1022" y="649"/>
                        </a:lnTo>
                        <a:lnTo>
                          <a:pt x="1019" y="648"/>
                        </a:lnTo>
                        <a:lnTo>
                          <a:pt x="1017" y="641"/>
                        </a:lnTo>
                        <a:lnTo>
                          <a:pt x="1014" y="638"/>
                        </a:lnTo>
                        <a:lnTo>
                          <a:pt x="1014" y="633"/>
                        </a:lnTo>
                        <a:lnTo>
                          <a:pt x="1012" y="630"/>
                        </a:lnTo>
                        <a:lnTo>
                          <a:pt x="1012" y="628"/>
                        </a:lnTo>
                        <a:lnTo>
                          <a:pt x="1017" y="626"/>
                        </a:lnTo>
                        <a:lnTo>
                          <a:pt x="1019" y="621"/>
                        </a:lnTo>
                        <a:lnTo>
                          <a:pt x="1022" y="621"/>
                        </a:lnTo>
                        <a:lnTo>
                          <a:pt x="1024" y="623"/>
                        </a:lnTo>
                        <a:lnTo>
                          <a:pt x="1025" y="621"/>
                        </a:lnTo>
                        <a:lnTo>
                          <a:pt x="1027" y="618"/>
                        </a:lnTo>
                        <a:lnTo>
                          <a:pt x="1030" y="610"/>
                        </a:lnTo>
                        <a:lnTo>
                          <a:pt x="1030" y="603"/>
                        </a:lnTo>
                        <a:lnTo>
                          <a:pt x="1032" y="601"/>
                        </a:lnTo>
                        <a:lnTo>
                          <a:pt x="1029" y="595"/>
                        </a:lnTo>
                        <a:lnTo>
                          <a:pt x="1030" y="590"/>
                        </a:lnTo>
                        <a:lnTo>
                          <a:pt x="1034" y="588"/>
                        </a:lnTo>
                        <a:lnTo>
                          <a:pt x="1034" y="581"/>
                        </a:lnTo>
                        <a:lnTo>
                          <a:pt x="1039" y="576"/>
                        </a:lnTo>
                        <a:lnTo>
                          <a:pt x="1039" y="573"/>
                        </a:lnTo>
                        <a:lnTo>
                          <a:pt x="1042" y="570"/>
                        </a:lnTo>
                        <a:lnTo>
                          <a:pt x="1042" y="561"/>
                        </a:lnTo>
                        <a:lnTo>
                          <a:pt x="1044" y="560"/>
                        </a:lnTo>
                        <a:lnTo>
                          <a:pt x="1044" y="556"/>
                        </a:lnTo>
                        <a:lnTo>
                          <a:pt x="1049" y="551"/>
                        </a:lnTo>
                        <a:lnTo>
                          <a:pt x="1049" y="546"/>
                        </a:lnTo>
                        <a:lnTo>
                          <a:pt x="1049" y="543"/>
                        </a:lnTo>
                        <a:lnTo>
                          <a:pt x="1052" y="541"/>
                        </a:lnTo>
                        <a:lnTo>
                          <a:pt x="1054" y="538"/>
                        </a:lnTo>
                        <a:lnTo>
                          <a:pt x="1050" y="533"/>
                        </a:lnTo>
                        <a:lnTo>
                          <a:pt x="1052" y="530"/>
                        </a:lnTo>
                        <a:lnTo>
                          <a:pt x="1052" y="527"/>
                        </a:lnTo>
                        <a:lnTo>
                          <a:pt x="1047" y="525"/>
                        </a:lnTo>
                        <a:lnTo>
                          <a:pt x="1045" y="518"/>
                        </a:lnTo>
                        <a:lnTo>
                          <a:pt x="1047" y="517"/>
                        </a:lnTo>
                        <a:lnTo>
                          <a:pt x="1044" y="510"/>
                        </a:lnTo>
                        <a:lnTo>
                          <a:pt x="1039" y="508"/>
                        </a:lnTo>
                        <a:lnTo>
                          <a:pt x="1037" y="507"/>
                        </a:lnTo>
                        <a:lnTo>
                          <a:pt x="1035" y="507"/>
                        </a:lnTo>
                        <a:lnTo>
                          <a:pt x="1034" y="513"/>
                        </a:lnTo>
                        <a:lnTo>
                          <a:pt x="1032" y="513"/>
                        </a:lnTo>
                        <a:lnTo>
                          <a:pt x="1027" y="505"/>
                        </a:lnTo>
                        <a:lnTo>
                          <a:pt x="1024" y="503"/>
                        </a:lnTo>
                        <a:lnTo>
                          <a:pt x="1020" y="500"/>
                        </a:lnTo>
                        <a:lnTo>
                          <a:pt x="1017" y="502"/>
                        </a:lnTo>
                        <a:lnTo>
                          <a:pt x="1019" y="508"/>
                        </a:lnTo>
                        <a:lnTo>
                          <a:pt x="1017" y="508"/>
                        </a:lnTo>
                        <a:lnTo>
                          <a:pt x="1014" y="508"/>
                        </a:lnTo>
                        <a:lnTo>
                          <a:pt x="1010" y="513"/>
                        </a:lnTo>
                        <a:lnTo>
                          <a:pt x="1010" y="515"/>
                        </a:lnTo>
                        <a:lnTo>
                          <a:pt x="1007" y="517"/>
                        </a:lnTo>
                        <a:lnTo>
                          <a:pt x="1004" y="528"/>
                        </a:lnTo>
                        <a:lnTo>
                          <a:pt x="1004" y="532"/>
                        </a:lnTo>
                        <a:lnTo>
                          <a:pt x="1000" y="537"/>
                        </a:lnTo>
                        <a:lnTo>
                          <a:pt x="1000" y="541"/>
                        </a:lnTo>
                        <a:lnTo>
                          <a:pt x="999" y="541"/>
                        </a:lnTo>
                        <a:lnTo>
                          <a:pt x="999" y="546"/>
                        </a:lnTo>
                        <a:lnTo>
                          <a:pt x="995" y="548"/>
                        </a:lnTo>
                        <a:lnTo>
                          <a:pt x="995" y="556"/>
                        </a:lnTo>
                        <a:lnTo>
                          <a:pt x="990" y="558"/>
                        </a:lnTo>
                        <a:lnTo>
                          <a:pt x="989" y="558"/>
                        </a:lnTo>
                        <a:lnTo>
                          <a:pt x="986" y="565"/>
                        </a:lnTo>
                        <a:lnTo>
                          <a:pt x="987" y="568"/>
                        </a:lnTo>
                        <a:lnTo>
                          <a:pt x="986" y="571"/>
                        </a:lnTo>
                        <a:lnTo>
                          <a:pt x="986" y="576"/>
                        </a:lnTo>
                        <a:lnTo>
                          <a:pt x="982" y="580"/>
                        </a:lnTo>
                        <a:lnTo>
                          <a:pt x="984" y="583"/>
                        </a:lnTo>
                        <a:lnTo>
                          <a:pt x="984" y="586"/>
                        </a:lnTo>
                        <a:lnTo>
                          <a:pt x="979" y="586"/>
                        </a:lnTo>
                        <a:lnTo>
                          <a:pt x="981" y="590"/>
                        </a:lnTo>
                        <a:lnTo>
                          <a:pt x="986" y="591"/>
                        </a:lnTo>
                        <a:lnTo>
                          <a:pt x="986" y="595"/>
                        </a:lnTo>
                        <a:lnTo>
                          <a:pt x="982" y="593"/>
                        </a:lnTo>
                        <a:lnTo>
                          <a:pt x="979" y="593"/>
                        </a:lnTo>
                        <a:lnTo>
                          <a:pt x="976" y="596"/>
                        </a:lnTo>
                        <a:lnTo>
                          <a:pt x="972" y="595"/>
                        </a:lnTo>
                        <a:lnTo>
                          <a:pt x="971" y="598"/>
                        </a:lnTo>
                        <a:lnTo>
                          <a:pt x="971" y="601"/>
                        </a:lnTo>
                        <a:lnTo>
                          <a:pt x="967" y="603"/>
                        </a:lnTo>
                        <a:lnTo>
                          <a:pt x="964" y="601"/>
                        </a:lnTo>
                        <a:lnTo>
                          <a:pt x="964" y="598"/>
                        </a:lnTo>
                        <a:lnTo>
                          <a:pt x="966" y="595"/>
                        </a:lnTo>
                        <a:lnTo>
                          <a:pt x="962" y="591"/>
                        </a:lnTo>
                        <a:lnTo>
                          <a:pt x="962" y="585"/>
                        </a:lnTo>
                        <a:lnTo>
                          <a:pt x="966" y="578"/>
                        </a:lnTo>
                        <a:lnTo>
                          <a:pt x="967" y="573"/>
                        </a:lnTo>
                        <a:lnTo>
                          <a:pt x="971" y="570"/>
                        </a:lnTo>
                        <a:lnTo>
                          <a:pt x="971" y="566"/>
                        </a:lnTo>
                        <a:lnTo>
                          <a:pt x="972" y="563"/>
                        </a:lnTo>
                        <a:lnTo>
                          <a:pt x="974" y="553"/>
                        </a:lnTo>
                        <a:lnTo>
                          <a:pt x="981" y="551"/>
                        </a:lnTo>
                        <a:lnTo>
                          <a:pt x="981" y="546"/>
                        </a:lnTo>
                        <a:lnTo>
                          <a:pt x="977" y="546"/>
                        </a:lnTo>
                        <a:lnTo>
                          <a:pt x="976" y="546"/>
                        </a:lnTo>
                        <a:lnTo>
                          <a:pt x="976" y="543"/>
                        </a:lnTo>
                        <a:lnTo>
                          <a:pt x="979" y="540"/>
                        </a:lnTo>
                        <a:lnTo>
                          <a:pt x="979" y="532"/>
                        </a:lnTo>
                        <a:lnTo>
                          <a:pt x="977" y="530"/>
                        </a:lnTo>
                        <a:lnTo>
                          <a:pt x="976" y="525"/>
                        </a:lnTo>
                        <a:lnTo>
                          <a:pt x="976" y="523"/>
                        </a:lnTo>
                        <a:lnTo>
                          <a:pt x="977" y="517"/>
                        </a:lnTo>
                        <a:lnTo>
                          <a:pt x="974" y="517"/>
                        </a:lnTo>
                        <a:lnTo>
                          <a:pt x="969" y="512"/>
                        </a:lnTo>
                        <a:lnTo>
                          <a:pt x="962" y="513"/>
                        </a:lnTo>
                        <a:lnTo>
                          <a:pt x="961" y="518"/>
                        </a:lnTo>
                        <a:lnTo>
                          <a:pt x="966" y="522"/>
                        </a:lnTo>
                        <a:lnTo>
                          <a:pt x="966" y="525"/>
                        </a:lnTo>
                        <a:lnTo>
                          <a:pt x="967" y="528"/>
                        </a:lnTo>
                        <a:lnTo>
                          <a:pt x="967" y="532"/>
                        </a:lnTo>
                        <a:lnTo>
                          <a:pt x="964" y="532"/>
                        </a:lnTo>
                        <a:lnTo>
                          <a:pt x="962" y="527"/>
                        </a:lnTo>
                        <a:lnTo>
                          <a:pt x="961" y="527"/>
                        </a:lnTo>
                        <a:lnTo>
                          <a:pt x="957" y="532"/>
                        </a:lnTo>
                        <a:lnTo>
                          <a:pt x="961" y="533"/>
                        </a:lnTo>
                        <a:lnTo>
                          <a:pt x="961" y="537"/>
                        </a:lnTo>
                        <a:lnTo>
                          <a:pt x="962" y="541"/>
                        </a:lnTo>
                        <a:lnTo>
                          <a:pt x="961" y="543"/>
                        </a:lnTo>
                        <a:lnTo>
                          <a:pt x="961" y="541"/>
                        </a:lnTo>
                        <a:lnTo>
                          <a:pt x="957" y="540"/>
                        </a:lnTo>
                        <a:lnTo>
                          <a:pt x="957" y="545"/>
                        </a:lnTo>
                        <a:lnTo>
                          <a:pt x="952" y="541"/>
                        </a:lnTo>
                        <a:lnTo>
                          <a:pt x="952" y="538"/>
                        </a:lnTo>
                        <a:lnTo>
                          <a:pt x="949" y="540"/>
                        </a:lnTo>
                        <a:lnTo>
                          <a:pt x="947" y="543"/>
                        </a:lnTo>
                        <a:lnTo>
                          <a:pt x="946" y="543"/>
                        </a:lnTo>
                        <a:lnTo>
                          <a:pt x="946" y="538"/>
                        </a:lnTo>
                        <a:lnTo>
                          <a:pt x="947" y="535"/>
                        </a:lnTo>
                        <a:lnTo>
                          <a:pt x="947" y="535"/>
                        </a:lnTo>
                        <a:lnTo>
                          <a:pt x="941" y="537"/>
                        </a:lnTo>
                        <a:lnTo>
                          <a:pt x="936" y="541"/>
                        </a:lnTo>
                        <a:lnTo>
                          <a:pt x="932" y="537"/>
                        </a:lnTo>
                        <a:lnTo>
                          <a:pt x="929" y="537"/>
                        </a:lnTo>
                        <a:lnTo>
                          <a:pt x="926" y="540"/>
                        </a:lnTo>
                        <a:lnTo>
                          <a:pt x="921" y="540"/>
                        </a:lnTo>
                        <a:lnTo>
                          <a:pt x="919" y="537"/>
                        </a:lnTo>
                        <a:lnTo>
                          <a:pt x="914" y="538"/>
                        </a:lnTo>
                        <a:lnTo>
                          <a:pt x="911" y="537"/>
                        </a:lnTo>
                        <a:lnTo>
                          <a:pt x="916" y="533"/>
                        </a:lnTo>
                        <a:lnTo>
                          <a:pt x="921" y="532"/>
                        </a:lnTo>
                        <a:lnTo>
                          <a:pt x="924" y="533"/>
                        </a:lnTo>
                        <a:lnTo>
                          <a:pt x="929" y="532"/>
                        </a:lnTo>
                        <a:lnTo>
                          <a:pt x="931" y="528"/>
                        </a:lnTo>
                        <a:lnTo>
                          <a:pt x="934" y="528"/>
                        </a:lnTo>
                        <a:lnTo>
                          <a:pt x="937" y="528"/>
                        </a:lnTo>
                        <a:lnTo>
                          <a:pt x="941" y="525"/>
                        </a:lnTo>
                        <a:lnTo>
                          <a:pt x="941" y="522"/>
                        </a:lnTo>
                        <a:lnTo>
                          <a:pt x="942" y="518"/>
                        </a:lnTo>
                        <a:lnTo>
                          <a:pt x="939" y="517"/>
                        </a:lnTo>
                        <a:lnTo>
                          <a:pt x="936" y="510"/>
                        </a:lnTo>
                        <a:lnTo>
                          <a:pt x="929" y="508"/>
                        </a:lnTo>
                        <a:lnTo>
                          <a:pt x="929" y="505"/>
                        </a:lnTo>
                        <a:lnTo>
                          <a:pt x="922" y="498"/>
                        </a:lnTo>
                        <a:lnTo>
                          <a:pt x="921" y="497"/>
                        </a:lnTo>
                        <a:lnTo>
                          <a:pt x="917" y="497"/>
                        </a:lnTo>
                        <a:lnTo>
                          <a:pt x="911" y="500"/>
                        </a:lnTo>
                        <a:lnTo>
                          <a:pt x="909" y="500"/>
                        </a:lnTo>
                        <a:lnTo>
                          <a:pt x="901" y="507"/>
                        </a:lnTo>
                        <a:lnTo>
                          <a:pt x="902" y="508"/>
                        </a:lnTo>
                        <a:lnTo>
                          <a:pt x="902" y="512"/>
                        </a:lnTo>
                        <a:lnTo>
                          <a:pt x="899" y="512"/>
                        </a:lnTo>
                        <a:lnTo>
                          <a:pt x="896" y="513"/>
                        </a:lnTo>
                        <a:lnTo>
                          <a:pt x="896" y="512"/>
                        </a:lnTo>
                        <a:lnTo>
                          <a:pt x="892" y="513"/>
                        </a:lnTo>
                        <a:lnTo>
                          <a:pt x="889" y="510"/>
                        </a:lnTo>
                        <a:lnTo>
                          <a:pt x="884" y="510"/>
                        </a:lnTo>
                        <a:lnTo>
                          <a:pt x="883" y="512"/>
                        </a:lnTo>
                        <a:lnTo>
                          <a:pt x="878" y="512"/>
                        </a:lnTo>
                        <a:lnTo>
                          <a:pt x="876" y="510"/>
                        </a:lnTo>
                        <a:lnTo>
                          <a:pt x="878" y="508"/>
                        </a:lnTo>
                        <a:lnTo>
                          <a:pt x="884" y="508"/>
                        </a:lnTo>
                        <a:lnTo>
                          <a:pt x="886" y="503"/>
                        </a:lnTo>
                        <a:lnTo>
                          <a:pt x="889" y="502"/>
                        </a:lnTo>
                        <a:lnTo>
                          <a:pt x="892" y="503"/>
                        </a:lnTo>
                        <a:lnTo>
                          <a:pt x="896" y="498"/>
                        </a:lnTo>
                        <a:lnTo>
                          <a:pt x="896" y="493"/>
                        </a:lnTo>
                        <a:lnTo>
                          <a:pt x="899" y="492"/>
                        </a:lnTo>
                        <a:lnTo>
                          <a:pt x="902" y="492"/>
                        </a:lnTo>
                        <a:lnTo>
                          <a:pt x="906" y="485"/>
                        </a:lnTo>
                        <a:lnTo>
                          <a:pt x="906" y="478"/>
                        </a:lnTo>
                        <a:lnTo>
                          <a:pt x="906" y="475"/>
                        </a:lnTo>
                        <a:lnTo>
                          <a:pt x="906" y="472"/>
                        </a:lnTo>
                        <a:lnTo>
                          <a:pt x="901" y="472"/>
                        </a:lnTo>
                        <a:lnTo>
                          <a:pt x="894" y="473"/>
                        </a:lnTo>
                        <a:lnTo>
                          <a:pt x="884" y="475"/>
                        </a:lnTo>
                        <a:lnTo>
                          <a:pt x="876" y="478"/>
                        </a:lnTo>
                        <a:lnTo>
                          <a:pt x="858" y="480"/>
                        </a:lnTo>
                        <a:lnTo>
                          <a:pt x="836" y="488"/>
                        </a:lnTo>
                        <a:lnTo>
                          <a:pt x="831" y="493"/>
                        </a:lnTo>
                        <a:lnTo>
                          <a:pt x="818" y="495"/>
                        </a:lnTo>
                        <a:lnTo>
                          <a:pt x="799" y="503"/>
                        </a:lnTo>
                        <a:lnTo>
                          <a:pt x="794" y="508"/>
                        </a:lnTo>
                        <a:lnTo>
                          <a:pt x="793" y="512"/>
                        </a:lnTo>
                        <a:lnTo>
                          <a:pt x="798" y="512"/>
                        </a:lnTo>
                        <a:lnTo>
                          <a:pt x="799" y="513"/>
                        </a:lnTo>
                        <a:lnTo>
                          <a:pt x="794" y="517"/>
                        </a:lnTo>
                        <a:lnTo>
                          <a:pt x="791" y="517"/>
                        </a:lnTo>
                        <a:lnTo>
                          <a:pt x="783" y="523"/>
                        </a:lnTo>
                        <a:lnTo>
                          <a:pt x="776" y="523"/>
                        </a:lnTo>
                        <a:lnTo>
                          <a:pt x="773" y="527"/>
                        </a:lnTo>
                        <a:lnTo>
                          <a:pt x="771" y="530"/>
                        </a:lnTo>
                        <a:lnTo>
                          <a:pt x="765" y="535"/>
                        </a:lnTo>
                        <a:lnTo>
                          <a:pt x="763" y="538"/>
                        </a:lnTo>
                        <a:lnTo>
                          <a:pt x="761" y="543"/>
                        </a:lnTo>
                        <a:lnTo>
                          <a:pt x="765" y="541"/>
                        </a:lnTo>
                        <a:lnTo>
                          <a:pt x="768" y="543"/>
                        </a:lnTo>
                        <a:lnTo>
                          <a:pt x="766" y="546"/>
                        </a:lnTo>
                        <a:lnTo>
                          <a:pt x="768" y="548"/>
                        </a:lnTo>
                        <a:lnTo>
                          <a:pt x="771" y="546"/>
                        </a:lnTo>
                        <a:lnTo>
                          <a:pt x="775" y="545"/>
                        </a:lnTo>
                        <a:lnTo>
                          <a:pt x="780" y="545"/>
                        </a:lnTo>
                        <a:lnTo>
                          <a:pt x="783" y="548"/>
                        </a:lnTo>
                        <a:lnTo>
                          <a:pt x="781" y="551"/>
                        </a:lnTo>
                        <a:lnTo>
                          <a:pt x="776" y="553"/>
                        </a:lnTo>
                        <a:lnTo>
                          <a:pt x="771" y="550"/>
                        </a:lnTo>
                        <a:lnTo>
                          <a:pt x="768" y="551"/>
                        </a:lnTo>
                        <a:lnTo>
                          <a:pt x="768" y="556"/>
                        </a:lnTo>
                        <a:lnTo>
                          <a:pt x="776" y="560"/>
                        </a:lnTo>
                        <a:lnTo>
                          <a:pt x="780" y="558"/>
                        </a:lnTo>
                        <a:lnTo>
                          <a:pt x="781" y="555"/>
                        </a:lnTo>
                        <a:lnTo>
                          <a:pt x="783" y="555"/>
                        </a:lnTo>
                        <a:lnTo>
                          <a:pt x="785" y="556"/>
                        </a:lnTo>
                        <a:lnTo>
                          <a:pt x="783" y="560"/>
                        </a:lnTo>
                        <a:lnTo>
                          <a:pt x="786" y="560"/>
                        </a:lnTo>
                        <a:lnTo>
                          <a:pt x="794" y="561"/>
                        </a:lnTo>
                        <a:lnTo>
                          <a:pt x="803" y="560"/>
                        </a:lnTo>
                        <a:lnTo>
                          <a:pt x="808" y="560"/>
                        </a:lnTo>
                        <a:lnTo>
                          <a:pt x="814" y="561"/>
                        </a:lnTo>
                        <a:lnTo>
                          <a:pt x="819" y="561"/>
                        </a:lnTo>
                        <a:lnTo>
                          <a:pt x="824" y="563"/>
                        </a:lnTo>
                        <a:lnTo>
                          <a:pt x="826" y="566"/>
                        </a:lnTo>
                        <a:lnTo>
                          <a:pt x="829" y="566"/>
                        </a:lnTo>
                        <a:lnTo>
                          <a:pt x="829" y="570"/>
                        </a:lnTo>
                        <a:lnTo>
                          <a:pt x="824" y="570"/>
                        </a:lnTo>
                        <a:lnTo>
                          <a:pt x="818" y="565"/>
                        </a:lnTo>
                        <a:lnTo>
                          <a:pt x="809" y="565"/>
                        </a:lnTo>
                        <a:lnTo>
                          <a:pt x="808" y="566"/>
                        </a:lnTo>
                        <a:lnTo>
                          <a:pt x="813" y="568"/>
                        </a:lnTo>
                        <a:lnTo>
                          <a:pt x="814" y="571"/>
                        </a:lnTo>
                        <a:lnTo>
                          <a:pt x="806" y="571"/>
                        </a:lnTo>
                        <a:lnTo>
                          <a:pt x="803" y="568"/>
                        </a:lnTo>
                        <a:lnTo>
                          <a:pt x="793" y="570"/>
                        </a:lnTo>
                        <a:lnTo>
                          <a:pt x="790" y="571"/>
                        </a:lnTo>
                        <a:lnTo>
                          <a:pt x="786" y="570"/>
                        </a:lnTo>
                        <a:lnTo>
                          <a:pt x="785" y="570"/>
                        </a:lnTo>
                        <a:lnTo>
                          <a:pt x="781" y="571"/>
                        </a:lnTo>
                        <a:lnTo>
                          <a:pt x="776" y="570"/>
                        </a:lnTo>
                        <a:lnTo>
                          <a:pt x="765" y="571"/>
                        </a:lnTo>
                        <a:lnTo>
                          <a:pt x="763" y="573"/>
                        </a:lnTo>
                        <a:lnTo>
                          <a:pt x="755" y="575"/>
                        </a:lnTo>
                        <a:lnTo>
                          <a:pt x="753" y="578"/>
                        </a:lnTo>
                        <a:lnTo>
                          <a:pt x="755" y="591"/>
                        </a:lnTo>
                        <a:lnTo>
                          <a:pt x="755" y="593"/>
                        </a:lnTo>
                        <a:lnTo>
                          <a:pt x="755" y="598"/>
                        </a:lnTo>
                        <a:lnTo>
                          <a:pt x="753" y="598"/>
                        </a:lnTo>
                        <a:lnTo>
                          <a:pt x="755" y="601"/>
                        </a:lnTo>
                        <a:lnTo>
                          <a:pt x="756" y="603"/>
                        </a:lnTo>
                        <a:lnTo>
                          <a:pt x="760" y="603"/>
                        </a:lnTo>
                        <a:lnTo>
                          <a:pt x="763" y="603"/>
                        </a:lnTo>
                        <a:lnTo>
                          <a:pt x="766" y="605"/>
                        </a:lnTo>
                        <a:lnTo>
                          <a:pt x="770" y="605"/>
                        </a:lnTo>
                        <a:lnTo>
                          <a:pt x="771" y="603"/>
                        </a:lnTo>
                        <a:lnTo>
                          <a:pt x="771" y="603"/>
                        </a:lnTo>
                        <a:lnTo>
                          <a:pt x="775" y="605"/>
                        </a:lnTo>
                        <a:lnTo>
                          <a:pt x="776" y="606"/>
                        </a:lnTo>
                        <a:lnTo>
                          <a:pt x="780" y="605"/>
                        </a:lnTo>
                        <a:lnTo>
                          <a:pt x="783" y="608"/>
                        </a:lnTo>
                        <a:lnTo>
                          <a:pt x="783" y="610"/>
                        </a:lnTo>
                        <a:lnTo>
                          <a:pt x="786" y="611"/>
                        </a:lnTo>
                        <a:lnTo>
                          <a:pt x="790" y="610"/>
                        </a:lnTo>
                        <a:lnTo>
                          <a:pt x="793" y="610"/>
                        </a:lnTo>
                        <a:lnTo>
                          <a:pt x="794" y="611"/>
                        </a:lnTo>
                        <a:lnTo>
                          <a:pt x="799" y="611"/>
                        </a:lnTo>
                        <a:lnTo>
                          <a:pt x="803" y="611"/>
                        </a:lnTo>
                        <a:lnTo>
                          <a:pt x="808" y="613"/>
                        </a:lnTo>
                        <a:lnTo>
                          <a:pt x="811" y="611"/>
                        </a:lnTo>
                        <a:lnTo>
                          <a:pt x="814" y="611"/>
                        </a:lnTo>
                        <a:lnTo>
                          <a:pt x="819" y="613"/>
                        </a:lnTo>
                        <a:lnTo>
                          <a:pt x="824" y="611"/>
                        </a:lnTo>
                        <a:lnTo>
                          <a:pt x="828" y="613"/>
                        </a:lnTo>
                        <a:lnTo>
                          <a:pt x="829" y="616"/>
                        </a:lnTo>
                        <a:lnTo>
                          <a:pt x="833" y="615"/>
                        </a:lnTo>
                        <a:lnTo>
                          <a:pt x="834" y="618"/>
                        </a:lnTo>
                        <a:lnTo>
                          <a:pt x="838" y="621"/>
                        </a:lnTo>
                        <a:lnTo>
                          <a:pt x="838" y="623"/>
                        </a:lnTo>
                        <a:lnTo>
                          <a:pt x="839" y="625"/>
                        </a:lnTo>
                        <a:lnTo>
                          <a:pt x="844" y="625"/>
                        </a:lnTo>
                        <a:lnTo>
                          <a:pt x="848" y="626"/>
                        </a:lnTo>
                        <a:lnTo>
                          <a:pt x="848" y="628"/>
                        </a:lnTo>
                        <a:lnTo>
                          <a:pt x="851" y="630"/>
                        </a:lnTo>
                        <a:lnTo>
                          <a:pt x="853" y="633"/>
                        </a:lnTo>
                        <a:lnTo>
                          <a:pt x="853" y="635"/>
                        </a:lnTo>
                        <a:lnTo>
                          <a:pt x="853" y="636"/>
                        </a:lnTo>
                        <a:lnTo>
                          <a:pt x="856" y="641"/>
                        </a:lnTo>
                        <a:lnTo>
                          <a:pt x="863" y="644"/>
                        </a:lnTo>
                        <a:lnTo>
                          <a:pt x="863" y="646"/>
                        </a:lnTo>
                        <a:lnTo>
                          <a:pt x="861" y="648"/>
                        </a:lnTo>
                        <a:lnTo>
                          <a:pt x="863" y="651"/>
                        </a:lnTo>
                        <a:lnTo>
                          <a:pt x="861" y="649"/>
                        </a:lnTo>
                        <a:lnTo>
                          <a:pt x="853" y="648"/>
                        </a:lnTo>
                        <a:lnTo>
                          <a:pt x="844" y="646"/>
                        </a:lnTo>
                        <a:lnTo>
                          <a:pt x="841" y="646"/>
                        </a:lnTo>
                        <a:lnTo>
                          <a:pt x="838" y="646"/>
                        </a:lnTo>
                        <a:lnTo>
                          <a:pt x="836" y="646"/>
                        </a:lnTo>
                        <a:lnTo>
                          <a:pt x="833" y="646"/>
                        </a:lnTo>
                        <a:lnTo>
                          <a:pt x="829" y="643"/>
                        </a:lnTo>
                        <a:lnTo>
                          <a:pt x="826" y="643"/>
                        </a:lnTo>
                        <a:lnTo>
                          <a:pt x="824" y="639"/>
                        </a:lnTo>
                        <a:lnTo>
                          <a:pt x="823" y="638"/>
                        </a:lnTo>
                        <a:lnTo>
                          <a:pt x="816" y="639"/>
                        </a:lnTo>
                        <a:lnTo>
                          <a:pt x="814" y="638"/>
                        </a:lnTo>
                        <a:lnTo>
                          <a:pt x="811" y="636"/>
                        </a:lnTo>
                        <a:lnTo>
                          <a:pt x="806" y="635"/>
                        </a:lnTo>
                        <a:lnTo>
                          <a:pt x="806" y="631"/>
                        </a:lnTo>
                        <a:lnTo>
                          <a:pt x="804" y="631"/>
                        </a:lnTo>
                        <a:lnTo>
                          <a:pt x="801" y="631"/>
                        </a:lnTo>
                        <a:lnTo>
                          <a:pt x="796" y="631"/>
                        </a:lnTo>
                        <a:lnTo>
                          <a:pt x="794" y="630"/>
                        </a:lnTo>
                        <a:lnTo>
                          <a:pt x="783" y="630"/>
                        </a:lnTo>
                        <a:lnTo>
                          <a:pt x="776" y="630"/>
                        </a:lnTo>
                        <a:lnTo>
                          <a:pt x="771" y="628"/>
                        </a:lnTo>
                        <a:lnTo>
                          <a:pt x="753" y="628"/>
                        </a:lnTo>
                        <a:lnTo>
                          <a:pt x="750" y="630"/>
                        </a:lnTo>
                        <a:lnTo>
                          <a:pt x="745" y="631"/>
                        </a:lnTo>
                        <a:lnTo>
                          <a:pt x="741" y="635"/>
                        </a:lnTo>
                        <a:lnTo>
                          <a:pt x="741" y="641"/>
                        </a:lnTo>
                        <a:lnTo>
                          <a:pt x="736" y="646"/>
                        </a:lnTo>
                        <a:lnTo>
                          <a:pt x="738" y="653"/>
                        </a:lnTo>
                        <a:lnTo>
                          <a:pt x="736" y="656"/>
                        </a:lnTo>
                        <a:lnTo>
                          <a:pt x="738" y="658"/>
                        </a:lnTo>
                        <a:lnTo>
                          <a:pt x="741" y="659"/>
                        </a:lnTo>
                        <a:lnTo>
                          <a:pt x="740" y="661"/>
                        </a:lnTo>
                        <a:lnTo>
                          <a:pt x="738" y="663"/>
                        </a:lnTo>
                        <a:lnTo>
                          <a:pt x="741" y="671"/>
                        </a:lnTo>
                        <a:lnTo>
                          <a:pt x="745" y="674"/>
                        </a:lnTo>
                        <a:lnTo>
                          <a:pt x="746" y="676"/>
                        </a:lnTo>
                        <a:lnTo>
                          <a:pt x="753" y="681"/>
                        </a:lnTo>
                        <a:lnTo>
                          <a:pt x="756" y="683"/>
                        </a:lnTo>
                        <a:lnTo>
                          <a:pt x="760" y="681"/>
                        </a:lnTo>
                        <a:lnTo>
                          <a:pt x="761" y="684"/>
                        </a:lnTo>
                        <a:lnTo>
                          <a:pt x="765" y="684"/>
                        </a:lnTo>
                        <a:lnTo>
                          <a:pt x="770" y="683"/>
                        </a:lnTo>
                        <a:lnTo>
                          <a:pt x="773" y="683"/>
                        </a:lnTo>
                        <a:lnTo>
                          <a:pt x="776" y="686"/>
                        </a:lnTo>
                        <a:lnTo>
                          <a:pt x="781" y="686"/>
                        </a:lnTo>
                        <a:lnTo>
                          <a:pt x="785" y="691"/>
                        </a:lnTo>
                        <a:lnTo>
                          <a:pt x="788" y="691"/>
                        </a:lnTo>
                        <a:lnTo>
                          <a:pt x="790" y="694"/>
                        </a:lnTo>
                        <a:lnTo>
                          <a:pt x="783" y="696"/>
                        </a:lnTo>
                        <a:lnTo>
                          <a:pt x="785" y="698"/>
                        </a:lnTo>
                        <a:lnTo>
                          <a:pt x="781" y="701"/>
                        </a:lnTo>
                        <a:lnTo>
                          <a:pt x="783" y="703"/>
                        </a:lnTo>
                        <a:lnTo>
                          <a:pt x="780" y="706"/>
                        </a:lnTo>
                        <a:lnTo>
                          <a:pt x="775" y="708"/>
                        </a:lnTo>
                        <a:lnTo>
                          <a:pt x="775" y="711"/>
                        </a:lnTo>
                        <a:lnTo>
                          <a:pt x="773" y="713"/>
                        </a:lnTo>
                        <a:lnTo>
                          <a:pt x="776" y="716"/>
                        </a:lnTo>
                        <a:lnTo>
                          <a:pt x="776" y="721"/>
                        </a:lnTo>
                        <a:lnTo>
                          <a:pt x="780" y="726"/>
                        </a:lnTo>
                        <a:lnTo>
                          <a:pt x="778" y="728"/>
                        </a:lnTo>
                        <a:lnTo>
                          <a:pt x="773" y="729"/>
                        </a:lnTo>
                        <a:lnTo>
                          <a:pt x="775" y="731"/>
                        </a:lnTo>
                        <a:lnTo>
                          <a:pt x="783" y="733"/>
                        </a:lnTo>
                        <a:lnTo>
                          <a:pt x="786" y="733"/>
                        </a:lnTo>
                        <a:lnTo>
                          <a:pt x="788" y="733"/>
                        </a:lnTo>
                        <a:lnTo>
                          <a:pt x="790" y="734"/>
                        </a:lnTo>
                        <a:lnTo>
                          <a:pt x="791" y="731"/>
                        </a:lnTo>
                        <a:lnTo>
                          <a:pt x="794" y="731"/>
                        </a:lnTo>
                        <a:lnTo>
                          <a:pt x="796" y="733"/>
                        </a:lnTo>
                        <a:lnTo>
                          <a:pt x="803" y="733"/>
                        </a:lnTo>
                        <a:lnTo>
                          <a:pt x="809" y="736"/>
                        </a:lnTo>
                        <a:lnTo>
                          <a:pt x="813" y="733"/>
                        </a:lnTo>
                        <a:lnTo>
                          <a:pt x="819" y="733"/>
                        </a:lnTo>
                        <a:lnTo>
                          <a:pt x="821" y="734"/>
                        </a:lnTo>
                        <a:lnTo>
                          <a:pt x="821" y="734"/>
                        </a:lnTo>
                        <a:lnTo>
                          <a:pt x="823" y="734"/>
                        </a:lnTo>
                        <a:lnTo>
                          <a:pt x="826" y="733"/>
                        </a:lnTo>
                        <a:lnTo>
                          <a:pt x="829" y="734"/>
                        </a:lnTo>
                        <a:lnTo>
                          <a:pt x="829" y="736"/>
                        </a:lnTo>
                        <a:lnTo>
                          <a:pt x="833" y="736"/>
                        </a:lnTo>
                        <a:lnTo>
                          <a:pt x="834" y="734"/>
                        </a:lnTo>
                        <a:lnTo>
                          <a:pt x="836" y="736"/>
                        </a:lnTo>
                        <a:lnTo>
                          <a:pt x="838" y="739"/>
                        </a:lnTo>
                        <a:lnTo>
                          <a:pt x="839" y="739"/>
                        </a:lnTo>
                        <a:lnTo>
                          <a:pt x="841" y="737"/>
                        </a:lnTo>
                        <a:lnTo>
                          <a:pt x="848" y="737"/>
                        </a:lnTo>
                        <a:lnTo>
                          <a:pt x="851" y="734"/>
                        </a:lnTo>
                        <a:lnTo>
                          <a:pt x="854" y="733"/>
                        </a:lnTo>
                        <a:lnTo>
                          <a:pt x="858" y="733"/>
                        </a:lnTo>
                        <a:lnTo>
                          <a:pt x="863" y="729"/>
                        </a:lnTo>
                        <a:lnTo>
                          <a:pt x="869" y="726"/>
                        </a:lnTo>
                        <a:lnTo>
                          <a:pt x="873" y="726"/>
                        </a:lnTo>
                        <a:lnTo>
                          <a:pt x="874" y="724"/>
                        </a:lnTo>
                        <a:lnTo>
                          <a:pt x="878" y="724"/>
                        </a:lnTo>
                        <a:lnTo>
                          <a:pt x="883" y="724"/>
                        </a:lnTo>
                        <a:lnTo>
                          <a:pt x="886" y="724"/>
                        </a:lnTo>
                        <a:lnTo>
                          <a:pt x="888" y="726"/>
                        </a:lnTo>
                        <a:lnTo>
                          <a:pt x="897" y="726"/>
                        </a:lnTo>
                        <a:lnTo>
                          <a:pt x="907" y="719"/>
                        </a:lnTo>
                        <a:lnTo>
                          <a:pt x="909" y="718"/>
                        </a:lnTo>
                        <a:lnTo>
                          <a:pt x="911" y="718"/>
                        </a:lnTo>
                        <a:lnTo>
                          <a:pt x="912" y="718"/>
                        </a:lnTo>
                        <a:lnTo>
                          <a:pt x="914" y="716"/>
                        </a:lnTo>
                        <a:lnTo>
                          <a:pt x="917" y="714"/>
                        </a:lnTo>
                        <a:lnTo>
                          <a:pt x="917" y="711"/>
                        </a:lnTo>
                        <a:lnTo>
                          <a:pt x="919" y="709"/>
                        </a:lnTo>
                        <a:lnTo>
                          <a:pt x="921" y="711"/>
                        </a:lnTo>
                        <a:lnTo>
                          <a:pt x="922" y="709"/>
                        </a:lnTo>
                        <a:lnTo>
                          <a:pt x="924" y="708"/>
                        </a:lnTo>
                        <a:lnTo>
                          <a:pt x="924" y="706"/>
                        </a:lnTo>
                        <a:lnTo>
                          <a:pt x="926" y="706"/>
                        </a:lnTo>
                        <a:lnTo>
                          <a:pt x="929" y="706"/>
                        </a:lnTo>
                        <a:lnTo>
                          <a:pt x="931" y="708"/>
                        </a:lnTo>
                        <a:lnTo>
                          <a:pt x="931" y="711"/>
                        </a:lnTo>
                        <a:lnTo>
                          <a:pt x="932" y="713"/>
                        </a:lnTo>
                        <a:lnTo>
                          <a:pt x="929" y="714"/>
                        </a:lnTo>
                        <a:lnTo>
                          <a:pt x="929" y="718"/>
                        </a:lnTo>
                        <a:lnTo>
                          <a:pt x="926" y="721"/>
                        </a:lnTo>
                        <a:lnTo>
                          <a:pt x="924" y="721"/>
                        </a:lnTo>
                        <a:lnTo>
                          <a:pt x="924" y="723"/>
                        </a:lnTo>
                        <a:lnTo>
                          <a:pt x="927" y="724"/>
                        </a:lnTo>
                        <a:lnTo>
                          <a:pt x="931" y="726"/>
                        </a:lnTo>
                        <a:lnTo>
                          <a:pt x="932" y="726"/>
                        </a:lnTo>
                        <a:lnTo>
                          <a:pt x="936" y="724"/>
                        </a:lnTo>
                        <a:lnTo>
                          <a:pt x="939" y="726"/>
                        </a:lnTo>
                        <a:lnTo>
                          <a:pt x="941" y="731"/>
                        </a:lnTo>
                        <a:lnTo>
                          <a:pt x="942" y="733"/>
                        </a:lnTo>
                        <a:lnTo>
                          <a:pt x="944" y="731"/>
                        </a:lnTo>
                        <a:lnTo>
                          <a:pt x="944" y="729"/>
                        </a:lnTo>
                        <a:lnTo>
                          <a:pt x="947" y="731"/>
                        </a:lnTo>
                        <a:lnTo>
                          <a:pt x="947" y="733"/>
                        </a:lnTo>
                        <a:lnTo>
                          <a:pt x="944" y="736"/>
                        </a:lnTo>
                        <a:lnTo>
                          <a:pt x="941" y="736"/>
                        </a:lnTo>
                        <a:lnTo>
                          <a:pt x="939" y="739"/>
                        </a:lnTo>
                        <a:lnTo>
                          <a:pt x="939" y="741"/>
                        </a:lnTo>
                        <a:lnTo>
                          <a:pt x="942" y="741"/>
                        </a:lnTo>
                        <a:lnTo>
                          <a:pt x="944" y="741"/>
                        </a:lnTo>
                        <a:lnTo>
                          <a:pt x="949" y="744"/>
                        </a:lnTo>
                        <a:lnTo>
                          <a:pt x="951" y="744"/>
                        </a:lnTo>
                        <a:lnTo>
                          <a:pt x="956" y="739"/>
                        </a:lnTo>
                        <a:lnTo>
                          <a:pt x="956" y="739"/>
                        </a:lnTo>
                        <a:lnTo>
                          <a:pt x="956" y="742"/>
                        </a:lnTo>
                        <a:lnTo>
                          <a:pt x="959" y="747"/>
                        </a:lnTo>
                        <a:lnTo>
                          <a:pt x="962" y="747"/>
                        </a:lnTo>
                        <a:lnTo>
                          <a:pt x="964" y="746"/>
                        </a:lnTo>
                        <a:lnTo>
                          <a:pt x="967" y="747"/>
                        </a:lnTo>
                        <a:lnTo>
                          <a:pt x="971" y="749"/>
                        </a:lnTo>
                        <a:lnTo>
                          <a:pt x="974" y="749"/>
                        </a:lnTo>
                        <a:lnTo>
                          <a:pt x="976" y="752"/>
                        </a:lnTo>
                        <a:lnTo>
                          <a:pt x="977" y="752"/>
                        </a:lnTo>
                        <a:lnTo>
                          <a:pt x="977" y="749"/>
                        </a:lnTo>
                        <a:lnTo>
                          <a:pt x="979" y="749"/>
                        </a:lnTo>
                        <a:lnTo>
                          <a:pt x="982" y="747"/>
                        </a:lnTo>
                        <a:lnTo>
                          <a:pt x="984" y="749"/>
                        </a:lnTo>
                        <a:lnTo>
                          <a:pt x="984" y="752"/>
                        </a:lnTo>
                        <a:lnTo>
                          <a:pt x="986" y="752"/>
                        </a:lnTo>
                        <a:lnTo>
                          <a:pt x="989" y="752"/>
                        </a:lnTo>
                        <a:lnTo>
                          <a:pt x="992" y="749"/>
                        </a:lnTo>
                        <a:lnTo>
                          <a:pt x="994" y="749"/>
                        </a:lnTo>
                        <a:lnTo>
                          <a:pt x="995" y="752"/>
                        </a:lnTo>
                        <a:lnTo>
                          <a:pt x="997" y="752"/>
                        </a:lnTo>
                        <a:lnTo>
                          <a:pt x="999" y="751"/>
                        </a:lnTo>
                        <a:lnTo>
                          <a:pt x="999" y="749"/>
                        </a:lnTo>
                        <a:lnTo>
                          <a:pt x="1002" y="747"/>
                        </a:lnTo>
                        <a:lnTo>
                          <a:pt x="1005" y="747"/>
                        </a:lnTo>
                        <a:lnTo>
                          <a:pt x="1007" y="749"/>
                        </a:lnTo>
                        <a:lnTo>
                          <a:pt x="1009" y="749"/>
                        </a:lnTo>
                        <a:lnTo>
                          <a:pt x="1010" y="749"/>
                        </a:lnTo>
                        <a:lnTo>
                          <a:pt x="1010" y="749"/>
                        </a:lnTo>
                        <a:close/>
                        <a:moveTo>
                          <a:pt x="1462" y="904"/>
                        </a:moveTo>
                        <a:lnTo>
                          <a:pt x="1464" y="899"/>
                        </a:lnTo>
                        <a:lnTo>
                          <a:pt x="1462" y="897"/>
                        </a:lnTo>
                        <a:lnTo>
                          <a:pt x="1464" y="892"/>
                        </a:lnTo>
                        <a:lnTo>
                          <a:pt x="1464" y="887"/>
                        </a:lnTo>
                        <a:lnTo>
                          <a:pt x="1471" y="882"/>
                        </a:lnTo>
                        <a:lnTo>
                          <a:pt x="1472" y="877"/>
                        </a:lnTo>
                        <a:lnTo>
                          <a:pt x="1476" y="874"/>
                        </a:lnTo>
                        <a:lnTo>
                          <a:pt x="1484" y="865"/>
                        </a:lnTo>
                        <a:lnTo>
                          <a:pt x="1487" y="862"/>
                        </a:lnTo>
                        <a:lnTo>
                          <a:pt x="1490" y="862"/>
                        </a:lnTo>
                        <a:lnTo>
                          <a:pt x="1492" y="860"/>
                        </a:lnTo>
                        <a:lnTo>
                          <a:pt x="1495" y="862"/>
                        </a:lnTo>
                        <a:lnTo>
                          <a:pt x="1499" y="859"/>
                        </a:lnTo>
                        <a:lnTo>
                          <a:pt x="1504" y="860"/>
                        </a:lnTo>
                        <a:lnTo>
                          <a:pt x="1507" y="864"/>
                        </a:lnTo>
                        <a:lnTo>
                          <a:pt x="1509" y="864"/>
                        </a:lnTo>
                        <a:lnTo>
                          <a:pt x="1512" y="867"/>
                        </a:lnTo>
                        <a:lnTo>
                          <a:pt x="1514" y="872"/>
                        </a:lnTo>
                        <a:lnTo>
                          <a:pt x="1514" y="875"/>
                        </a:lnTo>
                        <a:lnTo>
                          <a:pt x="1510" y="877"/>
                        </a:lnTo>
                        <a:lnTo>
                          <a:pt x="1509" y="882"/>
                        </a:lnTo>
                        <a:lnTo>
                          <a:pt x="1507" y="887"/>
                        </a:lnTo>
                        <a:lnTo>
                          <a:pt x="1502" y="895"/>
                        </a:lnTo>
                        <a:lnTo>
                          <a:pt x="1499" y="899"/>
                        </a:lnTo>
                        <a:lnTo>
                          <a:pt x="1495" y="900"/>
                        </a:lnTo>
                        <a:lnTo>
                          <a:pt x="1489" y="902"/>
                        </a:lnTo>
                        <a:lnTo>
                          <a:pt x="1489" y="904"/>
                        </a:lnTo>
                        <a:lnTo>
                          <a:pt x="1485" y="904"/>
                        </a:lnTo>
                        <a:lnTo>
                          <a:pt x="1479" y="907"/>
                        </a:lnTo>
                        <a:lnTo>
                          <a:pt x="1477" y="905"/>
                        </a:lnTo>
                        <a:lnTo>
                          <a:pt x="1471" y="905"/>
                        </a:lnTo>
                        <a:lnTo>
                          <a:pt x="1466" y="905"/>
                        </a:lnTo>
                        <a:lnTo>
                          <a:pt x="1464" y="905"/>
                        </a:lnTo>
                        <a:lnTo>
                          <a:pt x="1462" y="904"/>
                        </a:lnTo>
                        <a:lnTo>
                          <a:pt x="1462" y="904"/>
                        </a:lnTo>
                        <a:close/>
                        <a:moveTo>
                          <a:pt x="1034" y="736"/>
                        </a:moveTo>
                        <a:lnTo>
                          <a:pt x="1032" y="733"/>
                        </a:lnTo>
                        <a:lnTo>
                          <a:pt x="1034" y="731"/>
                        </a:lnTo>
                        <a:lnTo>
                          <a:pt x="1037" y="729"/>
                        </a:lnTo>
                        <a:lnTo>
                          <a:pt x="1034" y="726"/>
                        </a:lnTo>
                        <a:lnTo>
                          <a:pt x="1035" y="724"/>
                        </a:lnTo>
                        <a:lnTo>
                          <a:pt x="1037" y="724"/>
                        </a:lnTo>
                        <a:lnTo>
                          <a:pt x="1037" y="726"/>
                        </a:lnTo>
                        <a:lnTo>
                          <a:pt x="1040" y="729"/>
                        </a:lnTo>
                        <a:lnTo>
                          <a:pt x="1040" y="731"/>
                        </a:lnTo>
                        <a:lnTo>
                          <a:pt x="1039" y="734"/>
                        </a:lnTo>
                        <a:lnTo>
                          <a:pt x="1037" y="733"/>
                        </a:lnTo>
                        <a:lnTo>
                          <a:pt x="1035" y="736"/>
                        </a:lnTo>
                        <a:lnTo>
                          <a:pt x="1034" y="736"/>
                        </a:lnTo>
                        <a:lnTo>
                          <a:pt x="1034" y="736"/>
                        </a:lnTo>
                        <a:close/>
                        <a:moveTo>
                          <a:pt x="992" y="769"/>
                        </a:moveTo>
                        <a:lnTo>
                          <a:pt x="995" y="767"/>
                        </a:lnTo>
                        <a:lnTo>
                          <a:pt x="997" y="764"/>
                        </a:lnTo>
                        <a:lnTo>
                          <a:pt x="997" y="762"/>
                        </a:lnTo>
                        <a:lnTo>
                          <a:pt x="997" y="759"/>
                        </a:lnTo>
                        <a:lnTo>
                          <a:pt x="995" y="759"/>
                        </a:lnTo>
                        <a:lnTo>
                          <a:pt x="992" y="761"/>
                        </a:lnTo>
                        <a:lnTo>
                          <a:pt x="992" y="762"/>
                        </a:lnTo>
                        <a:lnTo>
                          <a:pt x="987" y="762"/>
                        </a:lnTo>
                        <a:lnTo>
                          <a:pt x="986" y="764"/>
                        </a:lnTo>
                        <a:lnTo>
                          <a:pt x="989" y="767"/>
                        </a:lnTo>
                        <a:lnTo>
                          <a:pt x="992" y="769"/>
                        </a:lnTo>
                        <a:lnTo>
                          <a:pt x="992" y="769"/>
                        </a:lnTo>
                        <a:close/>
                        <a:moveTo>
                          <a:pt x="1040" y="761"/>
                        </a:moveTo>
                        <a:lnTo>
                          <a:pt x="1035" y="764"/>
                        </a:lnTo>
                        <a:lnTo>
                          <a:pt x="1035" y="766"/>
                        </a:lnTo>
                        <a:lnTo>
                          <a:pt x="1034" y="769"/>
                        </a:lnTo>
                        <a:lnTo>
                          <a:pt x="1030" y="764"/>
                        </a:lnTo>
                        <a:lnTo>
                          <a:pt x="1030" y="762"/>
                        </a:lnTo>
                        <a:lnTo>
                          <a:pt x="1035" y="756"/>
                        </a:lnTo>
                        <a:lnTo>
                          <a:pt x="1034" y="752"/>
                        </a:lnTo>
                        <a:lnTo>
                          <a:pt x="1037" y="751"/>
                        </a:lnTo>
                        <a:lnTo>
                          <a:pt x="1040" y="751"/>
                        </a:lnTo>
                        <a:lnTo>
                          <a:pt x="1040" y="754"/>
                        </a:lnTo>
                        <a:lnTo>
                          <a:pt x="1044" y="757"/>
                        </a:lnTo>
                        <a:lnTo>
                          <a:pt x="1040" y="761"/>
                        </a:lnTo>
                        <a:lnTo>
                          <a:pt x="1040" y="761"/>
                        </a:lnTo>
                        <a:close/>
                        <a:moveTo>
                          <a:pt x="1045" y="756"/>
                        </a:moveTo>
                        <a:lnTo>
                          <a:pt x="1045" y="752"/>
                        </a:lnTo>
                        <a:lnTo>
                          <a:pt x="1044" y="751"/>
                        </a:lnTo>
                        <a:lnTo>
                          <a:pt x="1047" y="746"/>
                        </a:lnTo>
                        <a:lnTo>
                          <a:pt x="1049" y="746"/>
                        </a:lnTo>
                        <a:lnTo>
                          <a:pt x="1052" y="749"/>
                        </a:lnTo>
                        <a:lnTo>
                          <a:pt x="1049" y="752"/>
                        </a:lnTo>
                        <a:lnTo>
                          <a:pt x="1049" y="756"/>
                        </a:lnTo>
                        <a:lnTo>
                          <a:pt x="1049" y="756"/>
                        </a:lnTo>
                        <a:lnTo>
                          <a:pt x="1045" y="756"/>
                        </a:lnTo>
                        <a:lnTo>
                          <a:pt x="1045" y="756"/>
                        </a:lnTo>
                        <a:close/>
                        <a:moveTo>
                          <a:pt x="1135" y="757"/>
                        </a:moveTo>
                        <a:lnTo>
                          <a:pt x="1138" y="751"/>
                        </a:lnTo>
                        <a:lnTo>
                          <a:pt x="1143" y="746"/>
                        </a:lnTo>
                        <a:lnTo>
                          <a:pt x="1148" y="747"/>
                        </a:lnTo>
                        <a:lnTo>
                          <a:pt x="1148" y="751"/>
                        </a:lnTo>
                        <a:lnTo>
                          <a:pt x="1143" y="759"/>
                        </a:lnTo>
                        <a:lnTo>
                          <a:pt x="1140" y="759"/>
                        </a:lnTo>
                        <a:lnTo>
                          <a:pt x="1142" y="756"/>
                        </a:lnTo>
                        <a:lnTo>
                          <a:pt x="1142" y="752"/>
                        </a:lnTo>
                        <a:lnTo>
                          <a:pt x="1140" y="754"/>
                        </a:lnTo>
                        <a:lnTo>
                          <a:pt x="1138" y="757"/>
                        </a:lnTo>
                        <a:lnTo>
                          <a:pt x="1138" y="757"/>
                        </a:lnTo>
                        <a:lnTo>
                          <a:pt x="1135" y="757"/>
                        </a:lnTo>
                        <a:lnTo>
                          <a:pt x="1135" y="757"/>
                        </a:lnTo>
                        <a:close/>
                        <a:moveTo>
                          <a:pt x="1132" y="752"/>
                        </a:moveTo>
                        <a:lnTo>
                          <a:pt x="1133" y="752"/>
                        </a:lnTo>
                        <a:lnTo>
                          <a:pt x="1137" y="747"/>
                        </a:lnTo>
                        <a:lnTo>
                          <a:pt x="1133" y="742"/>
                        </a:lnTo>
                        <a:lnTo>
                          <a:pt x="1132" y="746"/>
                        </a:lnTo>
                        <a:lnTo>
                          <a:pt x="1132" y="752"/>
                        </a:lnTo>
                        <a:lnTo>
                          <a:pt x="1132" y="752"/>
                        </a:lnTo>
                        <a:close/>
                        <a:moveTo>
                          <a:pt x="1128" y="789"/>
                        </a:moveTo>
                        <a:lnTo>
                          <a:pt x="1130" y="787"/>
                        </a:lnTo>
                        <a:lnTo>
                          <a:pt x="1137" y="784"/>
                        </a:lnTo>
                        <a:lnTo>
                          <a:pt x="1138" y="781"/>
                        </a:lnTo>
                        <a:lnTo>
                          <a:pt x="1132" y="782"/>
                        </a:lnTo>
                        <a:lnTo>
                          <a:pt x="1130" y="779"/>
                        </a:lnTo>
                        <a:lnTo>
                          <a:pt x="1135" y="769"/>
                        </a:lnTo>
                        <a:lnTo>
                          <a:pt x="1137" y="766"/>
                        </a:lnTo>
                        <a:lnTo>
                          <a:pt x="1130" y="767"/>
                        </a:lnTo>
                        <a:lnTo>
                          <a:pt x="1127" y="774"/>
                        </a:lnTo>
                        <a:lnTo>
                          <a:pt x="1127" y="771"/>
                        </a:lnTo>
                        <a:lnTo>
                          <a:pt x="1130" y="761"/>
                        </a:lnTo>
                        <a:lnTo>
                          <a:pt x="1128" y="746"/>
                        </a:lnTo>
                        <a:lnTo>
                          <a:pt x="1122" y="741"/>
                        </a:lnTo>
                        <a:lnTo>
                          <a:pt x="1122" y="737"/>
                        </a:lnTo>
                        <a:lnTo>
                          <a:pt x="1117" y="737"/>
                        </a:lnTo>
                        <a:lnTo>
                          <a:pt x="1113" y="741"/>
                        </a:lnTo>
                        <a:lnTo>
                          <a:pt x="1113" y="736"/>
                        </a:lnTo>
                        <a:lnTo>
                          <a:pt x="1117" y="734"/>
                        </a:lnTo>
                        <a:lnTo>
                          <a:pt x="1115" y="729"/>
                        </a:lnTo>
                        <a:lnTo>
                          <a:pt x="1115" y="726"/>
                        </a:lnTo>
                        <a:lnTo>
                          <a:pt x="1115" y="721"/>
                        </a:lnTo>
                        <a:lnTo>
                          <a:pt x="1108" y="723"/>
                        </a:lnTo>
                        <a:lnTo>
                          <a:pt x="1102" y="728"/>
                        </a:lnTo>
                        <a:lnTo>
                          <a:pt x="1098" y="736"/>
                        </a:lnTo>
                        <a:lnTo>
                          <a:pt x="1100" y="742"/>
                        </a:lnTo>
                        <a:lnTo>
                          <a:pt x="1097" y="741"/>
                        </a:lnTo>
                        <a:lnTo>
                          <a:pt x="1095" y="736"/>
                        </a:lnTo>
                        <a:lnTo>
                          <a:pt x="1093" y="736"/>
                        </a:lnTo>
                        <a:lnTo>
                          <a:pt x="1092" y="741"/>
                        </a:lnTo>
                        <a:lnTo>
                          <a:pt x="1088" y="741"/>
                        </a:lnTo>
                        <a:lnTo>
                          <a:pt x="1092" y="744"/>
                        </a:lnTo>
                        <a:lnTo>
                          <a:pt x="1088" y="747"/>
                        </a:lnTo>
                        <a:lnTo>
                          <a:pt x="1085" y="747"/>
                        </a:lnTo>
                        <a:lnTo>
                          <a:pt x="1082" y="752"/>
                        </a:lnTo>
                        <a:lnTo>
                          <a:pt x="1074" y="751"/>
                        </a:lnTo>
                        <a:lnTo>
                          <a:pt x="1070" y="752"/>
                        </a:lnTo>
                        <a:lnTo>
                          <a:pt x="1067" y="752"/>
                        </a:lnTo>
                        <a:lnTo>
                          <a:pt x="1057" y="757"/>
                        </a:lnTo>
                        <a:lnTo>
                          <a:pt x="1059" y="762"/>
                        </a:lnTo>
                        <a:lnTo>
                          <a:pt x="1062" y="767"/>
                        </a:lnTo>
                        <a:lnTo>
                          <a:pt x="1067" y="766"/>
                        </a:lnTo>
                        <a:lnTo>
                          <a:pt x="1065" y="764"/>
                        </a:lnTo>
                        <a:lnTo>
                          <a:pt x="1067" y="761"/>
                        </a:lnTo>
                        <a:lnTo>
                          <a:pt x="1072" y="764"/>
                        </a:lnTo>
                        <a:lnTo>
                          <a:pt x="1070" y="769"/>
                        </a:lnTo>
                        <a:lnTo>
                          <a:pt x="1075" y="774"/>
                        </a:lnTo>
                        <a:lnTo>
                          <a:pt x="1079" y="769"/>
                        </a:lnTo>
                        <a:lnTo>
                          <a:pt x="1080" y="772"/>
                        </a:lnTo>
                        <a:lnTo>
                          <a:pt x="1079" y="776"/>
                        </a:lnTo>
                        <a:lnTo>
                          <a:pt x="1084" y="781"/>
                        </a:lnTo>
                        <a:lnTo>
                          <a:pt x="1088" y="782"/>
                        </a:lnTo>
                        <a:lnTo>
                          <a:pt x="1090" y="789"/>
                        </a:lnTo>
                        <a:lnTo>
                          <a:pt x="1093" y="792"/>
                        </a:lnTo>
                        <a:lnTo>
                          <a:pt x="1098" y="787"/>
                        </a:lnTo>
                        <a:lnTo>
                          <a:pt x="1098" y="791"/>
                        </a:lnTo>
                        <a:lnTo>
                          <a:pt x="1105" y="796"/>
                        </a:lnTo>
                        <a:lnTo>
                          <a:pt x="1108" y="796"/>
                        </a:lnTo>
                        <a:lnTo>
                          <a:pt x="1112" y="796"/>
                        </a:lnTo>
                        <a:lnTo>
                          <a:pt x="1117" y="791"/>
                        </a:lnTo>
                        <a:lnTo>
                          <a:pt x="1120" y="791"/>
                        </a:lnTo>
                        <a:lnTo>
                          <a:pt x="1127" y="786"/>
                        </a:lnTo>
                        <a:lnTo>
                          <a:pt x="1128" y="789"/>
                        </a:lnTo>
                        <a:lnTo>
                          <a:pt x="1128" y="789"/>
                        </a:lnTo>
                        <a:close/>
                        <a:moveTo>
                          <a:pt x="1623" y="759"/>
                        </a:moveTo>
                        <a:lnTo>
                          <a:pt x="1623" y="756"/>
                        </a:lnTo>
                        <a:lnTo>
                          <a:pt x="1622" y="754"/>
                        </a:lnTo>
                        <a:lnTo>
                          <a:pt x="1623" y="751"/>
                        </a:lnTo>
                        <a:lnTo>
                          <a:pt x="1628" y="747"/>
                        </a:lnTo>
                        <a:lnTo>
                          <a:pt x="1632" y="749"/>
                        </a:lnTo>
                        <a:lnTo>
                          <a:pt x="1633" y="752"/>
                        </a:lnTo>
                        <a:lnTo>
                          <a:pt x="1637" y="752"/>
                        </a:lnTo>
                        <a:lnTo>
                          <a:pt x="1638" y="754"/>
                        </a:lnTo>
                        <a:lnTo>
                          <a:pt x="1635" y="757"/>
                        </a:lnTo>
                        <a:lnTo>
                          <a:pt x="1632" y="757"/>
                        </a:lnTo>
                        <a:lnTo>
                          <a:pt x="1630" y="757"/>
                        </a:lnTo>
                        <a:lnTo>
                          <a:pt x="1627" y="757"/>
                        </a:lnTo>
                        <a:lnTo>
                          <a:pt x="1625" y="761"/>
                        </a:lnTo>
                        <a:lnTo>
                          <a:pt x="1625" y="761"/>
                        </a:lnTo>
                        <a:lnTo>
                          <a:pt x="1623" y="759"/>
                        </a:lnTo>
                        <a:lnTo>
                          <a:pt x="1623" y="759"/>
                        </a:lnTo>
                        <a:close/>
                        <a:moveTo>
                          <a:pt x="1613" y="1143"/>
                        </a:moveTo>
                        <a:lnTo>
                          <a:pt x="1608" y="1143"/>
                        </a:lnTo>
                        <a:lnTo>
                          <a:pt x="1603" y="1141"/>
                        </a:lnTo>
                        <a:lnTo>
                          <a:pt x="1597" y="1138"/>
                        </a:lnTo>
                        <a:lnTo>
                          <a:pt x="1593" y="1136"/>
                        </a:lnTo>
                        <a:lnTo>
                          <a:pt x="1590" y="1136"/>
                        </a:lnTo>
                        <a:lnTo>
                          <a:pt x="1583" y="1131"/>
                        </a:lnTo>
                        <a:lnTo>
                          <a:pt x="1582" y="1128"/>
                        </a:lnTo>
                        <a:lnTo>
                          <a:pt x="1579" y="1126"/>
                        </a:lnTo>
                        <a:lnTo>
                          <a:pt x="1575" y="1126"/>
                        </a:lnTo>
                        <a:lnTo>
                          <a:pt x="1574" y="1126"/>
                        </a:lnTo>
                        <a:lnTo>
                          <a:pt x="1572" y="1126"/>
                        </a:lnTo>
                        <a:lnTo>
                          <a:pt x="1564" y="1125"/>
                        </a:lnTo>
                        <a:lnTo>
                          <a:pt x="1564" y="1121"/>
                        </a:lnTo>
                        <a:lnTo>
                          <a:pt x="1560" y="1120"/>
                        </a:lnTo>
                        <a:lnTo>
                          <a:pt x="1557" y="1120"/>
                        </a:lnTo>
                        <a:lnTo>
                          <a:pt x="1552" y="1115"/>
                        </a:lnTo>
                        <a:lnTo>
                          <a:pt x="1552" y="1111"/>
                        </a:lnTo>
                        <a:lnTo>
                          <a:pt x="1550" y="1111"/>
                        </a:lnTo>
                        <a:lnTo>
                          <a:pt x="1547" y="1110"/>
                        </a:lnTo>
                        <a:lnTo>
                          <a:pt x="1545" y="1106"/>
                        </a:lnTo>
                        <a:lnTo>
                          <a:pt x="1547" y="1105"/>
                        </a:lnTo>
                        <a:lnTo>
                          <a:pt x="1550" y="1103"/>
                        </a:lnTo>
                        <a:lnTo>
                          <a:pt x="1545" y="1101"/>
                        </a:lnTo>
                        <a:lnTo>
                          <a:pt x="1544" y="1103"/>
                        </a:lnTo>
                        <a:lnTo>
                          <a:pt x="1542" y="1105"/>
                        </a:lnTo>
                        <a:lnTo>
                          <a:pt x="1540" y="1103"/>
                        </a:lnTo>
                        <a:lnTo>
                          <a:pt x="1540" y="1101"/>
                        </a:lnTo>
                        <a:lnTo>
                          <a:pt x="1535" y="1101"/>
                        </a:lnTo>
                        <a:lnTo>
                          <a:pt x="1529" y="1096"/>
                        </a:lnTo>
                        <a:lnTo>
                          <a:pt x="1525" y="1096"/>
                        </a:lnTo>
                        <a:lnTo>
                          <a:pt x="1524" y="1095"/>
                        </a:lnTo>
                        <a:lnTo>
                          <a:pt x="1519" y="1091"/>
                        </a:lnTo>
                        <a:lnTo>
                          <a:pt x="1519" y="1088"/>
                        </a:lnTo>
                        <a:lnTo>
                          <a:pt x="1515" y="1088"/>
                        </a:lnTo>
                        <a:lnTo>
                          <a:pt x="1514" y="1085"/>
                        </a:lnTo>
                        <a:lnTo>
                          <a:pt x="1510" y="1081"/>
                        </a:lnTo>
                        <a:lnTo>
                          <a:pt x="1510" y="1076"/>
                        </a:lnTo>
                        <a:lnTo>
                          <a:pt x="1505" y="1075"/>
                        </a:lnTo>
                        <a:lnTo>
                          <a:pt x="1507" y="1073"/>
                        </a:lnTo>
                        <a:lnTo>
                          <a:pt x="1514" y="1073"/>
                        </a:lnTo>
                        <a:lnTo>
                          <a:pt x="1522" y="1068"/>
                        </a:lnTo>
                        <a:lnTo>
                          <a:pt x="1524" y="1065"/>
                        </a:lnTo>
                        <a:lnTo>
                          <a:pt x="1517" y="1066"/>
                        </a:lnTo>
                        <a:lnTo>
                          <a:pt x="1514" y="1061"/>
                        </a:lnTo>
                        <a:lnTo>
                          <a:pt x="1512" y="1056"/>
                        </a:lnTo>
                        <a:lnTo>
                          <a:pt x="1514" y="1055"/>
                        </a:lnTo>
                        <a:lnTo>
                          <a:pt x="1510" y="1056"/>
                        </a:lnTo>
                        <a:lnTo>
                          <a:pt x="1509" y="1060"/>
                        </a:lnTo>
                        <a:lnTo>
                          <a:pt x="1507" y="1063"/>
                        </a:lnTo>
                        <a:lnTo>
                          <a:pt x="1504" y="1060"/>
                        </a:lnTo>
                        <a:lnTo>
                          <a:pt x="1507" y="1056"/>
                        </a:lnTo>
                        <a:lnTo>
                          <a:pt x="1507" y="1050"/>
                        </a:lnTo>
                        <a:lnTo>
                          <a:pt x="1504" y="1055"/>
                        </a:lnTo>
                        <a:lnTo>
                          <a:pt x="1502" y="1053"/>
                        </a:lnTo>
                        <a:lnTo>
                          <a:pt x="1502" y="1048"/>
                        </a:lnTo>
                        <a:lnTo>
                          <a:pt x="1499" y="1048"/>
                        </a:lnTo>
                        <a:lnTo>
                          <a:pt x="1497" y="1045"/>
                        </a:lnTo>
                        <a:lnTo>
                          <a:pt x="1497" y="1041"/>
                        </a:lnTo>
                        <a:lnTo>
                          <a:pt x="1495" y="1035"/>
                        </a:lnTo>
                        <a:lnTo>
                          <a:pt x="1492" y="1033"/>
                        </a:lnTo>
                        <a:lnTo>
                          <a:pt x="1492" y="1030"/>
                        </a:lnTo>
                        <a:lnTo>
                          <a:pt x="1497" y="1025"/>
                        </a:lnTo>
                        <a:lnTo>
                          <a:pt x="1495" y="1023"/>
                        </a:lnTo>
                        <a:lnTo>
                          <a:pt x="1487" y="1030"/>
                        </a:lnTo>
                        <a:lnTo>
                          <a:pt x="1487" y="1033"/>
                        </a:lnTo>
                        <a:lnTo>
                          <a:pt x="1485" y="1030"/>
                        </a:lnTo>
                        <a:lnTo>
                          <a:pt x="1489" y="1025"/>
                        </a:lnTo>
                        <a:lnTo>
                          <a:pt x="1485" y="1025"/>
                        </a:lnTo>
                        <a:lnTo>
                          <a:pt x="1482" y="1025"/>
                        </a:lnTo>
                        <a:lnTo>
                          <a:pt x="1482" y="1025"/>
                        </a:lnTo>
                        <a:lnTo>
                          <a:pt x="1479" y="1031"/>
                        </a:lnTo>
                        <a:lnTo>
                          <a:pt x="1476" y="1033"/>
                        </a:lnTo>
                        <a:lnTo>
                          <a:pt x="1474" y="1030"/>
                        </a:lnTo>
                        <a:lnTo>
                          <a:pt x="1477" y="1027"/>
                        </a:lnTo>
                        <a:lnTo>
                          <a:pt x="1477" y="1022"/>
                        </a:lnTo>
                        <a:lnTo>
                          <a:pt x="1479" y="1018"/>
                        </a:lnTo>
                        <a:lnTo>
                          <a:pt x="1474" y="1020"/>
                        </a:lnTo>
                        <a:lnTo>
                          <a:pt x="1471" y="1023"/>
                        </a:lnTo>
                        <a:lnTo>
                          <a:pt x="1469" y="1023"/>
                        </a:lnTo>
                        <a:lnTo>
                          <a:pt x="1466" y="1027"/>
                        </a:lnTo>
                        <a:lnTo>
                          <a:pt x="1464" y="1030"/>
                        </a:lnTo>
                        <a:lnTo>
                          <a:pt x="1459" y="1028"/>
                        </a:lnTo>
                        <a:lnTo>
                          <a:pt x="1456" y="1025"/>
                        </a:lnTo>
                        <a:lnTo>
                          <a:pt x="1452" y="1025"/>
                        </a:lnTo>
                        <a:lnTo>
                          <a:pt x="1447" y="1018"/>
                        </a:lnTo>
                        <a:lnTo>
                          <a:pt x="1446" y="1018"/>
                        </a:lnTo>
                        <a:lnTo>
                          <a:pt x="1444" y="1022"/>
                        </a:lnTo>
                        <a:lnTo>
                          <a:pt x="1444" y="1025"/>
                        </a:lnTo>
                        <a:lnTo>
                          <a:pt x="1441" y="1028"/>
                        </a:lnTo>
                        <a:lnTo>
                          <a:pt x="1437" y="1027"/>
                        </a:lnTo>
                        <a:lnTo>
                          <a:pt x="1434" y="1027"/>
                        </a:lnTo>
                        <a:lnTo>
                          <a:pt x="1429" y="1028"/>
                        </a:lnTo>
                        <a:lnTo>
                          <a:pt x="1427" y="1030"/>
                        </a:lnTo>
                        <a:lnTo>
                          <a:pt x="1422" y="1030"/>
                        </a:lnTo>
                        <a:lnTo>
                          <a:pt x="1421" y="1031"/>
                        </a:lnTo>
                        <a:lnTo>
                          <a:pt x="1417" y="1030"/>
                        </a:lnTo>
                        <a:lnTo>
                          <a:pt x="1409" y="1030"/>
                        </a:lnTo>
                        <a:lnTo>
                          <a:pt x="1411" y="1027"/>
                        </a:lnTo>
                        <a:lnTo>
                          <a:pt x="1406" y="1022"/>
                        </a:lnTo>
                        <a:lnTo>
                          <a:pt x="1402" y="1023"/>
                        </a:lnTo>
                        <a:lnTo>
                          <a:pt x="1399" y="1020"/>
                        </a:lnTo>
                        <a:lnTo>
                          <a:pt x="1396" y="1012"/>
                        </a:lnTo>
                        <a:lnTo>
                          <a:pt x="1397" y="1007"/>
                        </a:lnTo>
                        <a:lnTo>
                          <a:pt x="1401" y="1005"/>
                        </a:lnTo>
                        <a:lnTo>
                          <a:pt x="1401" y="1000"/>
                        </a:lnTo>
                        <a:lnTo>
                          <a:pt x="1404" y="997"/>
                        </a:lnTo>
                        <a:lnTo>
                          <a:pt x="1411" y="997"/>
                        </a:lnTo>
                        <a:lnTo>
                          <a:pt x="1412" y="993"/>
                        </a:lnTo>
                        <a:lnTo>
                          <a:pt x="1417" y="993"/>
                        </a:lnTo>
                        <a:lnTo>
                          <a:pt x="1419" y="993"/>
                        </a:lnTo>
                        <a:lnTo>
                          <a:pt x="1421" y="990"/>
                        </a:lnTo>
                        <a:lnTo>
                          <a:pt x="1417" y="987"/>
                        </a:lnTo>
                        <a:lnTo>
                          <a:pt x="1417" y="983"/>
                        </a:lnTo>
                        <a:lnTo>
                          <a:pt x="1419" y="983"/>
                        </a:lnTo>
                        <a:lnTo>
                          <a:pt x="1422" y="983"/>
                        </a:lnTo>
                        <a:lnTo>
                          <a:pt x="1422" y="982"/>
                        </a:lnTo>
                        <a:lnTo>
                          <a:pt x="1422" y="980"/>
                        </a:lnTo>
                        <a:lnTo>
                          <a:pt x="1424" y="978"/>
                        </a:lnTo>
                        <a:lnTo>
                          <a:pt x="1429" y="985"/>
                        </a:lnTo>
                        <a:lnTo>
                          <a:pt x="1434" y="985"/>
                        </a:lnTo>
                        <a:lnTo>
                          <a:pt x="1439" y="988"/>
                        </a:lnTo>
                        <a:lnTo>
                          <a:pt x="1442" y="992"/>
                        </a:lnTo>
                        <a:lnTo>
                          <a:pt x="1444" y="993"/>
                        </a:lnTo>
                        <a:lnTo>
                          <a:pt x="1451" y="995"/>
                        </a:lnTo>
                        <a:lnTo>
                          <a:pt x="1452" y="992"/>
                        </a:lnTo>
                        <a:lnTo>
                          <a:pt x="1457" y="993"/>
                        </a:lnTo>
                        <a:lnTo>
                          <a:pt x="1459" y="995"/>
                        </a:lnTo>
                        <a:lnTo>
                          <a:pt x="1462" y="995"/>
                        </a:lnTo>
                        <a:lnTo>
                          <a:pt x="1467" y="997"/>
                        </a:lnTo>
                        <a:lnTo>
                          <a:pt x="1471" y="993"/>
                        </a:lnTo>
                        <a:lnTo>
                          <a:pt x="1472" y="988"/>
                        </a:lnTo>
                        <a:lnTo>
                          <a:pt x="1479" y="988"/>
                        </a:lnTo>
                        <a:lnTo>
                          <a:pt x="1479" y="990"/>
                        </a:lnTo>
                        <a:lnTo>
                          <a:pt x="1477" y="992"/>
                        </a:lnTo>
                        <a:lnTo>
                          <a:pt x="1481" y="993"/>
                        </a:lnTo>
                        <a:lnTo>
                          <a:pt x="1485" y="990"/>
                        </a:lnTo>
                        <a:lnTo>
                          <a:pt x="1487" y="987"/>
                        </a:lnTo>
                        <a:lnTo>
                          <a:pt x="1492" y="983"/>
                        </a:lnTo>
                        <a:lnTo>
                          <a:pt x="1494" y="987"/>
                        </a:lnTo>
                        <a:lnTo>
                          <a:pt x="1494" y="992"/>
                        </a:lnTo>
                        <a:lnTo>
                          <a:pt x="1495" y="997"/>
                        </a:lnTo>
                        <a:lnTo>
                          <a:pt x="1495" y="992"/>
                        </a:lnTo>
                        <a:lnTo>
                          <a:pt x="1499" y="990"/>
                        </a:lnTo>
                        <a:lnTo>
                          <a:pt x="1500" y="992"/>
                        </a:lnTo>
                        <a:lnTo>
                          <a:pt x="1504" y="988"/>
                        </a:lnTo>
                        <a:lnTo>
                          <a:pt x="1502" y="978"/>
                        </a:lnTo>
                        <a:lnTo>
                          <a:pt x="1497" y="973"/>
                        </a:lnTo>
                        <a:lnTo>
                          <a:pt x="1497" y="968"/>
                        </a:lnTo>
                        <a:lnTo>
                          <a:pt x="1494" y="965"/>
                        </a:lnTo>
                        <a:lnTo>
                          <a:pt x="1495" y="960"/>
                        </a:lnTo>
                        <a:lnTo>
                          <a:pt x="1497" y="958"/>
                        </a:lnTo>
                        <a:lnTo>
                          <a:pt x="1500" y="958"/>
                        </a:lnTo>
                        <a:lnTo>
                          <a:pt x="1507" y="953"/>
                        </a:lnTo>
                        <a:lnTo>
                          <a:pt x="1515" y="948"/>
                        </a:lnTo>
                        <a:lnTo>
                          <a:pt x="1519" y="947"/>
                        </a:lnTo>
                        <a:lnTo>
                          <a:pt x="1525" y="940"/>
                        </a:lnTo>
                        <a:lnTo>
                          <a:pt x="1527" y="940"/>
                        </a:lnTo>
                        <a:lnTo>
                          <a:pt x="1530" y="943"/>
                        </a:lnTo>
                        <a:lnTo>
                          <a:pt x="1534" y="942"/>
                        </a:lnTo>
                        <a:lnTo>
                          <a:pt x="1535" y="942"/>
                        </a:lnTo>
                        <a:lnTo>
                          <a:pt x="1530" y="938"/>
                        </a:lnTo>
                        <a:lnTo>
                          <a:pt x="1529" y="935"/>
                        </a:lnTo>
                        <a:lnTo>
                          <a:pt x="1539" y="929"/>
                        </a:lnTo>
                        <a:lnTo>
                          <a:pt x="1539" y="925"/>
                        </a:lnTo>
                        <a:lnTo>
                          <a:pt x="1542" y="924"/>
                        </a:lnTo>
                        <a:lnTo>
                          <a:pt x="1549" y="925"/>
                        </a:lnTo>
                        <a:lnTo>
                          <a:pt x="1555" y="924"/>
                        </a:lnTo>
                        <a:lnTo>
                          <a:pt x="1557" y="920"/>
                        </a:lnTo>
                        <a:lnTo>
                          <a:pt x="1554" y="917"/>
                        </a:lnTo>
                        <a:lnTo>
                          <a:pt x="1557" y="914"/>
                        </a:lnTo>
                        <a:lnTo>
                          <a:pt x="1557" y="905"/>
                        </a:lnTo>
                        <a:lnTo>
                          <a:pt x="1559" y="904"/>
                        </a:lnTo>
                        <a:lnTo>
                          <a:pt x="1557" y="904"/>
                        </a:lnTo>
                        <a:lnTo>
                          <a:pt x="1557" y="899"/>
                        </a:lnTo>
                        <a:lnTo>
                          <a:pt x="1560" y="895"/>
                        </a:lnTo>
                        <a:lnTo>
                          <a:pt x="1560" y="892"/>
                        </a:lnTo>
                        <a:lnTo>
                          <a:pt x="1557" y="890"/>
                        </a:lnTo>
                        <a:lnTo>
                          <a:pt x="1557" y="889"/>
                        </a:lnTo>
                        <a:lnTo>
                          <a:pt x="1559" y="882"/>
                        </a:lnTo>
                        <a:lnTo>
                          <a:pt x="1562" y="882"/>
                        </a:lnTo>
                        <a:lnTo>
                          <a:pt x="1562" y="879"/>
                        </a:lnTo>
                        <a:lnTo>
                          <a:pt x="1565" y="875"/>
                        </a:lnTo>
                        <a:lnTo>
                          <a:pt x="1564" y="872"/>
                        </a:lnTo>
                        <a:lnTo>
                          <a:pt x="1562" y="874"/>
                        </a:lnTo>
                        <a:lnTo>
                          <a:pt x="1559" y="875"/>
                        </a:lnTo>
                        <a:lnTo>
                          <a:pt x="1559" y="879"/>
                        </a:lnTo>
                        <a:lnTo>
                          <a:pt x="1557" y="879"/>
                        </a:lnTo>
                        <a:lnTo>
                          <a:pt x="1557" y="875"/>
                        </a:lnTo>
                        <a:lnTo>
                          <a:pt x="1557" y="872"/>
                        </a:lnTo>
                        <a:lnTo>
                          <a:pt x="1555" y="872"/>
                        </a:lnTo>
                        <a:lnTo>
                          <a:pt x="1545" y="870"/>
                        </a:lnTo>
                        <a:lnTo>
                          <a:pt x="1542" y="869"/>
                        </a:lnTo>
                        <a:lnTo>
                          <a:pt x="1544" y="865"/>
                        </a:lnTo>
                        <a:lnTo>
                          <a:pt x="1550" y="864"/>
                        </a:lnTo>
                        <a:lnTo>
                          <a:pt x="1550" y="862"/>
                        </a:lnTo>
                        <a:lnTo>
                          <a:pt x="1545" y="860"/>
                        </a:lnTo>
                        <a:lnTo>
                          <a:pt x="1549" y="855"/>
                        </a:lnTo>
                        <a:lnTo>
                          <a:pt x="1549" y="854"/>
                        </a:lnTo>
                        <a:lnTo>
                          <a:pt x="1544" y="849"/>
                        </a:lnTo>
                        <a:lnTo>
                          <a:pt x="1542" y="850"/>
                        </a:lnTo>
                        <a:lnTo>
                          <a:pt x="1540" y="852"/>
                        </a:lnTo>
                        <a:lnTo>
                          <a:pt x="1542" y="855"/>
                        </a:lnTo>
                        <a:lnTo>
                          <a:pt x="1542" y="859"/>
                        </a:lnTo>
                        <a:lnTo>
                          <a:pt x="1535" y="859"/>
                        </a:lnTo>
                        <a:lnTo>
                          <a:pt x="1534" y="855"/>
                        </a:lnTo>
                        <a:lnTo>
                          <a:pt x="1532" y="855"/>
                        </a:lnTo>
                        <a:lnTo>
                          <a:pt x="1530" y="849"/>
                        </a:lnTo>
                        <a:lnTo>
                          <a:pt x="1535" y="845"/>
                        </a:lnTo>
                        <a:lnTo>
                          <a:pt x="1534" y="844"/>
                        </a:lnTo>
                        <a:lnTo>
                          <a:pt x="1527" y="844"/>
                        </a:lnTo>
                        <a:lnTo>
                          <a:pt x="1527" y="842"/>
                        </a:lnTo>
                        <a:lnTo>
                          <a:pt x="1534" y="840"/>
                        </a:lnTo>
                        <a:lnTo>
                          <a:pt x="1534" y="839"/>
                        </a:lnTo>
                        <a:lnTo>
                          <a:pt x="1530" y="839"/>
                        </a:lnTo>
                        <a:lnTo>
                          <a:pt x="1534" y="837"/>
                        </a:lnTo>
                        <a:lnTo>
                          <a:pt x="1535" y="835"/>
                        </a:lnTo>
                        <a:lnTo>
                          <a:pt x="1537" y="834"/>
                        </a:lnTo>
                        <a:lnTo>
                          <a:pt x="1534" y="832"/>
                        </a:lnTo>
                        <a:lnTo>
                          <a:pt x="1530" y="834"/>
                        </a:lnTo>
                        <a:lnTo>
                          <a:pt x="1527" y="839"/>
                        </a:lnTo>
                        <a:lnTo>
                          <a:pt x="1524" y="840"/>
                        </a:lnTo>
                        <a:lnTo>
                          <a:pt x="1522" y="839"/>
                        </a:lnTo>
                        <a:lnTo>
                          <a:pt x="1522" y="834"/>
                        </a:lnTo>
                        <a:lnTo>
                          <a:pt x="1519" y="835"/>
                        </a:lnTo>
                        <a:lnTo>
                          <a:pt x="1517" y="840"/>
                        </a:lnTo>
                        <a:lnTo>
                          <a:pt x="1514" y="840"/>
                        </a:lnTo>
                        <a:lnTo>
                          <a:pt x="1510" y="842"/>
                        </a:lnTo>
                        <a:lnTo>
                          <a:pt x="1505" y="842"/>
                        </a:lnTo>
                        <a:lnTo>
                          <a:pt x="1502" y="842"/>
                        </a:lnTo>
                        <a:lnTo>
                          <a:pt x="1502" y="844"/>
                        </a:lnTo>
                        <a:lnTo>
                          <a:pt x="1499" y="844"/>
                        </a:lnTo>
                        <a:lnTo>
                          <a:pt x="1499" y="842"/>
                        </a:lnTo>
                        <a:lnTo>
                          <a:pt x="1502" y="839"/>
                        </a:lnTo>
                        <a:lnTo>
                          <a:pt x="1500" y="837"/>
                        </a:lnTo>
                        <a:lnTo>
                          <a:pt x="1499" y="835"/>
                        </a:lnTo>
                        <a:lnTo>
                          <a:pt x="1502" y="832"/>
                        </a:lnTo>
                        <a:lnTo>
                          <a:pt x="1504" y="831"/>
                        </a:lnTo>
                        <a:lnTo>
                          <a:pt x="1507" y="832"/>
                        </a:lnTo>
                        <a:lnTo>
                          <a:pt x="1510" y="834"/>
                        </a:lnTo>
                        <a:lnTo>
                          <a:pt x="1512" y="832"/>
                        </a:lnTo>
                        <a:lnTo>
                          <a:pt x="1515" y="832"/>
                        </a:lnTo>
                        <a:lnTo>
                          <a:pt x="1519" y="829"/>
                        </a:lnTo>
                        <a:lnTo>
                          <a:pt x="1520" y="826"/>
                        </a:lnTo>
                        <a:lnTo>
                          <a:pt x="1519" y="822"/>
                        </a:lnTo>
                        <a:lnTo>
                          <a:pt x="1517" y="821"/>
                        </a:lnTo>
                        <a:lnTo>
                          <a:pt x="1512" y="819"/>
                        </a:lnTo>
                        <a:lnTo>
                          <a:pt x="1510" y="816"/>
                        </a:lnTo>
                        <a:lnTo>
                          <a:pt x="1509" y="812"/>
                        </a:lnTo>
                        <a:lnTo>
                          <a:pt x="1509" y="811"/>
                        </a:lnTo>
                        <a:lnTo>
                          <a:pt x="1509" y="807"/>
                        </a:lnTo>
                        <a:lnTo>
                          <a:pt x="1504" y="807"/>
                        </a:lnTo>
                        <a:lnTo>
                          <a:pt x="1502" y="807"/>
                        </a:lnTo>
                        <a:lnTo>
                          <a:pt x="1500" y="806"/>
                        </a:lnTo>
                        <a:lnTo>
                          <a:pt x="1499" y="802"/>
                        </a:lnTo>
                        <a:lnTo>
                          <a:pt x="1502" y="801"/>
                        </a:lnTo>
                        <a:lnTo>
                          <a:pt x="1504" y="802"/>
                        </a:lnTo>
                        <a:lnTo>
                          <a:pt x="1507" y="802"/>
                        </a:lnTo>
                        <a:lnTo>
                          <a:pt x="1507" y="799"/>
                        </a:lnTo>
                        <a:lnTo>
                          <a:pt x="1512" y="797"/>
                        </a:lnTo>
                        <a:lnTo>
                          <a:pt x="1505" y="797"/>
                        </a:lnTo>
                        <a:lnTo>
                          <a:pt x="1502" y="794"/>
                        </a:lnTo>
                        <a:lnTo>
                          <a:pt x="1500" y="794"/>
                        </a:lnTo>
                        <a:lnTo>
                          <a:pt x="1499" y="792"/>
                        </a:lnTo>
                        <a:lnTo>
                          <a:pt x="1495" y="792"/>
                        </a:lnTo>
                        <a:lnTo>
                          <a:pt x="1494" y="796"/>
                        </a:lnTo>
                        <a:lnTo>
                          <a:pt x="1492" y="796"/>
                        </a:lnTo>
                        <a:lnTo>
                          <a:pt x="1492" y="794"/>
                        </a:lnTo>
                        <a:lnTo>
                          <a:pt x="1495" y="786"/>
                        </a:lnTo>
                        <a:lnTo>
                          <a:pt x="1499" y="781"/>
                        </a:lnTo>
                        <a:lnTo>
                          <a:pt x="1500" y="779"/>
                        </a:lnTo>
                        <a:lnTo>
                          <a:pt x="1502" y="772"/>
                        </a:lnTo>
                        <a:lnTo>
                          <a:pt x="1502" y="769"/>
                        </a:lnTo>
                        <a:lnTo>
                          <a:pt x="1504" y="767"/>
                        </a:lnTo>
                        <a:lnTo>
                          <a:pt x="1502" y="764"/>
                        </a:lnTo>
                        <a:lnTo>
                          <a:pt x="1499" y="766"/>
                        </a:lnTo>
                        <a:lnTo>
                          <a:pt x="1495" y="764"/>
                        </a:lnTo>
                        <a:lnTo>
                          <a:pt x="1494" y="766"/>
                        </a:lnTo>
                        <a:lnTo>
                          <a:pt x="1494" y="767"/>
                        </a:lnTo>
                        <a:lnTo>
                          <a:pt x="1490" y="767"/>
                        </a:lnTo>
                        <a:lnTo>
                          <a:pt x="1485" y="762"/>
                        </a:lnTo>
                        <a:lnTo>
                          <a:pt x="1484" y="759"/>
                        </a:lnTo>
                        <a:lnTo>
                          <a:pt x="1482" y="756"/>
                        </a:lnTo>
                        <a:lnTo>
                          <a:pt x="1481" y="756"/>
                        </a:lnTo>
                        <a:lnTo>
                          <a:pt x="1481" y="751"/>
                        </a:lnTo>
                        <a:lnTo>
                          <a:pt x="1485" y="749"/>
                        </a:lnTo>
                        <a:lnTo>
                          <a:pt x="1487" y="746"/>
                        </a:lnTo>
                        <a:lnTo>
                          <a:pt x="1485" y="744"/>
                        </a:lnTo>
                        <a:lnTo>
                          <a:pt x="1484" y="739"/>
                        </a:lnTo>
                        <a:lnTo>
                          <a:pt x="1482" y="741"/>
                        </a:lnTo>
                        <a:lnTo>
                          <a:pt x="1479" y="742"/>
                        </a:lnTo>
                        <a:lnTo>
                          <a:pt x="1479" y="749"/>
                        </a:lnTo>
                        <a:lnTo>
                          <a:pt x="1477" y="752"/>
                        </a:lnTo>
                        <a:lnTo>
                          <a:pt x="1476" y="749"/>
                        </a:lnTo>
                        <a:lnTo>
                          <a:pt x="1472" y="747"/>
                        </a:lnTo>
                        <a:lnTo>
                          <a:pt x="1472" y="747"/>
                        </a:lnTo>
                        <a:lnTo>
                          <a:pt x="1472" y="751"/>
                        </a:lnTo>
                        <a:lnTo>
                          <a:pt x="1469" y="751"/>
                        </a:lnTo>
                        <a:lnTo>
                          <a:pt x="1469" y="756"/>
                        </a:lnTo>
                        <a:lnTo>
                          <a:pt x="1472" y="761"/>
                        </a:lnTo>
                        <a:lnTo>
                          <a:pt x="1476" y="761"/>
                        </a:lnTo>
                        <a:lnTo>
                          <a:pt x="1479" y="767"/>
                        </a:lnTo>
                        <a:lnTo>
                          <a:pt x="1481" y="771"/>
                        </a:lnTo>
                        <a:lnTo>
                          <a:pt x="1479" y="774"/>
                        </a:lnTo>
                        <a:lnTo>
                          <a:pt x="1479" y="777"/>
                        </a:lnTo>
                        <a:lnTo>
                          <a:pt x="1476" y="782"/>
                        </a:lnTo>
                        <a:lnTo>
                          <a:pt x="1472" y="784"/>
                        </a:lnTo>
                        <a:lnTo>
                          <a:pt x="1462" y="784"/>
                        </a:lnTo>
                        <a:lnTo>
                          <a:pt x="1461" y="784"/>
                        </a:lnTo>
                        <a:lnTo>
                          <a:pt x="1457" y="784"/>
                        </a:lnTo>
                        <a:lnTo>
                          <a:pt x="1452" y="781"/>
                        </a:lnTo>
                        <a:lnTo>
                          <a:pt x="1452" y="779"/>
                        </a:lnTo>
                        <a:lnTo>
                          <a:pt x="1452" y="776"/>
                        </a:lnTo>
                        <a:lnTo>
                          <a:pt x="1446" y="776"/>
                        </a:lnTo>
                        <a:lnTo>
                          <a:pt x="1437" y="772"/>
                        </a:lnTo>
                        <a:lnTo>
                          <a:pt x="1431" y="771"/>
                        </a:lnTo>
                        <a:lnTo>
                          <a:pt x="1434" y="779"/>
                        </a:lnTo>
                        <a:lnTo>
                          <a:pt x="1436" y="784"/>
                        </a:lnTo>
                        <a:lnTo>
                          <a:pt x="1436" y="784"/>
                        </a:lnTo>
                        <a:lnTo>
                          <a:pt x="1431" y="784"/>
                        </a:lnTo>
                        <a:lnTo>
                          <a:pt x="1429" y="781"/>
                        </a:lnTo>
                        <a:lnTo>
                          <a:pt x="1426" y="776"/>
                        </a:lnTo>
                        <a:lnTo>
                          <a:pt x="1424" y="776"/>
                        </a:lnTo>
                        <a:lnTo>
                          <a:pt x="1422" y="772"/>
                        </a:lnTo>
                        <a:lnTo>
                          <a:pt x="1417" y="769"/>
                        </a:lnTo>
                        <a:lnTo>
                          <a:pt x="1414" y="764"/>
                        </a:lnTo>
                        <a:lnTo>
                          <a:pt x="1414" y="762"/>
                        </a:lnTo>
                        <a:lnTo>
                          <a:pt x="1411" y="762"/>
                        </a:lnTo>
                        <a:lnTo>
                          <a:pt x="1406" y="757"/>
                        </a:lnTo>
                        <a:lnTo>
                          <a:pt x="1402" y="756"/>
                        </a:lnTo>
                        <a:lnTo>
                          <a:pt x="1402" y="754"/>
                        </a:lnTo>
                        <a:lnTo>
                          <a:pt x="1397" y="752"/>
                        </a:lnTo>
                        <a:lnTo>
                          <a:pt x="1399" y="756"/>
                        </a:lnTo>
                        <a:lnTo>
                          <a:pt x="1407" y="762"/>
                        </a:lnTo>
                        <a:lnTo>
                          <a:pt x="1411" y="766"/>
                        </a:lnTo>
                        <a:lnTo>
                          <a:pt x="1414" y="769"/>
                        </a:lnTo>
                        <a:lnTo>
                          <a:pt x="1417" y="771"/>
                        </a:lnTo>
                        <a:lnTo>
                          <a:pt x="1419" y="774"/>
                        </a:lnTo>
                        <a:lnTo>
                          <a:pt x="1416" y="777"/>
                        </a:lnTo>
                        <a:lnTo>
                          <a:pt x="1414" y="776"/>
                        </a:lnTo>
                        <a:lnTo>
                          <a:pt x="1412" y="779"/>
                        </a:lnTo>
                        <a:lnTo>
                          <a:pt x="1406" y="774"/>
                        </a:lnTo>
                        <a:lnTo>
                          <a:pt x="1402" y="776"/>
                        </a:lnTo>
                        <a:lnTo>
                          <a:pt x="1401" y="772"/>
                        </a:lnTo>
                        <a:lnTo>
                          <a:pt x="1396" y="771"/>
                        </a:lnTo>
                        <a:lnTo>
                          <a:pt x="1394" y="766"/>
                        </a:lnTo>
                        <a:lnTo>
                          <a:pt x="1386" y="767"/>
                        </a:lnTo>
                        <a:lnTo>
                          <a:pt x="1383" y="769"/>
                        </a:lnTo>
                        <a:lnTo>
                          <a:pt x="1379" y="767"/>
                        </a:lnTo>
                        <a:lnTo>
                          <a:pt x="1374" y="766"/>
                        </a:lnTo>
                        <a:lnTo>
                          <a:pt x="1369" y="766"/>
                        </a:lnTo>
                        <a:lnTo>
                          <a:pt x="1366" y="762"/>
                        </a:lnTo>
                        <a:lnTo>
                          <a:pt x="1361" y="759"/>
                        </a:lnTo>
                        <a:lnTo>
                          <a:pt x="1361" y="757"/>
                        </a:lnTo>
                        <a:lnTo>
                          <a:pt x="1368" y="751"/>
                        </a:lnTo>
                        <a:lnTo>
                          <a:pt x="1371" y="751"/>
                        </a:lnTo>
                        <a:lnTo>
                          <a:pt x="1371" y="749"/>
                        </a:lnTo>
                        <a:lnTo>
                          <a:pt x="1368" y="749"/>
                        </a:lnTo>
                        <a:lnTo>
                          <a:pt x="1363" y="752"/>
                        </a:lnTo>
                        <a:lnTo>
                          <a:pt x="1359" y="756"/>
                        </a:lnTo>
                        <a:lnTo>
                          <a:pt x="1358" y="757"/>
                        </a:lnTo>
                        <a:lnTo>
                          <a:pt x="1353" y="754"/>
                        </a:lnTo>
                        <a:lnTo>
                          <a:pt x="1349" y="752"/>
                        </a:lnTo>
                        <a:lnTo>
                          <a:pt x="1348" y="754"/>
                        </a:lnTo>
                        <a:lnTo>
                          <a:pt x="1351" y="756"/>
                        </a:lnTo>
                        <a:lnTo>
                          <a:pt x="1349" y="757"/>
                        </a:lnTo>
                        <a:lnTo>
                          <a:pt x="1343" y="757"/>
                        </a:lnTo>
                        <a:lnTo>
                          <a:pt x="1336" y="752"/>
                        </a:lnTo>
                        <a:lnTo>
                          <a:pt x="1336" y="747"/>
                        </a:lnTo>
                        <a:lnTo>
                          <a:pt x="1331" y="744"/>
                        </a:lnTo>
                        <a:lnTo>
                          <a:pt x="1333" y="741"/>
                        </a:lnTo>
                        <a:lnTo>
                          <a:pt x="1341" y="737"/>
                        </a:lnTo>
                        <a:lnTo>
                          <a:pt x="1343" y="734"/>
                        </a:lnTo>
                        <a:lnTo>
                          <a:pt x="1341" y="734"/>
                        </a:lnTo>
                        <a:lnTo>
                          <a:pt x="1338" y="736"/>
                        </a:lnTo>
                        <a:lnTo>
                          <a:pt x="1331" y="736"/>
                        </a:lnTo>
                        <a:lnTo>
                          <a:pt x="1329" y="741"/>
                        </a:lnTo>
                        <a:lnTo>
                          <a:pt x="1326" y="741"/>
                        </a:lnTo>
                        <a:lnTo>
                          <a:pt x="1326" y="739"/>
                        </a:lnTo>
                        <a:lnTo>
                          <a:pt x="1326" y="734"/>
                        </a:lnTo>
                        <a:lnTo>
                          <a:pt x="1324" y="734"/>
                        </a:lnTo>
                        <a:lnTo>
                          <a:pt x="1323" y="734"/>
                        </a:lnTo>
                        <a:lnTo>
                          <a:pt x="1321" y="737"/>
                        </a:lnTo>
                        <a:lnTo>
                          <a:pt x="1323" y="739"/>
                        </a:lnTo>
                        <a:lnTo>
                          <a:pt x="1321" y="741"/>
                        </a:lnTo>
                        <a:lnTo>
                          <a:pt x="1318" y="741"/>
                        </a:lnTo>
                        <a:lnTo>
                          <a:pt x="1314" y="737"/>
                        </a:lnTo>
                        <a:lnTo>
                          <a:pt x="1311" y="736"/>
                        </a:lnTo>
                        <a:lnTo>
                          <a:pt x="1308" y="737"/>
                        </a:lnTo>
                        <a:lnTo>
                          <a:pt x="1308" y="741"/>
                        </a:lnTo>
                        <a:lnTo>
                          <a:pt x="1304" y="741"/>
                        </a:lnTo>
                        <a:lnTo>
                          <a:pt x="1301" y="737"/>
                        </a:lnTo>
                        <a:lnTo>
                          <a:pt x="1299" y="733"/>
                        </a:lnTo>
                        <a:lnTo>
                          <a:pt x="1301" y="734"/>
                        </a:lnTo>
                        <a:lnTo>
                          <a:pt x="1304" y="736"/>
                        </a:lnTo>
                        <a:lnTo>
                          <a:pt x="1304" y="734"/>
                        </a:lnTo>
                        <a:lnTo>
                          <a:pt x="1299" y="729"/>
                        </a:lnTo>
                        <a:lnTo>
                          <a:pt x="1294" y="726"/>
                        </a:lnTo>
                        <a:lnTo>
                          <a:pt x="1293" y="723"/>
                        </a:lnTo>
                        <a:lnTo>
                          <a:pt x="1294" y="718"/>
                        </a:lnTo>
                        <a:lnTo>
                          <a:pt x="1293" y="713"/>
                        </a:lnTo>
                        <a:lnTo>
                          <a:pt x="1291" y="706"/>
                        </a:lnTo>
                        <a:lnTo>
                          <a:pt x="1293" y="703"/>
                        </a:lnTo>
                        <a:lnTo>
                          <a:pt x="1296" y="703"/>
                        </a:lnTo>
                        <a:lnTo>
                          <a:pt x="1296" y="701"/>
                        </a:lnTo>
                        <a:lnTo>
                          <a:pt x="1293" y="696"/>
                        </a:lnTo>
                        <a:lnTo>
                          <a:pt x="1294" y="694"/>
                        </a:lnTo>
                        <a:lnTo>
                          <a:pt x="1299" y="694"/>
                        </a:lnTo>
                        <a:lnTo>
                          <a:pt x="1301" y="698"/>
                        </a:lnTo>
                        <a:lnTo>
                          <a:pt x="1308" y="698"/>
                        </a:lnTo>
                        <a:lnTo>
                          <a:pt x="1313" y="701"/>
                        </a:lnTo>
                        <a:lnTo>
                          <a:pt x="1314" y="704"/>
                        </a:lnTo>
                        <a:lnTo>
                          <a:pt x="1323" y="708"/>
                        </a:lnTo>
                        <a:lnTo>
                          <a:pt x="1331" y="708"/>
                        </a:lnTo>
                        <a:lnTo>
                          <a:pt x="1333" y="706"/>
                        </a:lnTo>
                        <a:lnTo>
                          <a:pt x="1339" y="706"/>
                        </a:lnTo>
                        <a:lnTo>
                          <a:pt x="1336" y="704"/>
                        </a:lnTo>
                        <a:lnTo>
                          <a:pt x="1336" y="701"/>
                        </a:lnTo>
                        <a:lnTo>
                          <a:pt x="1329" y="698"/>
                        </a:lnTo>
                        <a:lnTo>
                          <a:pt x="1329" y="693"/>
                        </a:lnTo>
                        <a:lnTo>
                          <a:pt x="1323" y="693"/>
                        </a:lnTo>
                        <a:lnTo>
                          <a:pt x="1318" y="689"/>
                        </a:lnTo>
                        <a:lnTo>
                          <a:pt x="1313" y="689"/>
                        </a:lnTo>
                        <a:lnTo>
                          <a:pt x="1308" y="686"/>
                        </a:lnTo>
                        <a:lnTo>
                          <a:pt x="1303" y="686"/>
                        </a:lnTo>
                        <a:lnTo>
                          <a:pt x="1294" y="681"/>
                        </a:lnTo>
                        <a:lnTo>
                          <a:pt x="1293" y="678"/>
                        </a:lnTo>
                        <a:lnTo>
                          <a:pt x="1294" y="671"/>
                        </a:lnTo>
                        <a:lnTo>
                          <a:pt x="1298" y="668"/>
                        </a:lnTo>
                        <a:lnTo>
                          <a:pt x="1298" y="664"/>
                        </a:lnTo>
                        <a:lnTo>
                          <a:pt x="1299" y="659"/>
                        </a:lnTo>
                        <a:lnTo>
                          <a:pt x="1303" y="659"/>
                        </a:lnTo>
                        <a:lnTo>
                          <a:pt x="1306" y="656"/>
                        </a:lnTo>
                        <a:lnTo>
                          <a:pt x="1306" y="648"/>
                        </a:lnTo>
                        <a:lnTo>
                          <a:pt x="1308" y="644"/>
                        </a:lnTo>
                        <a:lnTo>
                          <a:pt x="1311" y="644"/>
                        </a:lnTo>
                        <a:lnTo>
                          <a:pt x="1311" y="639"/>
                        </a:lnTo>
                        <a:lnTo>
                          <a:pt x="1318" y="636"/>
                        </a:lnTo>
                        <a:lnTo>
                          <a:pt x="1323" y="636"/>
                        </a:lnTo>
                        <a:lnTo>
                          <a:pt x="1323" y="633"/>
                        </a:lnTo>
                        <a:lnTo>
                          <a:pt x="1321" y="635"/>
                        </a:lnTo>
                        <a:lnTo>
                          <a:pt x="1319" y="635"/>
                        </a:lnTo>
                        <a:lnTo>
                          <a:pt x="1319" y="631"/>
                        </a:lnTo>
                        <a:lnTo>
                          <a:pt x="1324" y="625"/>
                        </a:lnTo>
                        <a:lnTo>
                          <a:pt x="1328" y="618"/>
                        </a:lnTo>
                        <a:lnTo>
                          <a:pt x="1329" y="616"/>
                        </a:lnTo>
                        <a:lnTo>
                          <a:pt x="1333" y="613"/>
                        </a:lnTo>
                        <a:lnTo>
                          <a:pt x="1336" y="613"/>
                        </a:lnTo>
                        <a:lnTo>
                          <a:pt x="1338" y="613"/>
                        </a:lnTo>
                        <a:lnTo>
                          <a:pt x="1339" y="606"/>
                        </a:lnTo>
                        <a:lnTo>
                          <a:pt x="1343" y="606"/>
                        </a:lnTo>
                        <a:lnTo>
                          <a:pt x="1344" y="610"/>
                        </a:lnTo>
                        <a:lnTo>
                          <a:pt x="1346" y="606"/>
                        </a:lnTo>
                        <a:lnTo>
                          <a:pt x="1344" y="603"/>
                        </a:lnTo>
                        <a:lnTo>
                          <a:pt x="1351" y="596"/>
                        </a:lnTo>
                        <a:lnTo>
                          <a:pt x="1354" y="596"/>
                        </a:lnTo>
                        <a:lnTo>
                          <a:pt x="1354" y="591"/>
                        </a:lnTo>
                        <a:lnTo>
                          <a:pt x="1358" y="586"/>
                        </a:lnTo>
                        <a:lnTo>
                          <a:pt x="1363" y="586"/>
                        </a:lnTo>
                        <a:lnTo>
                          <a:pt x="1366" y="583"/>
                        </a:lnTo>
                        <a:lnTo>
                          <a:pt x="1369" y="583"/>
                        </a:lnTo>
                        <a:lnTo>
                          <a:pt x="1373" y="585"/>
                        </a:lnTo>
                        <a:lnTo>
                          <a:pt x="1371" y="581"/>
                        </a:lnTo>
                        <a:lnTo>
                          <a:pt x="1373" y="576"/>
                        </a:lnTo>
                        <a:lnTo>
                          <a:pt x="1381" y="573"/>
                        </a:lnTo>
                        <a:lnTo>
                          <a:pt x="1389" y="566"/>
                        </a:lnTo>
                        <a:lnTo>
                          <a:pt x="1402" y="563"/>
                        </a:lnTo>
                        <a:lnTo>
                          <a:pt x="1411" y="561"/>
                        </a:lnTo>
                        <a:lnTo>
                          <a:pt x="1414" y="561"/>
                        </a:lnTo>
                        <a:lnTo>
                          <a:pt x="1421" y="561"/>
                        </a:lnTo>
                        <a:lnTo>
                          <a:pt x="1424" y="561"/>
                        </a:lnTo>
                        <a:lnTo>
                          <a:pt x="1427" y="561"/>
                        </a:lnTo>
                        <a:lnTo>
                          <a:pt x="1434" y="561"/>
                        </a:lnTo>
                        <a:lnTo>
                          <a:pt x="1439" y="565"/>
                        </a:lnTo>
                        <a:lnTo>
                          <a:pt x="1451" y="570"/>
                        </a:lnTo>
                        <a:lnTo>
                          <a:pt x="1451" y="573"/>
                        </a:lnTo>
                        <a:lnTo>
                          <a:pt x="1449" y="576"/>
                        </a:lnTo>
                        <a:lnTo>
                          <a:pt x="1444" y="578"/>
                        </a:lnTo>
                        <a:lnTo>
                          <a:pt x="1436" y="581"/>
                        </a:lnTo>
                        <a:lnTo>
                          <a:pt x="1431" y="581"/>
                        </a:lnTo>
                        <a:lnTo>
                          <a:pt x="1429" y="585"/>
                        </a:lnTo>
                        <a:lnTo>
                          <a:pt x="1424" y="588"/>
                        </a:lnTo>
                        <a:lnTo>
                          <a:pt x="1419" y="590"/>
                        </a:lnTo>
                        <a:lnTo>
                          <a:pt x="1411" y="598"/>
                        </a:lnTo>
                        <a:lnTo>
                          <a:pt x="1402" y="608"/>
                        </a:lnTo>
                        <a:lnTo>
                          <a:pt x="1394" y="611"/>
                        </a:lnTo>
                        <a:lnTo>
                          <a:pt x="1392" y="613"/>
                        </a:lnTo>
                        <a:lnTo>
                          <a:pt x="1387" y="621"/>
                        </a:lnTo>
                        <a:lnTo>
                          <a:pt x="1386" y="626"/>
                        </a:lnTo>
                        <a:lnTo>
                          <a:pt x="1389" y="631"/>
                        </a:lnTo>
                        <a:lnTo>
                          <a:pt x="1391" y="633"/>
                        </a:lnTo>
                        <a:lnTo>
                          <a:pt x="1391" y="638"/>
                        </a:lnTo>
                        <a:lnTo>
                          <a:pt x="1387" y="639"/>
                        </a:lnTo>
                        <a:lnTo>
                          <a:pt x="1384" y="643"/>
                        </a:lnTo>
                        <a:lnTo>
                          <a:pt x="1379" y="648"/>
                        </a:lnTo>
                        <a:lnTo>
                          <a:pt x="1379" y="653"/>
                        </a:lnTo>
                        <a:lnTo>
                          <a:pt x="1376" y="658"/>
                        </a:lnTo>
                        <a:lnTo>
                          <a:pt x="1374" y="659"/>
                        </a:lnTo>
                        <a:lnTo>
                          <a:pt x="1373" y="663"/>
                        </a:lnTo>
                        <a:lnTo>
                          <a:pt x="1376" y="666"/>
                        </a:lnTo>
                        <a:lnTo>
                          <a:pt x="1376" y="673"/>
                        </a:lnTo>
                        <a:lnTo>
                          <a:pt x="1378" y="676"/>
                        </a:lnTo>
                        <a:lnTo>
                          <a:pt x="1378" y="681"/>
                        </a:lnTo>
                        <a:lnTo>
                          <a:pt x="1383" y="686"/>
                        </a:lnTo>
                        <a:lnTo>
                          <a:pt x="1383" y="689"/>
                        </a:lnTo>
                        <a:lnTo>
                          <a:pt x="1387" y="691"/>
                        </a:lnTo>
                        <a:lnTo>
                          <a:pt x="1387" y="696"/>
                        </a:lnTo>
                        <a:lnTo>
                          <a:pt x="1386" y="699"/>
                        </a:lnTo>
                        <a:lnTo>
                          <a:pt x="1384" y="696"/>
                        </a:lnTo>
                        <a:lnTo>
                          <a:pt x="1383" y="696"/>
                        </a:lnTo>
                        <a:lnTo>
                          <a:pt x="1381" y="698"/>
                        </a:lnTo>
                        <a:lnTo>
                          <a:pt x="1379" y="698"/>
                        </a:lnTo>
                        <a:lnTo>
                          <a:pt x="1376" y="699"/>
                        </a:lnTo>
                        <a:lnTo>
                          <a:pt x="1373" y="699"/>
                        </a:lnTo>
                        <a:lnTo>
                          <a:pt x="1374" y="701"/>
                        </a:lnTo>
                        <a:lnTo>
                          <a:pt x="1378" y="704"/>
                        </a:lnTo>
                        <a:lnTo>
                          <a:pt x="1381" y="704"/>
                        </a:lnTo>
                        <a:lnTo>
                          <a:pt x="1383" y="703"/>
                        </a:lnTo>
                        <a:lnTo>
                          <a:pt x="1384" y="704"/>
                        </a:lnTo>
                        <a:lnTo>
                          <a:pt x="1381" y="708"/>
                        </a:lnTo>
                        <a:lnTo>
                          <a:pt x="1378" y="714"/>
                        </a:lnTo>
                        <a:lnTo>
                          <a:pt x="1378" y="718"/>
                        </a:lnTo>
                        <a:lnTo>
                          <a:pt x="1378" y="721"/>
                        </a:lnTo>
                        <a:lnTo>
                          <a:pt x="1383" y="716"/>
                        </a:lnTo>
                        <a:lnTo>
                          <a:pt x="1383" y="713"/>
                        </a:lnTo>
                        <a:lnTo>
                          <a:pt x="1387" y="704"/>
                        </a:lnTo>
                        <a:lnTo>
                          <a:pt x="1391" y="703"/>
                        </a:lnTo>
                        <a:lnTo>
                          <a:pt x="1391" y="694"/>
                        </a:lnTo>
                        <a:lnTo>
                          <a:pt x="1394" y="691"/>
                        </a:lnTo>
                        <a:lnTo>
                          <a:pt x="1397" y="689"/>
                        </a:lnTo>
                        <a:lnTo>
                          <a:pt x="1397" y="684"/>
                        </a:lnTo>
                        <a:lnTo>
                          <a:pt x="1396" y="683"/>
                        </a:lnTo>
                        <a:lnTo>
                          <a:pt x="1397" y="679"/>
                        </a:lnTo>
                        <a:lnTo>
                          <a:pt x="1394" y="678"/>
                        </a:lnTo>
                        <a:lnTo>
                          <a:pt x="1391" y="678"/>
                        </a:lnTo>
                        <a:lnTo>
                          <a:pt x="1391" y="671"/>
                        </a:lnTo>
                        <a:lnTo>
                          <a:pt x="1391" y="671"/>
                        </a:lnTo>
                        <a:lnTo>
                          <a:pt x="1389" y="664"/>
                        </a:lnTo>
                        <a:lnTo>
                          <a:pt x="1387" y="661"/>
                        </a:lnTo>
                        <a:lnTo>
                          <a:pt x="1386" y="656"/>
                        </a:lnTo>
                        <a:lnTo>
                          <a:pt x="1389" y="654"/>
                        </a:lnTo>
                        <a:lnTo>
                          <a:pt x="1391" y="658"/>
                        </a:lnTo>
                        <a:lnTo>
                          <a:pt x="1392" y="656"/>
                        </a:lnTo>
                        <a:lnTo>
                          <a:pt x="1397" y="654"/>
                        </a:lnTo>
                        <a:lnTo>
                          <a:pt x="1401" y="653"/>
                        </a:lnTo>
                        <a:lnTo>
                          <a:pt x="1399" y="649"/>
                        </a:lnTo>
                        <a:lnTo>
                          <a:pt x="1401" y="646"/>
                        </a:lnTo>
                        <a:lnTo>
                          <a:pt x="1406" y="646"/>
                        </a:lnTo>
                        <a:lnTo>
                          <a:pt x="1407" y="653"/>
                        </a:lnTo>
                        <a:lnTo>
                          <a:pt x="1407" y="654"/>
                        </a:lnTo>
                        <a:lnTo>
                          <a:pt x="1409" y="656"/>
                        </a:lnTo>
                        <a:lnTo>
                          <a:pt x="1412" y="653"/>
                        </a:lnTo>
                        <a:lnTo>
                          <a:pt x="1412" y="649"/>
                        </a:lnTo>
                        <a:lnTo>
                          <a:pt x="1416" y="646"/>
                        </a:lnTo>
                        <a:lnTo>
                          <a:pt x="1419" y="646"/>
                        </a:lnTo>
                        <a:lnTo>
                          <a:pt x="1417" y="643"/>
                        </a:lnTo>
                        <a:lnTo>
                          <a:pt x="1421" y="641"/>
                        </a:lnTo>
                        <a:lnTo>
                          <a:pt x="1424" y="641"/>
                        </a:lnTo>
                        <a:lnTo>
                          <a:pt x="1422" y="638"/>
                        </a:lnTo>
                        <a:lnTo>
                          <a:pt x="1419" y="638"/>
                        </a:lnTo>
                        <a:lnTo>
                          <a:pt x="1412" y="643"/>
                        </a:lnTo>
                        <a:lnTo>
                          <a:pt x="1409" y="643"/>
                        </a:lnTo>
                        <a:lnTo>
                          <a:pt x="1407" y="638"/>
                        </a:lnTo>
                        <a:lnTo>
                          <a:pt x="1404" y="636"/>
                        </a:lnTo>
                        <a:lnTo>
                          <a:pt x="1404" y="633"/>
                        </a:lnTo>
                        <a:lnTo>
                          <a:pt x="1409" y="631"/>
                        </a:lnTo>
                        <a:lnTo>
                          <a:pt x="1407" y="628"/>
                        </a:lnTo>
                        <a:lnTo>
                          <a:pt x="1409" y="623"/>
                        </a:lnTo>
                        <a:lnTo>
                          <a:pt x="1412" y="616"/>
                        </a:lnTo>
                        <a:lnTo>
                          <a:pt x="1412" y="613"/>
                        </a:lnTo>
                        <a:lnTo>
                          <a:pt x="1416" y="610"/>
                        </a:lnTo>
                        <a:lnTo>
                          <a:pt x="1422" y="610"/>
                        </a:lnTo>
                        <a:lnTo>
                          <a:pt x="1426" y="615"/>
                        </a:lnTo>
                        <a:lnTo>
                          <a:pt x="1427" y="616"/>
                        </a:lnTo>
                        <a:lnTo>
                          <a:pt x="1432" y="620"/>
                        </a:lnTo>
                        <a:lnTo>
                          <a:pt x="1436" y="625"/>
                        </a:lnTo>
                        <a:lnTo>
                          <a:pt x="1441" y="625"/>
                        </a:lnTo>
                        <a:lnTo>
                          <a:pt x="1437" y="621"/>
                        </a:lnTo>
                        <a:lnTo>
                          <a:pt x="1436" y="618"/>
                        </a:lnTo>
                        <a:lnTo>
                          <a:pt x="1429" y="615"/>
                        </a:lnTo>
                        <a:lnTo>
                          <a:pt x="1427" y="610"/>
                        </a:lnTo>
                        <a:lnTo>
                          <a:pt x="1427" y="608"/>
                        </a:lnTo>
                        <a:lnTo>
                          <a:pt x="1422" y="608"/>
                        </a:lnTo>
                        <a:lnTo>
                          <a:pt x="1419" y="606"/>
                        </a:lnTo>
                        <a:lnTo>
                          <a:pt x="1421" y="605"/>
                        </a:lnTo>
                        <a:lnTo>
                          <a:pt x="1429" y="605"/>
                        </a:lnTo>
                        <a:lnTo>
                          <a:pt x="1431" y="603"/>
                        </a:lnTo>
                        <a:lnTo>
                          <a:pt x="1432" y="603"/>
                        </a:lnTo>
                        <a:lnTo>
                          <a:pt x="1441" y="610"/>
                        </a:lnTo>
                        <a:lnTo>
                          <a:pt x="1447" y="613"/>
                        </a:lnTo>
                        <a:lnTo>
                          <a:pt x="1449" y="613"/>
                        </a:lnTo>
                        <a:lnTo>
                          <a:pt x="1444" y="610"/>
                        </a:lnTo>
                        <a:lnTo>
                          <a:pt x="1439" y="603"/>
                        </a:lnTo>
                        <a:lnTo>
                          <a:pt x="1434" y="600"/>
                        </a:lnTo>
                        <a:lnTo>
                          <a:pt x="1434" y="598"/>
                        </a:lnTo>
                        <a:lnTo>
                          <a:pt x="1436" y="593"/>
                        </a:lnTo>
                        <a:lnTo>
                          <a:pt x="1442" y="591"/>
                        </a:lnTo>
                        <a:lnTo>
                          <a:pt x="1444" y="593"/>
                        </a:lnTo>
                        <a:lnTo>
                          <a:pt x="1444" y="596"/>
                        </a:lnTo>
                        <a:lnTo>
                          <a:pt x="1444" y="600"/>
                        </a:lnTo>
                        <a:lnTo>
                          <a:pt x="1447" y="598"/>
                        </a:lnTo>
                        <a:lnTo>
                          <a:pt x="1446" y="595"/>
                        </a:lnTo>
                        <a:lnTo>
                          <a:pt x="1449" y="591"/>
                        </a:lnTo>
                        <a:lnTo>
                          <a:pt x="1454" y="591"/>
                        </a:lnTo>
                        <a:lnTo>
                          <a:pt x="1457" y="596"/>
                        </a:lnTo>
                        <a:lnTo>
                          <a:pt x="1459" y="598"/>
                        </a:lnTo>
                        <a:lnTo>
                          <a:pt x="1461" y="603"/>
                        </a:lnTo>
                        <a:lnTo>
                          <a:pt x="1464" y="601"/>
                        </a:lnTo>
                        <a:lnTo>
                          <a:pt x="1464" y="598"/>
                        </a:lnTo>
                        <a:lnTo>
                          <a:pt x="1459" y="593"/>
                        </a:lnTo>
                        <a:lnTo>
                          <a:pt x="1461" y="590"/>
                        </a:lnTo>
                        <a:lnTo>
                          <a:pt x="1472" y="588"/>
                        </a:lnTo>
                        <a:lnTo>
                          <a:pt x="1479" y="585"/>
                        </a:lnTo>
                        <a:lnTo>
                          <a:pt x="1485" y="585"/>
                        </a:lnTo>
                        <a:lnTo>
                          <a:pt x="1490" y="581"/>
                        </a:lnTo>
                        <a:lnTo>
                          <a:pt x="1497" y="583"/>
                        </a:lnTo>
                        <a:lnTo>
                          <a:pt x="1505" y="583"/>
                        </a:lnTo>
                        <a:lnTo>
                          <a:pt x="1512" y="585"/>
                        </a:lnTo>
                        <a:lnTo>
                          <a:pt x="1514" y="588"/>
                        </a:lnTo>
                        <a:lnTo>
                          <a:pt x="1512" y="590"/>
                        </a:lnTo>
                        <a:lnTo>
                          <a:pt x="1510" y="600"/>
                        </a:lnTo>
                        <a:lnTo>
                          <a:pt x="1510" y="601"/>
                        </a:lnTo>
                        <a:lnTo>
                          <a:pt x="1507" y="605"/>
                        </a:lnTo>
                        <a:lnTo>
                          <a:pt x="1504" y="610"/>
                        </a:lnTo>
                        <a:lnTo>
                          <a:pt x="1504" y="613"/>
                        </a:lnTo>
                        <a:lnTo>
                          <a:pt x="1509" y="615"/>
                        </a:lnTo>
                        <a:lnTo>
                          <a:pt x="1510" y="618"/>
                        </a:lnTo>
                        <a:lnTo>
                          <a:pt x="1510" y="620"/>
                        </a:lnTo>
                        <a:lnTo>
                          <a:pt x="1504" y="626"/>
                        </a:lnTo>
                        <a:lnTo>
                          <a:pt x="1502" y="630"/>
                        </a:lnTo>
                        <a:lnTo>
                          <a:pt x="1502" y="635"/>
                        </a:lnTo>
                        <a:lnTo>
                          <a:pt x="1505" y="636"/>
                        </a:lnTo>
                        <a:lnTo>
                          <a:pt x="1505" y="639"/>
                        </a:lnTo>
                        <a:lnTo>
                          <a:pt x="1502" y="643"/>
                        </a:lnTo>
                        <a:lnTo>
                          <a:pt x="1499" y="644"/>
                        </a:lnTo>
                        <a:lnTo>
                          <a:pt x="1495" y="648"/>
                        </a:lnTo>
                        <a:lnTo>
                          <a:pt x="1490" y="648"/>
                        </a:lnTo>
                        <a:lnTo>
                          <a:pt x="1487" y="651"/>
                        </a:lnTo>
                        <a:lnTo>
                          <a:pt x="1484" y="654"/>
                        </a:lnTo>
                        <a:lnTo>
                          <a:pt x="1482" y="658"/>
                        </a:lnTo>
                        <a:lnTo>
                          <a:pt x="1485" y="658"/>
                        </a:lnTo>
                        <a:lnTo>
                          <a:pt x="1490" y="653"/>
                        </a:lnTo>
                        <a:lnTo>
                          <a:pt x="1495" y="649"/>
                        </a:lnTo>
                        <a:lnTo>
                          <a:pt x="1499" y="649"/>
                        </a:lnTo>
                        <a:lnTo>
                          <a:pt x="1500" y="649"/>
                        </a:lnTo>
                        <a:lnTo>
                          <a:pt x="1497" y="653"/>
                        </a:lnTo>
                        <a:lnTo>
                          <a:pt x="1495" y="656"/>
                        </a:lnTo>
                        <a:lnTo>
                          <a:pt x="1489" y="661"/>
                        </a:lnTo>
                        <a:lnTo>
                          <a:pt x="1485" y="663"/>
                        </a:lnTo>
                        <a:lnTo>
                          <a:pt x="1484" y="664"/>
                        </a:lnTo>
                        <a:lnTo>
                          <a:pt x="1485" y="666"/>
                        </a:lnTo>
                        <a:lnTo>
                          <a:pt x="1484" y="669"/>
                        </a:lnTo>
                        <a:lnTo>
                          <a:pt x="1482" y="668"/>
                        </a:lnTo>
                        <a:lnTo>
                          <a:pt x="1479" y="668"/>
                        </a:lnTo>
                        <a:lnTo>
                          <a:pt x="1479" y="671"/>
                        </a:lnTo>
                        <a:lnTo>
                          <a:pt x="1481" y="671"/>
                        </a:lnTo>
                        <a:lnTo>
                          <a:pt x="1482" y="673"/>
                        </a:lnTo>
                        <a:lnTo>
                          <a:pt x="1482" y="676"/>
                        </a:lnTo>
                        <a:lnTo>
                          <a:pt x="1479" y="678"/>
                        </a:lnTo>
                        <a:lnTo>
                          <a:pt x="1482" y="678"/>
                        </a:lnTo>
                        <a:lnTo>
                          <a:pt x="1484" y="676"/>
                        </a:lnTo>
                        <a:lnTo>
                          <a:pt x="1489" y="674"/>
                        </a:lnTo>
                        <a:lnTo>
                          <a:pt x="1490" y="671"/>
                        </a:lnTo>
                        <a:lnTo>
                          <a:pt x="1490" y="668"/>
                        </a:lnTo>
                        <a:lnTo>
                          <a:pt x="1495" y="666"/>
                        </a:lnTo>
                        <a:lnTo>
                          <a:pt x="1497" y="663"/>
                        </a:lnTo>
                        <a:lnTo>
                          <a:pt x="1499" y="664"/>
                        </a:lnTo>
                        <a:lnTo>
                          <a:pt x="1499" y="669"/>
                        </a:lnTo>
                        <a:lnTo>
                          <a:pt x="1502" y="671"/>
                        </a:lnTo>
                        <a:lnTo>
                          <a:pt x="1502" y="666"/>
                        </a:lnTo>
                        <a:lnTo>
                          <a:pt x="1500" y="661"/>
                        </a:lnTo>
                        <a:lnTo>
                          <a:pt x="1500" y="658"/>
                        </a:lnTo>
                        <a:lnTo>
                          <a:pt x="1504" y="656"/>
                        </a:lnTo>
                        <a:lnTo>
                          <a:pt x="1507" y="658"/>
                        </a:lnTo>
                        <a:lnTo>
                          <a:pt x="1507" y="663"/>
                        </a:lnTo>
                        <a:lnTo>
                          <a:pt x="1509" y="664"/>
                        </a:lnTo>
                        <a:lnTo>
                          <a:pt x="1510" y="663"/>
                        </a:lnTo>
                        <a:lnTo>
                          <a:pt x="1517" y="658"/>
                        </a:lnTo>
                        <a:lnTo>
                          <a:pt x="1517" y="663"/>
                        </a:lnTo>
                        <a:lnTo>
                          <a:pt x="1520" y="664"/>
                        </a:lnTo>
                        <a:lnTo>
                          <a:pt x="1519" y="669"/>
                        </a:lnTo>
                        <a:lnTo>
                          <a:pt x="1514" y="676"/>
                        </a:lnTo>
                        <a:lnTo>
                          <a:pt x="1509" y="679"/>
                        </a:lnTo>
                        <a:lnTo>
                          <a:pt x="1507" y="683"/>
                        </a:lnTo>
                        <a:lnTo>
                          <a:pt x="1510" y="683"/>
                        </a:lnTo>
                        <a:lnTo>
                          <a:pt x="1515" y="686"/>
                        </a:lnTo>
                        <a:lnTo>
                          <a:pt x="1519" y="683"/>
                        </a:lnTo>
                        <a:lnTo>
                          <a:pt x="1515" y="681"/>
                        </a:lnTo>
                        <a:lnTo>
                          <a:pt x="1517" y="676"/>
                        </a:lnTo>
                        <a:lnTo>
                          <a:pt x="1522" y="673"/>
                        </a:lnTo>
                        <a:lnTo>
                          <a:pt x="1525" y="678"/>
                        </a:lnTo>
                        <a:lnTo>
                          <a:pt x="1525" y="681"/>
                        </a:lnTo>
                        <a:lnTo>
                          <a:pt x="1527" y="679"/>
                        </a:lnTo>
                        <a:lnTo>
                          <a:pt x="1525" y="673"/>
                        </a:lnTo>
                        <a:lnTo>
                          <a:pt x="1524" y="669"/>
                        </a:lnTo>
                        <a:lnTo>
                          <a:pt x="1524" y="661"/>
                        </a:lnTo>
                        <a:lnTo>
                          <a:pt x="1525" y="661"/>
                        </a:lnTo>
                        <a:lnTo>
                          <a:pt x="1530" y="663"/>
                        </a:lnTo>
                        <a:lnTo>
                          <a:pt x="1529" y="666"/>
                        </a:lnTo>
                        <a:lnTo>
                          <a:pt x="1527" y="669"/>
                        </a:lnTo>
                        <a:lnTo>
                          <a:pt x="1530" y="669"/>
                        </a:lnTo>
                        <a:lnTo>
                          <a:pt x="1534" y="668"/>
                        </a:lnTo>
                        <a:lnTo>
                          <a:pt x="1542" y="674"/>
                        </a:lnTo>
                        <a:lnTo>
                          <a:pt x="1542" y="678"/>
                        </a:lnTo>
                        <a:lnTo>
                          <a:pt x="1547" y="678"/>
                        </a:lnTo>
                        <a:lnTo>
                          <a:pt x="1550" y="679"/>
                        </a:lnTo>
                        <a:lnTo>
                          <a:pt x="1554" y="679"/>
                        </a:lnTo>
                        <a:lnTo>
                          <a:pt x="1550" y="674"/>
                        </a:lnTo>
                        <a:lnTo>
                          <a:pt x="1547" y="674"/>
                        </a:lnTo>
                        <a:lnTo>
                          <a:pt x="1545" y="673"/>
                        </a:lnTo>
                        <a:lnTo>
                          <a:pt x="1537" y="666"/>
                        </a:lnTo>
                        <a:lnTo>
                          <a:pt x="1534" y="664"/>
                        </a:lnTo>
                        <a:lnTo>
                          <a:pt x="1532" y="663"/>
                        </a:lnTo>
                        <a:lnTo>
                          <a:pt x="1537" y="656"/>
                        </a:lnTo>
                        <a:lnTo>
                          <a:pt x="1542" y="656"/>
                        </a:lnTo>
                        <a:lnTo>
                          <a:pt x="1547" y="653"/>
                        </a:lnTo>
                        <a:lnTo>
                          <a:pt x="1554" y="651"/>
                        </a:lnTo>
                        <a:lnTo>
                          <a:pt x="1560" y="651"/>
                        </a:lnTo>
                        <a:lnTo>
                          <a:pt x="1562" y="653"/>
                        </a:lnTo>
                        <a:lnTo>
                          <a:pt x="1565" y="653"/>
                        </a:lnTo>
                        <a:lnTo>
                          <a:pt x="1572" y="656"/>
                        </a:lnTo>
                        <a:lnTo>
                          <a:pt x="1572" y="659"/>
                        </a:lnTo>
                        <a:lnTo>
                          <a:pt x="1575" y="661"/>
                        </a:lnTo>
                        <a:lnTo>
                          <a:pt x="1579" y="663"/>
                        </a:lnTo>
                        <a:lnTo>
                          <a:pt x="1579" y="666"/>
                        </a:lnTo>
                        <a:lnTo>
                          <a:pt x="1582" y="666"/>
                        </a:lnTo>
                        <a:lnTo>
                          <a:pt x="1582" y="664"/>
                        </a:lnTo>
                        <a:lnTo>
                          <a:pt x="1587" y="664"/>
                        </a:lnTo>
                        <a:lnTo>
                          <a:pt x="1588" y="668"/>
                        </a:lnTo>
                        <a:lnTo>
                          <a:pt x="1593" y="671"/>
                        </a:lnTo>
                        <a:lnTo>
                          <a:pt x="1593" y="673"/>
                        </a:lnTo>
                        <a:lnTo>
                          <a:pt x="1593" y="676"/>
                        </a:lnTo>
                        <a:lnTo>
                          <a:pt x="1593" y="679"/>
                        </a:lnTo>
                        <a:lnTo>
                          <a:pt x="1595" y="681"/>
                        </a:lnTo>
                        <a:lnTo>
                          <a:pt x="1590" y="686"/>
                        </a:lnTo>
                        <a:lnTo>
                          <a:pt x="1587" y="686"/>
                        </a:lnTo>
                        <a:lnTo>
                          <a:pt x="1582" y="684"/>
                        </a:lnTo>
                        <a:lnTo>
                          <a:pt x="1575" y="686"/>
                        </a:lnTo>
                        <a:lnTo>
                          <a:pt x="1569" y="693"/>
                        </a:lnTo>
                        <a:lnTo>
                          <a:pt x="1577" y="688"/>
                        </a:lnTo>
                        <a:lnTo>
                          <a:pt x="1583" y="688"/>
                        </a:lnTo>
                        <a:lnTo>
                          <a:pt x="1585" y="689"/>
                        </a:lnTo>
                        <a:lnTo>
                          <a:pt x="1582" y="693"/>
                        </a:lnTo>
                        <a:lnTo>
                          <a:pt x="1577" y="694"/>
                        </a:lnTo>
                        <a:lnTo>
                          <a:pt x="1572" y="703"/>
                        </a:lnTo>
                        <a:lnTo>
                          <a:pt x="1569" y="704"/>
                        </a:lnTo>
                        <a:lnTo>
                          <a:pt x="1565" y="706"/>
                        </a:lnTo>
                        <a:lnTo>
                          <a:pt x="1565" y="709"/>
                        </a:lnTo>
                        <a:lnTo>
                          <a:pt x="1567" y="709"/>
                        </a:lnTo>
                        <a:lnTo>
                          <a:pt x="1575" y="701"/>
                        </a:lnTo>
                        <a:lnTo>
                          <a:pt x="1580" y="696"/>
                        </a:lnTo>
                        <a:lnTo>
                          <a:pt x="1585" y="693"/>
                        </a:lnTo>
                        <a:lnTo>
                          <a:pt x="1590" y="689"/>
                        </a:lnTo>
                        <a:lnTo>
                          <a:pt x="1595" y="691"/>
                        </a:lnTo>
                        <a:lnTo>
                          <a:pt x="1598" y="693"/>
                        </a:lnTo>
                        <a:lnTo>
                          <a:pt x="1602" y="693"/>
                        </a:lnTo>
                        <a:lnTo>
                          <a:pt x="1602" y="696"/>
                        </a:lnTo>
                        <a:lnTo>
                          <a:pt x="1600" y="699"/>
                        </a:lnTo>
                        <a:lnTo>
                          <a:pt x="1600" y="703"/>
                        </a:lnTo>
                        <a:lnTo>
                          <a:pt x="1595" y="704"/>
                        </a:lnTo>
                        <a:lnTo>
                          <a:pt x="1592" y="709"/>
                        </a:lnTo>
                        <a:lnTo>
                          <a:pt x="1587" y="709"/>
                        </a:lnTo>
                        <a:lnTo>
                          <a:pt x="1585" y="708"/>
                        </a:lnTo>
                        <a:lnTo>
                          <a:pt x="1580" y="708"/>
                        </a:lnTo>
                        <a:lnTo>
                          <a:pt x="1579" y="709"/>
                        </a:lnTo>
                        <a:lnTo>
                          <a:pt x="1583" y="709"/>
                        </a:lnTo>
                        <a:lnTo>
                          <a:pt x="1583" y="713"/>
                        </a:lnTo>
                        <a:lnTo>
                          <a:pt x="1575" y="716"/>
                        </a:lnTo>
                        <a:lnTo>
                          <a:pt x="1579" y="718"/>
                        </a:lnTo>
                        <a:lnTo>
                          <a:pt x="1582" y="714"/>
                        </a:lnTo>
                        <a:lnTo>
                          <a:pt x="1587" y="713"/>
                        </a:lnTo>
                        <a:lnTo>
                          <a:pt x="1590" y="713"/>
                        </a:lnTo>
                        <a:lnTo>
                          <a:pt x="1590" y="714"/>
                        </a:lnTo>
                        <a:lnTo>
                          <a:pt x="1588" y="716"/>
                        </a:lnTo>
                        <a:lnTo>
                          <a:pt x="1583" y="718"/>
                        </a:lnTo>
                        <a:lnTo>
                          <a:pt x="1579" y="721"/>
                        </a:lnTo>
                        <a:lnTo>
                          <a:pt x="1582" y="719"/>
                        </a:lnTo>
                        <a:lnTo>
                          <a:pt x="1583" y="721"/>
                        </a:lnTo>
                        <a:lnTo>
                          <a:pt x="1580" y="724"/>
                        </a:lnTo>
                        <a:lnTo>
                          <a:pt x="1575" y="729"/>
                        </a:lnTo>
                        <a:lnTo>
                          <a:pt x="1572" y="731"/>
                        </a:lnTo>
                        <a:lnTo>
                          <a:pt x="1575" y="733"/>
                        </a:lnTo>
                        <a:lnTo>
                          <a:pt x="1582" y="729"/>
                        </a:lnTo>
                        <a:lnTo>
                          <a:pt x="1585" y="721"/>
                        </a:lnTo>
                        <a:lnTo>
                          <a:pt x="1588" y="718"/>
                        </a:lnTo>
                        <a:lnTo>
                          <a:pt x="1595" y="713"/>
                        </a:lnTo>
                        <a:lnTo>
                          <a:pt x="1597" y="714"/>
                        </a:lnTo>
                        <a:lnTo>
                          <a:pt x="1597" y="718"/>
                        </a:lnTo>
                        <a:lnTo>
                          <a:pt x="1600" y="716"/>
                        </a:lnTo>
                        <a:lnTo>
                          <a:pt x="1602" y="713"/>
                        </a:lnTo>
                        <a:lnTo>
                          <a:pt x="1607" y="709"/>
                        </a:lnTo>
                        <a:lnTo>
                          <a:pt x="1610" y="709"/>
                        </a:lnTo>
                        <a:lnTo>
                          <a:pt x="1610" y="713"/>
                        </a:lnTo>
                        <a:lnTo>
                          <a:pt x="1603" y="718"/>
                        </a:lnTo>
                        <a:lnTo>
                          <a:pt x="1595" y="723"/>
                        </a:lnTo>
                        <a:lnTo>
                          <a:pt x="1592" y="723"/>
                        </a:lnTo>
                        <a:lnTo>
                          <a:pt x="1592" y="726"/>
                        </a:lnTo>
                        <a:lnTo>
                          <a:pt x="1593" y="726"/>
                        </a:lnTo>
                        <a:lnTo>
                          <a:pt x="1590" y="731"/>
                        </a:lnTo>
                        <a:lnTo>
                          <a:pt x="1590" y="734"/>
                        </a:lnTo>
                        <a:lnTo>
                          <a:pt x="1592" y="734"/>
                        </a:lnTo>
                        <a:lnTo>
                          <a:pt x="1593" y="731"/>
                        </a:lnTo>
                        <a:lnTo>
                          <a:pt x="1595" y="728"/>
                        </a:lnTo>
                        <a:lnTo>
                          <a:pt x="1602" y="723"/>
                        </a:lnTo>
                        <a:lnTo>
                          <a:pt x="1607" y="719"/>
                        </a:lnTo>
                        <a:lnTo>
                          <a:pt x="1607" y="723"/>
                        </a:lnTo>
                        <a:lnTo>
                          <a:pt x="1607" y="724"/>
                        </a:lnTo>
                        <a:lnTo>
                          <a:pt x="1605" y="728"/>
                        </a:lnTo>
                        <a:lnTo>
                          <a:pt x="1598" y="733"/>
                        </a:lnTo>
                        <a:lnTo>
                          <a:pt x="1598" y="736"/>
                        </a:lnTo>
                        <a:lnTo>
                          <a:pt x="1595" y="741"/>
                        </a:lnTo>
                        <a:lnTo>
                          <a:pt x="1592" y="742"/>
                        </a:lnTo>
                        <a:lnTo>
                          <a:pt x="1592" y="744"/>
                        </a:lnTo>
                        <a:lnTo>
                          <a:pt x="1597" y="742"/>
                        </a:lnTo>
                        <a:lnTo>
                          <a:pt x="1598" y="739"/>
                        </a:lnTo>
                        <a:lnTo>
                          <a:pt x="1605" y="733"/>
                        </a:lnTo>
                        <a:lnTo>
                          <a:pt x="1608" y="731"/>
                        </a:lnTo>
                        <a:lnTo>
                          <a:pt x="1610" y="734"/>
                        </a:lnTo>
                        <a:lnTo>
                          <a:pt x="1612" y="734"/>
                        </a:lnTo>
                        <a:lnTo>
                          <a:pt x="1612" y="737"/>
                        </a:lnTo>
                        <a:lnTo>
                          <a:pt x="1608" y="737"/>
                        </a:lnTo>
                        <a:lnTo>
                          <a:pt x="1603" y="744"/>
                        </a:lnTo>
                        <a:lnTo>
                          <a:pt x="1602" y="749"/>
                        </a:lnTo>
                        <a:lnTo>
                          <a:pt x="1605" y="749"/>
                        </a:lnTo>
                        <a:lnTo>
                          <a:pt x="1607" y="747"/>
                        </a:lnTo>
                        <a:lnTo>
                          <a:pt x="1607" y="744"/>
                        </a:lnTo>
                        <a:lnTo>
                          <a:pt x="1610" y="739"/>
                        </a:lnTo>
                        <a:lnTo>
                          <a:pt x="1615" y="737"/>
                        </a:lnTo>
                        <a:lnTo>
                          <a:pt x="1615" y="733"/>
                        </a:lnTo>
                        <a:lnTo>
                          <a:pt x="1617" y="729"/>
                        </a:lnTo>
                        <a:lnTo>
                          <a:pt x="1620" y="728"/>
                        </a:lnTo>
                        <a:lnTo>
                          <a:pt x="1622" y="724"/>
                        </a:lnTo>
                        <a:lnTo>
                          <a:pt x="1623" y="723"/>
                        </a:lnTo>
                        <a:lnTo>
                          <a:pt x="1625" y="721"/>
                        </a:lnTo>
                        <a:lnTo>
                          <a:pt x="1627" y="719"/>
                        </a:lnTo>
                        <a:lnTo>
                          <a:pt x="1627" y="716"/>
                        </a:lnTo>
                        <a:lnTo>
                          <a:pt x="1630" y="714"/>
                        </a:lnTo>
                        <a:lnTo>
                          <a:pt x="1633" y="721"/>
                        </a:lnTo>
                        <a:lnTo>
                          <a:pt x="1637" y="723"/>
                        </a:lnTo>
                        <a:lnTo>
                          <a:pt x="1640" y="728"/>
                        </a:lnTo>
                        <a:lnTo>
                          <a:pt x="1642" y="731"/>
                        </a:lnTo>
                        <a:lnTo>
                          <a:pt x="1642" y="736"/>
                        </a:lnTo>
                        <a:lnTo>
                          <a:pt x="1647" y="739"/>
                        </a:lnTo>
                        <a:lnTo>
                          <a:pt x="1647" y="742"/>
                        </a:lnTo>
                        <a:lnTo>
                          <a:pt x="1643" y="744"/>
                        </a:lnTo>
                        <a:lnTo>
                          <a:pt x="1640" y="749"/>
                        </a:lnTo>
                        <a:lnTo>
                          <a:pt x="1637" y="749"/>
                        </a:lnTo>
                        <a:lnTo>
                          <a:pt x="1633" y="747"/>
                        </a:lnTo>
                        <a:lnTo>
                          <a:pt x="1630" y="744"/>
                        </a:lnTo>
                        <a:lnTo>
                          <a:pt x="1627" y="744"/>
                        </a:lnTo>
                        <a:lnTo>
                          <a:pt x="1625" y="746"/>
                        </a:lnTo>
                        <a:lnTo>
                          <a:pt x="1622" y="747"/>
                        </a:lnTo>
                        <a:lnTo>
                          <a:pt x="1620" y="751"/>
                        </a:lnTo>
                        <a:lnTo>
                          <a:pt x="1617" y="752"/>
                        </a:lnTo>
                        <a:lnTo>
                          <a:pt x="1613" y="752"/>
                        </a:lnTo>
                        <a:lnTo>
                          <a:pt x="1612" y="756"/>
                        </a:lnTo>
                        <a:lnTo>
                          <a:pt x="1617" y="756"/>
                        </a:lnTo>
                        <a:lnTo>
                          <a:pt x="1618" y="756"/>
                        </a:lnTo>
                        <a:lnTo>
                          <a:pt x="1620" y="757"/>
                        </a:lnTo>
                        <a:lnTo>
                          <a:pt x="1617" y="761"/>
                        </a:lnTo>
                        <a:lnTo>
                          <a:pt x="1612" y="762"/>
                        </a:lnTo>
                        <a:lnTo>
                          <a:pt x="1608" y="764"/>
                        </a:lnTo>
                        <a:lnTo>
                          <a:pt x="1613" y="766"/>
                        </a:lnTo>
                        <a:lnTo>
                          <a:pt x="1618" y="762"/>
                        </a:lnTo>
                        <a:lnTo>
                          <a:pt x="1623" y="762"/>
                        </a:lnTo>
                        <a:lnTo>
                          <a:pt x="1627" y="762"/>
                        </a:lnTo>
                        <a:lnTo>
                          <a:pt x="1632" y="759"/>
                        </a:lnTo>
                        <a:lnTo>
                          <a:pt x="1635" y="759"/>
                        </a:lnTo>
                        <a:lnTo>
                          <a:pt x="1638" y="762"/>
                        </a:lnTo>
                        <a:lnTo>
                          <a:pt x="1638" y="764"/>
                        </a:lnTo>
                        <a:lnTo>
                          <a:pt x="1638" y="766"/>
                        </a:lnTo>
                        <a:lnTo>
                          <a:pt x="1640" y="764"/>
                        </a:lnTo>
                        <a:lnTo>
                          <a:pt x="1642" y="759"/>
                        </a:lnTo>
                        <a:lnTo>
                          <a:pt x="1640" y="756"/>
                        </a:lnTo>
                        <a:lnTo>
                          <a:pt x="1643" y="752"/>
                        </a:lnTo>
                        <a:lnTo>
                          <a:pt x="1650" y="749"/>
                        </a:lnTo>
                        <a:lnTo>
                          <a:pt x="1652" y="751"/>
                        </a:lnTo>
                        <a:lnTo>
                          <a:pt x="1650" y="754"/>
                        </a:lnTo>
                        <a:lnTo>
                          <a:pt x="1652" y="757"/>
                        </a:lnTo>
                        <a:lnTo>
                          <a:pt x="1650" y="761"/>
                        </a:lnTo>
                        <a:lnTo>
                          <a:pt x="1645" y="766"/>
                        </a:lnTo>
                        <a:lnTo>
                          <a:pt x="1640" y="767"/>
                        </a:lnTo>
                        <a:lnTo>
                          <a:pt x="1637" y="771"/>
                        </a:lnTo>
                        <a:lnTo>
                          <a:pt x="1637" y="772"/>
                        </a:lnTo>
                        <a:lnTo>
                          <a:pt x="1632" y="772"/>
                        </a:lnTo>
                        <a:lnTo>
                          <a:pt x="1630" y="771"/>
                        </a:lnTo>
                        <a:lnTo>
                          <a:pt x="1627" y="771"/>
                        </a:lnTo>
                        <a:lnTo>
                          <a:pt x="1623" y="774"/>
                        </a:lnTo>
                        <a:lnTo>
                          <a:pt x="1623" y="777"/>
                        </a:lnTo>
                        <a:lnTo>
                          <a:pt x="1618" y="781"/>
                        </a:lnTo>
                        <a:lnTo>
                          <a:pt x="1618" y="784"/>
                        </a:lnTo>
                        <a:lnTo>
                          <a:pt x="1617" y="786"/>
                        </a:lnTo>
                        <a:lnTo>
                          <a:pt x="1620" y="786"/>
                        </a:lnTo>
                        <a:lnTo>
                          <a:pt x="1625" y="781"/>
                        </a:lnTo>
                        <a:lnTo>
                          <a:pt x="1628" y="774"/>
                        </a:lnTo>
                        <a:lnTo>
                          <a:pt x="1632" y="774"/>
                        </a:lnTo>
                        <a:lnTo>
                          <a:pt x="1632" y="774"/>
                        </a:lnTo>
                        <a:lnTo>
                          <a:pt x="1635" y="776"/>
                        </a:lnTo>
                        <a:lnTo>
                          <a:pt x="1635" y="777"/>
                        </a:lnTo>
                        <a:lnTo>
                          <a:pt x="1633" y="779"/>
                        </a:lnTo>
                        <a:lnTo>
                          <a:pt x="1630" y="784"/>
                        </a:lnTo>
                        <a:lnTo>
                          <a:pt x="1623" y="789"/>
                        </a:lnTo>
                        <a:lnTo>
                          <a:pt x="1620" y="792"/>
                        </a:lnTo>
                        <a:lnTo>
                          <a:pt x="1620" y="794"/>
                        </a:lnTo>
                        <a:lnTo>
                          <a:pt x="1628" y="789"/>
                        </a:lnTo>
                        <a:lnTo>
                          <a:pt x="1637" y="782"/>
                        </a:lnTo>
                        <a:lnTo>
                          <a:pt x="1638" y="774"/>
                        </a:lnTo>
                        <a:lnTo>
                          <a:pt x="1640" y="772"/>
                        </a:lnTo>
                        <a:lnTo>
                          <a:pt x="1642" y="769"/>
                        </a:lnTo>
                        <a:lnTo>
                          <a:pt x="1645" y="769"/>
                        </a:lnTo>
                        <a:lnTo>
                          <a:pt x="1652" y="766"/>
                        </a:lnTo>
                        <a:lnTo>
                          <a:pt x="1658" y="762"/>
                        </a:lnTo>
                        <a:lnTo>
                          <a:pt x="1662" y="762"/>
                        </a:lnTo>
                        <a:lnTo>
                          <a:pt x="1662" y="764"/>
                        </a:lnTo>
                        <a:lnTo>
                          <a:pt x="1660" y="766"/>
                        </a:lnTo>
                        <a:lnTo>
                          <a:pt x="1655" y="771"/>
                        </a:lnTo>
                        <a:lnTo>
                          <a:pt x="1650" y="771"/>
                        </a:lnTo>
                        <a:lnTo>
                          <a:pt x="1647" y="772"/>
                        </a:lnTo>
                        <a:lnTo>
                          <a:pt x="1647" y="777"/>
                        </a:lnTo>
                        <a:lnTo>
                          <a:pt x="1647" y="777"/>
                        </a:lnTo>
                        <a:lnTo>
                          <a:pt x="1650" y="774"/>
                        </a:lnTo>
                        <a:lnTo>
                          <a:pt x="1655" y="774"/>
                        </a:lnTo>
                        <a:lnTo>
                          <a:pt x="1660" y="771"/>
                        </a:lnTo>
                        <a:lnTo>
                          <a:pt x="1663" y="769"/>
                        </a:lnTo>
                        <a:lnTo>
                          <a:pt x="1665" y="767"/>
                        </a:lnTo>
                        <a:lnTo>
                          <a:pt x="1668" y="766"/>
                        </a:lnTo>
                        <a:lnTo>
                          <a:pt x="1672" y="766"/>
                        </a:lnTo>
                        <a:lnTo>
                          <a:pt x="1675" y="771"/>
                        </a:lnTo>
                        <a:lnTo>
                          <a:pt x="1680" y="776"/>
                        </a:lnTo>
                        <a:lnTo>
                          <a:pt x="1682" y="779"/>
                        </a:lnTo>
                        <a:lnTo>
                          <a:pt x="1686" y="781"/>
                        </a:lnTo>
                        <a:lnTo>
                          <a:pt x="1686" y="784"/>
                        </a:lnTo>
                        <a:lnTo>
                          <a:pt x="1686" y="787"/>
                        </a:lnTo>
                        <a:lnTo>
                          <a:pt x="1682" y="791"/>
                        </a:lnTo>
                        <a:lnTo>
                          <a:pt x="1680" y="791"/>
                        </a:lnTo>
                        <a:lnTo>
                          <a:pt x="1680" y="786"/>
                        </a:lnTo>
                        <a:lnTo>
                          <a:pt x="1677" y="786"/>
                        </a:lnTo>
                        <a:lnTo>
                          <a:pt x="1677" y="789"/>
                        </a:lnTo>
                        <a:lnTo>
                          <a:pt x="1673" y="791"/>
                        </a:lnTo>
                        <a:lnTo>
                          <a:pt x="1672" y="794"/>
                        </a:lnTo>
                        <a:lnTo>
                          <a:pt x="1663" y="794"/>
                        </a:lnTo>
                        <a:lnTo>
                          <a:pt x="1660" y="796"/>
                        </a:lnTo>
                        <a:lnTo>
                          <a:pt x="1655" y="796"/>
                        </a:lnTo>
                        <a:lnTo>
                          <a:pt x="1648" y="799"/>
                        </a:lnTo>
                        <a:lnTo>
                          <a:pt x="1645" y="799"/>
                        </a:lnTo>
                        <a:lnTo>
                          <a:pt x="1638" y="802"/>
                        </a:lnTo>
                        <a:lnTo>
                          <a:pt x="1642" y="802"/>
                        </a:lnTo>
                        <a:lnTo>
                          <a:pt x="1645" y="804"/>
                        </a:lnTo>
                        <a:lnTo>
                          <a:pt x="1643" y="806"/>
                        </a:lnTo>
                        <a:lnTo>
                          <a:pt x="1637" y="807"/>
                        </a:lnTo>
                        <a:lnTo>
                          <a:pt x="1635" y="809"/>
                        </a:lnTo>
                        <a:lnTo>
                          <a:pt x="1643" y="809"/>
                        </a:lnTo>
                        <a:lnTo>
                          <a:pt x="1648" y="804"/>
                        </a:lnTo>
                        <a:lnTo>
                          <a:pt x="1655" y="799"/>
                        </a:lnTo>
                        <a:lnTo>
                          <a:pt x="1660" y="797"/>
                        </a:lnTo>
                        <a:lnTo>
                          <a:pt x="1663" y="799"/>
                        </a:lnTo>
                        <a:lnTo>
                          <a:pt x="1667" y="797"/>
                        </a:lnTo>
                        <a:lnTo>
                          <a:pt x="1670" y="797"/>
                        </a:lnTo>
                        <a:lnTo>
                          <a:pt x="1670" y="799"/>
                        </a:lnTo>
                        <a:lnTo>
                          <a:pt x="1670" y="804"/>
                        </a:lnTo>
                        <a:lnTo>
                          <a:pt x="1667" y="806"/>
                        </a:lnTo>
                        <a:lnTo>
                          <a:pt x="1663" y="809"/>
                        </a:lnTo>
                        <a:lnTo>
                          <a:pt x="1660" y="807"/>
                        </a:lnTo>
                        <a:lnTo>
                          <a:pt x="1657" y="809"/>
                        </a:lnTo>
                        <a:lnTo>
                          <a:pt x="1653" y="814"/>
                        </a:lnTo>
                        <a:lnTo>
                          <a:pt x="1650" y="816"/>
                        </a:lnTo>
                        <a:lnTo>
                          <a:pt x="1647" y="814"/>
                        </a:lnTo>
                        <a:lnTo>
                          <a:pt x="1643" y="814"/>
                        </a:lnTo>
                        <a:lnTo>
                          <a:pt x="1640" y="817"/>
                        </a:lnTo>
                        <a:lnTo>
                          <a:pt x="1642" y="817"/>
                        </a:lnTo>
                        <a:lnTo>
                          <a:pt x="1647" y="816"/>
                        </a:lnTo>
                        <a:lnTo>
                          <a:pt x="1650" y="817"/>
                        </a:lnTo>
                        <a:lnTo>
                          <a:pt x="1652" y="817"/>
                        </a:lnTo>
                        <a:lnTo>
                          <a:pt x="1657" y="814"/>
                        </a:lnTo>
                        <a:lnTo>
                          <a:pt x="1660" y="811"/>
                        </a:lnTo>
                        <a:lnTo>
                          <a:pt x="1663" y="809"/>
                        </a:lnTo>
                        <a:lnTo>
                          <a:pt x="1667" y="811"/>
                        </a:lnTo>
                        <a:lnTo>
                          <a:pt x="1672" y="811"/>
                        </a:lnTo>
                        <a:lnTo>
                          <a:pt x="1673" y="807"/>
                        </a:lnTo>
                        <a:lnTo>
                          <a:pt x="1678" y="806"/>
                        </a:lnTo>
                        <a:lnTo>
                          <a:pt x="1680" y="804"/>
                        </a:lnTo>
                        <a:lnTo>
                          <a:pt x="1680" y="802"/>
                        </a:lnTo>
                        <a:lnTo>
                          <a:pt x="1678" y="801"/>
                        </a:lnTo>
                        <a:lnTo>
                          <a:pt x="1682" y="797"/>
                        </a:lnTo>
                        <a:lnTo>
                          <a:pt x="1682" y="794"/>
                        </a:lnTo>
                        <a:lnTo>
                          <a:pt x="1685" y="794"/>
                        </a:lnTo>
                        <a:lnTo>
                          <a:pt x="1686" y="796"/>
                        </a:lnTo>
                        <a:lnTo>
                          <a:pt x="1688" y="794"/>
                        </a:lnTo>
                        <a:lnTo>
                          <a:pt x="1690" y="799"/>
                        </a:lnTo>
                        <a:lnTo>
                          <a:pt x="1693" y="807"/>
                        </a:lnTo>
                        <a:lnTo>
                          <a:pt x="1695" y="812"/>
                        </a:lnTo>
                        <a:lnTo>
                          <a:pt x="1696" y="816"/>
                        </a:lnTo>
                        <a:lnTo>
                          <a:pt x="1696" y="819"/>
                        </a:lnTo>
                        <a:lnTo>
                          <a:pt x="1695" y="822"/>
                        </a:lnTo>
                        <a:lnTo>
                          <a:pt x="1690" y="822"/>
                        </a:lnTo>
                        <a:lnTo>
                          <a:pt x="1686" y="821"/>
                        </a:lnTo>
                        <a:lnTo>
                          <a:pt x="1680" y="819"/>
                        </a:lnTo>
                        <a:lnTo>
                          <a:pt x="1677" y="821"/>
                        </a:lnTo>
                        <a:lnTo>
                          <a:pt x="1672" y="824"/>
                        </a:lnTo>
                        <a:lnTo>
                          <a:pt x="1670" y="824"/>
                        </a:lnTo>
                        <a:lnTo>
                          <a:pt x="1668" y="822"/>
                        </a:lnTo>
                        <a:lnTo>
                          <a:pt x="1663" y="822"/>
                        </a:lnTo>
                        <a:lnTo>
                          <a:pt x="1662" y="826"/>
                        </a:lnTo>
                        <a:lnTo>
                          <a:pt x="1653" y="826"/>
                        </a:lnTo>
                        <a:lnTo>
                          <a:pt x="1657" y="827"/>
                        </a:lnTo>
                        <a:lnTo>
                          <a:pt x="1665" y="826"/>
                        </a:lnTo>
                        <a:lnTo>
                          <a:pt x="1670" y="827"/>
                        </a:lnTo>
                        <a:lnTo>
                          <a:pt x="1677" y="832"/>
                        </a:lnTo>
                        <a:lnTo>
                          <a:pt x="1680" y="834"/>
                        </a:lnTo>
                        <a:lnTo>
                          <a:pt x="1682" y="834"/>
                        </a:lnTo>
                        <a:lnTo>
                          <a:pt x="1685" y="832"/>
                        </a:lnTo>
                        <a:lnTo>
                          <a:pt x="1686" y="834"/>
                        </a:lnTo>
                        <a:lnTo>
                          <a:pt x="1691" y="837"/>
                        </a:lnTo>
                        <a:lnTo>
                          <a:pt x="1695" y="839"/>
                        </a:lnTo>
                        <a:lnTo>
                          <a:pt x="1696" y="840"/>
                        </a:lnTo>
                        <a:lnTo>
                          <a:pt x="1698" y="845"/>
                        </a:lnTo>
                        <a:lnTo>
                          <a:pt x="1698" y="849"/>
                        </a:lnTo>
                        <a:lnTo>
                          <a:pt x="1696" y="850"/>
                        </a:lnTo>
                        <a:lnTo>
                          <a:pt x="1693" y="850"/>
                        </a:lnTo>
                        <a:lnTo>
                          <a:pt x="1691" y="847"/>
                        </a:lnTo>
                        <a:lnTo>
                          <a:pt x="1690" y="847"/>
                        </a:lnTo>
                        <a:lnTo>
                          <a:pt x="1688" y="850"/>
                        </a:lnTo>
                        <a:lnTo>
                          <a:pt x="1685" y="849"/>
                        </a:lnTo>
                        <a:lnTo>
                          <a:pt x="1683" y="847"/>
                        </a:lnTo>
                        <a:lnTo>
                          <a:pt x="1682" y="847"/>
                        </a:lnTo>
                        <a:lnTo>
                          <a:pt x="1678" y="847"/>
                        </a:lnTo>
                        <a:lnTo>
                          <a:pt x="1673" y="842"/>
                        </a:lnTo>
                        <a:lnTo>
                          <a:pt x="1670" y="840"/>
                        </a:lnTo>
                        <a:lnTo>
                          <a:pt x="1667" y="840"/>
                        </a:lnTo>
                        <a:lnTo>
                          <a:pt x="1663" y="842"/>
                        </a:lnTo>
                        <a:lnTo>
                          <a:pt x="1660" y="840"/>
                        </a:lnTo>
                        <a:lnTo>
                          <a:pt x="1662" y="842"/>
                        </a:lnTo>
                        <a:lnTo>
                          <a:pt x="1665" y="844"/>
                        </a:lnTo>
                        <a:lnTo>
                          <a:pt x="1670" y="844"/>
                        </a:lnTo>
                        <a:lnTo>
                          <a:pt x="1668" y="845"/>
                        </a:lnTo>
                        <a:lnTo>
                          <a:pt x="1662" y="845"/>
                        </a:lnTo>
                        <a:lnTo>
                          <a:pt x="1660" y="847"/>
                        </a:lnTo>
                        <a:lnTo>
                          <a:pt x="1655" y="847"/>
                        </a:lnTo>
                        <a:lnTo>
                          <a:pt x="1650" y="849"/>
                        </a:lnTo>
                        <a:lnTo>
                          <a:pt x="1652" y="852"/>
                        </a:lnTo>
                        <a:lnTo>
                          <a:pt x="1653" y="852"/>
                        </a:lnTo>
                        <a:lnTo>
                          <a:pt x="1655" y="850"/>
                        </a:lnTo>
                        <a:lnTo>
                          <a:pt x="1662" y="850"/>
                        </a:lnTo>
                        <a:lnTo>
                          <a:pt x="1665" y="849"/>
                        </a:lnTo>
                        <a:lnTo>
                          <a:pt x="1668" y="847"/>
                        </a:lnTo>
                        <a:lnTo>
                          <a:pt x="1670" y="850"/>
                        </a:lnTo>
                        <a:lnTo>
                          <a:pt x="1670" y="852"/>
                        </a:lnTo>
                        <a:lnTo>
                          <a:pt x="1673" y="854"/>
                        </a:lnTo>
                        <a:lnTo>
                          <a:pt x="1673" y="855"/>
                        </a:lnTo>
                        <a:lnTo>
                          <a:pt x="1673" y="855"/>
                        </a:lnTo>
                        <a:lnTo>
                          <a:pt x="1668" y="855"/>
                        </a:lnTo>
                        <a:lnTo>
                          <a:pt x="1667" y="857"/>
                        </a:lnTo>
                        <a:lnTo>
                          <a:pt x="1665" y="855"/>
                        </a:lnTo>
                        <a:lnTo>
                          <a:pt x="1663" y="854"/>
                        </a:lnTo>
                        <a:lnTo>
                          <a:pt x="1660" y="854"/>
                        </a:lnTo>
                        <a:lnTo>
                          <a:pt x="1660" y="855"/>
                        </a:lnTo>
                        <a:lnTo>
                          <a:pt x="1663" y="857"/>
                        </a:lnTo>
                        <a:lnTo>
                          <a:pt x="1667" y="859"/>
                        </a:lnTo>
                        <a:lnTo>
                          <a:pt x="1668" y="860"/>
                        </a:lnTo>
                        <a:lnTo>
                          <a:pt x="1668" y="864"/>
                        </a:lnTo>
                        <a:lnTo>
                          <a:pt x="1670" y="865"/>
                        </a:lnTo>
                        <a:lnTo>
                          <a:pt x="1667" y="865"/>
                        </a:lnTo>
                        <a:lnTo>
                          <a:pt x="1658" y="864"/>
                        </a:lnTo>
                        <a:lnTo>
                          <a:pt x="1652" y="864"/>
                        </a:lnTo>
                        <a:lnTo>
                          <a:pt x="1643" y="860"/>
                        </a:lnTo>
                        <a:lnTo>
                          <a:pt x="1640" y="860"/>
                        </a:lnTo>
                        <a:lnTo>
                          <a:pt x="1640" y="862"/>
                        </a:lnTo>
                        <a:lnTo>
                          <a:pt x="1645" y="864"/>
                        </a:lnTo>
                        <a:lnTo>
                          <a:pt x="1658" y="869"/>
                        </a:lnTo>
                        <a:lnTo>
                          <a:pt x="1658" y="870"/>
                        </a:lnTo>
                        <a:lnTo>
                          <a:pt x="1657" y="872"/>
                        </a:lnTo>
                        <a:lnTo>
                          <a:pt x="1650" y="867"/>
                        </a:lnTo>
                        <a:lnTo>
                          <a:pt x="1648" y="869"/>
                        </a:lnTo>
                        <a:lnTo>
                          <a:pt x="1645" y="872"/>
                        </a:lnTo>
                        <a:lnTo>
                          <a:pt x="1648" y="870"/>
                        </a:lnTo>
                        <a:lnTo>
                          <a:pt x="1650" y="872"/>
                        </a:lnTo>
                        <a:lnTo>
                          <a:pt x="1652" y="874"/>
                        </a:lnTo>
                        <a:lnTo>
                          <a:pt x="1653" y="874"/>
                        </a:lnTo>
                        <a:lnTo>
                          <a:pt x="1657" y="875"/>
                        </a:lnTo>
                        <a:lnTo>
                          <a:pt x="1657" y="877"/>
                        </a:lnTo>
                        <a:lnTo>
                          <a:pt x="1658" y="880"/>
                        </a:lnTo>
                        <a:lnTo>
                          <a:pt x="1660" y="879"/>
                        </a:lnTo>
                        <a:lnTo>
                          <a:pt x="1660" y="877"/>
                        </a:lnTo>
                        <a:lnTo>
                          <a:pt x="1665" y="877"/>
                        </a:lnTo>
                        <a:lnTo>
                          <a:pt x="1663" y="879"/>
                        </a:lnTo>
                        <a:lnTo>
                          <a:pt x="1662" y="880"/>
                        </a:lnTo>
                        <a:lnTo>
                          <a:pt x="1662" y="882"/>
                        </a:lnTo>
                        <a:lnTo>
                          <a:pt x="1665" y="882"/>
                        </a:lnTo>
                        <a:lnTo>
                          <a:pt x="1665" y="879"/>
                        </a:lnTo>
                        <a:lnTo>
                          <a:pt x="1668" y="879"/>
                        </a:lnTo>
                        <a:lnTo>
                          <a:pt x="1673" y="880"/>
                        </a:lnTo>
                        <a:lnTo>
                          <a:pt x="1678" y="882"/>
                        </a:lnTo>
                        <a:lnTo>
                          <a:pt x="1682" y="882"/>
                        </a:lnTo>
                        <a:lnTo>
                          <a:pt x="1680" y="885"/>
                        </a:lnTo>
                        <a:lnTo>
                          <a:pt x="1678" y="887"/>
                        </a:lnTo>
                        <a:lnTo>
                          <a:pt x="1675" y="885"/>
                        </a:lnTo>
                        <a:lnTo>
                          <a:pt x="1672" y="884"/>
                        </a:lnTo>
                        <a:lnTo>
                          <a:pt x="1667" y="885"/>
                        </a:lnTo>
                        <a:lnTo>
                          <a:pt x="1660" y="887"/>
                        </a:lnTo>
                        <a:lnTo>
                          <a:pt x="1660" y="890"/>
                        </a:lnTo>
                        <a:lnTo>
                          <a:pt x="1662" y="889"/>
                        </a:lnTo>
                        <a:lnTo>
                          <a:pt x="1668" y="889"/>
                        </a:lnTo>
                        <a:lnTo>
                          <a:pt x="1672" y="889"/>
                        </a:lnTo>
                        <a:lnTo>
                          <a:pt x="1668" y="890"/>
                        </a:lnTo>
                        <a:lnTo>
                          <a:pt x="1667" y="892"/>
                        </a:lnTo>
                        <a:lnTo>
                          <a:pt x="1670" y="890"/>
                        </a:lnTo>
                        <a:lnTo>
                          <a:pt x="1677" y="892"/>
                        </a:lnTo>
                        <a:lnTo>
                          <a:pt x="1678" y="894"/>
                        </a:lnTo>
                        <a:lnTo>
                          <a:pt x="1677" y="894"/>
                        </a:lnTo>
                        <a:lnTo>
                          <a:pt x="1682" y="895"/>
                        </a:lnTo>
                        <a:lnTo>
                          <a:pt x="1683" y="899"/>
                        </a:lnTo>
                        <a:lnTo>
                          <a:pt x="1682" y="900"/>
                        </a:lnTo>
                        <a:lnTo>
                          <a:pt x="1678" y="905"/>
                        </a:lnTo>
                        <a:lnTo>
                          <a:pt x="1680" y="909"/>
                        </a:lnTo>
                        <a:lnTo>
                          <a:pt x="1682" y="907"/>
                        </a:lnTo>
                        <a:lnTo>
                          <a:pt x="1682" y="904"/>
                        </a:lnTo>
                        <a:lnTo>
                          <a:pt x="1685" y="900"/>
                        </a:lnTo>
                        <a:lnTo>
                          <a:pt x="1688" y="900"/>
                        </a:lnTo>
                        <a:lnTo>
                          <a:pt x="1688" y="904"/>
                        </a:lnTo>
                        <a:lnTo>
                          <a:pt x="1686" y="907"/>
                        </a:lnTo>
                        <a:lnTo>
                          <a:pt x="1683" y="914"/>
                        </a:lnTo>
                        <a:lnTo>
                          <a:pt x="1680" y="917"/>
                        </a:lnTo>
                        <a:lnTo>
                          <a:pt x="1680" y="920"/>
                        </a:lnTo>
                        <a:lnTo>
                          <a:pt x="1683" y="919"/>
                        </a:lnTo>
                        <a:lnTo>
                          <a:pt x="1686" y="914"/>
                        </a:lnTo>
                        <a:lnTo>
                          <a:pt x="1686" y="912"/>
                        </a:lnTo>
                        <a:lnTo>
                          <a:pt x="1688" y="909"/>
                        </a:lnTo>
                        <a:lnTo>
                          <a:pt x="1693" y="907"/>
                        </a:lnTo>
                        <a:lnTo>
                          <a:pt x="1693" y="905"/>
                        </a:lnTo>
                        <a:lnTo>
                          <a:pt x="1695" y="902"/>
                        </a:lnTo>
                        <a:lnTo>
                          <a:pt x="1698" y="900"/>
                        </a:lnTo>
                        <a:lnTo>
                          <a:pt x="1698" y="902"/>
                        </a:lnTo>
                        <a:lnTo>
                          <a:pt x="1698" y="905"/>
                        </a:lnTo>
                        <a:lnTo>
                          <a:pt x="1693" y="910"/>
                        </a:lnTo>
                        <a:lnTo>
                          <a:pt x="1691" y="914"/>
                        </a:lnTo>
                        <a:lnTo>
                          <a:pt x="1691" y="917"/>
                        </a:lnTo>
                        <a:lnTo>
                          <a:pt x="1691" y="920"/>
                        </a:lnTo>
                        <a:lnTo>
                          <a:pt x="1693" y="920"/>
                        </a:lnTo>
                        <a:lnTo>
                          <a:pt x="1693" y="917"/>
                        </a:lnTo>
                        <a:lnTo>
                          <a:pt x="1693" y="914"/>
                        </a:lnTo>
                        <a:lnTo>
                          <a:pt x="1696" y="910"/>
                        </a:lnTo>
                        <a:lnTo>
                          <a:pt x="1700" y="907"/>
                        </a:lnTo>
                        <a:lnTo>
                          <a:pt x="1705" y="904"/>
                        </a:lnTo>
                        <a:lnTo>
                          <a:pt x="1708" y="900"/>
                        </a:lnTo>
                        <a:lnTo>
                          <a:pt x="1710" y="902"/>
                        </a:lnTo>
                        <a:lnTo>
                          <a:pt x="1710" y="907"/>
                        </a:lnTo>
                        <a:lnTo>
                          <a:pt x="1706" y="909"/>
                        </a:lnTo>
                        <a:lnTo>
                          <a:pt x="1701" y="910"/>
                        </a:lnTo>
                        <a:lnTo>
                          <a:pt x="1701" y="914"/>
                        </a:lnTo>
                        <a:lnTo>
                          <a:pt x="1700" y="917"/>
                        </a:lnTo>
                        <a:lnTo>
                          <a:pt x="1701" y="919"/>
                        </a:lnTo>
                        <a:lnTo>
                          <a:pt x="1701" y="917"/>
                        </a:lnTo>
                        <a:lnTo>
                          <a:pt x="1705" y="919"/>
                        </a:lnTo>
                        <a:lnTo>
                          <a:pt x="1706" y="917"/>
                        </a:lnTo>
                        <a:lnTo>
                          <a:pt x="1713" y="915"/>
                        </a:lnTo>
                        <a:lnTo>
                          <a:pt x="1715" y="917"/>
                        </a:lnTo>
                        <a:lnTo>
                          <a:pt x="1715" y="922"/>
                        </a:lnTo>
                        <a:lnTo>
                          <a:pt x="1715" y="925"/>
                        </a:lnTo>
                        <a:lnTo>
                          <a:pt x="1711" y="927"/>
                        </a:lnTo>
                        <a:lnTo>
                          <a:pt x="1711" y="927"/>
                        </a:lnTo>
                        <a:lnTo>
                          <a:pt x="1715" y="929"/>
                        </a:lnTo>
                        <a:lnTo>
                          <a:pt x="1716" y="932"/>
                        </a:lnTo>
                        <a:lnTo>
                          <a:pt x="1713" y="932"/>
                        </a:lnTo>
                        <a:lnTo>
                          <a:pt x="1710" y="932"/>
                        </a:lnTo>
                        <a:lnTo>
                          <a:pt x="1713" y="933"/>
                        </a:lnTo>
                        <a:lnTo>
                          <a:pt x="1716" y="935"/>
                        </a:lnTo>
                        <a:lnTo>
                          <a:pt x="1708" y="937"/>
                        </a:lnTo>
                        <a:lnTo>
                          <a:pt x="1703" y="937"/>
                        </a:lnTo>
                        <a:lnTo>
                          <a:pt x="1705" y="938"/>
                        </a:lnTo>
                        <a:lnTo>
                          <a:pt x="1710" y="938"/>
                        </a:lnTo>
                        <a:lnTo>
                          <a:pt x="1716" y="940"/>
                        </a:lnTo>
                        <a:lnTo>
                          <a:pt x="1718" y="938"/>
                        </a:lnTo>
                        <a:lnTo>
                          <a:pt x="1723" y="937"/>
                        </a:lnTo>
                        <a:lnTo>
                          <a:pt x="1723" y="937"/>
                        </a:lnTo>
                        <a:lnTo>
                          <a:pt x="1720" y="942"/>
                        </a:lnTo>
                        <a:lnTo>
                          <a:pt x="1718" y="947"/>
                        </a:lnTo>
                        <a:lnTo>
                          <a:pt x="1723" y="942"/>
                        </a:lnTo>
                        <a:lnTo>
                          <a:pt x="1726" y="942"/>
                        </a:lnTo>
                        <a:lnTo>
                          <a:pt x="1728" y="938"/>
                        </a:lnTo>
                        <a:lnTo>
                          <a:pt x="1733" y="935"/>
                        </a:lnTo>
                        <a:lnTo>
                          <a:pt x="1736" y="937"/>
                        </a:lnTo>
                        <a:lnTo>
                          <a:pt x="1736" y="938"/>
                        </a:lnTo>
                        <a:lnTo>
                          <a:pt x="1733" y="942"/>
                        </a:lnTo>
                        <a:lnTo>
                          <a:pt x="1731" y="942"/>
                        </a:lnTo>
                        <a:lnTo>
                          <a:pt x="1730" y="945"/>
                        </a:lnTo>
                        <a:lnTo>
                          <a:pt x="1726" y="948"/>
                        </a:lnTo>
                        <a:lnTo>
                          <a:pt x="1721" y="950"/>
                        </a:lnTo>
                        <a:lnTo>
                          <a:pt x="1720" y="955"/>
                        </a:lnTo>
                        <a:lnTo>
                          <a:pt x="1720" y="957"/>
                        </a:lnTo>
                        <a:lnTo>
                          <a:pt x="1723" y="958"/>
                        </a:lnTo>
                        <a:lnTo>
                          <a:pt x="1726" y="955"/>
                        </a:lnTo>
                        <a:lnTo>
                          <a:pt x="1726" y="953"/>
                        </a:lnTo>
                        <a:lnTo>
                          <a:pt x="1731" y="947"/>
                        </a:lnTo>
                        <a:lnTo>
                          <a:pt x="1735" y="947"/>
                        </a:lnTo>
                        <a:lnTo>
                          <a:pt x="1735" y="948"/>
                        </a:lnTo>
                        <a:lnTo>
                          <a:pt x="1731" y="953"/>
                        </a:lnTo>
                        <a:lnTo>
                          <a:pt x="1731" y="958"/>
                        </a:lnTo>
                        <a:lnTo>
                          <a:pt x="1730" y="962"/>
                        </a:lnTo>
                        <a:lnTo>
                          <a:pt x="1731" y="960"/>
                        </a:lnTo>
                        <a:lnTo>
                          <a:pt x="1735" y="953"/>
                        </a:lnTo>
                        <a:lnTo>
                          <a:pt x="1735" y="952"/>
                        </a:lnTo>
                        <a:lnTo>
                          <a:pt x="1738" y="950"/>
                        </a:lnTo>
                        <a:lnTo>
                          <a:pt x="1738" y="952"/>
                        </a:lnTo>
                        <a:lnTo>
                          <a:pt x="1740" y="957"/>
                        </a:lnTo>
                        <a:lnTo>
                          <a:pt x="1741" y="960"/>
                        </a:lnTo>
                        <a:lnTo>
                          <a:pt x="1743" y="960"/>
                        </a:lnTo>
                        <a:lnTo>
                          <a:pt x="1743" y="955"/>
                        </a:lnTo>
                        <a:lnTo>
                          <a:pt x="1745" y="952"/>
                        </a:lnTo>
                        <a:lnTo>
                          <a:pt x="1750" y="948"/>
                        </a:lnTo>
                        <a:lnTo>
                          <a:pt x="1751" y="950"/>
                        </a:lnTo>
                        <a:lnTo>
                          <a:pt x="1750" y="953"/>
                        </a:lnTo>
                        <a:lnTo>
                          <a:pt x="1751" y="953"/>
                        </a:lnTo>
                        <a:lnTo>
                          <a:pt x="1755" y="953"/>
                        </a:lnTo>
                        <a:lnTo>
                          <a:pt x="1756" y="957"/>
                        </a:lnTo>
                        <a:lnTo>
                          <a:pt x="1755" y="960"/>
                        </a:lnTo>
                        <a:lnTo>
                          <a:pt x="1760" y="960"/>
                        </a:lnTo>
                        <a:lnTo>
                          <a:pt x="1761" y="962"/>
                        </a:lnTo>
                        <a:lnTo>
                          <a:pt x="1761" y="965"/>
                        </a:lnTo>
                        <a:lnTo>
                          <a:pt x="1765" y="967"/>
                        </a:lnTo>
                        <a:lnTo>
                          <a:pt x="1765" y="970"/>
                        </a:lnTo>
                        <a:lnTo>
                          <a:pt x="1763" y="972"/>
                        </a:lnTo>
                        <a:lnTo>
                          <a:pt x="1761" y="972"/>
                        </a:lnTo>
                        <a:lnTo>
                          <a:pt x="1756" y="972"/>
                        </a:lnTo>
                        <a:lnTo>
                          <a:pt x="1756" y="970"/>
                        </a:lnTo>
                        <a:lnTo>
                          <a:pt x="1755" y="967"/>
                        </a:lnTo>
                        <a:lnTo>
                          <a:pt x="1751" y="965"/>
                        </a:lnTo>
                        <a:lnTo>
                          <a:pt x="1750" y="965"/>
                        </a:lnTo>
                        <a:lnTo>
                          <a:pt x="1748" y="967"/>
                        </a:lnTo>
                        <a:lnTo>
                          <a:pt x="1746" y="970"/>
                        </a:lnTo>
                        <a:lnTo>
                          <a:pt x="1750" y="968"/>
                        </a:lnTo>
                        <a:lnTo>
                          <a:pt x="1751" y="968"/>
                        </a:lnTo>
                        <a:lnTo>
                          <a:pt x="1753" y="970"/>
                        </a:lnTo>
                        <a:lnTo>
                          <a:pt x="1751" y="972"/>
                        </a:lnTo>
                        <a:lnTo>
                          <a:pt x="1753" y="972"/>
                        </a:lnTo>
                        <a:lnTo>
                          <a:pt x="1755" y="975"/>
                        </a:lnTo>
                        <a:lnTo>
                          <a:pt x="1753" y="975"/>
                        </a:lnTo>
                        <a:lnTo>
                          <a:pt x="1750" y="975"/>
                        </a:lnTo>
                        <a:lnTo>
                          <a:pt x="1746" y="977"/>
                        </a:lnTo>
                        <a:lnTo>
                          <a:pt x="1748" y="977"/>
                        </a:lnTo>
                        <a:lnTo>
                          <a:pt x="1753" y="977"/>
                        </a:lnTo>
                        <a:lnTo>
                          <a:pt x="1756" y="977"/>
                        </a:lnTo>
                        <a:lnTo>
                          <a:pt x="1756" y="978"/>
                        </a:lnTo>
                        <a:lnTo>
                          <a:pt x="1755" y="982"/>
                        </a:lnTo>
                        <a:lnTo>
                          <a:pt x="1750" y="982"/>
                        </a:lnTo>
                        <a:lnTo>
                          <a:pt x="1746" y="982"/>
                        </a:lnTo>
                        <a:lnTo>
                          <a:pt x="1743" y="982"/>
                        </a:lnTo>
                        <a:lnTo>
                          <a:pt x="1738" y="982"/>
                        </a:lnTo>
                        <a:lnTo>
                          <a:pt x="1740" y="978"/>
                        </a:lnTo>
                        <a:lnTo>
                          <a:pt x="1740" y="977"/>
                        </a:lnTo>
                        <a:lnTo>
                          <a:pt x="1736" y="975"/>
                        </a:lnTo>
                        <a:lnTo>
                          <a:pt x="1735" y="973"/>
                        </a:lnTo>
                        <a:lnTo>
                          <a:pt x="1733" y="973"/>
                        </a:lnTo>
                        <a:lnTo>
                          <a:pt x="1733" y="975"/>
                        </a:lnTo>
                        <a:lnTo>
                          <a:pt x="1735" y="977"/>
                        </a:lnTo>
                        <a:lnTo>
                          <a:pt x="1736" y="980"/>
                        </a:lnTo>
                        <a:lnTo>
                          <a:pt x="1736" y="982"/>
                        </a:lnTo>
                        <a:lnTo>
                          <a:pt x="1733" y="983"/>
                        </a:lnTo>
                        <a:lnTo>
                          <a:pt x="1730" y="980"/>
                        </a:lnTo>
                        <a:lnTo>
                          <a:pt x="1728" y="978"/>
                        </a:lnTo>
                        <a:lnTo>
                          <a:pt x="1728" y="982"/>
                        </a:lnTo>
                        <a:lnTo>
                          <a:pt x="1730" y="985"/>
                        </a:lnTo>
                        <a:lnTo>
                          <a:pt x="1735" y="985"/>
                        </a:lnTo>
                        <a:lnTo>
                          <a:pt x="1738" y="987"/>
                        </a:lnTo>
                        <a:lnTo>
                          <a:pt x="1740" y="987"/>
                        </a:lnTo>
                        <a:lnTo>
                          <a:pt x="1741" y="990"/>
                        </a:lnTo>
                        <a:lnTo>
                          <a:pt x="1740" y="993"/>
                        </a:lnTo>
                        <a:lnTo>
                          <a:pt x="1733" y="993"/>
                        </a:lnTo>
                        <a:lnTo>
                          <a:pt x="1731" y="990"/>
                        </a:lnTo>
                        <a:lnTo>
                          <a:pt x="1726" y="987"/>
                        </a:lnTo>
                        <a:lnTo>
                          <a:pt x="1725" y="985"/>
                        </a:lnTo>
                        <a:lnTo>
                          <a:pt x="1723" y="985"/>
                        </a:lnTo>
                        <a:lnTo>
                          <a:pt x="1725" y="987"/>
                        </a:lnTo>
                        <a:lnTo>
                          <a:pt x="1730" y="990"/>
                        </a:lnTo>
                        <a:lnTo>
                          <a:pt x="1731" y="993"/>
                        </a:lnTo>
                        <a:lnTo>
                          <a:pt x="1731" y="998"/>
                        </a:lnTo>
                        <a:lnTo>
                          <a:pt x="1730" y="1002"/>
                        </a:lnTo>
                        <a:lnTo>
                          <a:pt x="1726" y="1000"/>
                        </a:lnTo>
                        <a:lnTo>
                          <a:pt x="1726" y="998"/>
                        </a:lnTo>
                        <a:lnTo>
                          <a:pt x="1723" y="995"/>
                        </a:lnTo>
                        <a:lnTo>
                          <a:pt x="1720" y="995"/>
                        </a:lnTo>
                        <a:lnTo>
                          <a:pt x="1720" y="997"/>
                        </a:lnTo>
                        <a:lnTo>
                          <a:pt x="1721" y="997"/>
                        </a:lnTo>
                        <a:lnTo>
                          <a:pt x="1721" y="1002"/>
                        </a:lnTo>
                        <a:lnTo>
                          <a:pt x="1721" y="1007"/>
                        </a:lnTo>
                        <a:lnTo>
                          <a:pt x="1720" y="1007"/>
                        </a:lnTo>
                        <a:lnTo>
                          <a:pt x="1718" y="1007"/>
                        </a:lnTo>
                        <a:lnTo>
                          <a:pt x="1716" y="1005"/>
                        </a:lnTo>
                        <a:lnTo>
                          <a:pt x="1716" y="1002"/>
                        </a:lnTo>
                        <a:lnTo>
                          <a:pt x="1715" y="1002"/>
                        </a:lnTo>
                        <a:lnTo>
                          <a:pt x="1715" y="1005"/>
                        </a:lnTo>
                        <a:lnTo>
                          <a:pt x="1711" y="1005"/>
                        </a:lnTo>
                        <a:lnTo>
                          <a:pt x="1710" y="1005"/>
                        </a:lnTo>
                        <a:lnTo>
                          <a:pt x="1710" y="1002"/>
                        </a:lnTo>
                        <a:lnTo>
                          <a:pt x="1708" y="998"/>
                        </a:lnTo>
                        <a:lnTo>
                          <a:pt x="1708" y="995"/>
                        </a:lnTo>
                        <a:lnTo>
                          <a:pt x="1706" y="993"/>
                        </a:lnTo>
                        <a:lnTo>
                          <a:pt x="1706" y="997"/>
                        </a:lnTo>
                        <a:lnTo>
                          <a:pt x="1706" y="1002"/>
                        </a:lnTo>
                        <a:lnTo>
                          <a:pt x="1705" y="1003"/>
                        </a:lnTo>
                        <a:lnTo>
                          <a:pt x="1701" y="1003"/>
                        </a:lnTo>
                        <a:lnTo>
                          <a:pt x="1701" y="1005"/>
                        </a:lnTo>
                        <a:lnTo>
                          <a:pt x="1705" y="1005"/>
                        </a:lnTo>
                        <a:lnTo>
                          <a:pt x="1705" y="1007"/>
                        </a:lnTo>
                        <a:lnTo>
                          <a:pt x="1703" y="1010"/>
                        </a:lnTo>
                        <a:lnTo>
                          <a:pt x="1700" y="1008"/>
                        </a:lnTo>
                        <a:lnTo>
                          <a:pt x="1700" y="1008"/>
                        </a:lnTo>
                        <a:lnTo>
                          <a:pt x="1698" y="1010"/>
                        </a:lnTo>
                        <a:lnTo>
                          <a:pt x="1701" y="1012"/>
                        </a:lnTo>
                        <a:lnTo>
                          <a:pt x="1703" y="1012"/>
                        </a:lnTo>
                        <a:lnTo>
                          <a:pt x="1705" y="1013"/>
                        </a:lnTo>
                        <a:lnTo>
                          <a:pt x="1703" y="1015"/>
                        </a:lnTo>
                        <a:lnTo>
                          <a:pt x="1701" y="1017"/>
                        </a:lnTo>
                        <a:lnTo>
                          <a:pt x="1701" y="1018"/>
                        </a:lnTo>
                        <a:lnTo>
                          <a:pt x="1703" y="1022"/>
                        </a:lnTo>
                        <a:lnTo>
                          <a:pt x="1703" y="1023"/>
                        </a:lnTo>
                        <a:lnTo>
                          <a:pt x="1701" y="1023"/>
                        </a:lnTo>
                        <a:lnTo>
                          <a:pt x="1700" y="1022"/>
                        </a:lnTo>
                        <a:lnTo>
                          <a:pt x="1698" y="1023"/>
                        </a:lnTo>
                        <a:lnTo>
                          <a:pt x="1701" y="1025"/>
                        </a:lnTo>
                        <a:lnTo>
                          <a:pt x="1701" y="1028"/>
                        </a:lnTo>
                        <a:lnTo>
                          <a:pt x="1701" y="1031"/>
                        </a:lnTo>
                        <a:lnTo>
                          <a:pt x="1696" y="1033"/>
                        </a:lnTo>
                        <a:lnTo>
                          <a:pt x="1695" y="1035"/>
                        </a:lnTo>
                        <a:lnTo>
                          <a:pt x="1693" y="1033"/>
                        </a:lnTo>
                        <a:lnTo>
                          <a:pt x="1693" y="1031"/>
                        </a:lnTo>
                        <a:lnTo>
                          <a:pt x="1691" y="1031"/>
                        </a:lnTo>
                        <a:lnTo>
                          <a:pt x="1691" y="1030"/>
                        </a:lnTo>
                        <a:lnTo>
                          <a:pt x="1690" y="1028"/>
                        </a:lnTo>
                        <a:lnTo>
                          <a:pt x="1690" y="1027"/>
                        </a:lnTo>
                        <a:lnTo>
                          <a:pt x="1691" y="1025"/>
                        </a:lnTo>
                        <a:lnTo>
                          <a:pt x="1691" y="1023"/>
                        </a:lnTo>
                        <a:lnTo>
                          <a:pt x="1690" y="1023"/>
                        </a:lnTo>
                        <a:lnTo>
                          <a:pt x="1686" y="1025"/>
                        </a:lnTo>
                        <a:lnTo>
                          <a:pt x="1685" y="1027"/>
                        </a:lnTo>
                        <a:lnTo>
                          <a:pt x="1683" y="1027"/>
                        </a:lnTo>
                        <a:lnTo>
                          <a:pt x="1682" y="1025"/>
                        </a:lnTo>
                        <a:lnTo>
                          <a:pt x="1683" y="1022"/>
                        </a:lnTo>
                        <a:lnTo>
                          <a:pt x="1682" y="1020"/>
                        </a:lnTo>
                        <a:lnTo>
                          <a:pt x="1682" y="1018"/>
                        </a:lnTo>
                        <a:lnTo>
                          <a:pt x="1683" y="1017"/>
                        </a:lnTo>
                        <a:lnTo>
                          <a:pt x="1683" y="1015"/>
                        </a:lnTo>
                        <a:lnTo>
                          <a:pt x="1683" y="1013"/>
                        </a:lnTo>
                        <a:lnTo>
                          <a:pt x="1683" y="1013"/>
                        </a:lnTo>
                        <a:lnTo>
                          <a:pt x="1680" y="1015"/>
                        </a:lnTo>
                        <a:lnTo>
                          <a:pt x="1678" y="1020"/>
                        </a:lnTo>
                        <a:lnTo>
                          <a:pt x="1677" y="1023"/>
                        </a:lnTo>
                        <a:lnTo>
                          <a:pt x="1675" y="1022"/>
                        </a:lnTo>
                        <a:lnTo>
                          <a:pt x="1675" y="1018"/>
                        </a:lnTo>
                        <a:lnTo>
                          <a:pt x="1673" y="1017"/>
                        </a:lnTo>
                        <a:lnTo>
                          <a:pt x="1672" y="1013"/>
                        </a:lnTo>
                        <a:lnTo>
                          <a:pt x="1673" y="1012"/>
                        </a:lnTo>
                        <a:lnTo>
                          <a:pt x="1678" y="1010"/>
                        </a:lnTo>
                        <a:lnTo>
                          <a:pt x="1678" y="1010"/>
                        </a:lnTo>
                        <a:lnTo>
                          <a:pt x="1680" y="1008"/>
                        </a:lnTo>
                        <a:lnTo>
                          <a:pt x="1680" y="1008"/>
                        </a:lnTo>
                        <a:lnTo>
                          <a:pt x="1677" y="1007"/>
                        </a:lnTo>
                        <a:lnTo>
                          <a:pt x="1673" y="1008"/>
                        </a:lnTo>
                        <a:lnTo>
                          <a:pt x="1670" y="1007"/>
                        </a:lnTo>
                        <a:lnTo>
                          <a:pt x="1670" y="1007"/>
                        </a:lnTo>
                        <a:lnTo>
                          <a:pt x="1670" y="1003"/>
                        </a:lnTo>
                        <a:lnTo>
                          <a:pt x="1673" y="1003"/>
                        </a:lnTo>
                        <a:lnTo>
                          <a:pt x="1677" y="1000"/>
                        </a:lnTo>
                        <a:lnTo>
                          <a:pt x="1675" y="1000"/>
                        </a:lnTo>
                        <a:lnTo>
                          <a:pt x="1672" y="1002"/>
                        </a:lnTo>
                        <a:lnTo>
                          <a:pt x="1670" y="1000"/>
                        </a:lnTo>
                        <a:lnTo>
                          <a:pt x="1670" y="998"/>
                        </a:lnTo>
                        <a:lnTo>
                          <a:pt x="1672" y="997"/>
                        </a:lnTo>
                        <a:lnTo>
                          <a:pt x="1675" y="997"/>
                        </a:lnTo>
                        <a:lnTo>
                          <a:pt x="1678" y="995"/>
                        </a:lnTo>
                        <a:lnTo>
                          <a:pt x="1677" y="993"/>
                        </a:lnTo>
                        <a:lnTo>
                          <a:pt x="1672" y="995"/>
                        </a:lnTo>
                        <a:lnTo>
                          <a:pt x="1670" y="995"/>
                        </a:lnTo>
                        <a:lnTo>
                          <a:pt x="1668" y="995"/>
                        </a:lnTo>
                        <a:lnTo>
                          <a:pt x="1668" y="993"/>
                        </a:lnTo>
                        <a:lnTo>
                          <a:pt x="1672" y="988"/>
                        </a:lnTo>
                        <a:lnTo>
                          <a:pt x="1675" y="987"/>
                        </a:lnTo>
                        <a:lnTo>
                          <a:pt x="1680" y="987"/>
                        </a:lnTo>
                        <a:lnTo>
                          <a:pt x="1683" y="983"/>
                        </a:lnTo>
                        <a:lnTo>
                          <a:pt x="1686" y="982"/>
                        </a:lnTo>
                        <a:lnTo>
                          <a:pt x="1688" y="978"/>
                        </a:lnTo>
                        <a:lnTo>
                          <a:pt x="1691" y="975"/>
                        </a:lnTo>
                        <a:lnTo>
                          <a:pt x="1693" y="973"/>
                        </a:lnTo>
                        <a:lnTo>
                          <a:pt x="1693" y="972"/>
                        </a:lnTo>
                        <a:lnTo>
                          <a:pt x="1691" y="973"/>
                        </a:lnTo>
                        <a:lnTo>
                          <a:pt x="1686" y="975"/>
                        </a:lnTo>
                        <a:lnTo>
                          <a:pt x="1685" y="977"/>
                        </a:lnTo>
                        <a:lnTo>
                          <a:pt x="1683" y="980"/>
                        </a:lnTo>
                        <a:lnTo>
                          <a:pt x="1677" y="983"/>
                        </a:lnTo>
                        <a:lnTo>
                          <a:pt x="1673" y="982"/>
                        </a:lnTo>
                        <a:lnTo>
                          <a:pt x="1668" y="987"/>
                        </a:lnTo>
                        <a:lnTo>
                          <a:pt x="1663" y="987"/>
                        </a:lnTo>
                        <a:lnTo>
                          <a:pt x="1660" y="987"/>
                        </a:lnTo>
                        <a:lnTo>
                          <a:pt x="1660" y="985"/>
                        </a:lnTo>
                        <a:lnTo>
                          <a:pt x="1667" y="978"/>
                        </a:lnTo>
                        <a:lnTo>
                          <a:pt x="1672" y="975"/>
                        </a:lnTo>
                        <a:lnTo>
                          <a:pt x="1673" y="973"/>
                        </a:lnTo>
                        <a:lnTo>
                          <a:pt x="1675" y="972"/>
                        </a:lnTo>
                        <a:lnTo>
                          <a:pt x="1675" y="968"/>
                        </a:lnTo>
                        <a:lnTo>
                          <a:pt x="1672" y="973"/>
                        </a:lnTo>
                        <a:lnTo>
                          <a:pt x="1662" y="978"/>
                        </a:lnTo>
                        <a:lnTo>
                          <a:pt x="1658" y="980"/>
                        </a:lnTo>
                        <a:lnTo>
                          <a:pt x="1657" y="980"/>
                        </a:lnTo>
                        <a:lnTo>
                          <a:pt x="1655" y="978"/>
                        </a:lnTo>
                        <a:lnTo>
                          <a:pt x="1657" y="975"/>
                        </a:lnTo>
                        <a:lnTo>
                          <a:pt x="1655" y="973"/>
                        </a:lnTo>
                        <a:lnTo>
                          <a:pt x="1652" y="973"/>
                        </a:lnTo>
                        <a:lnTo>
                          <a:pt x="1650" y="973"/>
                        </a:lnTo>
                        <a:lnTo>
                          <a:pt x="1652" y="972"/>
                        </a:lnTo>
                        <a:lnTo>
                          <a:pt x="1653" y="970"/>
                        </a:lnTo>
                        <a:lnTo>
                          <a:pt x="1653" y="968"/>
                        </a:lnTo>
                        <a:lnTo>
                          <a:pt x="1652" y="967"/>
                        </a:lnTo>
                        <a:lnTo>
                          <a:pt x="1650" y="967"/>
                        </a:lnTo>
                        <a:lnTo>
                          <a:pt x="1648" y="967"/>
                        </a:lnTo>
                        <a:lnTo>
                          <a:pt x="1650" y="962"/>
                        </a:lnTo>
                        <a:lnTo>
                          <a:pt x="1652" y="962"/>
                        </a:lnTo>
                        <a:lnTo>
                          <a:pt x="1652" y="958"/>
                        </a:lnTo>
                        <a:lnTo>
                          <a:pt x="1648" y="957"/>
                        </a:lnTo>
                        <a:lnTo>
                          <a:pt x="1647" y="955"/>
                        </a:lnTo>
                        <a:lnTo>
                          <a:pt x="1647" y="955"/>
                        </a:lnTo>
                        <a:lnTo>
                          <a:pt x="1645" y="958"/>
                        </a:lnTo>
                        <a:lnTo>
                          <a:pt x="1647" y="960"/>
                        </a:lnTo>
                        <a:lnTo>
                          <a:pt x="1643" y="962"/>
                        </a:lnTo>
                        <a:lnTo>
                          <a:pt x="1640" y="960"/>
                        </a:lnTo>
                        <a:lnTo>
                          <a:pt x="1638" y="958"/>
                        </a:lnTo>
                        <a:lnTo>
                          <a:pt x="1633" y="958"/>
                        </a:lnTo>
                        <a:lnTo>
                          <a:pt x="1638" y="960"/>
                        </a:lnTo>
                        <a:lnTo>
                          <a:pt x="1642" y="965"/>
                        </a:lnTo>
                        <a:lnTo>
                          <a:pt x="1642" y="968"/>
                        </a:lnTo>
                        <a:lnTo>
                          <a:pt x="1638" y="967"/>
                        </a:lnTo>
                        <a:lnTo>
                          <a:pt x="1638" y="968"/>
                        </a:lnTo>
                        <a:lnTo>
                          <a:pt x="1638" y="970"/>
                        </a:lnTo>
                        <a:lnTo>
                          <a:pt x="1635" y="970"/>
                        </a:lnTo>
                        <a:lnTo>
                          <a:pt x="1633" y="968"/>
                        </a:lnTo>
                        <a:lnTo>
                          <a:pt x="1632" y="963"/>
                        </a:lnTo>
                        <a:lnTo>
                          <a:pt x="1630" y="962"/>
                        </a:lnTo>
                        <a:lnTo>
                          <a:pt x="1628" y="963"/>
                        </a:lnTo>
                        <a:lnTo>
                          <a:pt x="1632" y="965"/>
                        </a:lnTo>
                        <a:lnTo>
                          <a:pt x="1632" y="968"/>
                        </a:lnTo>
                        <a:lnTo>
                          <a:pt x="1630" y="972"/>
                        </a:lnTo>
                        <a:lnTo>
                          <a:pt x="1633" y="972"/>
                        </a:lnTo>
                        <a:lnTo>
                          <a:pt x="1637" y="975"/>
                        </a:lnTo>
                        <a:lnTo>
                          <a:pt x="1638" y="980"/>
                        </a:lnTo>
                        <a:lnTo>
                          <a:pt x="1637" y="982"/>
                        </a:lnTo>
                        <a:lnTo>
                          <a:pt x="1638" y="983"/>
                        </a:lnTo>
                        <a:lnTo>
                          <a:pt x="1638" y="985"/>
                        </a:lnTo>
                        <a:lnTo>
                          <a:pt x="1637" y="985"/>
                        </a:lnTo>
                        <a:lnTo>
                          <a:pt x="1632" y="985"/>
                        </a:lnTo>
                        <a:lnTo>
                          <a:pt x="1628" y="982"/>
                        </a:lnTo>
                        <a:lnTo>
                          <a:pt x="1628" y="987"/>
                        </a:lnTo>
                        <a:lnTo>
                          <a:pt x="1627" y="987"/>
                        </a:lnTo>
                        <a:lnTo>
                          <a:pt x="1622" y="982"/>
                        </a:lnTo>
                        <a:lnTo>
                          <a:pt x="1622" y="978"/>
                        </a:lnTo>
                        <a:lnTo>
                          <a:pt x="1622" y="977"/>
                        </a:lnTo>
                        <a:lnTo>
                          <a:pt x="1622" y="973"/>
                        </a:lnTo>
                        <a:lnTo>
                          <a:pt x="1618" y="972"/>
                        </a:lnTo>
                        <a:lnTo>
                          <a:pt x="1613" y="972"/>
                        </a:lnTo>
                        <a:lnTo>
                          <a:pt x="1613" y="970"/>
                        </a:lnTo>
                        <a:lnTo>
                          <a:pt x="1612" y="967"/>
                        </a:lnTo>
                        <a:lnTo>
                          <a:pt x="1608" y="968"/>
                        </a:lnTo>
                        <a:lnTo>
                          <a:pt x="1605" y="968"/>
                        </a:lnTo>
                        <a:lnTo>
                          <a:pt x="1600" y="968"/>
                        </a:lnTo>
                        <a:lnTo>
                          <a:pt x="1602" y="970"/>
                        </a:lnTo>
                        <a:lnTo>
                          <a:pt x="1607" y="972"/>
                        </a:lnTo>
                        <a:lnTo>
                          <a:pt x="1612" y="973"/>
                        </a:lnTo>
                        <a:lnTo>
                          <a:pt x="1617" y="973"/>
                        </a:lnTo>
                        <a:lnTo>
                          <a:pt x="1617" y="978"/>
                        </a:lnTo>
                        <a:lnTo>
                          <a:pt x="1613" y="982"/>
                        </a:lnTo>
                        <a:lnTo>
                          <a:pt x="1613" y="983"/>
                        </a:lnTo>
                        <a:lnTo>
                          <a:pt x="1617" y="983"/>
                        </a:lnTo>
                        <a:lnTo>
                          <a:pt x="1618" y="985"/>
                        </a:lnTo>
                        <a:lnTo>
                          <a:pt x="1617" y="988"/>
                        </a:lnTo>
                        <a:lnTo>
                          <a:pt x="1618" y="988"/>
                        </a:lnTo>
                        <a:lnTo>
                          <a:pt x="1622" y="988"/>
                        </a:lnTo>
                        <a:lnTo>
                          <a:pt x="1622" y="990"/>
                        </a:lnTo>
                        <a:lnTo>
                          <a:pt x="1620" y="993"/>
                        </a:lnTo>
                        <a:lnTo>
                          <a:pt x="1613" y="998"/>
                        </a:lnTo>
                        <a:lnTo>
                          <a:pt x="1610" y="1002"/>
                        </a:lnTo>
                        <a:lnTo>
                          <a:pt x="1618" y="1000"/>
                        </a:lnTo>
                        <a:lnTo>
                          <a:pt x="1620" y="997"/>
                        </a:lnTo>
                        <a:lnTo>
                          <a:pt x="1622" y="995"/>
                        </a:lnTo>
                        <a:lnTo>
                          <a:pt x="1628" y="995"/>
                        </a:lnTo>
                        <a:lnTo>
                          <a:pt x="1630" y="998"/>
                        </a:lnTo>
                        <a:lnTo>
                          <a:pt x="1630" y="998"/>
                        </a:lnTo>
                        <a:lnTo>
                          <a:pt x="1627" y="1002"/>
                        </a:lnTo>
                        <a:lnTo>
                          <a:pt x="1623" y="1003"/>
                        </a:lnTo>
                        <a:lnTo>
                          <a:pt x="1625" y="1005"/>
                        </a:lnTo>
                        <a:lnTo>
                          <a:pt x="1630" y="1005"/>
                        </a:lnTo>
                        <a:lnTo>
                          <a:pt x="1632" y="1008"/>
                        </a:lnTo>
                        <a:lnTo>
                          <a:pt x="1630" y="1008"/>
                        </a:lnTo>
                        <a:lnTo>
                          <a:pt x="1625" y="1010"/>
                        </a:lnTo>
                        <a:lnTo>
                          <a:pt x="1625" y="1012"/>
                        </a:lnTo>
                        <a:lnTo>
                          <a:pt x="1627" y="1012"/>
                        </a:lnTo>
                        <a:lnTo>
                          <a:pt x="1627" y="1015"/>
                        </a:lnTo>
                        <a:lnTo>
                          <a:pt x="1627" y="1015"/>
                        </a:lnTo>
                        <a:lnTo>
                          <a:pt x="1627" y="1017"/>
                        </a:lnTo>
                        <a:lnTo>
                          <a:pt x="1628" y="1017"/>
                        </a:lnTo>
                        <a:lnTo>
                          <a:pt x="1628" y="1020"/>
                        </a:lnTo>
                        <a:lnTo>
                          <a:pt x="1630" y="1020"/>
                        </a:lnTo>
                        <a:lnTo>
                          <a:pt x="1632" y="1023"/>
                        </a:lnTo>
                        <a:lnTo>
                          <a:pt x="1632" y="1028"/>
                        </a:lnTo>
                        <a:lnTo>
                          <a:pt x="1633" y="1030"/>
                        </a:lnTo>
                        <a:lnTo>
                          <a:pt x="1633" y="1027"/>
                        </a:lnTo>
                        <a:lnTo>
                          <a:pt x="1635" y="1023"/>
                        </a:lnTo>
                        <a:lnTo>
                          <a:pt x="1637" y="1022"/>
                        </a:lnTo>
                        <a:lnTo>
                          <a:pt x="1640" y="1023"/>
                        </a:lnTo>
                        <a:lnTo>
                          <a:pt x="1640" y="1028"/>
                        </a:lnTo>
                        <a:lnTo>
                          <a:pt x="1642" y="1030"/>
                        </a:lnTo>
                        <a:lnTo>
                          <a:pt x="1642" y="1031"/>
                        </a:lnTo>
                        <a:lnTo>
                          <a:pt x="1637" y="1033"/>
                        </a:lnTo>
                        <a:lnTo>
                          <a:pt x="1638" y="1035"/>
                        </a:lnTo>
                        <a:lnTo>
                          <a:pt x="1643" y="1035"/>
                        </a:lnTo>
                        <a:lnTo>
                          <a:pt x="1645" y="1033"/>
                        </a:lnTo>
                        <a:lnTo>
                          <a:pt x="1645" y="1036"/>
                        </a:lnTo>
                        <a:lnTo>
                          <a:pt x="1648" y="1033"/>
                        </a:lnTo>
                        <a:lnTo>
                          <a:pt x="1648" y="1031"/>
                        </a:lnTo>
                        <a:lnTo>
                          <a:pt x="1650" y="1031"/>
                        </a:lnTo>
                        <a:lnTo>
                          <a:pt x="1653" y="1035"/>
                        </a:lnTo>
                        <a:lnTo>
                          <a:pt x="1652" y="1038"/>
                        </a:lnTo>
                        <a:lnTo>
                          <a:pt x="1648" y="1041"/>
                        </a:lnTo>
                        <a:lnTo>
                          <a:pt x="1648" y="1043"/>
                        </a:lnTo>
                        <a:lnTo>
                          <a:pt x="1647" y="1045"/>
                        </a:lnTo>
                        <a:lnTo>
                          <a:pt x="1650" y="1046"/>
                        </a:lnTo>
                        <a:lnTo>
                          <a:pt x="1655" y="1046"/>
                        </a:lnTo>
                        <a:lnTo>
                          <a:pt x="1658" y="1045"/>
                        </a:lnTo>
                        <a:lnTo>
                          <a:pt x="1660" y="1046"/>
                        </a:lnTo>
                        <a:lnTo>
                          <a:pt x="1657" y="1050"/>
                        </a:lnTo>
                        <a:lnTo>
                          <a:pt x="1655" y="1051"/>
                        </a:lnTo>
                        <a:lnTo>
                          <a:pt x="1650" y="1051"/>
                        </a:lnTo>
                        <a:lnTo>
                          <a:pt x="1653" y="1055"/>
                        </a:lnTo>
                        <a:lnTo>
                          <a:pt x="1655" y="1060"/>
                        </a:lnTo>
                        <a:lnTo>
                          <a:pt x="1655" y="1063"/>
                        </a:lnTo>
                        <a:lnTo>
                          <a:pt x="1657" y="1063"/>
                        </a:lnTo>
                        <a:lnTo>
                          <a:pt x="1658" y="1068"/>
                        </a:lnTo>
                        <a:lnTo>
                          <a:pt x="1663" y="1076"/>
                        </a:lnTo>
                        <a:lnTo>
                          <a:pt x="1665" y="1076"/>
                        </a:lnTo>
                        <a:lnTo>
                          <a:pt x="1662" y="1078"/>
                        </a:lnTo>
                        <a:lnTo>
                          <a:pt x="1662" y="1085"/>
                        </a:lnTo>
                        <a:lnTo>
                          <a:pt x="1658" y="1090"/>
                        </a:lnTo>
                        <a:lnTo>
                          <a:pt x="1660" y="1093"/>
                        </a:lnTo>
                        <a:lnTo>
                          <a:pt x="1658" y="1095"/>
                        </a:lnTo>
                        <a:lnTo>
                          <a:pt x="1652" y="1088"/>
                        </a:lnTo>
                        <a:lnTo>
                          <a:pt x="1650" y="1083"/>
                        </a:lnTo>
                        <a:lnTo>
                          <a:pt x="1652" y="1080"/>
                        </a:lnTo>
                        <a:lnTo>
                          <a:pt x="1650" y="1073"/>
                        </a:lnTo>
                        <a:lnTo>
                          <a:pt x="1650" y="1078"/>
                        </a:lnTo>
                        <a:lnTo>
                          <a:pt x="1648" y="1085"/>
                        </a:lnTo>
                        <a:lnTo>
                          <a:pt x="1652" y="1093"/>
                        </a:lnTo>
                        <a:lnTo>
                          <a:pt x="1652" y="1100"/>
                        </a:lnTo>
                        <a:lnTo>
                          <a:pt x="1650" y="1103"/>
                        </a:lnTo>
                        <a:lnTo>
                          <a:pt x="1652" y="1106"/>
                        </a:lnTo>
                        <a:lnTo>
                          <a:pt x="1650" y="1108"/>
                        </a:lnTo>
                        <a:lnTo>
                          <a:pt x="1647" y="1108"/>
                        </a:lnTo>
                        <a:lnTo>
                          <a:pt x="1645" y="1105"/>
                        </a:lnTo>
                        <a:lnTo>
                          <a:pt x="1640" y="1105"/>
                        </a:lnTo>
                        <a:lnTo>
                          <a:pt x="1643" y="1111"/>
                        </a:lnTo>
                        <a:lnTo>
                          <a:pt x="1643" y="1118"/>
                        </a:lnTo>
                        <a:lnTo>
                          <a:pt x="1643" y="1118"/>
                        </a:lnTo>
                        <a:lnTo>
                          <a:pt x="1643" y="1121"/>
                        </a:lnTo>
                        <a:lnTo>
                          <a:pt x="1640" y="1121"/>
                        </a:lnTo>
                        <a:lnTo>
                          <a:pt x="1637" y="1118"/>
                        </a:lnTo>
                        <a:lnTo>
                          <a:pt x="1635" y="1111"/>
                        </a:lnTo>
                        <a:lnTo>
                          <a:pt x="1637" y="1110"/>
                        </a:lnTo>
                        <a:lnTo>
                          <a:pt x="1637" y="1105"/>
                        </a:lnTo>
                        <a:lnTo>
                          <a:pt x="1635" y="1108"/>
                        </a:lnTo>
                        <a:lnTo>
                          <a:pt x="1632" y="1108"/>
                        </a:lnTo>
                        <a:lnTo>
                          <a:pt x="1630" y="1105"/>
                        </a:lnTo>
                        <a:lnTo>
                          <a:pt x="1630" y="1100"/>
                        </a:lnTo>
                        <a:lnTo>
                          <a:pt x="1627" y="1101"/>
                        </a:lnTo>
                        <a:lnTo>
                          <a:pt x="1627" y="1103"/>
                        </a:lnTo>
                        <a:lnTo>
                          <a:pt x="1625" y="1103"/>
                        </a:lnTo>
                        <a:lnTo>
                          <a:pt x="1625" y="1100"/>
                        </a:lnTo>
                        <a:lnTo>
                          <a:pt x="1623" y="1096"/>
                        </a:lnTo>
                        <a:lnTo>
                          <a:pt x="1622" y="1095"/>
                        </a:lnTo>
                        <a:lnTo>
                          <a:pt x="1622" y="1096"/>
                        </a:lnTo>
                        <a:lnTo>
                          <a:pt x="1623" y="1098"/>
                        </a:lnTo>
                        <a:lnTo>
                          <a:pt x="1622" y="1101"/>
                        </a:lnTo>
                        <a:lnTo>
                          <a:pt x="1618" y="1100"/>
                        </a:lnTo>
                        <a:lnTo>
                          <a:pt x="1617" y="1098"/>
                        </a:lnTo>
                        <a:lnTo>
                          <a:pt x="1615" y="1095"/>
                        </a:lnTo>
                        <a:lnTo>
                          <a:pt x="1617" y="1091"/>
                        </a:lnTo>
                        <a:lnTo>
                          <a:pt x="1613" y="1085"/>
                        </a:lnTo>
                        <a:lnTo>
                          <a:pt x="1613" y="1083"/>
                        </a:lnTo>
                        <a:lnTo>
                          <a:pt x="1612" y="1086"/>
                        </a:lnTo>
                        <a:lnTo>
                          <a:pt x="1613" y="1093"/>
                        </a:lnTo>
                        <a:lnTo>
                          <a:pt x="1613" y="1096"/>
                        </a:lnTo>
                        <a:lnTo>
                          <a:pt x="1612" y="1100"/>
                        </a:lnTo>
                        <a:lnTo>
                          <a:pt x="1608" y="1091"/>
                        </a:lnTo>
                        <a:lnTo>
                          <a:pt x="1605" y="1090"/>
                        </a:lnTo>
                        <a:lnTo>
                          <a:pt x="1605" y="1086"/>
                        </a:lnTo>
                        <a:lnTo>
                          <a:pt x="1602" y="1086"/>
                        </a:lnTo>
                        <a:lnTo>
                          <a:pt x="1598" y="1080"/>
                        </a:lnTo>
                        <a:lnTo>
                          <a:pt x="1597" y="1078"/>
                        </a:lnTo>
                        <a:lnTo>
                          <a:pt x="1597" y="1076"/>
                        </a:lnTo>
                        <a:lnTo>
                          <a:pt x="1595" y="1073"/>
                        </a:lnTo>
                        <a:lnTo>
                          <a:pt x="1592" y="1073"/>
                        </a:lnTo>
                        <a:lnTo>
                          <a:pt x="1592" y="1076"/>
                        </a:lnTo>
                        <a:lnTo>
                          <a:pt x="1595" y="1081"/>
                        </a:lnTo>
                        <a:lnTo>
                          <a:pt x="1595" y="1085"/>
                        </a:lnTo>
                        <a:lnTo>
                          <a:pt x="1593" y="1083"/>
                        </a:lnTo>
                        <a:lnTo>
                          <a:pt x="1592" y="1080"/>
                        </a:lnTo>
                        <a:lnTo>
                          <a:pt x="1590" y="1078"/>
                        </a:lnTo>
                        <a:lnTo>
                          <a:pt x="1585" y="1075"/>
                        </a:lnTo>
                        <a:lnTo>
                          <a:pt x="1582" y="1070"/>
                        </a:lnTo>
                        <a:lnTo>
                          <a:pt x="1582" y="1065"/>
                        </a:lnTo>
                        <a:lnTo>
                          <a:pt x="1577" y="1065"/>
                        </a:lnTo>
                        <a:lnTo>
                          <a:pt x="1575" y="1068"/>
                        </a:lnTo>
                        <a:lnTo>
                          <a:pt x="1572" y="1066"/>
                        </a:lnTo>
                        <a:lnTo>
                          <a:pt x="1570" y="1070"/>
                        </a:lnTo>
                        <a:lnTo>
                          <a:pt x="1572" y="1075"/>
                        </a:lnTo>
                        <a:lnTo>
                          <a:pt x="1579" y="1080"/>
                        </a:lnTo>
                        <a:lnTo>
                          <a:pt x="1579" y="1081"/>
                        </a:lnTo>
                        <a:lnTo>
                          <a:pt x="1579" y="1085"/>
                        </a:lnTo>
                        <a:lnTo>
                          <a:pt x="1580" y="1090"/>
                        </a:lnTo>
                        <a:lnTo>
                          <a:pt x="1582" y="1090"/>
                        </a:lnTo>
                        <a:lnTo>
                          <a:pt x="1587" y="1091"/>
                        </a:lnTo>
                        <a:lnTo>
                          <a:pt x="1590" y="1095"/>
                        </a:lnTo>
                        <a:lnTo>
                          <a:pt x="1588" y="1096"/>
                        </a:lnTo>
                        <a:lnTo>
                          <a:pt x="1592" y="1096"/>
                        </a:lnTo>
                        <a:lnTo>
                          <a:pt x="1593" y="1096"/>
                        </a:lnTo>
                        <a:lnTo>
                          <a:pt x="1592" y="1100"/>
                        </a:lnTo>
                        <a:lnTo>
                          <a:pt x="1597" y="1100"/>
                        </a:lnTo>
                        <a:lnTo>
                          <a:pt x="1597" y="1103"/>
                        </a:lnTo>
                        <a:lnTo>
                          <a:pt x="1600" y="1108"/>
                        </a:lnTo>
                        <a:lnTo>
                          <a:pt x="1598" y="1111"/>
                        </a:lnTo>
                        <a:lnTo>
                          <a:pt x="1603" y="1111"/>
                        </a:lnTo>
                        <a:lnTo>
                          <a:pt x="1605" y="1111"/>
                        </a:lnTo>
                        <a:lnTo>
                          <a:pt x="1607" y="1116"/>
                        </a:lnTo>
                        <a:lnTo>
                          <a:pt x="1603" y="1120"/>
                        </a:lnTo>
                        <a:lnTo>
                          <a:pt x="1605" y="1120"/>
                        </a:lnTo>
                        <a:lnTo>
                          <a:pt x="1607" y="1123"/>
                        </a:lnTo>
                        <a:lnTo>
                          <a:pt x="1607" y="1125"/>
                        </a:lnTo>
                        <a:lnTo>
                          <a:pt x="1610" y="1121"/>
                        </a:lnTo>
                        <a:lnTo>
                          <a:pt x="1612" y="1123"/>
                        </a:lnTo>
                        <a:lnTo>
                          <a:pt x="1612" y="1128"/>
                        </a:lnTo>
                        <a:lnTo>
                          <a:pt x="1613" y="1130"/>
                        </a:lnTo>
                        <a:lnTo>
                          <a:pt x="1615" y="1128"/>
                        </a:lnTo>
                        <a:lnTo>
                          <a:pt x="1617" y="1130"/>
                        </a:lnTo>
                        <a:lnTo>
                          <a:pt x="1615" y="1133"/>
                        </a:lnTo>
                        <a:lnTo>
                          <a:pt x="1612" y="1131"/>
                        </a:lnTo>
                        <a:lnTo>
                          <a:pt x="1610" y="1134"/>
                        </a:lnTo>
                        <a:lnTo>
                          <a:pt x="1612" y="1136"/>
                        </a:lnTo>
                        <a:lnTo>
                          <a:pt x="1613" y="1139"/>
                        </a:lnTo>
                        <a:lnTo>
                          <a:pt x="1613" y="1143"/>
                        </a:lnTo>
                        <a:lnTo>
                          <a:pt x="1613" y="1143"/>
                        </a:lnTo>
                        <a:lnTo>
                          <a:pt x="1613" y="1143"/>
                        </a:lnTo>
                        <a:close/>
                        <a:moveTo>
                          <a:pt x="1208" y="1035"/>
                        </a:moveTo>
                        <a:lnTo>
                          <a:pt x="1208" y="1035"/>
                        </a:lnTo>
                        <a:lnTo>
                          <a:pt x="1210" y="1035"/>
                        </a:lnTo>
                        <a:lnTo>
                          <a:pt x="1211" y="1031"/>
                        </a:lnTo>
                        <a:lnTo>
                          <a:pt x="1213" y="1030"/>
                        </a:lnTo>
                        <a:lnTo>
                          <a:pt x="1215" y="1031"/>
                        </a:lnTo>
                        <a:lnTo>
                          <a:pt x="1218" y="1033"/>
                        </a:lnTo>
                        <a:lnTo>
                          <a:pt x="1221" y="1033"/>
                        </a:lnTo>
                        <a:lnTo>
                          <a:pt x="1223" y="1031"/>
                        </a:lnTo>
                        <a:lnTo>
                          <a:pt x="1226" y="1031"/>
                        </a:lnTo>
                        <a:lnTo>
                          <a:pt x="1228" y="1033"/>
                        </a:lnTo>
                        <a:lnTo>
                          <a:pt x="1230" y="1036"/>
                        </a:lnTo>
                        <a:lnTo>
                          <a:pt x="1226" y="1041"/>
                        </a:lnTo>
                        <a:lnTo>
                          <a:pt x="1226" y="1045"/>
                        </a:lnTo>
                        <a:lnTo>
                          <a:pt x="1223" y="1048"/>
                        </a:lnTo>
                        <a:lnTo>
                          <a:pt x="1223" y="1053"/>
                        </a:lnTo>
                        <a:lnTo>
                          <a:pt x="1225" y="1055"/>
                        </a:lnTo>
                        <a:lnTo>
                          <a:pt x="1228" y="1055"/>
                        </a:lnTo>
                        <a:lnTo>
                          <a:pt x="1230" y="1055"/>
                        </a:lnTo>
                        <a:lnTo>
                          <a:pt x="1233" y="1055"/>
                        </a:lnTo>
                        <a:lnTo>
                          <a:pt x="1235" y="1053"/>
                        </a:lnTo>
                        <a:lnTo>
                          <a:pt x="1240" y="1053"/>
                        </a:lnTo>
                        <a:lnTo>
                          <a:pt x="1241" y="1051"/>
                        </a:lnTo>
                        <a:lnTo>
                          <a:pt x="1245" y="1050"/>
                        </a:lnTo>
                        <a:lnTo>
                          <a:pt x="1248" y="1050"/>
                        </a:lnTo>
                        <a:lnTo>
                          <a:pt x="1251" y="1046"/>
                        </a:lnTo>
                        <a:lnTo>
                          <a:pt x="1253" y="1043"/>
                        </a:lnTo>
                        <a:lnTo>
                          <a:pt x="1256" y="1040"/>
                        </a:lnTo>
                        <a:lnTo>
                          <a:pt x="1258" y="1036"/>
                        </a:lnTo>
                        <a:lnTo>
                          <a:pt x="1260" y="1036"/>
                        </a:lnTo>
                        <a:lnTo>
                          <a:pt x="1263" y="1038"/>
                        </a:lnTo>
                        <a:lnTo>
                          <a:pt x="1266" y="1036"/>
                        </a:lnTo>
                        <a:lnTo>
                          <a:pt x="1268" y="1035"/>
                        </a:lnTo>
                        <a:lnTo>
                          <a:pt x="1271" y="1035"/>
                        </a:lnTo>
                        <a:lnTo>
                          <a:pt x="1273" y="1030"/>
                        </a:lnTo>
                        <a:lnTo>
                          <a:pt x="1273" y="1025"/>
                        </a:lnTo>
                        <a:lnTo>
                          <a:pt x="1276" y="1022"/>
                        </a:lnTo>
                        <a:lnTo>
                          <a:pt x="1278" y="1018"/>
                        </a:lnTo>
                        <a:lnTo>
                          <a:pt x="1281" y="1018"/>
                        </a:lnTo>
                        <a:lnTo>
                          <a:pt x="1283" y="1020"/>
                        </a:lnTo>
                        <a:lnTo>
                          <a:pt x="1286" y="1018"/>
                        </a:lnTo>
                        <a:lnTo>
                          <a:pt x="1288" y="1017"/>
                        </a:lnTo>
                        <a:lnTo>
                          <a:pt x="1291" y="1018"/>
                        </a:lnTo>
                        <a:lnTo>
                          <a:pt x="1291" y="1022"/>
                        </a:lnTo>
                        <a:lnTo>
                          <a:pt x="1288" y="1025"/>
                        </a:lnTo>
                        <a:lnTo>
                          <a:pt x="1286" y="1027"/>
                        </a:lnTo>
                        <a:lnTo>
                          <a:pt x="1289" y="1028"/>
                        </a:lnTo>
                        <a:lnTo>
                          <a:pt x="1296" y="1028"/>
                        </a:lnTo>
                        <a:lnTo>
                          <a:pt x="1299" y="1030"/>
                        </a:lnTo>
                        <a:lnTo>
                          <a:pt x="1301" y="1033"/>
                        </a:lnTo>
                        <a:lnTo>
                          <a:pt x="1298" y="1036"/>
                        </a:lnTo>
                        <a:lnTo>
                          <a:pt x="1294" y="1038"/>
                        </a:lnTo>
                        <a:lnTo>
                          <a:pt x="1294" y="1043"/>
                        </a:lnTo>
                        <a:lnTo>
                          <a:pt x="1298" y="1045"/>
                        </a:lnTo>
                        <a:lnTo>
                          <a:pt x="1299" y="1043"/>
                        </a:lnTo>
                        <a:lnTo>
                          <a:pt x="1303" y="1043"/>
                        </a:lnTo>
                        <a:lnTo>
                          <a:pt x="1304" y="1045"/>
                        </a:lnTo>
                        <a:lnTo>
                          <a:pt x="1308" y="1043"/>
                        </a:lnTo>
                        <a:lnTo>
                          <a:pt x="1309" y="1046"/>
                        </a:lnTo>
                        <a:lnTo>
                          <a:pt x="1313" y="1046"/>
                        </a:lnTo>
                        <a:lnTo>
                          <a:pt x="1316" y="1050"/>
                        </a:lnTo>
                        <a:lnTo>
                          <a:pt x="1318" y="1050"/>
                        </a:lnTo>
                        <a:lnTo>
                          <a:pt x="1324" y="1051"/>
                        </a:lnTo>
                        <a:lnTo>
                          <a:pt x="1326" y="1051"/>
                        </a:lnTo>
                        <a:lnTo>
                          <a:pt x="1329" y="1046"/>
                        </a:lnTo>
                        <a:lnTo>
                          <a:pt x="1331" y="1045"/>
                        </a:lnTo>
                        <a:lnTo>
                          <a:pt x="1336" y="1041"/>
                        </a:lnTo>
                        <a:lnTo>
                          <a:pt x="1339" y="1041"/>
                        </a:lnTo>
                        <a:lnTo>
                          <a:pt x="1341" y="1040"/>
                        </a:lnTo>
                        <a:lnTo>
                          <a:pt x="1338" y="1038"/>
                        </a:lnTo>
                        <a:lnTo>
                          <a:pt x="1334" y="1035"/>
                        </a:lnTo>
                        <a:lnTo>
                          <a:pt x="1338" y="1035"/>
                        </a:lnTo>
                        <a:lnTo>
                          <a:pt x="1339" y="1031"/>
                        </a:lnTo>
                        <a:lnTo>
                          <a:pt x="1336" y="1031"/>
                        </a:lnTo>
                        <a:lnTo>
                          <a:pt x="1334" y="1028"/>
                        </a:lnTo>
                        <a:lnTo>
                          <a:pt x="1333" y="1028"/>
                        </a:lnTo>
                        <a:lnTo>
                          <a:pt x="1333" y="1031"/>
                        </a:lnTo>
                        <a:lnTo>
                          <a:pt x="1331" y="1031"/>
                        </a:lnTo>
                        <a:lnTo>
                          <a:pt x="1329" y="1031"/>
                        </a:lnTo>
                        <a:lnTo>
                          <a:pt x="1326" y="1030"/>
                        </a:lnTo>
                        <a:lnTo>
                          <a:pt x="1324" y="1027"/>
                        </a:lnTo>
                        <a:lnTo>
                          <a:pt x="1323" y="1027"/>
                        </a:lnTo>
                        <a:lnTo>
                          <a:pt x="1319" y="1030"/>
                        </a:lnTo>
                        <a:lnTo>
                          <a:pt x="1313" y="1030"/>
                        </a:lnTo>
                        <a:lnTo>
                          <a:pt x="1309" y="1028"/>
                        </a:lnTo>
                        <a:lnTo>
                          <a:pt x="1314" y="1025"/>
                        </a:lnTo>
                        <a:lnTo>
                          <a:pt x="1318" y="1025"/>
                        </a:lnTo>
                        <a:lnTo>
                          <a:pt x="1321" y="1023"/>
                        </a:lnTo>
                        <a:lnTo>
                          <a:pt x="1321" y="1020"/>
                        </a:lnTo>
                        <a:lnTo>
                          <a:pt x="1319" y="1018"/>
                        </a:lnTo>
                        <a:lnTo>
                          <a:pt x="1319" y="1015"/>
                        </a:lnTo>
                        <a:lnTo>
                          <a:pt x="1319" y="1012"/>
                        </a:lnTo>
                        <a:lnTo>
                          <a:pt x="1319" y="1010"/>
                        </a:lnTo>
                        <a:lnTo>
                          <a:pt x="1318" y="1007"/>
                        </a:lnTo>
                        <a:lnTo>
                          <a:pt x="1318" y="1005"/>
                        </a:lnTo>
                        <a:lnTo>
                          <a:pt x="1311" y="998"/>
                        </a:lnTo>
                        <a:lnTo>
                          <a:pt x="1306" y="995"/>
                        </a:lnTo>
                        <a:lnTo>
                          <a:pt x="1304" y="993"/>
                        </a:lnTo>
                        <a:lnTo>
                          <a:pt x="1303" y="988"/>
                        </a:lnTo>
                        <a:lnTo>
                          <a:pt x="1299" y="988"/>
                        </a:lnTo>
                        <a:lnTo>
                          <a:pt x="1299" y="987"/>
                        </a:lnTo>
                        <a:lnTo>
                          <a:pt x="1299" y="982"/>
                        </a:lnTo>
                        <a:lnTo>
                          <a:pt x="1298" y="978"/>
                        </a:lnTo>
                        <a:lnTo>
                          <a:pt x="1293" y="978"/>
                        </a:lnTo>
                        <a:lnTo>
                          <a:pt x="1285" y="975"/>
                        </a:lnTo>
                        <a:lnTo>
                          <a:pt x="1281" y="970"/>
                        </a:lnTo>
                        <a:lnTo>
                          <a:pt x="1285" y="968"/>
                        </a:lnTo>
                        <a:lnTo>
                          <a:pt x="1285" y="967"/>
                        </a:lnTo>
                        <a:lnTo>
                          <a:pt x="1280" y="963"/>
                        </a:lnTo>
                        <a:lnTo>
                          <a:pt x="1280" y="960"/>
                        </a:lnTo>
                        <a:lnTo>
                          <a:pt x="1278" y="960"/>
                        </a:lnTo>
                        <a:lnTo>
                          <a:pt x="1273" y="965"/>
                        </a:lnTo>
                        <a:lnTo>
                          <a:pt x="1273" y="968"/>
                        </a:lnTo>
                        <a:lnTo>
                          <a:pt x="1270" y="972"/>
                        </a:lnTo>
                        <a:lnTo>
                          <a:pt x="1268" y="970"/>
                        </a:lnTo>
                        <a:lnTo>
                          <a:pt x="1268" y="963"/>
                        </a:lnTo>
                        <a:lnTo>
                          <a:pt x="1266" y="960"/>
                        </a:lnTo>
                        <a:lnTo>
                          <a:pt x="1266" y="957"/>
                        </a:lnTo>
                        <a:lnTo>
                          <a:pt x="1270" y="958"/>
                        </a:lnTo>
                        <a:lnTo>
                          <a:pt x="1273" y="958"/>
                        </a:lnTo>
                        <a:lnTo>
                          <a:pt x="1271" y="955"/>
                        </a:lnTo>
                        <a:lnTo>
                          <a:pt x="1273" y="952"/>
                        </a:lnTo>
                        <a:lnTo>
                          <a:pt x="1271" y="947"/>
                        </a:lnTo>
                        <a:lnTo>
                          <a:pt x="1266" y="948"/>
                        </a:lnTo>
                        <a:lnTo>
                          <a:pt x="1266" y="945"/>
                        </a:lnTo>
                        <a:lnTo>
                          <a:pt x="1271" y="942"/>
                        </a:lnTo>
                        <a:lnTo>
                          <a:pt x="1268" y="940"/>
                        </a:lnTo>
                        <a:lnTo>
                          <a:pt x="1260" y="943"/>
                        </a:lnTo>
                        <a:lnTo>
                          <a:pt x="1255" y="948"/>
                        </a:lnTo>
                        <a:lnTo>
                          <a:pt x="1251" y="957"/>
                        </a:lnTo>
                        <a:lnTo>
                          <a:pt x="1246" y="962"/>
                        </a:lnTo>
                        <a:lnTo>
                          <a:pt x="1246" y="965"/>
                        </a:lnTo>
                        <a:lnTo>
                          <a:pt x="1243" y="968"/>
                        </a:lnTo>
                        <a:lnTo>
                          <a:pt x="1243" y="972"/>
                        </a:lnTo>
                        <a:lnTo>
                          <a:pt x="1238" y="978"/>
                        </a:lnTo>
                        <a:lnTo>
                          <a:pt x="1240" y="982"/>
                        </a:lnTo>
                        <a:lnTo>
                          <a:pt x="1236" y="982"/>
                        </a:lnTo>
                        <a:lnTo>
                          <a:pt x="1236" y="987"/>
                        </a:lnTo>
                        <a:lnTo>
                          <a:pt x="1236" y="990"/>
                        </a:lnTo>
                        <a:lnTo>
                          <a:pt x="1230" y="995"/>
                        </a:lnTo>
                        <a:lnTo>
                          <a:pt x="1228" y="998"/>
                        </a:lnTo>
                        <a:lnTo>
                          <a:pt x="1228" y="1005"/>
                        </a:lnTo>
                        <a:lnTo>
                          <a:pt x="1226" y="1007"/>
                        </a:lnTo>
                        <a:lnTo>
                          <a:pt x="1226" y="1013"/>
                        </a:lnTo>
                        <a:lnTo>
                          <a:pt x="1223" y="1017"/>
                        </a:lnTo>
                        <a:lnTo>
                          <a:pt x="1218" y="1017"/>
                        </a:lnTo>
                        <a:lnTo>
                          <a:pt x="1210" y="1020"/>
                        </a:lnTo>
                        <a:lnTo>
                          <a:pt x="1210" y="1023"/>
                        </a:lnTo>
                        <a:lnTo>
                          <a:pt x="1206" y="1030"/>
                        </a:lnTo>
                        <a:lnTo>
                          <a:pt x="1208" y="1035"/>
                        </a:lnTo>
                        <a:lnTo>
                          <a:pt x="1208" y="1035"/>
                        </a:lnTo>
                        <a:close/>
                        <a:moveTo>
                          <a:pt x="1248" y="1098"/>
                        </a:moveTo>
                        <a:lnTo>
                          <a:pt x="1248" y="1098"/>
                        </a:lnTo>
                        <a:lnTo>
                          <a:pt x="1248" y="1100"/>
                        </a:lnTo>
                        <a:lnTo>
                          <a:pt x="1250" y="1100"/>
                        </a:lnTo>
                        <a:lnTo>
                          <a:pt x="1255" y="1095"/>
                        </a:lnTo>
                        <a:lnTo>
                          <a:pt x="1258" y="1095"/>
                        </a:lnTo>
                        <a:lnTo>
                          <a:pt x="1260" y="1095"/>
                        </a:lnTo>
                        <a:lnTo>
                          <a:pt x="1261" y="1096"/>
                        </a:lnTo>
                        <a:lnTo>
                          <a:pt x="1265" y="1098"/>
                        </a:lnTo>
                        <a:lnTo>
                          <a:pt x="1271" y="1093"/>
                        </a:lnTo>
                        <a:lnTo>
                          <a:pt x="1275" y="1091"/>
                        </a:lnTo>
                        <a:lnTo>
                          <a:pt x="1278" y="1088"/>
                        </a:lnTo>
                        <a:lnTo>
                          <a:pt x="1283" y="1083"/>
                        </a:lnTo>
                        <a:lnTo>
                          <a:pt x="1286" y="1083"/>
                        </a:lnTo>
                        <a:lnTo>
                          <a:pt x="1291" y="1080"/>
                        </a:lnTo>
                        <a:lnTo>
                          <a:pt x="1293" y="1076"/>
                        </a:lnTo>
                        <a:lnTo>
                          <a:pt x="1296" y="1073"/>
                        </a:lnTo>
                        <a:lnTo>
                          <a:pt x="1294" y="1071"/>
                        </a:lnTo>
                        <a:lnTo>
                          <a:pt x="1289" y="1071"/>
                        </a:lnTo>
                        <a:lnTo>
                          <a:pt x="1288" y="1070"/>
                        </a:lnTo>
                        <a:lnTo>
                          <a:pt x="1285" y="1070"/>
                        </a:lnTo>
                        <a:lnTo>
                          <a:pt x="1281" y="1071"/>
                        </a:lnTo>
                        <a:lnTo>
                          <a:pt x="1280" y="1071"/>
                        </a:lnTo>
                        <a:lnTo>
                          <a:pt x="1276" y="1071"/>
                        </a:lnTo>
                        <a:lnTo>
                          <a:pt x="1273" y="1075"/>
                        </a:lnTo>
                        <a:lnTo>
                          <a:pt x="1270" y="1073"/>
                        </a:lnTo>
                        <a:lnTo>
                          <a:pt x="1268" y="1070"/>
                        </a:lnTo>
                        <a:lnTo>
                          <a:pt x="1266" y="1070"/>
                        </a:lnTo>
                        <a:lnTo>
                          <a:pt x="1261" y="1071"/>
                        </a:lnTo>
                        <a:lnTo>
                          <a:pt x="1256" y="1076"/>
                        </a:lnTo>
                        <a:lnTo>
                          <a:pt x="1256" y="1078"/>
                        </a:lnTo>
                        <a:lnTo>
                          <a:pt x="1255" y="1081"/>
                        </a:lnTo>
                        <a:lnTo>
                          <a:pt x="1246" y="1083"/>
                        </a:lnTo>
                        <a:lnTo>
                          <a:pt x="1245" y="1086"/>
                        </a:lnTo>
                        <a:lnTo>
                          <a:pt x="1248" y="1088"/>
                        </a:lnTo>
                        <a:lnTo>
                          <a:pt x="1248" y="1091"/>
                        </a:lnTo>
                        <a:lnTo>
                          <a:pt x="1248" y="1095"/>
                        </a:lnTo>
                        <a:lnTo>
                          <a:pt x="1248" y="1098"/>
                        </a:lnTo>
                        <a:lnTo>
                          <a:pt x="1248" y="1098"/>
                        </a:lnTo>
                        <a:close/>
                        <a:moveTo>
                          <a:pt x="1638" y="1128"/>
                        </a:moveTo>
                        <a:lnTo>
                          <a:pt x="1638" y="1128"/>
                        </a:lnTo>
                        <a:lnTo>
                          <a:pt x="1643" y="1128"/>
                        </a:lnTo>
                        <a:lnTo>
                          <a:pt x="1647" y="1131"/>
                        </a:lnTo>
                        <a:lnTo>
                          <a:pt x="1650" y="1131"/>
                        </a:lnTo>
                        <a:lnTo>
                          <a:pt x="1650" y="1128"/>
                        </a:lnTo>
                        <a:lnTo>
                          <a:pt x="1652" y="1126"/>
                        </a:lnTo>
                        <a:lnTo>
                          <a:pt x="1652" y="1125"/>
                        </a:lnTo>
                        <a:lnTo>
                          <a:pt x="1648" y="1123"/>
                        </a:lnTo>
                        <a:lnTo>
                          <a:pt x="1645" y="1125"/>
                        </a:lnTo>
                        <a:lnTo>
                          <a:pt x="1642" y="1125"/>
                        </a:lnTo>
                        <a:lnTo>
                          <a:pt x="1638" y="1128"/>
                        </a:lnTo>
                        <a:lnTo>
                          <a:pt x="1638" y="1128"/>
                        </a:lnTo>
                        <a:close/>
                        <a:moveTo>
                          <a:pt x="1515" y="1098"/>
                        </a:moveTo>
                        <a:lnTo>
                          <a:pt x="1517" y="1100"/>
                        </a:lnTo>
                        <a:lnTo>
                          <a:pt x="1522" y="1101"/>
                        </a:lnTo>
                        <a:lnTo>
                          <a:pt x="1522" y="1103"/>
                        </a:lnTo>
                        <a:lnTo>
                          <a:pt x="1522" y="1105"/>
                        </a:lnTo>
                        <a:lnTo>
                          <a:pt x="1524" y="1106"/>
                        </a:lnTo>
                        <a:lnTo>
                          <a:pt x="1525" y="1108"/>
                        </a:lnTo>
                        <a:lnTo>
                          <a:pt x="1527" y="1110"/>
                        </a:lnTo>
                        <a:lnTo>
                          <a:pt x="1530" y="1110"/>
                        </a:lnTo>
                        <a:lnTo>
                          <a:pt x="1532" y="1108"/>
                        </a:lnTo>
                        <a:lnTo>
                          <a:pt x="1532" y="1108"/>
                        </a:lnTo>
                        <a:lnTo>
                          <a:pt x="1532" y="1105"/>
                        </a:lnTo>
                        <a:lnTo>
                          <a:pt x="1529" y="1103"/>
                        </a:lnTo>
                        <a:lnTo>
                          <a:pt x="1525" y="1101"/>
                        </a:lnTo>
                        <a:lnTo>
                          <a:pt x="1525" y="1100"/>
                        </a:lnTo>
                        <a:lnTo>
                          <a:pt x="1520" y="1098"/>
                        </a:lnTo>
                        <a:lnTo>
                          <a:pt x="1517" y="1098"/>
                        </a:lnTo>
                        <a:lnTo>
                          <a:pt x="1515" y="1098"/>
                        </a:lnTo>
                        <a:lnTo>
                          <a:pt x="1515" y="1098"/>
                        </a:lnTo>
                        <a:close/>
                        <a:moveTo>
                          <a:pt x="1633" y="1156"/>
                        </a:moveTo>
                        <a:lnTo>
                          <a:pt x="1628" y="1153"/>
                        </a:lnTo>
                        <a:lnTo>
                          <a:pt x="1628" y="1149"/>
                        </a:lnTo>
                        <a:lnTo>
                          <a:pt x="1627" y="1148"/>
                        </a:lnTo>
                        <a:lnTo>
                          <a:pt x="1627" y="1146"/>
                        </a:lnTo>
                        <a:lnTo>
                          <a:pt x="1628" y="1144"/>
                        </a:lnTo>
                        <a:lnTo>
                          <a:pt x="1632" y="1148"/>
                        </a:lnTo>
                        <a:lnTo>
                          <a:pt x="1632" y="1149"/>
                        </a:lnTo>
                        <a:lnTo>
                          <a:pt x="1633" y="1151"/>
                        </a:lnTo>
                        <a:lnTo>
                          <a:pt x="1635" y="1154"/>
                        </a:lnTo>
                        <a:lnTo>
                          <a:pt x="1633" y="1156"/>
                        </a:lnTo>
                        <a:lnTo>
                          <a:pt x="1633" y="1156"/>
                        </a:lnTo>
                        <a:close/>
                        <a:moveTo>
                          <a:pt x="1628" y="1169"/>
                        </a:moveTo>
                        <a:lnTo>
                          <a:pt x="1627" y="1168"/>
                        </a:lnTo>
                        <a:lnTo>
                          <a:pt x="1627" y="1164"/>
                        </a:lnTo>
                        <a:lnTo>
                          <a:pt x="1625" y="1163"/>
                        </a:lnTo>
                        <a:lnTo>
                          <a:pt x="1622" y="1163"/>
                        </a:lnTo>
                        <a:lnTo>
                          <a:pt x="1618" y="1159"/>
                        </a:lnTo>
                        <a:lnTo>
                          <a:pt x="1618" y="1158"/>
                        </a:lnTo>
                        <a:lnTo>
                          <a:pt x="1622" y="1156"/>
                        </a:lnTo>
                        <a:lnTo>
                          <a:pt x="1623" y="1156"/>
                        </a:lnTo>
                        <a:lnTo>
                          <a:pt x="1630" y="1156"/>
                        </a:lnTo>
                        <a:lnTo>
                          <a:pt x="1635" y="1159"/>
                        </a:lnTo>
                        <a:lnTo>
                          <a:pt x="1635" y="1161"/>
                        </a:lnTo>
                        <a:lnTo>
                          <a:pt x="1633" y="1163"/>
                        </a:lnTo>
                        <a:lnTo>
                          <a:pt x="1633" y="1164"/>
                        </a:lnTo>
                        <a:lnTo>
                          <a:pt x="1632" y="1166"/>
                        </a:lnTo>
                        <a:lnTo>
                          <a:pt x="1630" y="1168"/>
                        </a:lnTo>
                        <a:lnTo>
                          <a:pt x="1628" y="1169"/>
                        </a:lnTo>
                        <a:lnTo>
                          <a:pt x="1628" y="1169"/>
                        </a:lnTo>
                        <a:close/>
                        <a:moveTo>
                          <a:pt x="1509" y="1234"/>
                        </a:moveTo>
                        <a:lnTo>
                          <a:pt x="1507" y="1237"/>
                        </a:lnTo>
                        <a:lnTo>
                          <a:pt x="1509" y="1236"/>
                        </a:lnTo>
                        <a:lnTo>
                          <a:pt x="1509" y="1234"/>
                        </a:lnTo>
                        <a:lnTo>
                          <a:pt x="1509" y="1234"/>
                        </a:lnTo>
                        <a:close/>
                        <a:moveTo>
                          <a:pt x="1510" y="1236"/>
                        </a:moveTo>
                        <a:lnTo>
                          <a:pt x="1510" y="1237"/>
                        </a:lnTo>
                        <a:lnTo>
                          <a:pt x="1510" y="1237"/>
                        </a:lnTo>
                        <a:lnTo>
                          <a:pt x="1510" y="1236"/>
                        </a:lnTo>
                        <a:lnTo>
                          <a:pt x="1510" y="1236"/>
                        </a:lnTo>
                        <a:close/>
                        <a:moveTo>
                          <a:pt x="1514" y="1234"/>
                        </a:moveTo>
                        <a:lnTo>
                          <a:pt x="1512" y="1237"/>
                        </a:lnTo>
                        <a:lnTo>
                          <a:pt x="1514" y="1241"/>
                        </a:lnTo>
                        <a:lnTo>
                          <a:pt x="1514" y="1242"/>
                        </a:lnTo>
                        <a:lnTo>
                          <a:pt x="1514" y="1242"/>
                        </a:lnTo>
                        <a:lnTo>
                          <a:pt x="1515" y="1237"/>
                        </a:lnTo>
                        <a:lnTo>
                          <a:pt x="1514" y="1234"/>
                        </a:lnTo>
                        <a:lnTo>
                          <a:pt x="1514" y="1234"/>
                        </a:lnTo>
                        <a:close/>
                        <a:moveTo>
                          <a:pt x="1545" y="1203"/>
                        </a:moveTo>
                        <a:lnTo>
                          <a:pt x="1545" y="1199"/>
                        </a:lnTo>
                        <a:lnTo>
                          <a:pt x="1547" y="1196"/>
                        </a:lnTo>
                        <a:lnTo>
                          <a:pt x="1549" y="1194"/>
                        </a:lnTo>
                        <a:lnTo>
                          <a:pt x="1549" y="1191"/>
                        </a:lnTo>
                        <a:lnTo>
                          <a:pt x="1554" y="1188"/>
                        </a:lnTo>
                        <a:lnTo>
                          <a:pt x="1559" y="1188"/>
                        </a:lnTo>
                        <a:lnTo>
                          <a:pt x="1560" y="1189"/>
                        </a:lnTo>
                        <a:lnTo>
                          <a:pt x="1559" y="1191"/>
                        </a:lnTo>
                        <a:lnTo>
                          <a:pt x="1560" y="1193"/>
                        </a:lnTo>
                        <a:lnTo>
                          <a:pt x="1560" y="1194"/>
                        </a:lnTo>
                        <a:lnTo>
                          <a:pt x="1557" y="1196"/>
                        </a:lnTo>
                        <a:lnTo>
                          <a:pt x="1555" y="1199"/>
                        </a:lnTo>
                        <a:lnTo>
                          <a:pt x="1552" y="1199"/>
                        </a:lnTo>
                        <a:lnTo>
                          <a:pt x="1547" y="1203"/>
                        </a:lnTo>
                        <a:lnTo>
                          <a:pt x="1545" y="1203"/>
                        </a:lnTo>
                        <a:lnTo>
                          <a:pt x="1545" y="1203"/>
                        </a:lnTo>
                        <a:close/>
                        <a:moveTo>
                          <a:pt x="1441" y="1093"/>
                        </a:moveTo>
                        <a:lnTo>
                          <a:pt x="1444" y="1096"/>
                        </a:lnTo>
                        <a:lnTo>
                          <a:pt x="1447" y="1100"/>
                        </a:lnTo>
                        <a:lnTo>
                          <a:pt x="1451" y="1100"/>
                        </a:lnTo>
                        <a:lnTo>
                          <a:pt x="1456" y="1101"/>
                        </a:lnTo>
                        <a:lnTo>
                          <a:pt x="1454" y="1100"/>
                        </a:lnTo>
                        <a:lnTo>
                          <a:pt x="1451" y="1098"/>
                        </a:lnTo>
                        <a:lnTo>
                          <a:pt x="1444" y="1095"/>
                        </a:lnTo>
                        <a:lnTo>
                          <a:pt x="1442" y="1093"/>
                        </a:lnTo>
                        <a:lnTo>
                          <a:pt x="1441" y="1093"/>
                        </a:lnTo>
                        <a:lnTo>
                          <a:pt x="1441" y="1093"/>
                        </a:lnTo>
                        <a:close/>
                        <a:moveTo>
                          <a:pt x="1404" y="1065"/>
                        </a:moveTo>
                        <a:lnTo>
                          <a:pt x="1404" y="1065"/>
                        </a:lnTo>
                        <a:lnTo>
                          <a:pt x="1407" y="1065"/>
                        </a:lnTo>
                        <a:lnTo>
                          <a:pt x="1409" y="1066"/>
                        </a:lnTo>
                        <a:lnTo>
                          <a:pt x="1411" y="1066"/>
                        </a:lnTo>
                        <a:lnTo>
                          <a:pt x="1412" y="1065"/>
                        </a:lnTo>
                        <a:lnTo>
                          <a:pt x="1414" y="1063"/>
                        </a:lnTo>
                        <a:lnTo>
                          <a:pt x="1414" y="1061"/>
                        </a:lnTo>
                        <a:lnTo>
                          <a:pt x="1411" y="1060"/>
                        </a:lnTo>
                        <a:lnTo>
                          <a:pt x="1414" y="1058"/>
                        </a:lnTo>
                        <a:lnTo>
                          <a:pt x="1414" y="1058"/>
                        </a:lnTo>
                        <a:lnTo>
                          <a:pt x="1409" y="1055"/>
                        </a:lnTo>
                        <a:lnTo>
                          <a:pt x="1406" y="1055"/>
                        </a:lnTo>
                        <a:lnTo>
                          <a:pt x="1406" y="1053"/>
                        </a:lnTo>
                        <a:lnTo>
                          <a:pt x="1404" y="1051"/>
                        </a:lnTo>
                        <a:lnTo>
                          <a:pt x="1402" y="1051"/>
                        </a:lnTo>
                        <a:lnTo>
                          <a:pt x="1399" y="1051"/>
                        </a:lnTo>
                        <a:lnTo>
                          <a:pt x="1396" y="1051"/>
                        </a:lnTo>
                        <a:lnTo>
                          <a:pt x="1396" y="1053"/>
                        </a:lnTo>
                        <a:lnTo>
                          <a:pt x="1396" y="1055"/>
                        </a:lnTo>
                        <a:lnTo>
                          <a:pt x="1397" y="1055"/>
                        </a:lnTo>
                        <a:lnTo>
                          <a:pt x="1399" y="1056"/>
                        </a:lnTo>
                        <a:lnTo>
                          <a:pt x="1401" y="1058"/>
                        </a:lnTo>
                        <a:lnTo>
                          <a:pt x="1404" y="1061"/>
                        </a:lnTo>
                        <a:lnTo>
                          <a:pt x="1404" y="1065"/>
                        </a:lnTo>
                        <a:lnTo>
                          <a:pt x="1404" y="1065"/>
                        </a:lnTo>
                        <a:close/>
                        <a:moveTo>
                          <a:pt x="1379" y="1075"/>
                        </a:moveTo>
                        <a:lnTo>
                          <a:pt x="1383" y="1075"/>
                        </a:lnTo>
                        <a:lnTo>
                          <a:pt x="1384" y="1073"/>
                        </a:lnTo>
                        <a:lnTo>
                          <a:pt x="1387" y="1073"/>
                        </a:lnTo>
                        <a:lnTo>
                          <a:pt x="1389" y="1071"/>
                        </a:lnTo>
                        <a:lnTo>
                          <a:pt x="1389" y="1070"/>
                        </a:lnTo>
                        <a:lnTo>
                          <a:pt x="1389" y="1068"/>
                        </a:lnTo>
                        <a:lnTo>
                          <a:pt x="1389" y="1061"/>
                        </a:lnTo>
                        <a:lnTo>
                          <a:pt x="1387" y="1061"/>
                        </a:lnTo>
                        <a:lnTo>
                          <a:pt x="1383" y="1060"/>
                        </a:lnTo>
                        <a:lnTo>
                          <a:pt x="1379" y="1058"/>
                        </a:lnTo>
                        <a:lnTo>
                          <a:pt x="1378" y="1055"/>
                        </a:lnTo>
                        <a:lnTo>
                          <a:pt x="1376" y="1056"/>
                        </a:lnTo>
                        <a:lnTo>
                          <a:pt x="1371" y="1056"/>
                        </a:lnTo>
                        <a:lnTo>
                          <a:pt x="1369" y="1056"/>
                        </a:lnTo>
                        <a:lnTo>
                          <a:pt x="1368" y="1058"/>
                        </a:lnTo>
                        <a:lnTo>
                          <a:pt x="1369" y="1061"/>
                        </a:lnTo>
                        <a:lnTo>
                          <a:pt x="1373" y="1065"/>
                        </a:lnTo>
                        <a:lnTo>
                          <a:pt x="1374" y="1068"/>
                        </a:lnTo>
                        <a:lnTo>
                          <a:pt x="1376" y="1070"/>
                        </a:lnTo>
                        <a:lnTo>
                          <a:pt x="1376" y="1073"/>
                        </a:lnTo>
                        <a:lnTo>
                          <a:pt x="1379" y="1075"/>
                        </a:lnTo>
                        <a:lnTo>
                          <a:pt x="1379" y="1075"/>
                        </a:lnTo>
                        <a:close/>
                        <a:moveTo>
                          <a:pt x="1374" y="1093"/>
                        </a:moveTo>
                        <a:lnTo>
                          <a:pt x="1374" y="1093"/>
                        </a:lnTo>
                        <a:lnTo>
                          <a:pt x="1376" y="1093"/>
                        </a:lnTo>
                        <a:lnTo>
                          <a:pt x="1371" y="1091"/>
                        </a:lnTo>
                        <a:lnTo>
                          <a:pt x="1369" y="1091"/>
                        </a:lnTo>
                        <a:lnTo>
                          <a:pt x="1371" y="1093"/>
                        </a:lnTo>
                        <a:lnTo>
                          <a:pt x="1374" y="1093"/>
                        </a:lnTo>
                        <a:lnTo>
                          <a:pt x="1374" y="1093"/>
                        </a:lnTo>
                        <a:close/>
                        <a:moveTo>
                          <a:pt x="1321" y="1128"/>
                        </a:moveTo>
                        <a:lnTo>
                          <a:pt x="1323" y="1128"/>
                        </a:lnTo>
                        <a:lnTo>
                          <a:pt x="1323" y="1126"/>
                        </a:lnTo>
                        <a:lnTo>
                          <a:pt x="1324" y="1125"/>
                        </a:lnTo>
                        <a:lnTo>
                          <a:pt x="1326" y="1123"/>
                        </a:lnTo>
                        <a:lnTo>
                          <a:pt x="1326" y="1120"/>
                        </a:lnTo>
                        <a:lnTo>
                          <a:pt x="1324" y="1120"/>
                        </a:lnTo>
                        <a:lnTo>
                          <a:pt x="1326" y="1118"/>
                        </a:lnTo>
                        <a:lnTo>
                          <a:pt x="1329" y="1115"/>
                        </a:lnTo>
                        <a:lnTo>
                          <a:pt x="1333" y="1111"/>
                        </a:lnTo>
                        <a:lnTo>
                          <a:pt x="1336" y="1110"/>
                        </a:lnTo>
                        <a:lnTo>
                          <a:pt x="1336" y="1110"/>
                        </a:lnTo>
                        <a:lnTo>
                          <a:pt x="1336" y="1108"/>
                        </a:lnTo>
                        <a:lnTo>
                          <a:pt x="1336" y="1105"/>
                        </a:lnTo>
                        <a:lnTo>
                          <a:pt x="1338" y="1103"/>
                        </a:lnTo>
                        <a:lnTo>
                          <a:pt x="1339" y="1100"/>
                        </a:lnTo>
                        <a:lnTo>
                          <a:pt x="1339" y="1098"/>
                        </a:lnTo>
                        <a:lnTo>
                          <a:pt x="1339" y="1095"/>
                        </a:lnTo>
                        <a:lnTo>
                          <a:pt x="1338" y="1093"/>
                        </a:lnTo>
                        <a:lnTo>
                          <a:pt x="1334" y="1095"/>
                        </a:lnTo>
                        <a:lnTo>
                          <a:pt x="1333" y="1095"/>
                        </a:lnTo>
                        <a:lnTo>
                          <a:pt x="1331" y="1093"/>
                        </a:lnTo>
                        <a:lnTo>
                          <a:pt x="1329" y="1091"/>
                        </a:lnTo>
                        <a:lnTo>
                          <a:pt x="1326" y="1095"/>
                        </a:lnTo>
                        <a:lnTo>
                          <a:pt x="1323" y="1098"/>
                        </a:lnTo>
                        <a:lnTo>
                          <a:pt x="1321" y="1098"/>
                        </a:lnTo>
                        <a:lnTo>
                          <a:pt x="1318" y="1101"/>
                        </a:lnTo>
                        <a:lnTo>
                          <a:pt x="1316" y="1105"/>
                        </a:lnTo>
                        <a:lnTo>
                          <a:pt x="1318" y="1108"/>
                        </a:lnTo>
                        <a:lnTo>
                          <a:pt x="1314" y="1110"/>
                        </a:lnTo>
                        <a:lnTo>
                          <a:pt x="1314" y="1113"/>
                        </a:lnTo>
                        <a:lnTo>
                          <a:pt x="1314" y="1116"/>
                        </a:lnTo>
                        <a:lnTo>
                          <a:pt x="1313" y="1118"/>
                        </a:lnTo>
                        <a:lnTo>
                          <a:pt x="1313" y="1120"/>
                        </a:lnTo>
                        <a:lnTo>
                          <a:pt x="1318" y="1121"/>
                        </a:lnTo>
                        <a:lnTo>
                          <a:pt x="1318" y="1123"/>
                        </a:lnTo>
                        <a:lnTo>
                          <a:pt x="1319" y="1125"/>
                        </a:lnTo>
                        <a:lnTo>
                          <a:pt x="1321" y="1128"/>
                        </a:lnTo>
                        <a:lnTo>
                          <a:pt x="1321" y="1128"/>
                        </a:lnTo>
                        <a:close/>
                        <a:moveTo>
                          <a:pt x="1273" y="1311"/>
                        </a:moveTo>
                        <a:lnTo>
                          <a:pt x="1273" y="1312"/>
                        </a:lnTo>
                        <a:lnTo>
                          <a:pt x="1275" y="1312"/>
                        </a:lnTo>
                        <a:lnTo>
                          <a:pt x="1275" y="1311"/>
                        </a:lnTo>
                        <a:lnTo>
                          <a:pt x="1273" y="1311"/>
                        </a:lnTo>
                        <a:lnTo>
                          <a:pt x="1273" y="1311"/>
                        </a:lnTo>
                        <a:close/>
                        <a:moveTo>
                          <a:pt x="1275" y="1329"/>
                        </a:moveTo>
                        <a:lnTo>
                          <a:pt x="1278" y="1326"/>
                        </a:lnTo>
                        <a:lnTo>
                          <a:pt x="1280" y="1322"/>
                        </a:lnTo>
                        <a:lnTo>
                          <a:pt x="1281" y="1322"/>
                        </a:lnTo>
                        <a:lnTo>
                          <a:pt x="1281" y="1327"/>
                        </a:lnTo>
                        <a:lnTo>
                          <a:pt x="1278" y="1329"/>
                        </a:lnTo>
                        <a:lnTo>
                          <a:pt x="1278" y="1329"/>
                        </a:lnTo>
                        <a:lnTo>
                          <a:pt x="1275" y="1329"/>
                        </a:lnTo>
                        <a:lnTo>
                          <a:pt x="1275" y="1329"/>
                        </a:lnTo>
                        <a:close/>
                        <a:moveTo>
                          <a:pt x="1246" y="1324"/>
                        </a:moveTo>
                        <a:lnTo>
                          <a:pt x="1250" y="1319"/>
                        </a:lnTo>
                        <a:lnTo>
                          <a:pt x="1253" y="1319"/>
                        </a:lnTo>
                        <a:lnTo>
                          <a:pt x="1253" y="1317"/>
                        </a:lnTo>
                        <a:lnTo>
                          <a:pt x="1255" y="1317"/>
                        </a:lnTo>
                        <a:lnTo>
                          <a:pt x="1260" y="1316"/>
                        </a:lnTo>
                        <a:lnTo>
                          <a:pt x="1261" y="1314"/>
                        </a:lnTo>
                        <a:lnTo>
                          <a:pt x="1258" y="1319"/>
                        </a:lnTo>
                        <a:lnTo>
                          <a:pt x="1251" y="1324"/>
                        </a:lnTo>
                        <a:lnTo>
                          <a:pt x="1248" y="1324"/>
                        </a:lnTo>
                        <a:lnTo>
                          <a:pt x="1246" y="1324"/>
                        </a:lnTo>
                        <a:lnTo>
                          <a:pt x="1246" y="1324"/>
                        </a:lnTo>
                        <a:close/>
                        <a:moveTo>
                          <a:pt x="1266" y="1332"/>
                        </a:moveTo>
                        <a:lnTo>
                          <a:pt x="1271" y="1324"/>
                        </a:lnTo>
                        <a:lnTo>
                          <a:pt x="1273" y="1322"/>
                        </a:lnTo>
                        <a:lnTo>
                          <a:pt x="1275" y="1322"/>
                        </a:lnTo>
                        <a:lnTo>
                          <a:pt x="1275" y="1324"/>
                        </a:lnTo>
                        <a:lnTo>
                          <a:pt x="1268" y="1330"/>
                        </a:lnTo>
                        <a:lnTo>
                          <a:pt x="1266" y="1334"/>
                        </a:lnTo>
                        <a:lnTo>
                          <a:pt x="1270" y="1332"/>
                        </a:lnTo>
                        <a:lnTo>
                          <a:pt x="1275" y="1326"/>
                        </a:lnTo>
                        <a:lnTo>
                          <a:pt x="1276" y="1324"/>
                        </a:lnTo>
                        <a:lnTo>
                          <a:pt x="1278" y="1321"/>
                        </a:lnTo>
                        <a:lnTo>
                          <a:pt x="1276" y="1317"/>
                        </a:lnTo>
                        <a:lnTo>
                          <a:pt x="1275" y="1317"/>
                        </a:lnTo>
                        <a:lnTo>
                          <a:pt x="1275" y="1316"/>
                        </a:lnTo>
                        <a:lnTo>
                          <a:pt x="1271" y="1314"/>
                        </a:lnTo>
                        <a:lnTo>
                          <a:pt x="1270" y="1316"/>
                        </a:lnTo>
                        <a:lnTo>
                          <a:pt x="1266" y="1322"/>
                        </a:lnTo>
                        <a:lnTo>
                          <a:pt x="1263" y="1324"/>
                        </a:lnTo>
                        <a:lnTo>
                          <a:pt x="1260" y="1327"/>
                        </a:lnTo>
                        <a:lnTo>
                          <a:pt x="1261" y="1324"/>
                        </a:lnTo>
                        <a:lnTo>
                          <a:pt x="1265" y="1321"/>
                        </a:lnTo>
                        <a:lnTo>
                          <a:pt x="1266" y="1317"/>
                        </a:lnTo>
                        <a:lnTo>
                          <a:pt x="1265" y="1316"/>
                        </a:lnTo>
                        <a:lnTo>
                          <a:pt x="1261" y="1317"/>
                        </a:lnTo>
                        <a:lnTo>
                          <a:pt x="1260" y="1322"/>
                        </a:lnTo>
                        <a:lnTo>
                          <a:pt x="1255" y="1327"/>
                        </a:lnTo>
                        <a:lnTo>
                          <a:pt x="1253" y="1330"/>
                        </a:lnTo>
                        <a:lnTo>
                          <a:pt x="1250" y="1334"/>
                        </a:lnTo>
                        <a:lnTo>
                          <a:pt x="1251" y="1337"/>
                        </a:lnTo>
                        <a:lnTo>
                          <a:pt x="1253" y="1335"/>
                        </a:lnTo>
                        <a:lnTo>
                          <a:pt x="1258" y="1330"/>
                        </a:lnTo>
                        <a:lnTo>
                          <a:pt x="1260" y="1330"/>
                        </a:lnTo>
                        <a:lnTo>
                          <a:pt x="1258" y="1332"/>
                        </a:lnTo>
                        <a:lnTo>
                          <a:pt x="1255" y="1337"/>
                        </a:lnTo>
                        <a:lnTo>
                          <a:pt x="1256" y="1337"/>
                        </a:lnTo>
                        <a:lnTo>
                          <a:pt x="1260" y="1335"/>
                        </a:lnTo>
                        <a:lnTo>
                          <a:pt x="1263" y="1335"/>
                        </a:lnTo>
                        <a:lnTo>
                          <a:pt x="1263" y="1335"/>
                        </a:lnTo>
                        <a:lnTo>
                          <a:pt x="1266" y="1332"/>
                        </a:lnTo>
                        <a:lnTo>
                          <a:pt x="1266" y="1332"/>
                        </a:lnTo>
                        <a:close/>
                        <a:moveTo>
                          <a:pt x="1261" y="1332"/>
                        </a:moveTo>
                        <a:lnTo>
                          <a:pt x="1263" y="1329"/>
                        </a:lnTo>
                        <a:lnTo>
                          <a:pt x="1270" y="1322"/>
                        </a:lnTo>
                        <a:lnTo>
                          <a:pt x="1266" y="1327"/>
                        </a:lnTo>
                        <a:lnTo>
                          <a:pt x="1263" y="1332"/>
                        </a:lnTo>
                        <a:lnTo>
                          <a:pt x="1261" y="1332"/>
                        </a:lnTo>
                        <a:lnTo>
                          <a:pt x="1261" y="1332"/>
                        </a:lnTo>
                        <a:close/>
                        <a:moveTo>
                          <a:pt x="1588" y="1631"/>
                        </a:moveTo>
                        <a:lnTo>
                          <a:pt x="1587" y="1631"/>
                        </a:lnTo>
                        <a:lnTo>
                          <a:pt x="1585" y="1629"/>
                        </a:lnTo>
                        <a:lnTo>
                          <a:pt x="1587" y="1629"/>
                        </a:lnTo>
                        <a:lnTo>
                          <a:pt x="1588" y="1626"/>
                        </a:lnTo>
                        <a:lnTo>
                          <a:pt x="1592" y="1624"/>
                        </a:lnTo>
                        <a:lnTo>
                          <a:pt x="1592" y="1624"/>
                        </a:lnTo>
                        <a:lnTo>
                          <a:pt x="1592" y="1623"/>
                        </a:lnTo>
                        <a:lnTo>
                          <a:pt x="1592" y="1623"/>
                        </a:lnTo>
                        <a:lnTo>
                          <a:pt x="1587" y="1626"/>
                        </a:lnTo>
                        <a:lnTo>
                          <a:pt x="1585" y="1629"/>
                        </a:lnTo>
                        <a:lnTo>
                          <a:pt x="1585" y="1633"/>
                        </a:lnTo>
                        <a:lnTo>
                          <a:pt x="1587" y="1633"/>
                        </a:lnTo>
                        <a:lnTo>
                          <a:pt x="1588" y="1631"/>
                        </a:lnTo>
                        <a:lnTo>
                          <a:pt x="1588" y="1631"/>
                        </a:lnTo>
                        <a:close/>
                        <a:moveTo>
                          <a:pt x="1708" y="1651"/>
                        </a:moveTo>
                        <a:lnTo>
                          <a:pt x="1706" y="1649"/>
                        </a:lnTo>
                        <a:lnTo>
                          <a:pt x="1708" y="1646"/>
                        </a:lnTo>
                        <a:lnTo>
                          <a:pt x="1706" y="1643"/>
                        </a:lnTo>
                        <a:lnTo>
                          <a:pt x="1705" y="1639"/>
                        </a:lnTo>
                        <a:lnTo>
                          <a:pt x="1706" y="1638"/>
                        </a:lnTo>
                        <a:lnTo>
                          <a:pt x="1708" y="1636"/>
                        </a:lnTo>
                        <a:lnTo>
                          <a:pt x="1708" y="1638"/>
                        </a:lnTo>
                        <a:lnTo>
                          <a:pt x="1710" y="1639"/>
                        </a:lnTo>
                        <a:lnTo>
                          <a:pt x="1710" y="1643"/>
                        </a:lnTo>
                        <a:lnTo>
                          <a:pt x="1708" y="1643"/>
                        </a:lnTo>
                        <a:lnTo>
                          <a:pt x="1708" y="1646"/>
                        </a:lnTo>
                        <a:lnTo>
                          <a:pt x="1710" y="1646"/>
                        </a:lnTo>
                        <a:lnTo>
                          <a:pt x="1710" y="1648"/>
                        </a:lnTo>
                        <a:lnTo>
                          <a:pt x="1710" y="1651"/>
                        </a:lnTo>
                        <a:lnTo>
                          <a:pt x="1708" y="1651"/>
                        </a:lnTo>
                        <a:lnTo>
                          <a:pt x="1708" y="1651"/>
                        </a:lnTo>
                        <a:close/>
                        <a:moveTo>
                          <a:pt x="1711" y="1653"/>
                        </a:moveTo>
                        <a:lnTo>
                          <a:pt x="1713" y="1651"/>
                        </a:lnTo>
                        <a:lnTo>
                          <a:pt x="1715" y="1651"/>
                        </a:lnTo>
                        <a:lnTo>
                          <a:pt x="1715" y="1653"/>
                        </a:lnTo>
                        <a:lnTo>
                          <a:pt x="1713" y="1654"/>
                        </a:lnTo>
                        <a:lnTo>
                          <a:pt x="1711" y="1653"/>
                        </a:lnTo>
                        <a:lnTo>
                          <a:pt x="1711" y="1653"/>
                        </a:lnTo>
                        <a:close/>
                        <a:moveTo>
                          <a:pt x="1760" y="1500"/>
                        </a:moveTo>
                        <a:lnTo>
                          <a:pt x="1761" y="1495"/>
                        </a:lnTo>
                        <a:lnTo>
                          <a:pt x="1765" y="1493"/>
                        </a:lnTo>
                        <a:lnTo>
                          <a:pt x="1765" y="1497"/>
                        </a:lnTo>
                        <a:lnTo>
                          <a:pt x="1763" y="1498"/>
                        </a:lnTo>
                        <a:lnTo>
                          <a:pt x="1760" y="1500"/>
                        </a:lnTo>
                        <a:lnTo>
                          <a:pt x="1760" y="1500"/>
                        </a:lnTo>
                        <a:lnTo>
                          <a:pt x="1760" y="1500"/>
                        </a:lnTo>
                        <a:lnTo>
                          <a:pt x="1760" y="1500"/>
                        </a:lnTo>
                        <a:close/>
                        <a:moveTo>
                          <a:pt x="1745" y="1531"/>
                        </a:moveTo>
                        <a:lnTo>
                          <a:pt x="1745" y="1533"/>
                        </a:lnTo>
                        <a:lnTo>
                          <a:pt x="1746" y="1535"/>
                        </a:lnTo>
                        <a:lnTo>
                          <a:pt x="1746" y="1533"/>
                        </a:lnTo>
                        <a:lnTo>
                          <a:pt x="1748" y="1533"/>
                        </a:lnTo>
                        <a:lnTo>
                          <a:pt x="1748" y="1531"/>
                        </a:lnTo>
                        <a:lnTo>
                          <a:pt x="1746" y="1531"/>
                        </a:lnTo>
                        <a:lnTo>
                          <a:pt x="1745" y="1531"/>
                        </a:lnTo>
                        <a:lnTo>
                          <a:pt x="1745" y="1531"/>
                        </a:lnTo>
                        <a:close/>
                        <a:moveTo>
                          <a:pt x="1770" y="1568"/>
                        </a:moveTo>
                        <a:lnTo>
                          <a:pt x="1768" y="1563"/>
                        </a:lnTo>
                        <a:lnTo>
                          <a:pt x="1768" y="1563"/>
                        </a:lnTo>
                        <a:lnTo>
                          <a:pt x="1770" y="1563"/>
                        </a:lnTo>
                        <a:lnTo>
                          <a:pt x="1771" y="1565"/>
                        </a:lnTo>
                        <a:lnTo>
                          <a:pt x="1773" y="1563"/>
                        </a:lnTo>
                        <a:lnTo>
                          <a:pt x="1775" y="1565"/>
                        </a:lnTo>
                        <a:lnTo>
                          <a:pt x="1775" y="1566"/>
                        </a:lnTo>
                        <a:lnTo>
                          <a:pt x="1773" y="1568"/>
                        </a:lnTo>
                        <a:lnTo>
                          <a:pt x="1773" y="1568"/>
                        </a:lnTo>
                        <a:lnTo>
                          <a:pt x="1770" y="1568"/>
                        </a:lnTo>
                        <a:lnTo>
                          <a:pt x="1770" y="1568"/>
                        </a:lnTo>
                        <a:close/>
                        <a:moveTo>
                          <a:pt x="1758" y="1568"/>
                        </a:moveTo>
                        <a:lnTo>
                          <a:pt x="1761" y="1568"/>
                        </a:lnTo>
                        <a:lnTo>
                          <a:pt x="1763" y="1568"/>
                        </a:lnTo>
                        <a:lnTo>
                          <a:pt x="1763" y="1565"/>
                        </a:lnTo>
                        <a:lnTo>
                          <a:pt x="1763" y="1565"/>
                        </a:lnTo>
                        <a:lnTo>
                          <a:pt x="1765" y="1565"/>
                        </a:lnTo>
                        <a:lnTo>
                          <a:pt x="1765" y="1566"/>
                        </a:lnTo>
                        <a:lnTo>
                          <a:pt x="1763" y="1570"/>
                        </a:lnTo>
                        <a:lnTo>
                          <a:pt x="1760" y="1571"/>
                        </a:lnTo>
                        <a:lnTo>
                          <a:pt x="1756" y="1570"/>
                        </a:lnTo>
                        <a:lnTo>
                          <a:pt x="1758" y="1568"/>
                        </a:lnTo>
                        <a:lnTo>
                          <a:pt x="1758" y="1568"/>
                        </a:lnTo>
                        <a:lnTo>
                          <a:pt x="1758" y="1568"/>
                        </a:lnTo>
                        <a:close/>
                        <a:moveTo>
                          <a:pt x="1720" y="1624"/>
                        </a:moveTo>
                        <a:lnTo>
                          <a:pt x="1720" y="1621"/>
                        </a:lnTo>
                        <a:lnTo>
                          <a:pt x="1721" y="1623"/>
                        </a:lnTo>
                        <a:lnTo>
                          <a:pt x="1721" y="1624"/>
                        </a:lnTo>
                        <a:lnTo>
                          <a:pt x="1720" y="1624"/>
                        </a:lnTo>
                        <a:lnTo>
                          <a:pt x="1720" y="1624"/>
                        </a:lnTo>
                        <a:close/>
                        <a:moveTo>
                          <a:pt x="1770" y="1611"/>
                        </a:moveTo>
                        <a:lnTo>
                          <a:pt x="1770" y="1613"/>
                        </a:lnTo>
                        <a:lnTo>
                          <a:pt x="1773" y="1613"/>
                        </a:lnTo>
                        <a:lnTo>
                          <a:pt x="1776" y="1613"/>
                        </a:lnTo>
                        <a:lnTo>
                          <a:pt x="1776" y="1611"/>
                        </a:lnTo>
                        <a:lnTo>
                          <a:pt x="1773" y="1611"/>
                        </a:lnTo>
                        <a:lnTo>
                          <a:pt x="1770" y="1611"/>
                        </a:lnTo>
                        <a:lnTo>
                          <a:pt x="1770" y="1611"/>
                        </a:lnTo>
                        <a:close/>
                        <a:moveTo>
                          <a:pt x="1716" y="1528"/>
                        </a:moveTo>
                        <a:lnTo>
                          <a:pt x="1713" y="1530"/>
                        </a:lnTo>
                        <a:lnTo>
                          <a:pt x="1710" y="1533"/>
                        </a:lnTo>
                        <a:lnTo>
                          <a:pt x="1706" y="1533"/>
                        </a:lnTo>
                        <a:lnTo>
                          <a:pt x="1708" y="1535"/>
                        </a:lnTo>
                        <a:lnTo>
                          <a:pt x="1706" y="1536"/>
                        </a:lnTo>
                        <a:lnTo>
                          <a:pt x="1705" y="1536"/>
                        </a:lnTo>
                        <a:lnTo>
                          <a:pt x="1705" y="1540"/>
                        </a:lnTo>
                        <a:lnTo>
                          <a:pt x="1706" y="1540"/>
                        </a:lnTo>
                        <a:lnTo>
                          <a:pt x="1705" y="1541"/>
                        </a:lnTo>
                        <a:lnTo>
                          <a:pt x="1701" y="1541"/>
                        </a:lnTo>
                        <a:lnTo>
                          <a:pt x="1700" y="1545"/>
                        </a:lnTo>
                        <a:lnTo>
                          <a:pt x="1700" y="1546"/>
                        </a:lnTo>
                        <a:lnTo>
                          <a:pt x="1700" y="1546"/>
                        </a:lnTo>
                        <a:lnTo>
                          <a:pt x="1701" y="1546"/>
                        </a:lnTo>
                        <a:lnTo>
                          <a:pt x="1700" y="1548"/>
                        </a:lnTo>
                        <a:lnTo>
                          <a:pt x="1696" y="1548"/>
                        </a:lnTo>
                        <a:lnTo>
                          <a:pt x="1693" y="1553"/>
                        </a:lnTo>
                        <a:lnTo>
                          <a:pt x="1693" y="1555"/>
                        </a:lnTo>
                        <a:lnTo>
                          <a:pt x="1688" y="1561"/>
                        </a:lnTo>
                        <a:lnTo>
                          <a:pt x="1688" y="1565"/>
                        </a:lnTo>
                        <a:lnTo>
                          <a:pt x="1690" y="1566"/>
                        </a:lnTo>
                        <a:lnTo>
                          <a:pt x="1690" y="1568"/>
                        </a:lnTo>
                        <a:lnTo>
                          <a:pt x="1688" y="1568"/>
                        </a:lnTo>
                        <a:lnTo>
                          <a:pt x="1686" y="1566"/>
                        </a:lnTo>
                        <a:lnTo>
                          <a:pt x="1686" y="1568"/>
                        </a:lnTo>
                        <a:lnTo>
                          <a:pt x="1682" y="1570"/>
                        </a:lnTo>
                        <a:lnTo>
                          <a:pt x="1680" y="1571"/>
                        </a:lnTo>
                        <a:lnTo>
                          <a:pt x="1680" y="1573"/>
                        </a:lnTo>
                        <a:lnTo>
                          <a:pt x="1683" y="1575"/>
                        </a:lnTo>
                        <a:lnTo>
                          <a:pt x="1685" y="1576"/>
                        </a:lnTo>
                        <a:lnTo>
                          <a:pt x="1683" y="1576"/>
                        </a:lnTo>
                        <a:lnTo>
                          <a:pt x="1682" y="1580"/>
                        </a:lnTo>
                        <a:lnTo>
                          <a:pt x="1680" y="1581"/>
                        </a:lnTo>
                        <a:lnTo>
                          <a:pt x="1675" y="1580"/>
                        </a:lnTo>
                        <a:lnTo>
                          <a:pt x="1673" y="1581"/>
                        </a:lnTo>
                        <a:lnTo>
                          <a:pt x="1673" y="1583"/>
                        </a:lnTo>
                        <a:lnTo>
                          <a:pt x="1670" y="1586"/>
                        </a:lnTo>
                        <a:lnTo>
                          <a:pt x="1668" y="1590"/>
                        </a:lnTo>
                        <a:lnTo>
                          <a:pt x="1665" y="1593"/>
                        </a:lnTo>
                        <a:lnTo>
                          <a:pt x="1663" y="1593"/>
                        </a:lnTo>
                        <a:lnTo>
                          <a:pt x="1663" y="1590"/>
                        </a:lnTo>
                        <a:lnTo>
                          <a:pt x="1662" y="1593"/>
                        </a:lnTo>
                        <a:lnTo>
                          <a:pt x="1660" y="1590"/>
                        </a:lnTo>
                        <a:lnTo>
                          <a:pt x="1662" y="1588"/>
                        </a:lnTo>
                        <a:lnTo>
                          <a:pt x="1663" y="1586"/>
                        </a:lnTo>
                        <a:lnTo>
                          <a:pt x="1665" y="1585"/>
                        </a:lnTo>
                        <a:lnTo>
                          <a:pt x="1663" y="1585"/>
                        </a:lnTo>
                        <a:lnTo>
                          <a:pt x="1660" y="1588"/>
                        </a:lnTo>
                        <a:lnTo>
                          <a:pt x="1655" y="1591"/>
                        </a:lnTo>
                        <a:lnTo>
                          <a:pt x="1652" y="1596"/>
                        </a:lnTo>
                        <a:lnTo>
                          <a:pt x="1653" y="1596"/>
                        </a:lnTo>
                        <a:lnTo>
                          <a:pt x="1657" y="1595"/>
                        </a:lnTo>
                        <a:lnTo>
                          <a:pt x="1663" y="1595"/>
                        </a:lnTo>
                        <a:lnTo>
                          <a:pt x="1670" y="1595"/>
                        </a:lnTo>
                        <a:lnTo>
                          <a:pt x="1667" y="1596"/>
                        </a:lnTo>
                        <a:lnTo>
                          <a:pt x="1662" y="1601"/>
                        </a:lnTo>
                        <a:lnTo>
                          <a:pt x="1658" y="1606"/>
                        </a:lnTo>
                        <a:lnTo>
                          <a:pt x="1653" y="1608"/>
                        </a:lnTo>
                        <a:lnTo>
                          <a:pt x="1648" y="1613"/>
                        </a:lnTo>
                        <a:lnTo>
                          <a:pt x="1647" y="1613"/>
                        </a:lnTo>
                        <a:lnTo>
                          <a:pt x="1645" y="1615"/>
                        </a:lnTo>
                        <a:lnTo>
                          <a:pt x="1647" y="1616"/>
                        </a:lnTo>
                        <a:lnTo>
                          <a:pt x="1645" y="1620"/>
                        </a:lnTo>
                        <a:lnTo>
                          <a:pt x="1647" y="1621"/>
                        </a:lnTo>
                        <a:lnTo>
                          <a:pt x="1648" y="1623"/>
                        </a:lnTo>
                        <a:lnTo>
                          <a:pt x="1653" y="1623"/>
                        </a:lnTo>
                        <a:lnTo>
                          <a:pt x="1658" y="1623"/>
                        </a:lnTo>
                        <a:lnTo>
                          <a:pt x="1662" y="1621"/>
                        </a:lnTo>
                        <a:lnTo>
                          <a:pt x="1667" y="1620"/>
                        </a:lnTo>
                        <a:lnTo>
                          <a:pt x="1670" y="1618"/>
                        </a:lnTo>
                        <a:lnTo>
                          <a:pt x="1670" y="1616"/>
                        </a:lnTo>
                        <a:lnTo>
                          <a:pt x="1670" y="1618"/>
                        </a:lnTo>
                        <a:lnTo>
                          <a:pt x="1668" y="1620"/>
                        </a:lnTo>
                        <a:lnTo>
                          <a:pt x="1673" y="1621"/>
                        </a:lnTo>
                        <a:lnTo>
                          <a:pt x="1677" y="1620"/>
                        </a:lnTo>
                        <a:lnTo>
                          <a:pt x="1678" y="1621"/>
                        </a:lnTo>
                        <a:lnTo>
                          <a:pt x="1685" y="1623"/>
                        </a:lnTo>
                        <a:lnTo>
                          <a:pt x="1688" y="1621"/>
                        </a:lnTo>
                        <a:lnTo>
                          <a:pt x="1690" y="1623"/>
                        </a:lnTo>
                        <a:lnTo>
                          <a:pt x="1691" y="1624"/>
                        </a:lnTo>
                        <a:lnTo>
                          <a:pt x="1695" y="1624"/>
                        </a:lnTo>
                        <a:lnTo>
                          <a:pt x="1696" y="1624"/>
                        </a:lnTo>
                        <a:lnTo>
                          <a:pt x="1698" y="1626"/>
                        </a:lnTo>
                        <a:lnTo>
                          <a:pt x="1700" y="1626"/>
                        </a:lnTo>
                        <a:lnTo>
                          <a:pt x="1703" y="1624"/>
                        </a:lnTo>
                        <a:lnTo>
                          <a:pt x="1703" y="1623"/>
                        </a:lnTo>
                        <a:lnTo>
                          <a:pt x="1706" y="1623"/>
                        </a:lnTo>
                        <a:lnTo>
                          <a:pt x="1708" y="1624"/>
                        </a:lnTo>
                        <a:lnTo>
                          <a:pt x="1710" y="1624"/>
                        </a:lnTo>
                        <a:lnTo>
                          <a:pt x="1711" y="1623"/>
                        </a:lnTo>
                        <a:lnTo>
                          <a:pt x="1713" y="1623"/>
                        </a:lnTo>
                        <a:lnTo>
                          <a:pt x="1716" y="1623"/>
                        </a:lnTo>
                        <a:lnTo>
                          <a:pt x="1716" y="1621"/>
                        </a:lnTo>
                        <a:lnTo>
                          <a:pt x="1716" y="1620"/>
                        </a:lnTo>
                        <a:lnTo>
                          <a:pt x="1716" y="1616"/>
                        </a:lnTo>
                        <a:lnTo>
                          <a:pt x="1718" y="1618"/>
                        </a:lnTo>
                        <a:lnTo>
                          <a:pt x="1720" y="1615"/>
                        </a:lnTo>
                        <a:lnTo>
                          <a:pt x="1721" y="1615"/>
                        </a:lnTo>
                        <a:lnTo>
                          <a:pt x="1720" y="1616"/>
                        </a:lnTo>
                        <a:lnTo>
                          <a:pt x="1718" y="1620"/>
                        </a:lnTo>
                        <a:lnTo>
                          <a:pt x="1720" y="1621"/>
                        </a:lnTo>
                        <a:lnTo>
                          <a:pt x="1720" y="1620"/>
                        </a:lnTo>
                        <a:lnTo>
                          <a:pt x="1723" y="1616"/>
                        </a:lnTo>
                        <a:lnTo>
                          <a:pt x="1725" y="1616"/>
                        </a:lnTo>
                        <a:lnTo>
                          <a:pt x="1725" y="1618"/>
                        </a:lnTo>
                        <a:lnTo>
                          <a:pt x="1723" y="1621"/>
                        </a:lnTo>
                        <a:lnTo>
                          <a:pt x="1723" y="1623"/>
                        </a:lnTo>
                        <a:lnTo>
                          <a:pt x="1726" y="1621"/>
                        </a:lnTo>
                        <a:lnTo>
                          <a:pt x="1726" y="1621"/>
                        </a:lnTo>
                        <a:lnTo>
                          <a:pt x="1726" y="1623"/>
                        </a:lnTo>
                        <a:lnTo>
                          <a:pt x="1721" y="1624"/>
                        </a:lnTo>
                        <a:lnTo>
                          <a:pt x="1718" y="1626"/>
                        </a:lnTo>
                        <a:lnTo>
                          <a:pt x="1718" y="1628"/>
                        </a:lnTo>
                        <a:lnTo>
                          <a:pt x="1720" y="1626"/>
                        </a:lnTo>
                        <a:lnTo>
                          <a:pt x="1723" y="1626"/>
                        </a:lnTo>
                        <a:lnTo>
                          <a:pt x="1723" y="1628"/>
                        </a:lnTo>
                        <a:lnTo>
                          <a:pt x="1726" y="1628"/>
                        </a:lnTo>
                        <a:lnTo>
                          <a:pt x="1728" y="1629"/>
                        </a:lnTo>
                        <a:lnTo>
                          <a:pt x="1730" y="1628"/>
                        </a:lnTo>
                        <a:lnTo>
                          <a:pt x="1731" y="1628"/>
                        </a:lnTo>
                        <a:lnTo>
                          <a:pt x="1733" y="1624"/>
                        </a:lnTo>
                        <a:lnTo>
                          <a:pt x="1733" y="1623"/>
                        </a:lnTo>
                        <a:lnTo>
                          <a:pt x="1735" y="1623"/>
                        </a:lnTo>
                        <a:lnTo>
                          <a:pt x="1738" y="1624"/>
                        </a:lnTo>
                        <a:lnTo>
                          <a:pt x="1741" y="1626"/>
                        </a:lnTo>
                        <a:lnTo>
                          <a:pt x="1743" y="1626"/>
                        </a:lnTo>
                        <a:lnTo>
                          <a:pt x="1746" y="1624"/>
                        </a:lnTo>
                        <a:lnTo>
                          <a:pt x="1750" y="1624"/>
                        </a:lnTo>
                        <a:lnTo>
                          <a:pt x="1746" y="1626"/>
                        </a:lnTo>
                        <a:lnTo>
                          <a:pt x="1746" y="1628"/>
                        </a:lnTo>
                        <a:lnTo>
                          <a:pt x="1741" y="1629"/>
                        </a:lnTo>
                        <a:lnTo>
                          <a:pt x="1738" y="1629"/>
                        </a:lnTo>
                        <a:lnTo>
                          <a:pt x="1735" y="1631"/>
                        </a:lnTo>
                        <a:lnTo>
                          <a:pt x="1735" y="1633"/>
                        </a:lnTo>
                        <a:lnTo>
                          <a:pt x="1735" y="1634"/>
                        </a:lnTo>
                        <a:lnTo>
                          <a:pt x="1733" y="1636"/>
                        </a:lnTo>
                        <a:lnTo>
                          <a:pt x="1730" y="1636"/>
                        </a:lnTo>
                        <a:lnTo>
                          <a:pt x="1728" y="1636"/>
                        </a:lnTo>
                        <a:lnTo>
                          <a:pt x="1728" y="1638"/>
                        </a:lnTo>
                        <a:lnTo>
                          <a:pt x="1726" y="1639"/>
                        </a:lnTo>
                        <a:lnTo>
                          <a:pt x="1721" y="1639"/>
                        </a:lnTo>
                        <a:lnTo>
                          <a:pt x="1718" y="1643"/>
                        </a:lnTo>
                        <a:lnTo>
                          <a:pt x="1718" y="1644"/>
                        </a:lnTo>
                        <a:lnTo>
                          <a:pt x="1718" y="1646"/>
                        </a:lnTo>
                        <a:lnTo>
                          <a:pt x="1720" y="1646"/>
                        </a:lnTo>
                        <a:lnTo>
                          <a:pt x="1723" y="1646"/>
                        </a:lnTo>
                        <a:lnTo>
                          <a:pt x="1725" y="1644"/>
                        </a:lnTo>
                        <a:lnTo>
                          <a:pt x="1725" y="1644"/>
                        </a:lnTo>
                        <a:lnTo>
                          <a:pt x="1728" y="1644"/>
                        </a:lnTo>
                        <a:lnTo>
                          <a:pt x="1728" y="1646"/>
                        </a:lnTo>
                        <a:lnTo>
                          <a:pt x="1730" y="1648"/>
                        </a:lnTo>
                        <a:lnTo>
                          <a:pt x="1733" y="1646"/>
                        </a:lnTo>
                        <a:lnTo>
                          <a:pt x="1735" y="1644"/>
                        </a:lnTo>
                        <a:lnTo>
                          <a:pt x="1736" y="1641"/>
                        </a:lnTo>
                        <a:lnTo>
                          <a:pt x="1736" y="1641"/>
                        </a:lnTo>
                        <a:lnTo>
                          <a:pt x="1738" y="1639"/>
                        </a:lnTo>
                        <a:lnTo>
                          <a:pt x="1738" y="1636"/>
                        </a:lnTo>
                        <a:lnTo>
                          <a:pt x="1740" y="1636"/>
                        </a:lnTo>
                        <a:lnTo>
                          <a:pt x="1745" y="1631"/>
                        </a:lnTo>
                        <a:lnTo>
                          <a:pt x="1746" y="1631"/>
                        </a:lnTo>
                        <a:lnTo>
                          <a:pt x="1748" y="1633"/>
                        </a:lnTo>
                        <a:lnTo>
                          <a:pt x="1751" y="1631"/>
                        </a:lnTo>
                        <a:lnTo>
                          <a:pt x="1750" y="1633"/>
                        </a:lnTo>
                        <a:lnTo>
                          <a:pt x="1751" y="1633"/>
                        </a:lnTo>
                        <a:lnTo>
                          <a:pt x="1753" y="1631"/>
                        </a:lnTo>
                        <a:lnTo>
                          <a:pt x="1755" y="1626"/>
                        </a:lnTo>
                        <a:lnTo>
                          <a:pt x="1758" y="1623"/>
                        </a:lnTo>
                        <a:lnTo>
                          <a:pt x="1758" y="1618"/>
                        </a:lnTo>
                        <a:lnTo>
                          <a:pt x="1758" y="1618"/>
                        </a:lnTo>
                        <a:lnTo>
                          <a:pt x="1760" y="1618"/>
                        </a:lnTo>
                        <a:lnTo>
                          <a:pt x="1761" y="1620"/>
                        </a:lnTo>
                        <a:lnTo>
                          <a:pt x="1763" y="1620"/>
                        </a:lnTo>
                        <a:lnTo>
                          <a:pt x="1765" y="1621"/>
                        </a:lnTo>
                        <a:lnTo>
                          <a:pt x="1766" y="1624"/>
                        </a:lnTo>
                        <a:lnTo>
                          <a:pt x="1765" y="1628"/>
                        </a:lnTo>
                        <a:lnTo>
                          <a:pt x="1765" y="1631"/>
                        </a:lnTo>
                        <a:lnTo>
                          <a:pt x="1765" y="1633"/>
                        </a:lnTo>
                        <a:lnTo>
                          <a:pt x="1765" y="1634"/>
                        </a:lnTo>
                        <a:lnTo>
                          <a:pt x="1761" y="1638"/>
                        </a:lnTo>
                        <a:lnTo>
                          <a:pt x="1758" y="1644"/>
                        </a:lnTo>
                        <a:lnTo>
                          <a:pt x="1758" y="1646"/>
                        </a:lnTo>
                        <a:lnTo>
                          <a:pt x="1756" y="1648"/>
                        </a:lnTo>
                        <a:lnTo>
                          <a:pt x="1756" y="1649"/>
                        </a:lnTo>
                        <a:lnTo>
                          <a:pt x="1760" y="1651"/>
                        </a:lnTo>
                        <a:lnTo>
                          <a:pt x="1763" y="1649"/>
                        </a:lnTo>
                        <a:lnTo>
                          <a:pt x="1766" y="1643"/>
                        </a:lnTo>
                        <a:lnTo>
                          <a:pt x="1768" y="1643"/>
                        </a:lnTo>
                        <a:lnTo>
                          <a:pt x="1771" y="1639"/>
                        </a:lnTo>
                        <a:lnTo>
                          <a:pt x="1773" y="1638"/>
                        </a:lnTo>
                        <a:lnTo>
                          <a:pt x="1773" y="1639"/>
                        </a:lnTo>
                        <a:lnTo>
                          <a:pt x="1778" y="1639"/>
                        </a:lnTo>
                        <a:lnTo>
                          <a:pt x="1778" y="1639"/>
                        </a:lnTo>
                        <a:lnTo>
                          <a:pt x="1775" y="1641"/>
                        </a:lnTo>
                        <a:lnTo>
                          <a:pt x="1770" y="1644"/>
                        </a:lnTo>
                        <a:lnTo>
                          <a:pt x="1770" y="1648"/>
                        </a:lnTo>
                        <a:lnTo>
                          <a:pt x="1770" y="1649"/>
                        </a:lnTo>
                        <a:lnTo>
                          <a:pt x="1770" y="1651"/>
                        </a:lnTo>
                        <a:lnTo>
                          <a:pt x="1771" y="1656"/>
                        </a:lnTo>
                        <a:lnTo>
                          <a:pt x="1773" y="1658"/>
                        </a:lnTo>
                        <a:lnTo>
                          <a:pt x="1775" y="1654"/>
                        </a:lnTo>
                        <a:lnTo>
                          <a:pt x="1776" y="1653"/>
                        </a:lnTo>
                        <a:lnTo>
                          <a:pt x="1776" y="1653"/>
                        </a:lnTo>
                        <a:lnTo>
                          <a:pt x="1778" y="1653"/>
                        </a:lnTo>
                        <a:lnTo>
                          <a:pt x="1778" y="1653"/>
                        </a:lnTo>
                        <a:lnTo>
                          <a:pt x="1780" y="1654"/>
                        </a:lnTo>
                        <a:lnTo>
                          <a:pt x="1783" y="1656"/>
                        </a:lnTo>
                        <a:lnTo>
                          <a:pt x="1786" y="1654"/>
                        </a:lnTo>
                        <a:lnTo>
                          <a:pt x="1786" y="1651"/>
                        </a:lnTo>
                        <a:lnTo>
                          <a:pt x="1786" y="1651"/>
                        </a:lnTo>
                        <a:lnTo>
                          <a:pt x="1788" y="1649"/>
                        </a:lnTo>
                        <a:lnTo>
                          <a:pt x="1788" y="1646"/>
                        </a:lnTo>
                        <a:lnTo>
                          <a:pt x="1789" y="1646"/>
                        </a:lnTo>
                        <a:lnTo>
                          <a:pt x="1789" y="1644"/>
                        </a:lnTo>
                        <a:lnTo>
                          <a:pt x="1788" y="1643"/>
                        </a:lnTo>
                        <a:lnTo>
                          <a:pt x="1789" y="1639"/>
                        </a:lnTo>
                        <a:lnTo>
                          <a:pt x="1793" y="1634"/>
                        </a:lnTo>
                        <a:lnTo>
                          <a:pt x="1796" y="1629"/>
                        </a:lnTo>
                        <a:lnTo>
                          <a:pt x="1796" y="1624"/>
                        </a:lnTo>
                        <a:lnTo>
                          <a:pt x="1794" y="1621"/>
                        </a:lnTo>
                        <a:lnTo>
                          <a:pt x="1793" y="1621"/>
                        </a:lnTo>
                        <a:lnTo>
                          <a:pt x="1793" y="1623"/>
                        </a:lnTo>
                        <a:lnTo>
                          <a:pt x="1791" y="1626"/>
                        </a:lnTo>
                        <a:lnTo>
                          <a:pt x="1789" y="1628"/>
                        </a:lnTo>
                        <a:lnTo>
                          <a:pt x="1786" y="1631"/>
                        </a:lnTo>
                        <a:lnTo>
                          <a:pt x="1784" y="1631"/>
                        </a:lnTo>
                        <a:lnTo>
                          <a:pt x="1783" y="1629"/>
                        </a:lnTo>
                        <a:lnTo>
                          <a:pt x="1783" y="1626"/>
                        </a:lnTo>
                        <a:lnTo>
                          <a:pt x="1783" y="1623"/>
                        </a:lnTo>
                        <a:lnTo>
                          <a:pt x="1786" y="1620"/>
                        </a:lnTo>
                        <a:lnTo>
                          <a:pt x="1788" y="1618"/>
                        </a:lnTo>
                        <a:lnTo>
                          <a:pt x="1791" y="1616"/>
                        </a:lnTo>
                        <a:lnTo>
                          <a:pt x="1793" y="1616"/>
                        </a:lnTo>
                        <a:lnTo>
                          <a:pt x="1794" y="1615"/>
                        </a:lnTo>
                        <a:lnTo>
                          <a:pt x="1793" y="1613"/>
                        </a:lnTo>
                        <a:lnTo>
                          <a:pt x="1791" y="1615"/>
                        </a:lnTo>
                        <a:lnTo>
                          <a:pt x="1789" y="1615"/>
                        </a:lnTo>
                        <a:lnTo>
                          <a:pt x="1786" y="1616"/>
                        </a:lnTo>
                        <a:lnTo>
                          <a:pt x="1784" y="1616"/>
                        </a:lnTo>
                        <a:lnTo>
                          <a:pt x="1781" y="1620"/>
                        </a:lnTo>
                        <a:lnTo>
                          <a:pt x="1781" y="1621"/>
                        </a:lnTo>
                        <a:lnTo>
                          <a:pt x="1776" y="1624"/>
                        </a:lnTo>
                        <a:lnTo>
                          <a:pt x="1775" y="1626"/>
                        </a:lnTo>
                        <a:lnTo>
                          <a:pt x="1773" y="1628"/>
                        </a:lnTo>
                        <a:lnTo>
                          <a:pt x="1770" y="1624"/>
                        </a:lnTo>
                        <a:lnTo>
                          <a:pt x="1770" y="1623"/>
                        </a:lnTo>
                        <a:lnTo>
                          <a:pt x="1768" y="1620"/>
                        </a:lnTo>
                        <a:lnTo>
                          <a:pt x="1768" y="1618"/>
                        </a:lnTo>
                        <a:lnTo>
                          <a:pt x="1770" y="1620"/>
                        </a:lnTo>
                        <a:lnTo>
                          <a:pt x="1771" y="1620"/>
                        </a:lnTo>
                        <a:lnTo>
                          <a:pt x="1775" y="1616"/>
                        </a:lnTo>
                        <a:lnTo>
                          <a:pt x="1771" y="1616"/>
                        </a:lnTo>
                        <a:lnTo>
                          <a:pt x="1768" y="1615"/>
                        </a:lnTo>
                        <a:lnTo>
                          <a:pt x="1771" y="1615"/>
                        </a:lnTo>
                        <a:lnTo>
                          <a:pt x="1775" y="1615"/>
                        </a:lnTo>
                        <a:lnTo>
                          <a:pt x="1771" y="1615"/>
                        </a:lnTo>
                        <a:lnTo>
                          <a:pt x="1770" y="1613"/>
                        </a:lnTo>
                        <a:lnTo>
                          <a:pt x="1770" y="1610"/>
                        </a:lnTo>
                        <a:lnTo>
                          <a:pt x="1770" y="1610"/>
                        </a:lnTo>
                        <a:lnTo>
                          <a:pt x="1775" y="1610"/>
                        </a:lnTo>
                        <a:lnTo>
                          <a:pt x="1776" y="1608"/>
                        </a:lnTo>
                        <a:lnTo>
                          <a:pt x="1780" y="1606"/>
                        </a:lnTo>
                        <a:lnTo>
                          <a:pt x="1781" y="1603"/>
                        </a:lnTo>
                        <a:lnTo>
                          <a:pt x="1784" y="1603"/>
                        </a:lnTo>
                        <a:lnTo>
                          <a:pt x="1786" y="1603"/>
                        </a:lnTo>
                        <a:lnTo>
                          <a:pt x="1789" y="1601"/>
                        </a:lnTo>
                        <a:lnTo>
                          <a:pt x="1791" y="1598"/>
                        </a:lnTo>
                        <a:lnTo>
                          <a:pt x="1791" y="1595"/>
                        </a:lnTo>
                        <a:lnTo>
                          <a:pt x="1789" y="1593"/>
                        </a:lnTo>
                        <a:lnTo>
                          <a:pt x="1786" y="1596"/>
                        </a:lnTo>
                        <a:lnTo>
                          <a:pt x="1784" y="1598"/>
                        </a:lnTo>
                        <a:lnTo>
                          <a:pt x="1784" y="1596"/>
                        </a:lnTo>
                        <a:lnTo>
                          <a:pt x="1781" y="1596"/>
                        </a:lnTo>
                        <a:lnTo>
                          <a:pt x="1781" y="1598"/>
                        </a:lnTo>
                        <a:lnTo>
                          <a:pt x="1781" y="1600"/>
                        </a:lnTo>
                        <a:lnTo>
                          <a:pt x="1780" y="1601"/>
                        </a:lnTo>
                        <a:lnTo>
                          <a:pt x="1776" y="1601"/>
                        </a:lnTo>
                        <a:lnTo>
                          <a:pt x="1775" y="1603"/>
                        </a:lnTo>
                        <a:lnTo>
                          <a:pt x="1771" y="1605"/>
                        </a:lnTo>
                        <a:lnTo>
                          <a:pt x="1771" y="1606"/>
                        </a:lnTo>
                        <a:lnTo>
                          <a:pt x="1770" y="1608"/>
                        </a:lnTo>
                        <a:lnTo>
                          <a:pt x="1770" y="1606"/>
                        </a:lnTo>
                        <a:lnTo>
                          <a:pt x="1771" y="1603"/>
                        </a:lnTo>
                        <a:lnTo>
                          <a:pt x="1770" y="1605"/>
                        </a:lnTo>
                        <a:lnTo>
                          <a:pt x="1766" y="1605"/>
                        </a:lnTo>
                        <a:lnTo>
                          <a:pt x="1770" y="1603"/>
                        </a:lnTo>
                        <a:lnTo>
                          <a:pt x="1771" y="1601"/>
                        </a:lnTo>
                        <a:lnTo>
                          <a:pt x="1773" y="1600"/>
                        </a:lnTo>
                        <a:lnTo>
                          <a:pt x="1771" y="1598"/>
                        </a:lnTo>
                        <a:lnTo>
                          <a:pt x="1773" y="1596"/>
                        </a:lnTo>
                        <a:lnTo>
                          <a:pt x="1775" y="1593"/>
                        </a:lnTo>
                        <a:lnTo>
                          <a:pt x="1773" y="1593"/>
                        </a:lnTo>
                        <a:lnTo>
                          <a:pt x="1771" y="1595"/>
                        </a:lnTo>
                        <a:lnTo>
                          <a:pt x="1771" y="1593"/>
                        </a:lnTo>
                        <a:lnTo>
                          <a:pt x="1771" y="1590"/>
                        </a:lnTo>
                        <a:lnTo>
                          <a:pt x="1771" y="1590"/>
                        </a:lnTo>
                        <a:lnTo>
                          <a:pt x="1768" y="1591"/>
                        </a:lnTo>
                        <a:lnTo>
                          <a:pt x="1763" y="1590"/>
                        </a:lnTo>
                        <a:lnTo>
                          <a:pt x="1768" y="1590"/>
                        </a:lnTo>
                        <a:lnTo>
                          <a:pt x="1770" y="1590"/>
                        </a:lnTo>
                        <a:lnTo>
                          <a:pt x="1773" y="1588"/>
                        </a:lnTo>
                        <a:lnTo>
                          <a:pt x="1776" y="1586"/>
                        </a:lnTo>
                        <a:lnTo>
                          <a:pt x="1778" y="1585"/>
                        </a:lnTo>
                        <a:lnTo>
                          <a:pt x="1780" y="1585"/>
                        </a:lnTo>
                        <a:lnTo>
                          <a:pt x="1783" y="1583"/>
                        </a:lnTo>
                        <a:lnTo>
                          <a:pt x="1783" y="1581"/>
                        </a:lnTo>
                        <a:lnTo>
                          <a:pt x="1784" y="1580"/>
                        </a:lnTo>
                        <a:lnTo>
                          <a:pt x="1784" y="1576"/>
                        </a:lnTo>
                        <a:lnTo>
                          <a:pt x="1781" y="1575"/>
                        </a:lnTo>
                        <a:lnTo>
                          <a:pt x="1778" y="1571"/>
                        </a:lnTo>
                        <a:lnTo>
                          <a:pt x="1775" y="1571"/>
                        </a:lnTo>
                        <a:lnTo>
                          <a:pt x="1770" y="1573"/>
                        </a:lnTo>
                        <a:lnTo>
                          <a:pt x="1768" y="1573"/>
                        </a:lnTo>
                        <a:lnTo>
                          <a:pt x="1768" y="1575"/>
                        </a:lnTo>
                        <a:lnTo>
                          <a:pt x="1766" y="1578"/>
                        </a:lnTo>
                        <a:lnTo>
                          <a:pt x="1765" y="1581"/>
                        </a:lnTo>
                        <a:lnTo>
                          <a:pt x="1763" y="1583"/>
                        </a:lnTo>
                        <a:lnTo>
                          <a:pt x="1765" y="1581"/>
                        </a:lnTo>
                        <a:lnTo>
                          <a:pt x="1765" y="1578"/>
                        </a:lnTo>
                        <a:lnTo>
                          <a:pt x="1763" y="1576"/>
                        </a:lnTo>
                        <a:lnTo>
                          <a:pt x="1765" y="1575"/>
                        </a:lnTo>
                        <a:lnTo>
                          <a:pt x="1766" y="1571"/>
                        </a:lnTo>
                        <a:lnTo>
                          <a:pt x="1765" y="1571"/>
                        </a:lnTo>
                        <a:lnTo>
                          <a:pt x="1761" y="1573"/>
                        </a:lnTo>
                        <a:lnTo>
                          <a:pt x="1760" y="1575"/>
                        </a:lnTo>
                        <a:lnTo>
                          <a:pt x="1758" y="1576"/>
                        </a:lnTo>
                        <a:lnTo>
                          <a:pt x="1756" y="1575"/>
                        </a:lnTo>
                        <a:lnTo>
                          <a:pt x="1755" y="1576"/>
                        </a:lnTo>
                        <a:lnTo>
                          <a:pt x="1751" y="1578"/>
                        </a:lnTo>
                        <a:lnTo>
                          <a:pt x="1751" y="1576"/>
                        </a:lnTo>
                        <a:lnTo>
                          <a:pt x="1748" y="1578"/>
                        </a:lnTo>
                        <a:lnTo>
                          <a:pt x="1746" y="1583"/>
                        </a:lnTo>
                        <a:lnTo>
                          <a:pt x="1743" y="1585"/>
                        </a:lnTo>
                        <a:lnTo>
                          <a:pt x="1746" y="1581"/>
                        </a:lnTo>
                        <a:lnTo>
                          <a:pt x="1746" y="1576"/>
                        </a:lnTo>
                        <a:lnTo>
                          <a:pt x="1750" y="1573"/>
                        </a:lnTo>
                        <a:lnTo>
                          <a:pt x="1748" y="1573"/>
                        </a:lnTo>
                        <a:lnTo>
                          <a:pt x="1746" y="1573"/>
                        </a:lnTo>
                        <a:lnTo>
                          <a:pt x="1745" y="1575"/>
                        </a:lnTo>
                        <a:lnTo>
                          <a:pt x="1741" y="1578"/>
                        </a:lnTo>
                        <a:lnTo>
                          <a:pt x="1741" y="1576"/>
                        </a:lnTo>
                        <a:lnTo>
                          <a:pt x="1743" y="1575"/>
                        </a:lnTo>
                        <a:lnTo>
                          <a:pt x="1743" y="1573"/>
                        </a:lnTo>
                        <a:lnTo>
                          <a:pt x="1743" y="1571"/>
                        </a:lnTo>
                        <a:lnTo>
                          <a:pt x="1740" y="1573"/>
                        </a:lnTo>
                        <a:lnTo>
                          <a:pt x="1736" y="1575"/>
                        </a:lnTo>
                        <a:lnTo>
                          <a:pt x="1735" y="1575"/>
                        </a:lnTo>
                        <a:lnTo>
                          <a:pt x="1733" y="1571"/>
                        </a:lnTo>
                        <a:lnTo>
                          <a:pt x="1731" y="1571"/>
                        </a:lnTo>
                        <a:lnTo>
                          <a:pt x="1728" y="1575"/>
                        </a:lnTo>
                        <a:lnTo>
                          <a:pt x="1726" y="1573"/>
                        </a:lnTo>
                        <a:lnTo>
                          <a:pt x="1726" y="1573"/>
                        </a:lnTo>
                        <a:lnTo>
                          <a:pt x="1730" y="1570"/>
                        </a:lnTo>
                        <a:lnTo>
                          <a:pt x="1733" y="1566"/>
                        </a:lnTo>
                        <a:lnTo>
                          <a:pt x="1733" y="1563"/>
                        </a:lnTo>
                        <a:lnTo>
                          <a:pt x="1731" y="1565"/>
                        </a:lnTo>
                        <a:lnTo>
                          <a:pt x="1730" y="1565"/>
                        </a:lnTo>
                        <a:lnTo>
                          <a:pt x="1726" y="1566"/>
                        </a:lnTo>
                        <a:lnTo>
                          <a:pt x="1728" y="1565"/>
                        </a:lnTo>
                        <a:lnTo>
                          <a:pt x="1733" y="1561"/>
                        </a:lnTo>
                        <a:lnTo>
                          <a:pt x="1736" y="1561"/>
                        </a:lnTo>
                        <a:lnTo>
                          <a:pt x="1738" y="1560"/>
                        </a:lnTo>
                        <a:lnTo>
                          <a:pt x="1741" y="1560"/>
                        </a:lnTo>
                        <a:lnTo>
                          <a:pt x="1745" y="1556"/>
                        </a:lnTo>
                        <a:lnTo>
                          <a:pt x="1745" y="1555"/>
                        </a:lnTo>
                        <a:lnTo>
                          <a:pt x="1743" y="1556"/>
                        </a:lnTo>
                        <a:lnTo>
                          <a:pt x="1738" y="1556"/>
                        </a:lnTo>
                        <a:lnTo>
                          <a:pt x="1736" y="1556"/>
                        </a:lnTo>
                        <a:lnTo>
                          <a:pt x="1733" y="1553"/>
                        </a:lnTo>
                        <a:lnTo>
                          <a:pt x="1731" y="1555"/>
                        </a:lnTo>
                        <a:lnTo>
                          <a:pt x="1728" y="1555"/>
                        </a:lnTo>
                        <a:lnTo>
                          <a:pt x="1730" y="1551"/>
                        </a:lnTo>
                        <a:lnTo>
                          <a:pt x="1731" y="1551"/>
                        </a:lnTo>
                        <a:lnTo>
                          <a:pt x="1731" y="1550"/>
                        </a:lnTo>
                        <a:lnTo>
                          <a:pt x="1730" y="1550"/>
                        </a:lnTo>
                        <a:lnTo>
                          <a:pt x="1726" y="1553"/>
                        </a:lnTo>
                        <a:lnTo>
                          <a:pt x="1725" y="1555"/>
                        </a:lnTo>
                        <a:lnTo>
                          <a:pt x="1721" y="1558"/>
                        </a:lnTo>
                        <a:lnTo>
                          <a:pt x="1718" y="1560"/>
                        </a:lnTo>
                        <a:lnTo>
                          <a:pt x="1718" y="1561"/>
                        </a:lnTo>
                        <a:lnTo>
                          <a:pt x="1715" y="1563"/>
                        </a:lnTo>
                        <a:lnTo>
                          <a:pt x="1711" y="1566"/>
                        </a:lnTo>
                        <a:lnTo>
                          <a:pt x="1711" y="1563"/>
                        </a:lnTo>
                        <a:lnTo>
                          <a:pt x="1713" y="1560"/>
                        </a:lnTo>
                        <a:lnTo>
                          <a:pt x="1715" y="1556"/>
                        </a:lnTo>
                        <a:lnTo>
                          <a:pt x="1715" y="1555"/>
                        </a:lnTo>
                        <a:lnTo>
                          <a:pt x="1716" y="1551"/>
                        </a:lnTo>
                        <a:lnTo>
                          <a:pt x="1720" y="1548"/>
                        </a:lnTo>
                        <a:lnTo>
                          <a:pt x="1720" y="1546"/>
                        </a:lnTo>
                        <a:lnTo>
                          <a:pt x="1723" y="1545"/>
                        </a:lnTo>
                        <a:lnTo>
                          <a:pt x="1723" y="1543"/>
                        </a:lnTo>
                        <a:lnTo>
                          <a:pt x="1726" y="1540"/>
                        </a:lnTo>
                        <a:lnTo>
                          <a:pt x="1728" y="1538"/>
                        </a:lnTo>
                        <a:lnTo>
                          <a:pt x="1730" y="1535"/>
                        </a:lnTo>
                        <a:lnTo>
                          <a:pt x="1733" y="1535"/>
                        </a:lnTo>
                        <a:lnTo>
                          <a:pt x="1733" y="1533"/>
                        </a:lnTo>
                        <a:lnTo>
                          <a:pt x="1733" y="1531"/>
                        </a:lnTo>
                        <a:lnTo>
                          <a:pt x="1735" y="1528"/>
                        </a:lnTo>
                        <a:lnTo>
                          <a:pt x="1736" y="1526"/>
                        </a:lnTo>
                        <a:lnTo>
                          <a:pt x="1736" y="1528"/>
                        </a:lnTo>
                        <a:lnTo>
                          <a:pt x="1735" y="1530"/>
                        </a:lnTo>
                        <a:lnTo>
                          <a:pt x="1736" y="1533"/>
                        </a:lnTo>
                        <a:lnTo>
                          <a:pt x="1740" y="1528"/>
                        </a:lnTo>
                        <a:lnTo>
                          <a:pt x="1745" y="1525"/>
                        </a:lnTo>
                        <a:lnTo>
                          <a:pt x="1745" y="1522"/>
                        </a:lnTo>
                        <a:lnTo>
                          <a:pt x="1743" y="1520"/>
                        </a:lnTo>
                        <a:lnTo>
                          <a:pt x="1741" y="1520"/>
                        </a:lnTo>
                        <a:lnTo>
                          <a:pt x="1740" y="1522"/>
                        </a:lnTo>
                        <a:lnTo>
                          <a:pt x="1740" y="1518"/>
                        </a:lnTo>
                        <a:lnTo>
                          <a:pt x="1738" y="1517"/>
                        </a:lnTo>
                        <a:lnTo>
                          <a:pt x="1738" y="1515"/>
                        </a:lnTo>
                        <a:lnTo>
                          <a:pt x="1741" y="1515"/>
                        </a:lnTo>
                        <a:lnTo>
                          <a:pt x="1745" y="1515"/>
                        </a:lnTo>
                        <a:lnTo>
                          <a:pt x="1748" y="1517"/>
                        </a:lnTo>
                        <a:lnTo>
                          <a:pt x="1750" y="1517"/>
                        </a:lnTo>
                        <a:lnTo>
                          <a:pt x="1751" y="1513"/>
                        </a:lnTo>
                        <a:lnTo>
                          <a:pt x="1751" y="1508"/>
                        </a:lnTo>
                        <a:lnTo>
                          <a:pt x="1748" y="1508"/>
                        </a:lnTo>
                        <a:lnTo>
                          <a:pt x="1746" y="1510"/>
                        </a:lnTo>
                        <a:lnTo>
                          <a:pt x="1746" y="1512"/>
                        </a:lnTo>
                        <a:lnTo>
                          <a:pt x="1745" y="1512"/>
                        </a:lnTo>
                        <a:lnTo>
                          <a:pt x="1745" y="1508"/>
                        </a:lnTo>
                        <a:lnTo>
                          <a:pt x="1745" y="1507"/>
                        </a:lnTo>
                        <a:lnTo>
                          <a:pt x="1741" y="1508"/>
                        </a:lnTo>
                        <a:lnTo>
                          <a:pt x="1740" y="1512"/>
                        </a:lnTo>
                        <a:lnTo>
                          <a:pt x="1736" y="1512"/>
                        </a:lnTo>
                        <a:lnTo>
                          <a:pt x="1735" y="1513"/>
                        </a:lnTo>
                        <a:lnTo>
                          <a:pt x="1731" y="1515"/>
                        </a:lnTo>
                        <a:lnTo>
                          <a:pt x="1728" y="1515"/>
                        </a:lnTo>
                        <a:lnTo>
                          <a:pt x="1725" y="1517"/>
                        </a:lnTo>
                        <a:lnTo>
                          <a:pt x="1720" y="1520"/>
                        </a:lnTo>
                        <a:lnTo>
                          <a:pt x="1720" y="1523"/>
                        </a:lnTo>
                        <a:lnTo>
                          <a:pt x="1718" y="1523"/>
                        </a:lnTo>
                        <a:lnTo>
                          <a:pt x="1715" y="1523"/>
                        </a:lnTo>
                        <a:lnTo>
                          <a:pt x="1715" y="1525"/>
                        </a:lnTo>
                        <a:lnTo>
                          <a:pt x="1716" y="1525"/>
                        </a:lnTo>
                        <a:lnTo>
                          <a:pt x="1716" y="1528"/>
                        </a:lnTo>
                        <a:lnTo>
                          <a:pt x="1716" y="1528"/>
                        </a:lnTo>
                        <a:close/>
                        <a:moveTo>
                          <a:pt x="1560" y="1568"/>
                        </a:moveTo>
                        <a:lnTo>
                          <a:pt x="1564" y="1568"/>
                        </a:lnTo>
                        <a:lnTo>
                          <a:pt x="1572" y="1575"/>
                        </a:lnTo>
                        <a:lnTo>
                          <a:pt x="1579" y="1575"/>
                        </a:lnTo>
                        <a:lnTo>
                          <a:pt x="1583" y="1575"/>
                        </a:lnTo>
                        <a:lnTo>
                          <a:pt x="1587" y="1578"/>
                        </a:lnTo>
                        <a:lnTo>
                          <a:pt x="1590" y="1578"/>
                        </a:lnTo>
                        <a:lnTo>
                          <a:pt x="1595" y="1580"/>
                        </a:lnTo>
                        <a:lnTo>
                          <a:pt x="1600" y="1578"/>
                        </a:lnTo>
                        <a:lnTo>
                          <a:pt x="1602" y="1576"/>
                        </a:lnTo>
                        <a:lnTo>
                          <a:pt x="1598" y="1573"/>
                        </a:lnTo>
                        <a:lnTo>
                          <a:pt x="1597" y="1571"/>
                        </a:lnTo>
                        <a:lnTo>
                          <a:pt x="1595" y="1570"/>
                        </a:lnTo>
                        <a:lnTo>
                          <a:pt x="1592" y="1568"/>
                        </a:lnTo>
                        <a:lnTo>
                          <a:pt x="1588" y="1565"/>
                        </a:lnTo>
                        <a:lnTo>
                          <a:pt x="1582" y="1561"/>
                        </a:lnTo>
                        <a:lnTo>
                          <a:pt x="1580" y="1560"/>
                        </a:lnTo>
                        <a:lnTo>
                          <a:pt x="1575" y="1556"/>
                        </a:lnTo>
                        <a:lnTo>
                          <a:pt x="1570" y="1553"/>
                        </a:lnTo>
                        <a:lnTo>
                          <a:pt x="1564" y="1553"/>
                        </a:lnTo>
                        <a:lnTo>
                          <a:pt x="1552" y="1550"/>
                        </a:lnTo>
                        <a:lnTo>
                          <a:pt x="1549" y="1548"/>
                        </a:lnTo>
                        <a:lnTo>
                          <a:pt x="1544" y="1551"/>
                        </a:lnTo>
                        <a:lnTo>
                          <a:pt x="1545" y="1555"/>
                        </a:lnTo>
                        <a:lnTo>
                          <a:pt x="1550" y="1556"/>
                        </a:lnTo>
                        <a:lnTo>
                          <a:pt x="1559" y="1561"/>
                        </a:lnTo>
                        <a:lnTo>
                          <a:pt x="1559" y="1566"/>
                        </a:lnTo>
                        <a:lnTo>
                          <a:pt x="1560" y="1568"/>
                        </a:lnTo>
                        <a:lnTo>
                          <a:pt x="1560" y="1568"/>
                        </a:lnTo>
                        <a:close/>
                        <a:moveTo>
                          <a:pt x="1562" y="1668"/>
                        </a:moveTo>
                        <a:lnTo>
                          <a:pt x="1557" y="1666"/>
                        </a:lnTo>
                        <a:lnTo>
                          <a:pt x="1555" y="1661"/>
                        </a:lnTo>
                        <a:lnTo>
                          <a:pt x="1544" y="1659"/>
                        </a:lnTo>
                        <a:lnTo>
                          <a:pt x="1542" y="1658"/>
                        </a:lnTo>
                        <a:lnTo>
                          <a:pt x="1540" y="1656"/>
                        </a:lnTo>
                        <a:lnTo>
                          <a:pt x="1539" y="1653"/>
                        </a:lnTo>
                        <a:lnTo>
                          <a:pt x="1537" y="1653"/>
                        </a:lnTo>
                        <a:lnTo>
                          <a:pt x="1535" y="1651"/>
                        </a:lnTo>
                        <a:lnTo>
                          <a:pt x="1532" y="1649"/>
                        </a:lnTo>
                        <a:lnTo>
                          <a:pt x="1532" y="1646"/>
                        </a:lnTo>
                        <a:lnTo>
                          <a:pt x="1530" y="1644"/>
                        </a:lnTo>
                        <a:lnTo>
                          <a:pt x="1527" y="1644"/>
                        </a:lnTo>
                        <a:lnTo>
                          <a:pt x="1525" y="1644"/>
                        </a:lnTo>
                        <a:lnTo>
                          <a:pt x="1527" y="1639"/>
                        </a:lnTo>
                        <a:lnTo>
                          <a:pt x="1537" y="1634"/>
                        </a:lnTo>
                        <a:lnTo>
                          <a:pt x="1537" y="1638"/>
                        </a:lnTo>
                        <a:lnTo>
                          <a:pt x="1535" y="1641"/>
                        </a:lnTo>
                        <a:lnTo>
                          <a:pt x="1535" y="1643"/>
                        </a:lnTo>
                        <a:lnTo>
                          <a:pt x="1537" y="1644"/>
                        </a:lnTo>
                        <a:lnTo>
                          <a:pt x="1537" y="1648"/>
                        </a:lnTo>
                        <a:lnTo>
                          <a:pt x="1540" y="1651"/>
                        </a:lnTo>
                        <a:lnTo>
                          <a:pt x="1540" y="1648"/>
                        </a:lnTo>
                        <a:lnTo>
                          <a:pt x="1545" y="1648"/>
                        </a:lnTo>
                        <a:lnTo>
                          <a:pt x="1550" y="1653"/>
                        </a:lnTo>
                        <a:lnTo>
                          <a:pt x="1554" y="1653"/>
                        </a:lnTo>
                        <a:lnTo>
                          <a:pt x="1555" y="1654"/>
                        </a:lnTo>
                        <a:lnTo>
                          <a:pt x="1562" y="1654"/>
                        </a:lnTo>
                        <a:lnTo>
                          <a:pt x="1565" y="1651"/>
                        </a:lnTo>
                        <a:lnTo>
                          <a:pt x="1569" y="1653"/>
                        </a:lnTo>
                        <a:lnTo>
                          <a:pt x="1575" y="1653"/>
                        </a:lnTo>
                        <a:lnTo>
                          <a:pt x="1574" y="1654"/>
                        </a:lnTo>
                        <a:lnTo>
                          <a:pt x="1569" y="1656"/>
                        </a:lnTo>
                        <a:lnTo>
                          <a:pt x="1567" y="1659"/>
                        </a:lnTo>
                        <a:lnTo>
                          <a:pt x="1567" y="1663"/>
                        </a:lnTo>
                        <a:lnTo>
                          <a:pt x="1565" y="1666"/>
                        </a:lnTo>
                        <a:lnTo>
                          <a:pt x="1562" y="1668"/>
                        </a:lnTo>
                        <a:lnTo>
                          <a:pt x="1562" y="1668"/>
                        </a:lnTo>
                        <a:close/>
                        <a:moveTo>
                          <a:pt x="1597" y="1683"/>
                        </a:moveTo>
                        <a:lnTo>
                          <a:pt x="1595" y="1679"/>
                        </a:lnTo>
                        <a:lnTo>
                          <a:pt x="1588" y="1676"/>
                        </a:lnTo>
                        <a:lnTo>
                          <a:pt x="1587" y="1669"/>
                        </a:lnTo>
                        <a:lnTo>
                          <a:pt x="1585" y="1668"/>
                        </a:lnTo>
                        <a:lnTo>
                          <a:pt x="1588" y="1664"/>
                        </a:lnTo>
                        <a:lnTo>
                          <a:pt x="1595" y="1661"/>
                        </a:lnTo>
                        <a:lnTo>
                          <a:pt x="1600" y="1654"/>
                        </a:lnTo>
                        <a:lnTo>
                          <a:pt x="1602" y="1651"/>
                        </a:lnTo>
                        <a:lnTo>
                          <a:pt x="1603" y="1648"/>
                        </a:lnTo>
                        <a:lnTo>
                          <a:pt x="1610" y="1643"/>
                        </a:lnTo>
                        <a:lnTo>
                          <a:pt x="1612" y="1639"/>
                        </a:lnTo>
                        <a:lnTo>
                          <a:pt x="1615" y="1639"/>
                        </a:lnTo>
                        <a:lnTo>
                          <a:pt x="1617" y="1641"/>
                        </a:lnTo>
                        <a:lnTo>
                          <a:pt x="1613" y="1644"/>
                        </a:lnTo>
                        <a:lnTo>
                          <a:pt x="1618" y="1644"/>
                        </a:lnTo>
                        <a:lnTo>
                          <a:pt x="1618" y="1648"/>
                        </a:lnTo>
                        <a:lnTo>
                          <a:pt x="1613" y="1656"/>
                        </a:lnTo>
                        <a:lnTo>
                          <a:pt x="1610" y="1658"/>
                        </a:lnTo>
                        <a:lnTo>
                          <a:pt x="1615" y="1659"/>
                        </a:lnTo>
                        <a:lnTo>
                          <a:pt x="1617" y="1663"/>
                        </a:lnTo>
                        <a:lnTo>
                          <a:pt x="1613" y="1666"/>
                        </a:lnTo>
                        <a:lnTo>
                          <a:pt x="1615" y="1668"/>
                        </a:lnTo>
                        <a:lnTo>
                          <a:pt x="1618" y="1666"/>
                        </a:lnTo>
                        <a:lnTo>
                          <a:pt x="1618" y="1663"/>
                        </a:lnTo>
                        <a:lnTo>
                          <a:pt x="1622" y="1661"/>
                        </a:lnTo>
                        <a:lnTo>
                          <a:pt x="1627" y="1663"/>
                        </a:lnTo>
                        <a:lnTo>
                          <a:pt x="1627" y="1668"/>
                        </a:lnTo>
                        <a:lnTo>
                          <a:pt x="1628" y="1669"/>
                        </a:lnTo>
                        <a:lnTo>
                          <a:pt x="1623" y="1671"/>
                        </a:lnTo>
                        <a:lnTo>
                          <a:pt x="1622" y="1673"/>
                        </a:lnTo>
                        <a:lnTo>
                          <a:pt x="1615" y="1674"/>
                        </a:lnTo>
                        <a:lnTo>
                          <a:pt x="1607" y="1679"/>
                        </a:lnTo>
                        <a:lnTo>
                          <a:pt x="1603" y="1679"/>
                        </a:lnTo>
                        <a:lnTo>
                          <a:pt x="1602" y="1676"/>
                        </a:lnTo>
                        <a:lnTo>
                          <a:pt x="1600" y="1678"/>
                        </a:lnTo>
                        <a:lnTo>
                          <a:pt x="1598" y="1681"/>
                        </a:lnTo>
                        <a:lnTo>
                          <a:pt x="1597" y="1683"/>
                        </a:lnTo>
                        <a:lnTo>
                          <a:pt x="1597" y="1683"/>
                        </a:lnTo>
                        <a:close/>
                        <a:moveTo>
                          <a:pt x="1221" y="1419"/>
                        </a:moveTo>
                        <a:lnTo>
                          <a:pt x="1223" y="1422"/>
                        </a:lnTo>
                        <a:lnTo>
                          <a:pt x="1223" y="1424"/>
                        </a:lnTo>
                        <a:lnTo>
                          <a:pt x="1225" y="1422"/>
                        </a:lnTo>
                        <a:lnTo>
                          <a:pt x="1225" y="1417"/>
                        </a:lnTo>
                        <a:lnTo>
                          <a:pt x="1223" y="1417"/>
                        </a:lnTo>
                        <a:lnTo>
                          <a:pt x="1221" y="1419"/>
                        </a:lnTo>
                        <a:lnTo>
                          <a:pt x="1221" y="1419"/>
                        </a:lnTo>
                        <a:close/>
                        <a:moveTo>
                          <a:pt x="1221" y="1467"/>
                        </a:moveTo>
                        <a:lnTo>
                          <a:pt x="1223" y="1463"/>
                        </a:lnTo>
                        <a:lnTo>
                          <a:pt x="1226" y="1463"/>
                        </a:lnTo>
                        <a:lnTo>
                          <a:pt x="1228" y="1462"/>
                        </a:lnTo>
                        <a:lnTo>
                          <a:pt x="1230" y="1465"/>
                        </a:lnTo>
                        <a:lnTo>
                          <a:pt x="1223" y="1468"/>
                        </a:lnTo>
                        <a:lnTo>
                          <a:pt x="1221" y="1467"/>
                        </a:lnTo>
                        <a:lnTo>
                          <a:pt x="1221" y="1467"/>
                        </a:lnTo>
                        <a:close/>
                        <a:moveTo>
                          <a:pt x="1177" y="1432"/>
                        </a:moveTo>
                        <a:lnTo>
                          <a:pt x="1182" y="1427"/>
                        </a:lnTo>
                        <a:lnTo>
                          <a:pt x="1185" y="1428"/>
                        </a:lnTo>
                        <a:lnTo>
                          <a:pt x="1185" y="1425"/>
                        </a:lnTo>
                        <a:lnTo>
                          <a:pt x="1188" y="1424"/>
                        </a:lnTo>
                        <a:lnTo>
                          <a:pt x="1193" y="1424"/>
                        </a:lnTo>
                        <a:lnTo>
                          <a:pt x="1193" y="1425"/>
                        </a:lnTo>
                        <a:lnTo>
                          <a:pt x="1198" y="1424"/>
                        </a:lnTo>
                        <a:lnTo>
                          <a:pt x="1203" y="1428"/>
                        </a:lnTo>
                        <a:lnTo>
                          <a:pt x="1205" y="1433"/>
                        </a:lnTo>
                        <a:lnTo>
                          <a:pt x="1205" y="1435"/>
                        </a:lnTo>
                        <a:lnTo>
                          <a:pt x="1205" y="1438"/>
                        </a:lnTo>
                        <a:lnTo>
                          <a:pt x="1193" y="1437"/>
                        </a:lnTo>
                        <a:lnTo>
                          <a:pt x="1190" y="1433"/>
                        </a:lnTo>
                        <a:lnTo>
                          <a:pt x="1185" y="1433"/>
                        </a:lnTo>
                        <a:lnTo>
                          <a:pt x="1185" y="1437"/>
                        </a:lnTo>
                        <a:lnTo>
                          <a:pt x="1185" y="1438"/>
                        </a:lnTo>
                        <a:lnTo>
                          <a:pt x="1183" y="1435"/>
                        </a:lnTo>
                        <a:lnTo>
                          <a:pt x="1182" y="1433"/>
                        </a:lnTo>
                        <a:lnTo>
                          <a:pt x="1178" y="1433"/>
                        </a:lnTo>
                        <a:lnTo>
                          <a:pt x="1177" y="1432"/>
                        </a:lnTo>
                        <a:lnTo>
                          <a:pt x="1177" y="1432"/>
                        </a:lnTo>
                        <a:close/>
                        <a:moveTo>
                          <a:pt x="185" y="1450"/>
                        </a:moveTo>
                        <a:lnTo>
                          <a:pt x="190" y="1453"/>
                        </a:lnTo>
                        <a:lnTo>
                          <a:pt x="195" y="1460"/>
                        </a:lnTo>
                        <a:lnTo>
                          <a:pt x="193" y="1462"/>
                        </a:lnTo>
                        <a:lnTo>
                          <a:pt x="187" y="1455"/>
                        </a:lnTo>
                        <a:lnTo>
                          <a:pt x="185" y="1450"/>
                        </a:lnTo>
                        <a:lnTo>
                          <a:pt x="185" y="1450"/>
                        </a:lnTo>
                        <a:close/>
                        <a:moveTo>
                          <a:pt x="177" y="1440"/>
                        </a:moveTo>
                        <a:lnTo>
                          <a:pt x="175" y="1433"/>
                        </a:lnTo>
                        <a:lnTo>
                          <a:pt x="178" y="1433"/>
                        </a:lnTo>
                        <a:lnTo>
                          <a:pt x="177" y="1440"/>
                        </a:lnTo>
                        <a:lnTo>
                          <a:pt x="177" y="1440"/>
                        </a:lnTo>
                        <a:close/>
                        <a:moveTo>
                          <a:pt x="150" y="1419"/>
                        </a:moveTo>
                        <a:lnTo>
                          <a:pt x="157" y="1422"/>
                        </a:lnTo>
                        <a:lnTo>
                          <a:pt x="157" y="1419"/>
                        </a:lnTo>
                        <a:lnTo>
                          <a:pt x="150" y="1419"/>
                        </a:lnTo>
                        <a:lnTo>
                          <a:pt x="150" y="1419"/>
                        </a:lnTo>
                        <a:close/>
                        <a:moveTo>
                          <a:pt x="110" y="1404"/>
                        </a:moveTo>
                        <a:lnTo>
                          <a:pt x="112" y="1409"/>
                        </a:lnTo>
                        <a:lnTo>
                          <a:pt x="113" y="1410"/>
                        </a:lnTo>
                        <a:lnTo>
                          <a:pt x="115" y="1415"/>
                        </a:lnTo>
                        <a:lnTo>
                          <a:pt x="127" y="1417"/>
                        </a:lnTo>
                        <a:lnTo>
                          <a:pt x="123" y="1419"/>
                        </a:lnTo>
                        <a:lnTo>
                          <a:pt x="117" y="1419"/>
                        </a:lnTo>
                        <a:lnTo>
                          <a:pt x="113" y="1424"/>
                        </a:lnTo>
                        <a:lnTo>
                          <a:pt x="117" y="1425"/>
                        </a:lnTo>
                        <a:lnTo>
                          <a:pt x="113" y="1430"/>
                        </a:lnTo>
                        <a:lnTo>
                          <a:pt x="115" y="1432"/>
                        </a:lnTo>
                        <a:lnTo>
                          <a:pt x="120" y="1430"/>
                        </a:lnTo>
                        <a:lnTo>
                          <a:pt x="122" y="1433"/>
                        </a:lnTo>
                        <a:lnTo>
                          <a:pt x="127" y="1433"/>
                        </a:lnTo>
                        <a:lnTo>
                          <a:pt x="127" y="1438"/>
                        </a:lnTo>
                        <a:lnTo>
                          <a:pt x="132" y="1440"/>
                        </a:lnTo>
                        <a:lnTo>
                          <a:pt x="137" y="1438"/>
                        </a:lnTo>
                        <a:lnTo>
                          <a:pt x="130" y="1445"/>
                        </a:lnTo>
                        <a:lnTo>
                          <a:pt x="133" y="1450"/>
                        </a:lnTo>
                        <a:lnTo>
                          <a:pt x="137" y="1450"/>
                        </a:lnTo>
                        <a:lnTo>
                          <a:pt x="137" y="1445"/>
                        </a:lnTo>
                        <a:lnTo>
                          <a:pt x="143" y="1443"/>
                        </a:lnTo>
                        <a:lnTo>
                          <a:pt x="142" y="1448"/>
                        </a:lnTo>
                        <a:lnTo>
                          <a:pt x="137" y="1452"/>
                        </a:lnTo>
                        <a:lnTo>
                          <a:pt x="138" y="1455"/>
                        </a:lnTo>
                        <a:lnTo>
                          <a:pt x="140" y="1455"/>
                        </a:lnTo>
                        <a:lnTo>
                          <a:pt x="142" y="1460"/>
                        </a:lnTo>
                        <a:lnTo>
                          <a:pt x="150" y="1460"/>
                        </a:lnTo>
                        <a:lnTo>
                          <a:pt x="150" y="1463"/>
                        </a:lnTo>
                        <a:lnTo>
                          <a:pt x="153" y="1463"/>
                        </a:lnTo>
                        <a:lnTo>
                          <a:pt x="155" y="1468"/>
                        </a:lnTo>
                        <a:lnTo>
                          <a:pt x="153" y="1472"/>
                        </a:lnTo>
                        <a:lnTo>
                          <a:pt x="158" y="1477"/>
                        </a:lnTo>
                        <a:lnTo>
                          <a:pt x="162" y="1473"/>
                        </a:lnTo>
                        <a:lnTo>
                          <a:pt x="165" y="1475"/>
                        </a:lnTo>
                        <a:lnTo>
                          <a:pt x="168" y="1475"/>
                        </a:lnTo>
                        <a:lnTo>
                          <a:pt x="162" y="1482"/>
                        </a:lnTo>
                        <a:lnTo>
                          <a:pt x="172" y="1490"/>
                        </a:lnTo>
                        <a:lnTo>
                          <a:pt x="173" y="1492"/>
                        </a:lnTo>
                        <a:lnTo>
                          <a:pt x="177" y="1495"/>
                        </a:lnTo>
                        <a:lnTo>
                          <a:pt x="192" y="1502"/>
                        </a:lnTo>
                        <a:lnTo>
                          <a:pt x="193" y="1500"/>
                        </a:lnTo>
                        <a:lnTo>
                          <a:pt x="198" y="1502"/>
                        </a:lnTo>
                        <a:lnTo>
                          <a:pt x="195" y="1490"/>
                        </a:lnTo>
                        <a:lnTo>
                          <a:pt x="195" y="1483"/>
                        </a:lnTo>
                        <a:lnTo>
                          <a:pt x="193" y="1480"/>
                        </a:lnTo>
                        <a:lnTo>
                          <a:pt x="195" y="1472"/>
                        </a:lnTo>
                        <a:lnTo>
                          <a:pt x="190" y="1467"/>
                        </a:lnTo>
                        <a:lnTo>
                          <a:pt x="180" y="1460"/>
                        </a:lnTo>
                        <a:lnTo>
                          <a:pt x="178" y="1447"/>
                        </a:lnTo>
                        <a:lnTo>
                          <a:pt x="173" y="1440"/>
                        </a:lnTo>
                        <a:lnTo>
                          <a:pt x="172" y="1432"/>
                        </a:lnTo>
                        <a:lnTo>
                          <a:pt x="170" y="1430"/>
                        </a:lnTo>
                        <a:lnTo>
                          <a:pt x="165" y="1428"/>
                        </a:lnTo>
                        <a:lnTo>
                          <a:pt x="157" y="1425"/>
                        </a:lnTo>
                        <a:lnTo>
                          <a:pt x="152" y="1425"/>
                        </a:lnTo>
                        <a:lnTo>
                          <a:pt x="147" y="1424"/>
                        </a:lnTo>
                        <a:lnTo>
                          <a:pt x="143" y="1419"/>
                        </a:lnTo>
                        <a:lnTo>
                          <a:pt x="137" y="1415"/>
                        </a:lnTo>
                        <a:lnTo>
                          <a:pt x="133" y="1412"/>
                        </a:lnTo>
                        <a:lnTo>
                          <a:pt x="132" y="1407"/>
                        </a:lnTo>
                        <a:lnTo>
                          <a:pt x="125" y="1409"/>
                        </a:lnTo>
                        <a:lnTo>
                          <a:pt x="123" y="1404"/>
                        </a:lnTo>
                        <a:lnTo>
                          <a:pt x="118" y="1402"/>
                        </a:lnTo>
                        <a:lnTo>
                          <a:pt x="117" y="1404"/>
                        </a:lnTo>
                        <a:lnTo>
                          <a:pt x="110" y="1404"/>
                        </a:lnTo>
                        <a:lnTo>
                          <a:pt x="110" y="1404"/>
                        </a:lnTo>
                        <a:close/>
                        <a:moveTo>
                          <a:pt x="153" y="1414"/>
                        </a:moveTo>
                        <a:lnTo>
                          <a:pt x="157" y="1412"/>
                        </a:lnTo>
                        <a:lnTo>
                          <a:pt x="158" y="1410"/>
                        </a:lnTo>
                        <a:lnTo>
                          <a:pt x="160" y="1414"/>
                        </a:lnTo>
                        <a:lnTo>
                          <a:pt x="157" y="1415"/>
                        </a:lnTo>
                        <a:lnTo>
                          <a:pt x="153" y="1417"/>
                        </a:lnTo>
                        <a:lnTo>
                          <a:pt x="153" y="1414"/>
                        </a:lnTo>
                        <a:lnTo>
                          <a:pt x="153" y="1414"/>
                        </a:lnTo>
                        <a:close/>
                        <a:moveTo>
                          <a:pt x="148" y="1409"/>
                        </a:moveTo>
                        <a:lnTo>
                          <a:pt x="152" y="1405"/>
                        </a:lnTo>
                        <a:lnTo>
                          <a:pt x="153" y="1410"/>
                        </a:lnTo>
                        <a:lnTo>
                          <a:pt x="148" y="1409"/>
                        </a:lnTo>
                        <a:lnTo>
                          <a:pt x="148" y="1409"/>
                        </a:lnTo>
                        <a:close/>
                        <a:moveTo>
                          <a:pt x="122" y="1312"/>
                        </a:moveTo>
                        <a:lnTo>
                          <a:pt x="122" y="1319"/>
                        </a:lnTo>
                        <a:lnTo>
                          <a:pt x="123" y="1316"/>
                        </a:lnTo>
                        <a:lnTo>
                          <a:pt x="122" y="1312"/>
                        </a:lnTo>
                        <a:lnTo>
                          <a:pt x="122" y="1312"/>
                        </a:lnTo>
                        <a:close/>
                        <a:moveTo>
                          <a:pt x="133" y="1359"/>
                        </a:moveTo>
                        <a:lnTo>
                          <a:pt x="133" y="1354"/>
                        </a:lnTo>
                        <a:lnTo>
                          <a:pt x="135" y="1354"/>
                        </a:lnTo>
                        <a:lnTo>
                          <a:pt x="137" y="1355"/>
                        </a:lnTo>
                        <a:lnTo>
                          <a:pt x="135" y="1359"/>
                        </a:lnTo>
                        <a:lnTo>
                          <a:pt x="133" y="1359"/>
                        </a:lnTo>
                        <a:lnTo>
                          <a:pt x="133" y="1359"/>
                        </a:lnTo>
                        <a:close/>
                        <a:moveTo>
                          <a:pt x="133" y="1372"/>
                        </a:moveTo>
                        <a:lnTo>
                          <a:pt x="130" y="1375"/>
                        </a:lnTo>
                        <a:lnTo>
                          <a:pt x="130" y="1379"/>
                        </a:lnTo>
                        <a:lnTo>
                          <a:pt x="132" y="1382"/>
                        </a:lnTo>
                        <a:lnTo>
                          <a:pt x="133" y="1375"/>
                        </a:lnTo>
                        <a:lnTo>
                          <a:pt x="133" y="1372"/>
                        </a:lnTo>
                        <a:lnTo>
                          <a:pt x="133" y="1372"/>
                        </a:lnTo>
                        <a:close/>
                        <a:moveTo>
                          <a:pt x="137" y="1367"/>
                        </a:moveTo>
                        <a:lnTo>
                          <a:pt x="140" y="1362"/>
                        </a:lnTo>
                        <a:lnTo>
                          <a:pt x="138" y="1359"/>
                        </a:lnTo>
                        <a:lnTo>
                          <a:pt x="132" y="1362"/>
                        </a:lnTo>
                        <a:lnTo>
                          <a:pt x="132" y="1367"/>
                        </a:lnTo>
                        <a:lnTo>
                          <a:pt x="133" y="1367"/>
                        </a:lnTo>
                        <a:lnTo>
                          <a:pt x="133" y="1367"/>
                        </a:lnTo>
                        <a:lnTo>
                          <a:pt x="137" y="1367"/>
                        </a:lnTo>
                        <a:lnTo>
                          <a:pt x="137" y="1367"/>
                        </a:lnTo>
                        <a:close/>
                        <a:moveTo>
                          <a:pt x="142" y="1362"/>
                        </a:moveTo>
                        <a:lnTo>
                          <a:pt x="147" y="1355"/>
                        </a:lnTo>
                        <a:lnTo>
                          <a:pt x="150" y="1355"/>
                        </a:lnTo>
                        <a:lnTo>
                          <a:pt x="153" y="1350"/>
                        </a:lnTo>
                        <a:lnTo>
                          <a:pt x="160" y="1349"/>
                        </a:lnTo>
                        <a:lnTo>
                          <a:pt x="160" y="1350"/>
                        </a:lnTo>
                        <a:lnTo>
                          <a:pt x="153" y="1357"/>
                        </a:lnTo>
                        <a:lnTo>
                          <a:pt x="148" y="1357"/>
                        </a:lnTo>
                        <a:lnTo>
                          <a:pt x="143" y="1362"/>
                        </a:lnTo>
                        <a:lnTo>
                          <a:pt x="142" y="1362"/>
                        </a:lnTo>
                        <a:lnTo>
                          <a:pt x="142" y="1362"/>
                        </a:lnTo>
                        <a:close/>
                        <a:moveTo>
                          <a:pt x="137" y="1339"/>
                        </a:moveTo>
                        <a:lnTo>
                          <a:pt x="137" y="1334"/>
                        </a:lnTo>
                        <a:lnTo>
                          <a:pt x="140" y="1330"/>
                        </a:lnTo>
                        <a:lnTo>
                          <a:pt x="142" y="1334"/>
                        </a:lnTo>
                        <a:lnTo>
                          <a:pt x="140" y="1335"/>
                        </a:lnTo>
                        <a:lnTo>
                          <a:pt x="140" y="1337"/>
                        </a:lnTo>
                        <a:lnTo>
                          <a:pt x="137" y="1339"/>
                        </a:lnTo>
                        <a:lnTo>
                          <a:pt x="137" y="1339"/>
                        </a:lnTo>
                        <a:close/>
                        <a:moveTo>
                          <a:pt x="127" y="1337"/>
                        </a:moveTo>
                        <a:lnTo>
                          <a:pt x="133" y="1340"/>
                        </a:lnTo>
                        <a:lnTo>
                          <a:pt x="135" y="1337"/>
                        </a:lnTo>
                        <a:lnTo>
                          <a:pt x="133" y="1335"/>
                        </a:lnTo>
                        <a:lnTo>
                          <a:pt x="127" y="1337"/>
                        </a:lnTo>
                        <a:lnTo>
                          <a:pt x="127" y="1337"/>
                        </a:lnTo>
                        <a:close/>
                        <a:moveTo>
                          <a:pt x="120" y="1324"/>
                        </a:moveTo>
                        <a:lnTo>
                          <a:pt x="120" y="1332"/>
                        </a:lnTo>
                        <a:lnTo>
                          <a:pt x="123" y="1334"/>
                        </a:lnTo>
                        <a:lnTo>
                          <a:pt x="123" y="1337"/>
                        </a:lnTo>
                        <a:lnTo>
                          <a:pt x="125" y="1334"/>
                        </a:lnTo>
                        <a:lnTo>
                          <a:pt x="123" y="1329"/>
                        </a:lnTo>
                        <a:lnTo>
                          <a:pt x="120" y="1324"/>
                        </a:lnTo>
                        <a:lnTo>
                          <a:pt x="120" y="1324"/>
                        </a:lnTo>
                        <a:close/>
                        <a:moveTo>
                          <a:pt x="123" y="1321"/>
                        </a:moveTo>
                        <a:lnTo>
                          <a:pt x="128" y="1321"/>
                        </a:lnTo>
                        <a:lnTo>
                          <a:pt x="127" y="1324"/>
                        </a:lnTo>
                        <a:lnTo>
                          <a:pt x="127" y="1327"/>
                        </a:lnTo>
                        <a:lnTo>
                          <a:pt x="130" y="1327"/>
                        </a:lnTo>
                        <a:lnTo>
                          <a:pt x="135" y="1324"/>
                        </a:lnTo>
                        <a:lnTo>
                          <a:pt x="133" y="1329"/>
                        </a:lnTo>
                        <a:lnTo>
                          <a:pt x="133" y="1332"/>
                        </a:lnTo>
                        <a:lnTo>
                          <a:pt x="138" y="1329"/>
                        </a:lnTo>
                        <a:lnTo>
                          <a:pt x="140" y="1317"/>
                        </a:lnTo>
                        <a:lnTo>
                          <a:pt x="133" y="1316"/>
                        </a:lnTo>
                        <a:lnTo>
                          <a:pt x="128" y="1316"/>
                        </a:lnTo>
                        <a:lnTo>
                          <a:pt x="123" y="1321"/>
                        </a:lnTo>
                        <a:lnTo>
                          <a:pt x="123" y="1321"/>
                        </a:lnTo>
                        <a:close/>
                        <a:moveTo>
                          <a:pt x="123" y="1311"/>
                        </a:moveTo>
                        <a:lnTo>
                          <a:pt x="127" y="1314"/>
                        </a:lnTo>
                        <a:lnTo>
                          <a:pt x="128" y="1312"/>
                        </a:lnTo>
                        <a:lnTo>
                          <a:pt x="127" y="1309"/>
                        </a:lnTo>
                        <a:lnTo>
                          <a:pt x="123" y="1311"/>
                        </a:lnTo>
                        <a:lnTo>
                          <a:pt x="123" y="1311"/>
                        </a:lnTo>
                        <a:close/>
                        <a:moveTo>
                          <a:pt x="133" y="1304"/>
                        </a:moveTo>
                        <a:lnTo>
                          <a:pt x="135" y="1299"/>
                        </a:lnTo>
                        <a:lnTo>
                          <a:pt x="140" y="1296"/>
                        </a:lnTo>
                        <a:lnTo>
                          <a:pt x="142" y="1296"/>
                        </a:lnTo>
                        <a:lnTo>
                          <a:pt x="140" y="1301"/>
                        </a:lnTo>
                        <a:lnTo>
                          <a:pt x="137" y="1302"/>
                        </a:lnTo>
                        <a:lnTo>
                          <a:pt x="133" y="1304"/>
                        </a:lnTo>
                        <a:lnTo>
                          <a:pt x="133" y="1304"/>
                        </a:lnTo>
                        <a:close/>
                        <a:moveTo>
                          <a:pt x="103" y="1291"/>
                        </a:moveTo>
                        <a:lnTo>
                          <a:pt x="113" y="1302"/>
                        </a:lnTo>
                        <a:lnTo>
                          <a:pt x="117" y="1307"/>
                        </a:lnTo>
                        <a:lnTo>
                          <a:pt x="115" y="1312"/>
                        </a:lnTo>
                        <a:lnTo>
                          <a:pt x="112" y="1311"/>
                        </a:lnTo>
                        <a:lnTo>
                          <a:pt x="112" y="1306"/>
                        </a:lnTo>
                        <a:lnTo>
                          <a:pt x="105" y="1299"/>
                        </a:lnTo>
                        <a:lnTo>
                          <a:pt x="102" y="1294"/>
                        </a:lnTo>
                        <a:lnTo>
                          <a:pt x="102" y="1294"/>
                        </a:lnTo>
                        <a:lnTo>
                          <a:pt x="103" y="1291"/>
                        </a:lnTo>
                        <a:lnTo>
                          <a:pt x="103" y="1291"/>
                        </a:lnTo>
                        <a:close/>
                        <a:moveTo>
                          <a:pt x="113" y="1287"/>
                        </a:moveTo>
                        <a:lnTo>
                          <a:pt x="113" y="1292"/>
                        </a:lnTo>
                        <a:lnTo>
                          <a:pt x="117" y="1297"/>
                        </a:lnTo>
                        <a:lnTo>
                          <a:pt x="118" y="1304"/>
                        </a:lnTo>
                        <a:lnTo>
                          <a:pt x="123" y="1307"/>
                        </a:lnTo>
                        <a:lnTo>
                          <a:pt x="123" y="1301"/>
                        </a:lnTo>
                        <a:lnTo>
                          <a:pt x="118" y="1292"/>
                        </a:lnTo>
                        <a:lnTo>
                          <a:pt x="117" y="1286"/>
                        </a:lnTo>
                        <a:lnTo>
                          <a:pt x="115" y="1286"/>
                        </a:lnTo>
                        <a:lnTo>
                          <a:pt x="113" y="1287"/>
                        </a:lnTo>
                        <a:lnTo>
                          <a:pt x="113" y="1287"/>
                        </a:lnTo>
                        <a:close/>
                        <a:moveTo>
                          <a:pt x="105" y="1281"/>
                        </a:moveTo>
                        <a:lnTo>
                          <a:pt x="112" y="1281"/>
                        </a:lnTo>
                        <a:lnTo>
                          <a:pt x="112" y="1282"/>
                        </a:lnTo>
                        <a:lnTo>
                          <a:pt x="115" y="1282"/>
                        </a:lnTo>
                        <a:lnTo>
                          <a:pt x="118" y="1277"/>
                        </a:lnTo>
                        <a:lnTo>
                          <a:pt x="113" y="1276"/>
                        </a:lnTo>
                        <a:lnTo>
                          <a:pt x="107" y="1277"/>
                        </a:lnTo>
                        <a:lnTo>
                          <a:pt x="105" y="1281"/>
                        </a:lnTo>
                        <a:lnTo>
                          <a:pt x="105" y="1281"/>
                        </a:lnTo>
                        <a:close/>
                        <a:moveTo>
                          <a:pt x="54" y="1284"/>
                        </a:moveTo>
                        <a:lnTo>
                          <a:pt x="52" y="1276"/>
                        </a:lnTo>
                        <a:lnTo>
                          <a:pt x="60" y="1264"/>
                        </a:lnTo>
                        <a:lnTo>
                          <a:pt x="67" y="1266"/>
                        </a:lnTo>
                        <a:lnTo>
                          <a:pt x="67" y="1272"/>
                        </a:lnTo>
                        <a:lnTo>
                          <a:pt x="69" y="1271"/>
                        </a:lnTo>
                        <a:lnTo>
                          <a:pt x="72" y="1267"/>
                        </a:lnTo>
                        <a:lnTo>
                          <a:pt x="75" y="1269"/>
                        </a:lnTo>
                        <a:lnTo>
                          <a:pt x="75" y="1272"/>
                        </a:lnTo>
                        <a:lnTo>
                          <a:pt x="75" y="1277"/>
                        </a:lnTo>
                        <a:lnTo>
                          <a:pt x="72" y="1281"/>
                        </a:lnTo>
                        <a:lnTo>
                          <a:pt x="62" y="1284"/>
                        </a:lnTo>
                        <a:lnTo>
                          <a:pt x="65" y="1286"/>
                        </a:lnTo>
                        <a:lnTo>
                          <a:pt x="65" y="1289"/>
                        </a:lnTo>
                        <a:lnTo>
                          <a:pt x="70" y="1287"/>
                        </a:lnTo>
                        <a:lnTo>
                          <a:pt x="74" y="1281"/>
                        </a:lnTo>
                        <a:lnTo>
                          <a:pt x="80" y="1274"/>
                        </a:lnTo>
                        <a:lnTo>
                          <a:pt x="87" y="1271"/>
                        </a:lnTo>
                        <a:lnTo>
                          <a:pt x="90" y="1271"/>
                        </a:lnTo>
                        <a:lnTo>
                          <a:pt x="82" y="1281"/>
                        </a:lnTo>
                        <a:lnTo>
                          <a:pt x="79" y="1287"/>
                        </a:lnTo>
                        <a:lnTo>
                          <a:pt x="75" y="1292"/>
                        </a:lnTo>
                        <a:lnTo>
                          <a:pt x="74" y="1299"/>
                        </a:lnTo>
                        <a:lnTo>
                          <a:pt x="69" y="1302"/>
                        </a:lnTo>
                        <a:lnTo>
                          <a:pt x="65" y="1302"/>
                        </a:lnTo>
                        <a:lnTo>
                          <a:pt x="60" y="1307"/>
                        </a:lnTo>
                        <a:lnTo>
                          <a:pt x="65" y="1307"/>
                        </a:lnTo>
                        <a:lnTo>
                          <a:pt x="69" y="1306"/>
                        </a:lnTo>
                        <a:lnTo>
                          <a:pt x="74" y="1306"/>
                        </a:lnTo>
                        <a:lnTo>
                          <a:pt x="74" y="1311"/>
                        </a:lnTo>
                        <a:lnTo>
                          <a:pt x="67" y="1311"/>
                        </a:lnTo>
                        <a:lnTo>
                          <a:pt x="65" y="1316"/>
                        </a:lnTo>
                        <a:lnTo>
                          <a:pt x="65" y="1321"/>
                        </a:lnTo>
                        <a:lnTo>
                          <a:pt x="65" y="1327"/>
                        </a:lnTo>
                        <a:lnTo>
                          <a:pt x="69" y="1334"/>
                        </a:lnTo>
                        <a:lnTo>
                          <a:pt x="69" y="1340"/>
                        </a:lnTo>
                        <a:lnTo>
                          <a:pt x="72" y="1340"/>
                        </a:lnTo>
                        <a:lnTo>
                          <a:pt x="75" y="1342"/>
                        </a:lnTo>
                        <a:lnTo>
                          <a:pt x="72" y="1345"/>
                        </a:lnTo>
                        <a:lnTo>
                          <a:pt x="65" y="1345"/>
                        </a:lnTo>
                        <a:lnTo>
                          <a:pt x="59" y="1330"/>
                        </a:lnTo>
                        <a:lnTo>
                          <a:pt x="59" y="1324"/>
                        </a:lnTo>
                        <a:lnTo>
                          <a:pt x="59" y="1321"/>
                        </a:lnTo>
                        <a:lnTo>
                          <a:pt x="54" y="1321"/>
                        </a:lnTo>
                        <a:lnTo>
                          <a:pt x="52" y="1317"/>
                        </a:lnTo>
                        <a:lnTo>
                          <a:pt x="54" y="1314"/>
                        </a:lnTo>
                        <a:lnTo>
                          <a:pt x="60" y="1314"/>
                        </a:lnTo>
                        <a:lnTo>
                          <a:pt x="55" y="1309"/>
                        </a:lnTo>
                        <a:lnTo>
                          <a:pt x="52" y="1309"/>
                        </a:lnTo>
                        <a:lnTo>
                          <a:pt x="55" y="1304"/>
                        </a:lnTo>
                        <a:lnTo>
                          <a:pt x="52" y="1301"/>
                        </a:lnTo>
                        <a:lnTo>
                          <a:pt x="52" y="1297"/>
                        </a:lnTo>
                        <a:lnTo>
                          <a:pt x="57" y="1299"/>
                        </a:lnTo>
                        <a:lnTo>
                          <a:pt x="59" y="1299"/>
                        </a:lnTo>
                        <a:lnTo>
                          <a:pt x="59" y="1296"/>
                        </a:lnTo>
                        <a:lnTo>
                          <a:pt x="55" y="1292"/>
                        </a:lnTo>
                        <a:lnTo>
                          <a:pt x="52" y="1292"/>
                        </a:lnTo>
                        <a:lnTo>
                          <a:pt x="50" y="1287"/>
                        </a:lnTo>
                        <a:lnTo>
                          <a:pt x="54" y="1284"/>
                        </a:lnTo>
                        <a:lnTo>
                          <a:pt x="54" y="1284"/>
                        </a:lnTo>
                        <a:close/>
                        <a:moveTo>
                          <a:pt x="112" y="1261"/>
                        </a:moveTo>
                        <a:lnTo>
                          <a:pt x="112" y="1256"/>
                        </a:lnTo>
                        <a:lnTo>
                          <a:pt x="115" y="1254"/>
                        </a:lnTo>
                        <a:lnTo>
                          <a:pt x="115" y="1257"/>
                        </a:lnTo>
                        <a:lnTo>
                          <a:pt x="112" y="1261"/>
                        </a:lnTo>
                        <a:lnTo>
                          <a:pt x="112" y="1261"/>
                        </a:lnTo>
                        <a:close/>
                        <a:moveTo>
                          <a:pt x="605" y="593"/>
                        </a:moveTo>
                        <a:lnTo>
                          <a:pt x="608" y="595"/>
                        </a:lnTo>
                        <a:lnTo>
                          <a:pt x="610" y="595"/>
                        </a:lnTo>
                        <a:lnTo>
                          <a:pt x="610" y="593"/>
                        </a:lnTo>
                        <a:lnTo>
                          <a:pt x="612" y="591"/>
                        </a:lnTo>
                        <a:lnTo>
                          <a:pt x="607" y="591"/>
                        </a:lnTo>
                        <a:lnTo>
                          <a:pt x="605" y="593"/>
                        </a:lnTo>
                        <a:lnTo>
                          <a:pt x="605" y="593"/>
                        </a:lnTo>
                        <a:close/>
                        <a:moveTo>
                          <a:pt x="559" y="551"/>
                        </a:moveTo>
                        <a:lnTo>
                          <a:pt x="562" y="553"/>
                        </a:lnTo>
                        <a:lnTo>
                          <a:pt x="567" y="550"/>
                        </a:lnTo>
                        <a:lnTo>
                          <a:pt x="567" y="545"/>
                        </a:lnTo>
                        <a:lnTo>
                          <a:pt x="560" y="548"/>
                        </a:lnTo>
                        <a:lnTo>
                          <a:pt x="559" y="551"/>
                        </a:lnTo>
                        <a:lnTo>
                          <a:pt x="559" y="551"/>
                        </a:lnTo>
                        <a:close/>
                        <a:moveTo>
                          <a:pt x="388" y="565"/>
                        </a:moveTo>
                        <a:lnTo>
                          <a:pt x="391" y="565"/>
                        </a:lnTo>
                        <a:lnTo>
                          <a:pt x="393" y="561"/>
                        </a:lnTo>
                        <a:lnTo>
                          <a:pt x="391" y="561"/>
                        </a:lnTo>
                        <a:lnTo>
                          <a:pt x="391" y="561"/>
                        </a:lnTo>
                        <a:lnTo>
                          <a:pt x="388" y="565"/>
                        </a:lnTo>
                        <a:lnTo>
                          <a:pt x="388" y="565"/>
                        </a:lnTo>
                        <a:close/>
                        <a:moveTo>
                          <a:pt x="388" y="571"/>
                        </a:moveTo>
                        <a:lnTo>
                          <a:pt x="386" y="570"/>
                        </a:lnTo>
                        <a:lnTo>
                          <a:pt x="389" y="568"/>
                        </a:lnTo>
                        <a:lnTo>
                          <a:pt x="391" y="570"/>
                        </a:lnTo>
                        <a:lnTo>
                          <a:pt x="388" y="571"/>
                        </a:lnTo>
                        <a:lnTo>
                          <a:pt x="388" y="571"/>
                        </a:lnTo>
                        <a:close/>
                        <a:moveTo>
                          <a:pt x="379" y="585"/>
                        </a:moveTo>
                        <a:lnTo>
                          <a:pt x="379" y="591"/>
                        </a:lnTo>
                        <a:lnTo>
                          <a:pt x="376" y="595"/>
                        </a:lnTo>
                        <a:lnTo>
                          <a:pt x="378" y="600"/>
                        </a:lnTo>
                        <a:lnTo>
                          <a:pt x="383" y="600"/>
                        </a:lnTo>
                        <a:lnTo>
                          <a:pt x="386" y="596"/>
                        </a:lnTo>
                        <a:lnTo>
                          <a:pt x="389" y="596"/>
                        </a:lnTo>
                        <a:lnTo>
                          <a:pt x="406" y="585"/>
                        </a:lnTo>
                        <a:lnTo>
                          <a:pt x="412" y="581"/>
                        </a:lnTo>
                        <a:lnTo>
                          <a:pt x="416" y="576"/>
                        </a:lnTo>
                        <a:lnTo>
                          <a:pt x="412" y="576"/>
                        </a:lnTo>
                        <a:lnTo>
                          <a:pt x="411" y="575"/>
                        </a:lnTo>
                        <a:lnTo>
                          <a:pt x="409" y="568"/>
                        </a:lnTo>
                        <a:lnTo>
                          <a:pt x="406" y="568"/>
                        </a:lnTo>
                        <a:lnTo>
                          <a:pt x="402" y="573"/>
                        </a:lnTo>
                        <a:lnTo>
                          <a:pt x="397" y="575"/>
                        </a:lnTo>
                        <a:lnTo>
                          <a:pt x="399" y="578"/>
                        </a:lnTo>
                        <a:lnTo>
                          <a:pt x="396" y="578"/>
                        </a:lnTo>
                        <a:lnTo>
                          <a:pt x="394" y="580"/>
                        </a:lnTo>
                        <a:lnTo>
                          <a:pt x="393" y="583"/>
                        </a:lnTo>
                        <a:lnTo>
                          <a:pt x="389" y="580"/>
                        </a:lnTo>
                        <a:lnTo>
                          <a:pt x="391" y="578"/>
                        </a:lnTo>
                        <a:lnTo>
                          <a:pt x="389" y="575"/>
                        </a:lnTo>
                        <a:lnTo>
                          <a:pt x="386" y="578"/>
                        </a:lnTo>
                        <a:lnTo>
                          <a:pt x="384" y="578"/>
                        </a:lnTo>
                        <a:lnTo>
                          <a:pt x="381" y="581"/>
                        </a:lnTo>
                        <a:lnTo>
                          <a:pt x="379" y="585"/>
                        </a:lnTo>
                        <a:lnTo>
                          <a:pt x="379" y="585"/>
                        </a:lnTo>
                        <a:close/>
                        <a:moveTo>
                          <a:pt x="361" y="598"/>
                        </a:moveTo>
                        <a:lnTo>
                          <a:pt x="363" y="595"/>
                        </a:lnTo>
                        <a:lnTo>
                          <a:pt x="363" y="586"/>
                        </a:lnTo>
                        <a:lnTo>
                          <a:pt x="358" y="590"/>
                        </a:lnTo>
                        <a:lnTo>
                          <a:pt x="358" y="593"/>
                        </a:lnTo>
                        <a:lnTo>
                          <a:pt x="356" y="595"/>
                        </a:lnTo>
                        <a:lnTo>
                          <a:pt x="358" y="596"/>
                        </a:lnTo>
                        <a:lnTo>
                          <a:pt x="358" y="596"/>
                        </a:lnTo>
                        <a:lnTo>
                          <a:pt x="361" y="598"/>
                        </a:lnTo>
                        <a:lnTo>
                          <a:pt x="361" y="598"/>
                        </a:lnTo>
                        <a:close/>
                        <a:moveTo>
                          <a:pt x="363" y="601"/>
                        </a:moveTo>
                        <a:lnTo>
                          <a:pt x="366" y="600"/>
                        </a:lnTo>
                        <a:lnTo>
                          <a:pt x="368" y="596"/>
                        </a:lnTo>
                        <a:lnTo>
                          <a:pt x="364" y="591"/>
                        </a:lnTo>
                        <a:lnTo>
                          <a:pt x="366" y="585"/>
                        </a:lnTo>
                        <a:lnTo>
                          <a:pt x="368" y="581"/>
                        </a:lnTo>
                        <a:lnTo>
                          <a:pt x="371" y="583"/>
                        </a:lnTo>
                        <a:lnTo>
                          <a:pt x="371" y="580"/>
                        </a:lnTo>
                        <a:lnTo>
                          <a:pt x="374" y="580"/>
                        </a:lnTo>
                        <a:lnTo>
                          <a:pt x="376" y="583"/>
                        </a:lnTo>
                        <a:lnTo>
                          <a:pt x="376" y="595"/>
                        </a:lnTo>
                        <a:lnTo>
                          <a:pt x="373" y="598"/>
                        </a:lnTo>
                        <a:lnTo>
                          <a:pt x="374" y="601"/>
                        </a:lnTo>
                        <a:lnTo>
                          <a:pt x="368" y="605"/>
                        </a:lnTo>
                        <a:lnTo>
                          <a:pt x="363" y="601"/>
                        </a:lnTo>
                        <a:lnTo>
                          <a:pt x="363" y="601"/>
                        </a:lnTo>
                        <a:close/>
                        <a:moveTo>
                          <a:pt x="369" y="623"/>
                        </a:moveTo>
                        <a:lnTo>
                          <a:pt x="373" y="620"/>
                        </a:lnTo>
                        <a:lnTo>
                          <a:pt x="369" y="613"/>
                        </a:lnTo>
                        <a:lnTo>
                          <a:pt x="369" y="606"/>
                        </a:lnTo>
                        <a:lnTo>
                          <a:pt x="364" y="606"/>
                        </a:lnTo>
                        <a:lnTo>
                          <a:pt x="358" y="600"/>
                        </a:lnTo>
                        <a:lnTo>
                          <a:pt x="356" y="601"/>
                        </a:lnTo>
                        <a:lnTo>
                          <a:pt x="356" y="603"/>
                        </a:lnTo>
                        <a:lnTo>
                          <a:pt x="364" y="611"/>
                        </a:lnTo>
                        <a:lnTo>
                          <a:pt x="358" y="610"/>
                        </a:lnTo>
                        <a:lnTo>
                          <a:pt x="358" y="613"/>
                        </a:lnTo>
                        <a:lnTo>
                          <a:pt x="363" y="616"/>
                        </a:lnTo>
                        <a:lnTo>
                          <a:pt x="369" y="623"/>
                        </a:lnTo>
                        <a:lnTo>
                          <a:pt x="369" y="623"/>
                        </a:lnTo>
                        <a:close/>
                        <a:moveTo>
                          <a:pt x="316" y="545"/>
                        </a:moveTo>
                        <a:lnTo>
                          <a:pt x="319" y="550"/>
                        </a:lnTo>
                        <a:lnTo>
                          <a:pt x="323" y="548"/>
                        </a:lnTo>
                        <a:lnTo>
                          <a:pt x="326" y="550"/>
                        </a:lnTo>
                        <a:lnTo>
                          <a:pt x="329" y="550"/>
                        </a:lnTo>
                        <a:lnTo>
                          <a:pt x="324" y="543"/>
                        </a:lnTo>
                        <a:lnTo>
                          <a:pt x="319" y="541"/>
                        </a:lnTo>
                        <a:lnTo>
                          <a:pt x="316" y="545"/>
                        </a:lnTo>
                        <a:lnTo>
                          <a:pt x="316" y="545"/>
                        </a:lnTo>
                        <a:close/>
                        <a:moveTo>
                          <a:pt x="215" y="1480"/>
                        </a:moveTo>
                        <a:lnTo>
                          <a:pt x="215" y="1480"/>
                        </a:lnTo>
                        <a:lnTo>
                          <a:pt x="211" y="1478"/>
                        </a:lnTo>
                        <a:lnTo>
                          <a:pt x="210" y="1472"/>
                        </a:lnTo>
                        <a:lnTo>
                          <a:pt x="215" y="1462"/>
                        </a:lnTo>
                        <a:lnTo>
                          <a:pt x="215" y="1457"/>
                        </a:lnTo>
                        <a:lnTo>
                          <a:pt x="213" y="1460"/>
                        </a:lnTo>
                        <a:lnTo>
                          <a:pt x="206" y="1462"/>
                        </a:lnTo>
                        <a:lnTo>
                          <a:pt x="201" y="1465"/>
                        </a:lnTo>
                        <a:lnTo>
                          <a:pt x="196" y="1458"/>
                        </a:lnTo>
                        <a:lnTo>
                          <a:pt x="196" y="1453"/>
                        </a:lnTo>
                        <a:lnTo>
                          <a:pt x="200" y="1455"/>
                        </a:lnTo>
                        <a:lnTo>
                          <a:pt x="201" y="1458"/>
                        </a:lnTo>
                        <a:lnTo>
                          <a:pt x="203" y="1458"/>
                        </a:lnTo>
                        <a:lnTo>
                          <a:pt x="203" y="1457"/>
                        </a:lnTo>
                        <a:lnTo>
                          <a:pt x="201" y="1453"/>
                        </a:lnTo>
                        <a:lnTo>
                          <a:pt x="200" y="1448"/>
                        </a:lnTo>
                        <a:lnTo>
                          <a:pt x="196" y="1448"/>
                        </a:lnTo>
                        <a:lnTo>
                          <a:pt x="193" y="1450"/>
                        </a:lnTo>
                        <a:lnTo>
                          <a:pt x="188" y="1448"/>
                        </a:lnTo>
                        <a:lnTo>
                          <a:pt x="185" y="1443"/>
                        </a:lnTo>
                        <a:lnTo>
                          <a:pt x="185" y="1440"/>
                        </a:lnTo>
                        <a:lnTo>
                          <a:pt x="192" y="1437"/>
                        </a:lnTo>
                        <a:lnTo>
                          <a:pt x="193" y="1432"/>
                        </a:lnTo>
                        <a:lnTo>
                          <a:pt x="196" y="1428"/>
                        </a:lnTo>
                        <a:lnTo>
                          <a:pt x="196" y="1428"/>
                        </a:lnTo>
                        <a:lnTo>
                          <a:pt x="192" y="1428"/>
                        </a:lnTo>
                        <a:lnTo>
                          <a:pt x="187" y="1428"/>
                        </a:lnTo>
                        <a:lnTo>
                          <a:pt x="185" y="1427"/>
                        </a:lnTo>
                        <a:lnTo>
                          <a:pt x="188" y="1424"/>
                        </a:lnTo>
                        <a:lnTo>
                          <a:pt x="193" y="1419"/>
                        </a:lnTo>
                        <a:lnTo>
                          <a:pt x="193" y="1412"/>
                        </a:lnTo>
                        <a:lnTo>
                          <a:pt x="195" y="1410"/>
                        </a:lnTo>
                        <a:lnTo>
                          <a:pt x="195" y="1407"/>
                        </a:lnTo>
                        <a:lnTo>
                          <a:pt x="192" y="1409"/>
                        </a:lnTo>
                        <a:lnTo>
                          <a:pt x="190" y="1412"/>
                        </a:lnTo>
                        <a:lnTo>
                          <a:pt x="188" y="1419"/>
                        </a:lnTo>
                        <a:lnTo>
                          <a:pt x="183" y="1425"/>
                        </a:lnTo>
                        <a:lnTo>
                          <a:pt x="180" y="1427"/>
                        </a:lnTo>
                        <a:lnTo>
                          <a:pt x="178" y="1425"/>
                        </a:lnTo>
                        <a:lnTo>
                          <a:pt x="175" y="1424"/>
                        </a:lnTo>
                        <a:lnTo>
                          <a:pt x="175" y="1422"/>
                        </a:lnTo>
                        <a:lnTo>
                          <a:pt x="177" y="1420"/>
                        </a:lnTo>
                        <a:lnTo>
                          <a:pt x="177" y="1417"/>
                        </a:lnTo>
                        <a:lnTo>
                          <a:pt x="173" y="1420"/>
                        </a:lnTo>
                        <a:lnTo>
                          <a:pt x="172" y="1422"/>
                        </a:lnTo>
                        <a:lnTo>
                          <a:pt x="170" y="1422"/>
                        </a:lnTo>
                        <a:lnTo>
                          <a:pt x="168" y="1420"/>
                        </a:lnTo>
                        <a:lnTo>
                          <a:pt x="165" y="1420"/>
                        </a:lnTo>
                        <a:lnTo>
                          <a:pt x="163" y="1422"/>
                        </a:lnTo>
                        <a:lnTo>
                          <a:pt x="160" y="1420"/>
                        </a:lnTo>
                        <a:lnTo>
                          <a:pt x="160" y="1420"/>
                        </a:lnTo>
                        <a:lnTo>
                          <a:pt x="163" y="1417"/>
                        </a:lnTo>
                        <a:lnTo>
                          <a:pt x="167" y="1415"/>
                        </a:lnTo>
                        <a:lnTo>
                          <a:pt x="173" y="1415"/>
                        </a:lnTo>
                        <a:lnTo>
                          <a:pt x="178" y="1410"/>
                        </a:lnTo>
                        <a:lnTo>
                          <a:pt x="182" y="1407"/>
                        </a:lnTo>
                        <a:lnTo>
                          <a:pt x="182" y="1402"/>
                        </a:lnTo>
                        <a:lnTo>
                          <a:pt x="180" y="1405"/>
                        </a:lnTo>
                        <a:lnTo>
                          <a:pt x="177" y="1409"/>
                        </a:lnTo>
                        <a:lnTo>
                          <a:pt x="173" y="1412"/>
                        </a:lnTo>
                        <a:lnTo>
                          <a:pt x="170" y="1414"/>
                        </a:lnTo>
                        <a:lnTo>
                          <a:pt x="163" y="1412"/>
                        </a:lnTo>
                        <a:lnTo>
                          <a:pt x="163" y="1409"/>
                        </a:lnTo>
                        <a:lnTo>
                          <a:pt x="158" y="1409"/>
                        </a:lnTo>
                        <a:lnTo>
                          <a:pt x="158" y="1407"/>
                        </a:lnTo>
                        <a:lnTo>
                          <a:pt x="162" y="1405"/>
                        </a:lnTo>
                        <a:lnTo>
                          <a:pt x="160" y="1404"/>
                        </a:lnTo>
                        <a:lnTo>
                          <a:pt x="153" y="1405"/>
                        </a:lnTo>
                        <a:lnTo>
                          <a:pt x="150" y="1404"/>
                        </a:lnTo>
                        <a:lnTo>
                          <a:pt x="147" y="1404"/>
                        </a:lnTo>
                        <a:lnTo>
                          <a:pt x="145" y="1407"/>
                        </a:lnTo>
                        <a:lnTo>
                          <a:pt x="140" y="1404"/>
                        </a:lnTo>
                        <a:lnTo>
                          <a:pt x="138" y="1400"/>
                        </a:lnTo>
                        <a:lnTo>
                          <a:pt x="140" y="1399"/>
                        </a:lnTo>
                        <a:lnTo>
                          <a:pt x="143" y="1400"/>
                        </a:lnTo>
                        <a:lnTo>
                          <a:pt x="148" y="1402"/>
                        </a:lnTo>
                        <a:lnTo>
                          <a:pt x="153" y="1400"/>
                        </a:lnTo>
                        <a:lnTo>
                          <a:pt x="153" y="1399"/>
                        </a:lnTo>
                        <a:lnTo>
                          <a:pt x="152" y="1399"/>
                        </a:lnTo>
                        <a:lnTo>
                          <a:pt x="145" y="1399"/>
                        </a:lnTo>
                        <a:lnTo>
                          <a:pt x="143" y="1397"/>
                        </a:lnTo>
                        <a:lnTo>
                          <a:pt x="145" y="1395"/>
                        </a:lnTo>
                        <a:lnTo>
                          <a:pt x="148" y="1397"/>
                        </a:lnTo>
                        <a:lnTo>
                          <a:pt x="153" y="1395"/>
                        </a:lnTo>
                        <a:lnTo>
                          <a:pt x="153" y="1394"/>
                        </a:lnTo>
                        <a:lnTo>
                          <a:pt x="148" y="1394"/>
                        </a:lnTo>
                        <a:lnTo>
                          <a:pt x="145" y="1392"/>
                        </a:lnTo>
                        <a:lnTo>
                          <a:pt x="140" y="1394"/>
                        </a:lnTo>
                        <a:lnTo>
                          <a:pt x="137" y="1394"/>
                        </a:lnTo>
                        <a:lnTo>
                          <a:pt x="133" y="1392"/>
                        </a:lnTo>
                        <a:lnTo>
                          <a:pt x="135" y="1389"/>
                        </a:lnTo>
                        <a:lnTo>
                          <a:pt x="140" y="1387"/>
                        </a:lnTo>
                        <a:lnTo>
                          <a:pt x="142" y="1389"/>
                        </a:lnTo>
                        <a:lnTo>
                          <a:pt x="147" y="1389"/>
                        </a:lnTo>
                        <a:lnTo>
                          <a:pt x="150" y="1387"/>
                        </a:lnTo>
                        <a:lnTo>
                          <a:pt x="145" y="1387"/>
                        </a:lnTo>
                        <a:lnTo>
                          <a:pt x="142" y="1385"/>
                        </a:lnTo>
                        <a:lnTo>
                          <a:pt x="135" y="1385"/>
                        </a:lnTo>
                        <a:lnTo>
                          <a:pt x="137" y="1384"/>
                        </a:lnTo>
                        <a:lnTo>
                          <a:pt x="143" y="1382"/>
                        </a:lnTo>
                        <a:lnTo>
                          <a:pt x="145" y="1384"/>
                        </a:lnTo>
                        <a:lnTo>
                          <a:pt x="148" y="1382"/>
                        </a:lnTo>
                        <a:lnTo>
                          <a:pt x="148" y="1380"/>
                        </a:lnTo>
                        <a:lnTo>
                          <a:pt x="148" y="1379"/>
                        </a:lnTo>
                        <a:lnTo>
                          <a:pt x="150" y="1375"/>
                        </a:lnTo>
                        <a:lnTo>
                          <a:pt x="157" y="1375"/>
                        </a:lnTo>
                        <a:lnTo>
                          <a:pt x="162" y="1377"/>
                        </a:lnTo>
                        <a:lnTo>
                          <a:pt x="162" y="1375"/>
                        </a:lnTo>
                        <a:lnTo>
                          <a:pt x="155" y="1374"/>
                        </a:lnTo>
                        <a:lnTo>
                          <a:pt x="153" y="1372"/>
                        </a:lnTo>
                        <a:lnTo>
                          <a:pt x="150" y="1372"/>
                        </a:lnTo>
                        <a:lnTo>
                          <a:pt x="148" y="1375"/>
                        </a:lnTo>
                        <a:lnTo>
                          <a:pt x="143" y="1377"/>
                        </a:lnTo>
                        <a:lnTo>
                          <a:pt x="140" y="1379"/>
                        </a:lnTo>
                        <a:lnTo>
                          <a:pt x="138" y="1377"/>
                        </a:lnTo>
                        <a:lnTo>
                          <a:pt x="138" y="1374"/>
                        </a:lnTo>
                        <a:lnTo>
                          <a:pt x="138" y="1372"/>
                        </a:lnTo>
                        <a:lnTo>
                          <a:pt x="140" y="1367"/>
                        </a:lnTo>
                        <a:lnTo>
                          <a:pt x="147" y="1365"/>
                        </a:lnTo>
                        <a:lnTo>
                          <a:pt x="148" y="1362"/>
                        </a:lnTo>
                        <a:lnTo>
                          <a:pt x="160" y="1355"/>
                        </a:lnTo>
                        <a:lnTo>
                          <a:pt x="163" y="1354"/>
                        </a:lnTo>
                        <a:lnTo>
                          <a:pt x="165" y="1355"/>
                        </a:lnTo>
                        <a:lnTo>
                          <a:pt x="165" y="1362"/>
                        </a:lnTo>
                        <a:lnTo>
                          <a:pt x="168" y="1365"/>
                        </a:lnTo>
                        <a:lnTo>
                          <a:pt x="170" y="1364"/>
                        </a:lnTo>
                        <a:lnTo>
                          <a:pt x="168" y="1359"/>
                        </a:lnTo>
                        <a:lnTo>
                          <a:pt x="168" y="1352"/>
                        </a:lnTo>
                        <a:lnTo>
                          <a:pt x="173" y="1350"/>
                        </a:lnTo>
                        <a:lnTo>
                          <a:pt x="178" y="1350"/>
                        </a:lnTo>
                        <a:lnTo>
                          <a:pt x="173" y="1349"/>
                        </a:lnTo>
                        <a:lnTo>
                          <a:pt x="168" y="1349"/>
                        </a:lnTo>
                        <a:lnTo>
                          <a:pt x="165" y="1350"/>
                        </a:lnTo>
                        <a:lnTo>
                          <a:pt x="163" y="1347"/>
                        </a:lnTo>
                        <a:lnTo>
                          <a:pt x="163" y="1345"/>
                        </a:lnTo>
                        <a:lnTo>
                          <a:pt x="168" y="1344"/>
                        </a:lnTo>
                        <a:lnTo>
                          <a:pt x="173" y="1340"/>
                        </a:lnTo>
                        <a:lnTo>
                          <a:pt x="177" y="1334"/>
                        </a:lnTo>
                        <a:lnTo>
                          <a:pt x="177" y="1332"/>
                        </a:lnTo>
                        <a:lnTo>
                          <a:pt x="175" y="1332"/>
                        </a:lnTo>
                        <a:lnTo>
                          <a:pt x="173" y="1335"/>
                        </a:lnTo>
                        <a:lnTo>
                          <a:pt x="170" y="1339"/>
                        </a:lnTo>
                        <a:lnTo>
                          <a:pt x="165" y="1340"/>
                        </a:lnTo>
                        <a:lnTo>
                          <a:pt x="160" y="1345"/>
                        </a:lnTo>
                        <a:lnTo>
                          <a:pt x="153" y="1350"/>
                        </a:lnTo>
                        <a:lnTo>
                          <a:pt x="147" y="1352"/>
                        </a:lnTo>
                        <a:lnTo>
                          <a:pt x="143" y="1349"/>
                        </a:lnTo>
                        <a:lnTo>
                          <a:pt x="143" y="1345"/>
                        </a:lnTo>
                        <a:lnTo>
                          <a:pt x="148" y="1345"/>
                        </a:lnTo>
                        <a:lnTo>
                          <a:pt x="143" y="1344"/>
                        </a:lnTo>
                        <a:lnTo>
                          <a:pt x="137" y="1347"/>
                        </a:lnTo>
                        <a:lnTo>
                          <a:pt x="135" y="1344"/>
                        </a:lnTo>
                        <a:lnTo>
                          <a:pt x="137" y="1342"/>
                        </a:lnTo>
                        <a:lnTo>
                          <a:pt x="142" y="1339"/>
                        </a:lnTo>
                        <a:lnTo>
                          <a:pt x="147" y="1337"/>
                        </a:lnTo>
                        <a:lnTo>
                          <a:pt x="150" y="1337"/>
                        </a:lnTo>
                        <a:lnTo>
                          <a:pt x="152" y="1335"/>
                        </a:lnTo>
                        <a:lnTo>
                          <a:pt x="152" y="1334"/>
                        </a:lnTo>
                        <a:lnTo>
                          <a:pt x="148" y="1332"/>
                        </a:lnTo>
                        <a:lnTo>
                          <a:pt x="150" y="1330"/>
                        </a:lnTo>
                        <a:lnTo>
                          <a:pt x="152" y="1329"/>
                        </a:lnTo>
                        <a:lnTo>
                          <a:pt x="150" y="1327"/>
                        </a:lnTo>
                        <a:lnTo>
                          <a:pt x="147" y="1329"/>
                        </a:lnTo>
                        <a:lnTo>
                          <a:pt x="143" y="1329"/>
                        </a:lnTo>
                        <a:lnTo>
                          <a:pt x="142" y="1326"/>
                        </a:lnTo>
                        <a:lnTo>
                          <a:pt x="142" y="1316"/>
                        </a:lnTo>
                        <a:lnTo>
                          <a:pt x="140" y="1312"/>
                        </a:lnTo>
                        <a:lnTo>
                          <a:pt x="138" y="1309"/>
                        </a:lnTo>
                        <a:lnTo>
                          <a:pt x="140" y="1306"/>
                        </a:lnTo>
                        <a:lnTo>
                          <a:pt x="147" y="1307"/>
                        </a:lnTo>
                        <a:lnTo>
                          <a:pt x="152" y="1309"/>
                        </a:lnTo>
                        <a:lnTo>
                          <a:pt x="157" y="1309"/>
                        </a:lnTo>
                        <a:lnTo>
                          <a:pt x="163" y="1311"/>
                        </a:lnTo>
                        <a:lnTo>
                          <a:pt x="160" y="1309"/>
                        </a:lnTo>
                        <a:lnTo>
                          <a:pt x="157" y="1307"/>
                        </a:lnTo>
                        <a:lnTo>
                          <a:pt x="152" y="1307"/>
                        </a:lnTo>
                        <a:lnTo>
                          <a:pt x="148" y="1304"/>
                        </a:lnTo>
                        <a:lnTo>
                          <a:pt x="145" y="1301"/>
                        </a:lnTo>
                        <a:lnTo>
                          <a:pt x="145" y="1299"/>
                        </a:lnTo>
                        <a:lnTo>
                          <a:pt x="148" y="1296"/>
                        </a:lnTo>
                        <a:lnTo>
                          <a:pt x="150" y="1294"/>
                        </a:lnTo>
                        <a:lnTo>
                          <a:pt x="153" y="1291"/>
                        </a:lnTo>
                        <a:lnTo>
                          <a:pt x="152" y="1286"/>
                        </a:lnTo>
                        <a:lnTo>
                          <a:pt x="150" y="1286"/>
                        </a:lnTo>
                        <a:lnTo>
                          <a:pt x="147" y="1291"/>
                        </a:lnTo>
                        <a:lnTo>
                          <a:pt x="142" y="1294"/>
                        </a:lnTo>
                        <a:lnTo>
                          <a:pt x="135" y="1296"/>
                        </a:lnTo>
                        <a:lnTo>
                          <a:pt x="130" y="1299"/>
                        </a:lnTo>
                        <a:lnTo>
                          <a:pt x="130" y="1302"/>
                        </a:lnTo>
                        <a:lnTo>
                          <a:pt x="127" y="1302"/>
                        </a:lnTo>
                        <a:lnTo>
                          <a:pt x="123" y="1296"/>
                        </a:lnTo>
                        <a:lnTo>
                          <a:pt x="122" y="1289"/>
                        </a:lnTo>
                        <a:lnTo>
                          <a:pt x="123" y="1277"/>
                        </a:lnTo>
                        <a:lnTo>
                          <a:pt x="125" y="1271"/>
                        </a:lnTo>
                        <a:lnTo>
                          <a:pt x="123" y="1267"/>
                        </a:lnTo>
                        <a:lnTo>
                          <a:pt x="120" y="1267"/>
                        </a:lnTo>
                        <a:lnTo>
                          <a:pt x="120" y="1261"/>
                        </a:lnTo>
                        <a:lnTo>
                          <a:pt x="123" y="1259"/>
                        </a:lnTo>
                        <a:lnTo>
                          <a:pt x="125" y="1261"/>
                        </a:lnTo>
                        <a:lnTo>
                          <a:pt x="128" y="1262"/>
                        </a:lnTo>
                        <a:lnTo>
                          <a:pt x="127" y="1257"/>
                        </a:lnTo>
                        <a:lnTo>
                          <a:pt x="132" y="1254"/>
                        </a:lnTo>
                        <a:lnTo>
                          <a:pt x="133" y="1247"/>
                        </a:lnTo>
                        <a:lnTo>
                          <a:pt x="138" y="1247"/>
                        </a:lnTo>
                        <a:lnTo>
                          <a:pt x="143" y="1247"/>
                        </a:lnTo>
                        <a:lnTo>
                          <a:pt x="145" y="1246"/>
                        </a:lnTo>
                        <a:lnTo>
                          <a:pt x="142" y="1246"/>
                        </a:lnTo>
                        <a:lnTo>
                          <a:pt x="142" y="1244"/>
                        </a:lnTo>
                        <a:lnTo>
                          <a:pt x="148" y="1237"/>
                        </a:lnTo>
                        <a:lnTo>
                          <a:pt x="152" y="1234"/>
                        </a:lnTo>
                        <a:lnTo>
                          <a:pt x="158" y="1229"/>
                        </a:lnTo>
                        <a:lnTo>
                          <a:pt x="158" y="1228"/>
                        </a:lnTo>
                        <a:lnTo>
                          <a:pt x="155" y="1228"/>
                        </a:lnTo>
                        <a:lnTo>
                          <a:pt x="155" y="1226"/>
                        </a:lnTo>
                        <a:lnTo>
                          <a:pt x="148" y="1229"/>
                        </a:lnTo>
                        <a:lnTo>
                          <a:pt x="147" y="1234"/>
                        </a:lnTo>
                        <a:lnTo>
                          <a:pt x="140" y="1242"/>
                        </a:lnTo>
                        <a:lnTo>
                          <a:pt x="138" y="1242"/>
                        </a:lnTo>
                        <a:lnTo>
                          <a:pt x="138" y="1239"/>
                        </a:lnTo>
                        <a:lnTo>
                          <a:pt x="143" y="1232"/>
                        </a:lnTo>
                        <a:lnTo>
                          <a:pt x="145" y="1226"/>
                        </a:lnTo>
                        <a:lnTo>
                          <a:pt x="150" y="1216"/>
                        </a:lnTo>
                        <a:lnTo>
                          <a:pt x="153" y="1211"/>
                        </a:lnTo>
                        <a:lnTo>
                          <a:pt x="152" y="1211"/>
                        </a:lnTo>
                        <a:lnTo>
                          <a:pt x="152" y="1209"/>
                        </a:lnTo>
                        <a:lnTo>
                          <a:pt x="152" y="1206"/>
                        </a:lnTo>
                        <a:lnTo>
                          <a:pt x="153" y="1204"/>
                        </a:lnTo>
                        <a:lnTo>
                          <a:pt x="153" y="1203"/>
                        </a:lnTo>
                        <a:lnTo>
                          <a:pt x="155" y="1201"/>
                        </a:lnTo>
                        <a:lnTo>
                          <a:pt x="153" y="1199"/>
                        </a:lnTo>
                        <a:lnTo>
                          <a:pt x="150" y="1198"/>
                        </a:lnTo>
                        <a:lnTo>
                          <a:pt x="150" y="1193"/>
                        </a:lnTo>
                        <a:lnTo>
                          <a:pt x="148" y="1189"/>
                        </a:lnTo>
                        <a:lnTo>
                          <a:pt x="143" y="1186"/>
                        </a:lnTo>
                        <a:lnTo>
                          <a:pt x="140" y="1183"/>
                        </a:lnTo>
                        <a:lnTo>
                          <a:pt x="138" y="1181"/>
                        </a:lnTo>
                        <a:lnTo>
                          <a:pt x="133" y="1174"/>
                        </a:lnTo>
                        <a:lnTo>
                          <a:pt x="130" y="1174"/>
                        </a:lnTo>
                        <a:lnTo>
                          <a:pt x="127" y="1174"/>
                        </a:lnTo>
                        <a:lnTo>
                          <a:pt x="127" y="1173"/>
                        </a:lnTo>
                        <a:lnTo>
                          <a:pt x="128" y="1169"/>
                        </a:lnTo>
                        <a:lnTo>
                          <a:pt x="127" y="1166"/>
                        </a:lnTo>
                        <a:lnTo>
                          <a:pt x="125" y="1164"/>
                        </a:lnTo>
                        <a:lnTo>
                          <a:pt x="125" y="1163"/>
                        </a:lnTo>
                        <a:lnTo>
                          <a:pt x="127" y="1161"/>
                        </a:lnTo>
                        <a:lnTo>
                          <a:pt x="128" y="1159"/>
                        </a:lnTo>
                        <a:lnTo>
                          <a:pt x="128" y="1158"/>
                        </a:lnTo>
                        <a:lnTo>
                          <a:pt x="125" y="1156"/>
                        </a:lnTo>
                        <a:lnTo>
                          <a:pt x="123" y="1156"/>
                        </a:lnTo>
                        <a:lnTo>
                          <a:pt x="123" y="1153"/>
                        </a:lnTo>
                        <a:lnTo>
                          <a:pt x="127" y="1151"/>
                        </a:lnTo>
                        <a:lnTo>
                          <a:pt x="125" y="1134"/>
                        </a:lnTo>
                        <a:lnTo>
                          <a:pt x="127" y="1120"/>
                        </a:lnTo>
                        <a:lnTo>
                          <a:pt x="128" y="1106"/>
                        </a:lnTo>
                        <a:lnTo>
                          <a:pt x="127" y="1103"/>
                        </a:lnTo>
                        <a:lnTo>
                          <a:pt x="125" y="1100"/>
                        </a:lnTo>
                        <a:lnTo>
                          <a:pt x="128" y="1095"/>
                        </a:lnTo>
                        <a:lnTo>
                          <a:pt x="127" y="1091"/>
                        </a:lnTo>
                        <a:lnTo>
                          <a:pt x="125" y="1088"/>
                        </a:lnTo>
                        <a:lnTo>
                          <a:pt x="123" y="1080"/>
                        </a:lnTo>
                        <a:lnTo>
                          <a:pt x="118" y="1075"/>
                        </a:lnTo>
                        <a:lnTo>
                          <a:pt x="117" y="1066"/>
                        </a:lnTo>
                        <a:lnTo>
                          <a:pt x="118" y="1063"/>
                        </a:lnTo>
                        <a:lnTo>
                          <a:pt x="113" y="1050"/>
                        </a:lnTo>
                        <a:lnTo>
                          <a:pt x="115" y="1046"/>
                        </a:lnTo>
                        <a:lnTo>
                          <a:pt x="118" y="1041"/>
                        </a:lnTo>
                        <a:lnTo>
                          <a:pt x="117" y="1038"/>
                        </a:lnTo>
                        <a:lnTo>
                          <a:pt x="117" y="1033"/>
                        </a:lnTo>
                        <a:lnTo>
                          <a:pt x="112" y="1030"/>
                        </a:lnTo>
                        <a:lnTo>
                          <a:pt x="103" y="1030"/>
                        </a:lnTo>
                        <a:lnTo>
                          <a:pt x="95" y="1033"/>
                        </a:lnTo>
                        <a:lnTo>
                          <a:pt x="94" y="1033"/>
                        </a:lnTo>
                        <a:lnTo>
                          <a:pt x="85" y="1036"/>
                        </a:lnTo>
                        <a:lnTo>
                          <a:pt x="80" y="1041"/>
                        </a:lnTo>
                        <a:lnTo>
                          <a:pt x="74" y="1050"/>
                        </a:lnTo>
                        <a:lnTo>
                          <a:pt x="67" y="1053"/>
                        </a:lnTo>
                        <a:lnTo>
                          <a:pt x="59" y="1055"/>
                        </a:lnTo>
                        <a:lnTo>
                          <a:pt x="50" y="1055"/>
                        </a:lnTo>
                        <a:lnTo>
                          <a:pt x="49" y="1056"/>
                        </a:lnTo>
                        <a:lnTo>
                          <a:pt x="49" y="1053"/>
                        </a:lnTo>
                        <a:lnTo>
                          <a:pt x="52" y="1046"/>
                        </a:lnTo>
                        <a:lnTo>
                          <a:pt x="50" y="1041"/>
                        </a:lnTo>
                        <a:lnTo>
                          <a:pt x="44" y="1017"/>
                        </a:lnTo>
                        <a:lnTo>
                          <a:pt x="39" y="1005"/>
                        </a:lnTo>
                        <a:lnTo>
                          <a:pt x="37" y="998"/>
                        </a:lnTo>
                        <a:lnTo>
                          <a:pt x="42" y="990"/>
                        </a:lnTo>
                        <a:lnTo>
                          <a:pt x="30" y="988"/>
                        </a:lnTo>
                        <a:lnTo>
                          <a:pt x="20" y="993"/>
                        </a:lnTo>
                        <a:lnTo>
                          <a:pt x="15" y="990"/>
                        </a:lnTo>
                        <a:lnTo>
                          <a:pt x="0" y="990"/>
                        </a:lnTo>
                        <a:lnTo>
                          <a:pt x="281" y="527"/>
                        </a:lnTo>
                        <a:lnTo>
                          <a:pt x="281" y="530"/>
                        </a:lnTo>
                        <a:lnTo>
                          <a:pt x="285" y="530"/>
                        </a:lnTo>
                        <a:lnTo>
                          <a:pt x="298" y="538"/>
                        </a:lnTo>
                        <a:lnTo>
                          <a:pt x="303" y="540"/>
                        </a:lnTo>
                        <a:lnTo>
                          <a:pt x="306" y="543"/>
                        </a:lnTo>
                        <a:lnTo>
                          <a:pt x="308" y="546"/>
                        </a:lnTo>
                        <a:lnTo>
                          <a:pt x="309" y="545"/>
                        </a:lnTo>
                        <a:lnTo>
                          <a:pt x="314" y="548"/>
                        </a:lnTo>
                        <a:lnTo>
                          <a:pt x="314" y="553"/>
                        </a:lnTo>
                        <a:lnTo>
                          <a:pt x="321" y="558"/>
                        </a:lnTo>
                        <a:lnTo>
                          <a:pt x="319" y="560"/>
                        </a:lnTo>
                        <a:lnTo>
                          <a:pt x="319" y="561"/>
                        </a:lnTo>
                        <a:lnTo>
                          <a:pt x="318" y="566"/>
                        </a:lnTo>
                        <a:lnTo>
                          <a:pt x="319" y="571"/>
                        </a:lnTo>
                        <a:lnTo>
                          <a:pt x="323" y="573"/>
                        </a:lnTo>
                        <a:lnTo>
                          <a:pt x="324" y="570"/>
                        </a:lnTo>
                        <a:lnTo>
                          <a:pt x="324" y="571"/>
                        </a:lnTo>
                        <a:lnTo>
                          <a:pt x="326" y="578"/>
                        </a:lnTo>
                        <a:lnTo>
                          <a:pt x="328" y="585"/>
                        </a:lnTo>
                        <a:lnTo>
                          <a:pt x="334" y="591"/>
                        </a:lnTo>
                        <a:lnTo>
                          <a:pt x="339" y="595"/>
                        </a:lnTo>
                        <a:lnTo>
                          <a:pt x="341" y="593"/>
                        </a:lnTo>
                        <a:lnTo>
                          <a:pt x="344" y="595"/>
                        </a:lnTo>
                        <a:lnTo>
                          <a:pt x="344" y="600"/>
                        </a:lnTo>
                        <a:lnTo>
                          <a:pt x="348" y="600"/>
                        </a:lnTo>
                        <a:lnTo>
                          <a:pt x="349" y="600"/>
                        </a:lnTo>
                        <a:lnTo>
                          <a:pt x="354" y="606"/>
                        </a:lnTo>
                        <a:lnTo>
                          <a:pt x="354" y="613"/>
                        </a:lnTo>
                        <a:lnTo>
                          <a:pt x="358" y="613"/>
                        </a:lnTo>
                        <a:lnTo>
                          <a:pt x="359" y="616"/>
                        </a:lnTo>
                        <a:lnTo>
                          <a:pt x="363" y="616"/>
                        </a:lnTo>
                        <a:lnTo>
                          <a:pt x="369" y="623"/>
                        </a:lnTo>
                        <a:lnTo>
                          <a:pt x="369" y="626"/>
                        </a:lnTo>
                        <a:lnTo>
                          <a:pt x="371" y="628"/>
                        </a:lnTo>
                        <a:lnTo>
                          <a:pt x="371" y="631"/>
                        </a:lnTo>
                        <a:lnTo>
                          <a:pt x="366" y="636"/>
                        </a:lnTo>
                        <a:lnTo>
                          <a:pt x="363" y="639"/>
                        </a:lnTo>
                        <a:lnTo>
                          <a:pt x="373" y="633"/>
                        </a:lnTo>
                        <a:lnTo>
                          <a:pt x="376" y="630"/>
                        </a:lnTo>
                        <a:lnTo>
                          <a:pt x="379" y="631"/>
                        </a:lnTo>
                        <a:lnTo>
                          <a:pt x="379" y="625"/>
                        </a:lnTo>
                        <a:lnTo>
                          <a:pt x="379" y="613"/>
                        </a:lnTo>
                        <a:lnTo>
                          <a:pt x="379" y="606"/>
                        </a:lnTo>
                        <a:lnTo>
                          <a:pt x="383" y="601"/>
                        </a:lnTo>
                        <a:lnTo>
                          <a:pt x="389" y="600"/>
                        </a:lnTo>
                        <a:lnTo>
                          <a:pt x="396" y="596"/>
                        </a:lnTo>
                        <a:lnTo>
                          <a:pt x="401" y="593"/>
                        </a:lnTo>
                        <a:lnTo>
                          <a:pt x="404" y="591"/>
                        </a:lnTo>
                        <a:lnTo>
                          <a:pt x="407" y="590"/>
                        </a:lnTo>
                        <a:lnTo>
                          <a:pt x="411" y="590"/>
                        </a:lnTo>
                        <a:lnTo>
                          <a:pt x="414" y="588"/>
                        </a:lnTo>
                        <a:lnTo>
                          <a:pt x="419" y="588"/>
                        </a:lnTo>
                        <a:lnTo>
                          <a:pt x="421" y="588"/>
                        </a:lnTo>
                        <a:lnTo>
                          <a:pt x="426" y="588"/>
                        </a:lnTo>
                        <a:lnTo>
                          <a:pt x="427" y="590"/>
                        </a:lnTo>
                        <a:lnTo>
                          <a:pt x="434" y="583"/>
                        </a:lnTo>
                        <a:lnTo>
                          <a:pt x="436" y="578"/>
                        </a:lnTo>
                        <a:lnTo>
                          <a:pt x="439" y="578"/>
                        </a:lnTo>
                        <a:lnTo>
                          <a:pt x="444" y="580"/>
                        </a:lnTo>
                        <a:lnTo>
                          <a:pt x="446" y="578"/>
                        </a:lnTo>
                        <a:lnTo>
                          <a:pt x="446" y="576"/>
                        </a:lnTo>
                        <a:lnTo>
                          <a:pt x="449" y="576"/>
                        </a:lnTo>
                        <a:lnTo>
                          <a:pt x="451" y="578"/>
                        </a:lnTo>
                        <a:lnTo>
                          <a:pt x="464" y="576"/>
                        </a:lnTo>
                        <a:lnTo>
                          <a:pt x="476" y="573"/>
                        </a:lnTo>
                        <a:lnTo>
                          <a:pt x="481" y="571"/>
                        </a:lnTo>
                        <a:lnTo>
                          <a:pt x="482" y="571"/>
                        </a:lnTo>
                        <a:lnTo>
                          <a:pt x="486" y="575"/>
                        </a:lnTo>
                        <a:lnTo>
                          <a:pt x="489" y="573"/>
                        </a:lnTo>
                        <a:lnTo>
                          <a:pt x="491" y="568"/>
                        </a:lnTo>
                        <a:lnTo>
                          <a:pt x="497" y="565"/>
                        </a:lnTo>
                        <a:lnTo>
                          <a:pt x="502" y="565"/>
                        </a:lnTo>
                        <a:lnTo>
                          <a:pt x="504" y="566"/>
                        </a:lnTo>
                        <a:lnTo>
                          <a:pt x="507" y="566"/>
                        </a:lnTo>
                        <a:lnTo>
                          <a:pt x="507" y="570"/>
                        </a:lnTo>
                        <a:lnTo>
                          <a:pt x="512" y="568"/>
                        </a:lnTo>
                        <a:lnTo>
                          <a:pt x="512" y="565"/>
                        </a:lnTo>
                        <a:lnTo>
                          <a:pt x="514" y="563"/>
                        </a:lnTo>
                        <a:lnTo>
                          <a:pt x="517" y="565"/>
                        </a:lnTo>
                        <a:lnTo>
                          <a:pt x="517" y="570"/>
                        </a:lnTo>
                        <a:lnTo>
                          <a:pt x="520" y="571"/>
                        </a:lnTo>
                        <a:lnTo>
                          <a:pt x="517" y="573"/>
                        </a:lnTo>
                        <a:lnTo>
                          <a:pt x="515" y="573"/>
                        </a:lnTo>
                        <a:lnTo>
                          <a:pt x="514" y="578"/>
                        </a:lnTo>
                        <a:lnTo>
                          <a:pt x="504" y="580"/>
                        </a:lnTo>
                        <a:lnTo>
                          <a:pt x="494" y="583"/>
                        </a:lnTo>
                        <a:lnTo>
                          <a:pt x="491" y="586"/>
                        </a:lnTo>
                        <a:lnTo>
                          <a:pt x="486" y="588"/>
                        </a:lnTo>
                        <a:lnTo>
                          <a:pt x="481" y="588"/>
                        </a:lnTo>
                        <a:lnTo>
                          <a:pt x="477" y="590"/>
                        </a:lnTo>
                        <a:lnTo>
                          <a:pt x="476" y="590"/>
                        </a:lnTo>
                        <a:lnTo>
                          <a:pt x="474" y="586"/>
                        </a:lnTo>
                        <a:lnTo>
                          <a:pt x="466" y="590"/>
                        </a:lnTo>
                        <a:lnTo>
                          <a:pt x="459" y="590"/>
                        </a:lnTo>
                        <a:lnTo>
                          <a:pt x="457" y="591"/>
                        </a:lnTo>
                        <a:lnTo>
                          <a:pt x="449" y="591"/>
                        </a:lnTo>
                        <a:lnTo>
                          <a:pt x="444" y="593"/>
                        </a:lnTo>
                        <a:lnTo>
                          <a:pt x="441" y="598"/>
                        </a:lnTo>
                        <a:lnTo>
                          <a:pt x="429" y="601"/>
                        </a:lnTo>
                        <a:lnTo>
                          <a:pt x="427" y="600"/>
                        </a:lnTo>
                        <a:lnTo>
                          <a:pt x="422" y="605"/>
                        </a:lnTo>
                        <a:lnTo>
                          <a:pt x="421" y="606"/>
                        </a:lnTo>
                        <a:lnTo>
                          <a:pt x="417" y="608"/>
                        </a:lnTo>
                        <a:lnTo>
                          <a:pt x="416" y="606"/>
                        </a:lnTo>
                        <a:lnTo>
                          <a:pt x="411" y="610"/>
                        </a:lnTo>
                        <a:lnTo>
                          <a:pt x="407" y="615"/>
                        </a:lnTo>
                        <a:lnTo>
                          <a:pt x="404" y="615"/>
                        </a:lnTo>
                        <a:lnTo>
                          <a:pt x="402" y="618"/>
                        </a:lnTo>
                        <a:lnTo>
                          <a:pt x="406" y="623"/>
                        </a:lnTo>
                        <a:lnTo>
                          <a:pt x="411" y="625"/>
                        </a:lnTo>
                        <a:lnTo>
                          <a:pt x="406" y="620"/>
                        </a:lnTo>
                        <a:lnTo>
                          <a:pt x="407" y="618"/>
                        </a:lnTo>
                        <a:lnTo>
                          <a:pt x="411" y="620"/>
                        </a:lnTo>
                        <a:lnTo>
                          <a:pt x="414" y="618"/>
                        </a:lnTo>
                        <a:lnTo>
                          <a:pt x="417" y="620"/>
                        </a:lnTo>
                        <a:lnTo>
                          <a:pt x="416" y="616"/>
                        </a:lnTo>
                        <a:lnTo>
                          <a:pt x="422" y="610"/>
                        </a:lnTo>
                        <a:lnTo>
                          <a:pt x="431" y="608"/>
                        </a:lnTo>
                        <a:lnTo>
                          <a:pt x="434" y="608"/>
                        </a:lnTo>
                        <a:lnTo>
                          <a:pt x="447" y="601"/>
                        </a:lnTo>
                        <a:lnTo>
                          <a:pt x="449" y="596"/>
                        </a:lnTo>
                        <a:lnTo>
                          <a:pt x="452" y="596"/>
                        </a:lnTo>
                        <a:lnTo>
                          <a:pt x="456" y="600"/>
                        </a:lnTo>
                        <a:lnTo>
                          <a:pt x="459" y="596"/>
                        </a:lnTo>
                        <a:lnTo>
                          <a:pt x="462" y="596"/>
                        </a:lnTo>
                        <a:lnTo>
                          <a:pt x="462" y="598"/>
                        </a:lnTo>
                        <a:lnTo>
                          <a:pt x="471" y="595"/>
                        </a:lnTo>
                        <a:lnTo>
                          <a:pt x="472" y="596"/>
                        </a:lnTo>
                        <a:lnTo>
                          <a:pt x="466" y="603"/>
                        </a:lnTo>
                        <a:lnTo>
                          <a:pt x="467" y="606"/>
                        </a:lnTo>
                        <a:lnTo>
                          <a:pt x="472" y="600"/>
                        </a:lnTo>
                        <a:lnTo>
                          <a:pt x="479" y="598"/>
                        </a:lnTo>
                        <a:lnTo>
                          <a:pt x="494" y="588"/>
                        </a:lnTo>
                        <a:lnTo>
                          <a:pt x="500" y="588"/>
                        </a:lnTo>
                        <a:lnTo>
                          <a:pt x="507" y="585"/>
                        </a:lnTo>
                        <a:lnTo>
                          <a:pt x="515" y="585"/>
                        </a:lnTo>
                        <a:lnTo>
                          <a:pt x="519" y="583"/>
                        </a:lnTo>
                        <a:lnTo>
                          <a:pt x="524" y="583"/>
                        </a:lnTo>
                        <a:lnTo>
                          <a:pt x="522" y="586"/>
                        </a:lnTo>
                        <a:lnTo>
                          <a:pt x="515" y="590"/>
                        </a:lnTo>
                        <a:lnTo>
                          <a:pt x="515" y="593"/>
                        </a:lnTo>
                        <a:lnTo>
                          <a:pt x="520" y="595"/>
                        </a:lnTo>
                        <a:lnTo>
                          <a:pt x="525" y="590"/>
                        </a:lnTo>
                        <a:lnTo>
                          <a:pt x="537" y="585"/>
                        </a:lnTo>
                        <a:lnTo>
                          <a:pt x="539" y="585"/>
                        </a:lnTo>
                        <a:lnTo>
                          <a:pt x="539" y="581"/>
                        </a:lnTo>
                        <a:lnTo>
                          <a:pt x="544" y="578"/>
                        </a:lnTo>
                        <a:lnTo>
                          <a:pt x="547" y="580"/>
                        </a:lnTo>
                        <a:lnTo>
                          <a:pt x="547" y="576"/>
                        </a:lnTo>
                        <a:lnTo>
                          <a:pt x="549" y="575"/>
                        </a:lnTo>
                        <a:lnTo>
                          <a:pt x="552" y="576"/>
                        </a:lnTo>
                        <a:lnTo>
                          <a:pt x="555" y="578"/>
                        </a:lnTo>
                        <a:lnTo>
                          <a:pt x="557" y="571"/>
                        </a:lnTo>
                        <a:lnTo>
                          <a:pt x="555" y="566"/>
                        </a:lnTo>
                        <a:lnTo>
                          <a:pt x="557" y="565"/>
                        </a:lnTo>
                        <a:lnTo>
                          <a:pt x="555" y="561"/>
                        </a:lnTo>
                        <a:lnTo>
                          <a:pt x="559" y="555"/>
                        </a:lnTo>
                        <a:lnTo>
                          <a:pt x="565" y="553"/>
                        </a:lnTo>
                        <a:lnTo>
                          <a:pt x="565" y="558"/>
                        </a:lnTo>
                        <a:lnTo>
                          <a:pt x="567" y="575"/>
                        </a:lnTo>
                        <a:lnTo>
                          <a:pt x="564" y="580"/>
                        </a:lnTo>
                        <a:lnTo>
                          <a:pt x="565" y="593"/>
                        </a:lnTo>
                        <a:lnTo>
                          <a:pt x="560" y="601"/>
                        </a:lnTo>
                        <a:lnTo>
                          <a:pt x="560" y="621"/>
                        </a:lnTo>
                        <a:lnTo>
                          <a:pt x="562" y="626"/>
                        </a:lnTo>
                        <a:lnTo>
                          <a:pt x="569" y="628"/>
                        </a:lnTo>
                        <a:lnTo>
                          <a:pt x="572" y="635"/>
                        </a:lnTo>
                        <a:lnTo>
                          <a:pt x="579" y="631"/>
                        </a:lnTo>
                        <a:lnTo>
                          <a:pt x="577" y="628"/>
                        </a:lnTo>
                        <a:lnTo>
                          <a:pt x="572" y="628"/>
                        </a:lnTo>
                        <a:lnTo>
                          <a:pt x="570" y="625"/>
                        </a:lnTo>
                        <a:lnTo>
                          <a:pt x="575" y="623"/>
                        </a:lnTo>
                        <a:lnTo>
                          <a:pt x="580" y="625"/>
                        </a:lnTo>
                        <a:lnTo>
                          <a:pt x="580" y="620"/>
                        </a:lnTo>
                        <a:lnTo>
                          <a:pt x="579" y="618"/>
                        </a:lnTo>
                        <a:lnTo>
                          <a:pt x="584" y="615"/>
                        </a:lnTo>
                        <a:lnTo>
                          <a:pt x="589" y="615"/>
                        </a:lnTo>
                        <a:lnTo>
                          <a:pt x="590" y="618"/>
                        </a:lnTo>
                        <a:lnTo>
                          <a:pt x="593" y="615"/>
                        </a:lnTo>
                        <a:lnTo>
                          <a:pt x="589" y="606"/>
                        </a:lnTo>
                        <a:lnTo>
                          <a:pt x="593" y="608"/>
                        </a:lnTo>
                        <a:lnTo>
                          <a:pt x="602" y="603"/>
                        </a:lnTo>
                        <a:lnTo>
                          <a:pt x="602" y="598"/>
                        </a:lnTo>
                        <a:lnTo>
                          <a:pt x="608" y="598"/>
                        </a:lnTo>
                        <a:lnTo>
                          <a:pt x="608" y="603"/>
                        </a:lnTo>
                        <a:lnTo>
                          <a:pt x="608" y="606"/>
                        </a:lnTo>
                        <a:lnTo>
                          <a:pt x="605" y="610"/>
                        </a:lnTo>
                        <a:lnTo>
                          <a:pt x="605" y="611"/>
                        </a:lnTo>
                        <a:lnTo>
                          <a:pt x="600" y="616"/>
                        </a:lnTo>
                        <a:lnTo>
                          <a:pt x="600" y="618"/>
                        </a:lnTo>
                        <a:lnTo>
                          <a:pt x="602" y="620"/>
                        </a:lnTo>
                        <a:lnTo>
                          <a:pt x="605" y="620"/>
                        </a:lnTo>
                        <a:lnTo>
                          <a:pt x="607" y="621"/>
                        </a:lnTo>
                        <a:lnTo>
                          <a:pt x="605" y="623"/>
                        </a:lnTo>
                        <a:lnTo>
                          <a:pt x="602" y="625"/>
                        </a:lnTo>
                        <a:lnTo>
                          <a:pt x="597" y="628"/>
                        </a:lnTo>
                        <a:lnTo>
                          <a:pt x="595" y="628"/>
                        </a:lnTo>
                        <a:lnTo>
                          <a:pt x="593" y="630"/>
                        </a:lnTo>
                        <a:lnTo>
                          <a:pt x="589" y="635"/>
                        </a:lnTo>
                        <a:lnTo>
                          <a:pt x="592" y="636"/>
                        </a:lnTo>
                        <a:lnTo>
                          <a:pt x="598" y="638"/>
                        </a:lnTo>
                        <a:lnTo>
                          <a:pt x="603" y="641"/>
                        </a:lnTo>
                        <a:lnTo>
                          <a:pt x="607" y="639"/>
                        </a:lnTo>
                        <a:lnTo>
                          <a:pt x="612" y="636"/>
                        </a:lnTo>
                        <a:lnTo>
                          <a:pt x="617" y="636"/>
                        </a:lnTo>
                        <a:lnTo>
                          <a:pt x="622" y="628"/>
                        </a:lnTo>
                        <a:lnTo>
                          <a:pt x="627" y="623"/>
                        </a:lnTo>
                        <a:lnTo>
                          <a:pt x="632" y="621"/>
                        </a:lnTo>
                        <a:lnTo>
                          <a:pt x="635" y="625"/>
                        </a:lnTo>
                        <a:lnTo>
                          <a:pt x="640" y="625"/>
                        </a:lnTo>
                        <a:lnTo>
                          <a:pt x="643" y="628"/>
                        </a:lnTo>
                        <a:lnTo>
                          <a:pt x="648" y="628"/>
                        </a:lnTo>
                        <a:lnTo>
                          <a:pt x="655" y="631"/>
                        </a:lnTo>
                        <a:lnTo>
                          <a:pt x="658" y="631"/>
                        </a:lnTo>
                        <a:lnTo>
                          <a:pt x="658" y="636"/>
                        </a:lnTo>
                        <a:lnTo>
                          <a:pt x="663" y="646"/>
                        </a:lnTo>
                        <a:lnTo>
                          <a:pt x="663" y="651"/>
                        </a:lnTo>
                        <a:lnTo>
                          <a:pt x="668" y="659"/>
                        </a:lnTo>
                        <a:lnTo>
                          <a:pt x="688" y="671"/>
                        </a:lnTo>
                        <a:lnTo>
                          <a:pt x="690" y="674"/>
                        </a:lnTo>
                        <a:lnTo>
                          <a:pt x="696" y="678"/>
                        </a:lnTo>
                        <a:lnTo>
                          <a:pt x="703" y="684"/>
                        </a:lnTo>
                        <a:lnTo>
                          <a:pt x="705" y="684"/>
                        </a:lnTo>
                        <a:lnTo>
                          <a:pt x="710" y="688"/>
                        </a:lnTo>
                        <a:lnTo>
                          <a:pt x="711" y="691"/>
                        </a:lnTo>
                        <a:lnTo>
                          <a:pt x="715" y="693"/>
                        </a:lnTo>
                        <a:lnTo>
                          <a:pt x="718" y="691"/>
                        </a:lnTo>
                        <a:lnTo>
                          <a:pt x="720" y="694"/>
                        </a:lnTo>
                        <a:lnTo>
                          <a:pt x="726" y="698"/>
                        </a:lnTo>
                        <a:lnTo>
                          <a:pt x="730" y="698"/>
                        </a:lnTo>
                        <a:lnTo>
                          <a:pt x="730" y="703"/>
                        </a:lnTo>
                        <a:lnTo>
                          <a:pt x="733" y="706"/>
                        </a:lnTo>
                        <a:lnTo>
                          <a:pt x="735" y="703"/>
                        </a:lnTo>
                        <a:lnTo>
                          <a:pt x="733" y="699"/>
                        </a:lnTo>
                        <a:lnTo>
                          <a:pt x="735" y="698"/>
                        </a:lnTo>
                        <a:lnTo>
                          <a:pt x="730" y="694"/>
                        </a:lnTo>
                        <a:lnTo>
                          <a:pt x="730" y="691"/>
                        </a:lnTo>
                        <a:lnTo>
                          <a:pt x="736" y="694"/>
                        </a:lnTo>
                        <a:lnTo>
                          <a:pt x="738" y="698"/>
                        </a:lnTo>
                        <a:lnTo>
                          <a:pt x="741" y="698"/>
                        </a:lnTo>
                        <a:lnTo>
                          <a:pt x="741" y="694"/>
                        </a:lnTo>
                        <a:lnTo>
                          <a:pt x="745" y="694"/>
                        </a:lnTo>
                        <a:lnTo>
                          <a:pt x="750" y="699"/>
                        </a:lnTo>
                        <a:lnTo>
                          <a:pt x="751" y="703"/>
                        </a:lnTo>
                        <a:lnTo>
                          <a:pt x="755" y="704"/>
                        </a:lnTo>
                        <a:lnTo>
                          <a:pt x="758" y="709"/>
                        </a:lnTo>
                        <a:lnTo>
                          <a:pt x="760" y="713"/>
                        </a:lnTo>
                        <a:lnTo>
                          <a:pt x="760" y="719"/>
                        </a:lnTo>
                        <a:lnTo>
                          <a:pt x="763" y="724"/>
                        </a:lnTo>
                        <a:lnTo>
                          <a:pt x="760" y="728"/>
                        </a:lnTo>
                        <a:lnTo>
                          <a:pt x="760" y="733"/>
                        </a:lnTo>
                        <a:lnTo>
                          <a:pt x="755" y="737"/>
                        </a:lnTo>
                        <a:lnTo>
                          <a:pt x="745" y="734"/>
                        </a:lnTo>
                        <a:lnTo>
                          <a:pt x="738" y="733"/>
                        </a:lnTo>
                        <a:lnTo>
                          <a:pt x="738" y="736"/>
                        </a:lnTo>
                        <a:lnTo>
                          <a:pt x="736" y="736"/>
                        </a:lnTo>
                        <a:lnTo>
                          <a:pt x="731" y="734"/>
                        </a:lnTo>
                        <a:lnTo>
                          <a:pt x="726" y="734"/>
                        </a:lnTo>
                        <a:lnTo>
                          <a:pt x="728" y="737"/>
                        </a:lnTo>
                        <a:lnTo>
                          <a:pt x="723" y="739"/>
                        </a:lnTo>
                        <a:lnTo>
                          <a:pt x="723" y="744"/>
                        </a:lnTo>
                        <a:lnTo>
                          <a:pt x="718" y="744"/>
                        </a:lnTo>
                        <a:lnTo>
                          <a:pt x="713" y="746"/>
                        </a:lnTo>
                        <a:lnTo>
                          <a:pt x="716" y="747"/>
                        </a:lnTo>
                        <a:lnTo>
                          <a:pt x="720" y="749"/>
                        </a:lnTo>
                        <a:lnTo>
                          <a:pt x="721" y="754"/>
                        </a:lnTo>
                        <a:lnTo>
                          <a:pt x="726" y="757"/>
                        </a:lnTo>
                        <a:lnTo>
                          <a:pt x="728" y="756"/>
                        </a:lnTo>
                        <a:lnTo>
                          <a:pt x="735" y="759"/>
                        </a:lnTo>
                        <a:lnTo>
                          <a:pt x="735" y="764"/>
                        </a:lnTo>
                        <a:lnTo>
                          <a:pt x="741" y="764"/>
                        </a:lnTo>
                        <a:lnTo>
                          <a:pt x="748" y="767"/>
                        </a:lnTo>
                        <a:lnTo>
                          <a:pt x="756" y="767"/>
                        </a:lnTo>
                        <a:lnTo>
                          <a:pt x="766" y="772"/>
                        </a:lnTo>
                        <a:lnTo>
                          <a:pt x="773" y="772"/>
                        </a:lnTo>
                        <a:lnTo>
                          <a:pt x="773" y="771"/>
                        </a:lnTo>
                        <a:lnTo>
                          <a:pt x="776" y="771"/>
                        </a:lnTo>
                        <a:lnTo>
                          <a:pt x="780" y="772"/>
                        </a:lnTo>
                        <a:lnTo>
                          <a:pt x="780" y="776"/>
                        </a:lnTo>
                        <a:lnTo>
                          <a:pt x="786" y="771"/>
                        </a:lnTo>
                        <a:lnTo>
                          <a:pt x="790" y="772"/>
                        </a:lnTo>
                        <a:lnTo>
                          <a:pt x="791" y="772"/>
                        </a:lnTo>
                        <a:lnTo>
                          <a:pt x="794" y="769"/>
                        </a:lnTo>
                        <a:lnTo>
                          <a:pt x="798" y="769"/>
                        </a:lnTo>
                        <a:lnTo>
                          <a:pt x="798" y="771"/>
                        </a:lnTo>
                        <a:lnTo>
                          <a:pt x="799" y="772"/>
                        </a:lnTo>
                        <a:lnTo>
                          <a:pt x="808" y="769"/>
                        </a:lnTo>
                        <a:lnTo>
                          <a:pt x="821" y="764"/>
                        </a:lnTo>
                        <a:lnTo>
                          <a:pt x="824" y="764"/>
                        </a:lnTo>
                        <a:lnTo>
                          <a:pt x="824" y="767"/>
                        </a:lnTo>
                        <a:lnTo>
                          <a:pt x="823" y="771"/>
                        </a:lnTo>
                        <a:lnTo>
                          <a:pt x="823" y="771"/>
                        </a:lnTo>
                        <a:lnTo>
                          <a:pt x="826" y="772"/>
                        </a:lnTo>
                        <a:lnTo>
                          <a:pt x="826" y="776"/>
                        </a:lnTo>
                        <a:lnTo>
                          <a:pt x="824" y="779"/>
                        </a:lnTo>
                        <a:lnTo>
                          <a:pt x="826" y="782"/>
                        </a:lnTo>
                        <a:lnTo>
                          <a:pt x="828" y="782"/>
                        </a:lnTo>
                        <a:lnTo>
                          <a:pt x="831" y="781"/>
                        </a:lnTo>
                        <a:lnTo>
                          <a:pt x="834" y="782"/>
                        </a:lnTo>
                        <a:lnTo>
                          <a:pt x="833" y="786"/>
                        </a:lnTo>
                        <a:lnTo>
                          <a:pt x="829" y="794"/>
                        </a:lnTo>
                        <a:lnTo>
                          <a:pt x="831" y="797"/>
                        </a:lnTo>
                        <a:lnTo>
                          <a:pt x="833" y="799"/>
                        </a:lnTo>
                        <a:lnTo>
                          <a:pt x="836" y="796"/>
                        </a:lnTo>
                        <a:lnTo>
                          <a:pt x="836" y="791"/>
                        </a:lnTo>
                        <a:lnTo>
                          <a:pt x="838" y="787"/>
                        </a:lnTo>
                        <a:lnTo>
                          <a:pt x="839" y="787"/>
                        </a:lnTo>
                        <a:lnTo>
                          <a:pt x="839" y="794"/>
                        </a:lnTo>
                        <a:lnTo>
                          <a:pt x="836" y="801"/>
                        </a:lnTo>
                        <a:lnTo>
                          <a:pt x="833" y="806"/>
                        </a:lnTo>
                        <a:lnTo>
                          <a:pt x="833" y="812"/>
                        </a:lnTo>
                        <a:lnTo>
                          <a:pt x="836" y="817"/>
                        </a:lnTo>
                        <a:lnTo>
                          <a:pt x="836" y="826"/>
                        </a:lnTo>
                        <a:lnTo>
                          <a:pt x="834" y="831"/>
                        </a:lnTo>
                        <a:lnTo>
                          <a:pt x="839" y="834"/>
                        </a:lnTo>
                        <a:lnTo>
                          <a:pt x="839" y="837"/>
                        </a:lnTo>
                        <a:lnTo>
                          <a:pt x="836" y="840"/>
                        </a:lnTo>
                        <a:lnTo>
                          <a:pt x="839" y="842"/>
                        </a:lnTo>
                        <a:lnTo>
                          <a:pt x="841" y="849"/>
                        </a:lnTo>
                        <a:lnTo>
                          <a:pt x="843" y="862"/>
                        </a:lnTo>
                        <a:lnTo>
                          <a:pt x="843" y="849"/>
                        </a:lnTo>
                        <a:lnTo>
                          <a:pt x="839" y="839"/>
                        </a:lnTo>
                        <a:lnTo>
                          <a:pt x="841" y="829"/>
                        </a:lnTo>
                        <a:lnTo>
                          <a:pt x="848" y="819"/>
                        </a:lnTo>
                        <a:lnTo>
                          <a:pt x="851" y="821"/>
                        </a:lnTo>
                        <a:lnTo>
                          <a:pt x="851" y="824"/>
                        </a:lnTo>
                        <a:lnTo>
                          <a:pt x="849" y="824"/>
                        </a:lnTo>
                        <a:lnTo>
                          <a:pt x="848" y="827"/>
                        </a:lnTo>
                        <a:lnTo>
                          <a:pt x="849" y="829"/>
                        </a:lnTo>
                        <a:lnTo>
                          <a:pt x="853" y="827"/>
                        </a:lnTo>
                        <a:lnTo>
                          <a:pt x="854" y="829"/>
                        </a:lnTo>
                        <a:lnTo>
                          <a:pt x="856" y="827"/>
                        </a:lnTo>
                        <a:lnTo>
                          <a:pt x="856" y="822"/>
                        </a:lnTo>
                        <a:lnTo>
                          <a:pt x="853" y="819"/>
                        </a:lnTo>
                        <a:lnTo>
                          <a:pt x="853" y="816"/>
                        </a:lnTo>
                        <a:lnTo>
                          <a:pt x="858" y="816"/>
                        </a:lnTo>
                        <a:lnTo>
                          <a:pt x="859" y="812"/>
                        </a:lnTo>
                        <a:lnTo>
                          <a:pt x="854" y="809"/>
                        </a:lnTo>
                        <a:lnTo>
                          <a:pt x="854" y="806"/>
                        </a:lnTo>
                        <a:lnTo>
                          <a:pt x="858" y="799"/>
                        </a:lnTo>
                        <a:lnTo>
                          <a:pt x="861" y="787"/>
                        </a:lnTo>
                        <a:lnTo>
                          <a:pt x="861" y="784"/>
                        </a:lnTo>
                        <a:lnTo>
                          <a:pt x="861" y="781"/>
                        </a:lnTo>
                        <a:lnTo>
                          <a:pt x="863" y="777"/>
                        </a:lnTo>
                        <a:lnTo>
                          <a:pt x="871" y="777"/>
                        </a:lnTo>
                        <a:lnTo>
                          <a:pt x="871" y="776"/>
                        </a:lnTo>
                        <a:lnTo>
                          <a:pt x="873" y="774"/>
                        </a:lnTo>
                        <a:lnTo>
                          <a:pt x="876" y="772"/>
                        </a:lnTo>
                        <a:lnTo>
                          <a:pt x="878" y="776"/>
                        </a:lnTo>
                        <a:lnTo>
                          <a:pt x="881" y="774"/>
                        </a:lnTo>
                        <a:lnTo>
                          <a:pt x="884" y="771"/>
                        </a:lnTo>
                        <a:lnTo>
                          <a:pt x="888" y="769"/>
                        </a:lnTo>
                        <a:lnTo>
                          <a:pt x="888" y="772"/>
                        </a:lnTo>
                        <a:lnTo>
                          <a:pt x="889" y="772"/>
                        </a:lnTo>
                        <a:lnTo>
                          <a:pt x="894" y="771"/>
                        </a:lnTo>
                        <a:lnTo>
                          <a:pt x="897" y="767"/>
                        </a:lnTo>
                        <a:lnTo>
                          <a:pt x="899" y="767"/>
                        </a:lnTo>
                        <a:lnTo>
                          <a:pt x="901" y="771"/>
                        </a:lnTo>
                        <a:lnTo>
                          <a:pt x="904" y="771"/>
                        </a:lnTo>
                        <a:lnTo>
                          <a:pt x="904" y="776"/>
                        </a:lnTo>
                        <a:lnTo>
                          <a:pt x="904" y="771"/>
                        </a:lnTo>
                        <a:lnTo>
                          <a:pt x="902" y="766"/>
                        </a:lnTo>
                        <a:lnTo>
                          <a:pt x="907" y="759"/>
                        </a:lnTo>
                        <a:lnTo>
                          <a:pt x="911" y="759"/>
                        </a:lnTo>
                        <a:lnTo>
                          <a:pt x="912" y="761"/>
                        </a:lnTo>
                        <a:lnTo>
                          <a:pt x="916" y="761"/>
                        </a:lnTo>
                        <a:lnTo>
                          <a:pt x="919" y="759"/>
                        </a:lnTo>
                        <a:lnTo>
                          <a:pt x="922" y="761"/>
                        </a:lnTo>
                        <a:lnTo>
                          <a:pt x="927" y="756"/>
                        </a:lnTo>
                        <a:lnTo>
                          <a:pt x="926" y="752"/>
                        </a:lnTo>
                        <a:lnTo>
                          <a:pt x="929" y="749"/>
                        </a:lnTo>
                        <a:lnTo>
                          <a:pt x="924" y="749"/>
                        </a:lnTo>
                        <a:lnTo>
                          <a:pt x="924" y="747"/>
                        </a:lnTo>
                        <a:lnTo>
                          <a:pt x="921" y="747"/>
                        </a:lnTo>
                        <a:lnTo>
                          <a:pt x="911" y="751"/>
                        </a:lnTo>
                        <a:lnTo>
                          <a:pt x="907" y="751"/>
                        </a:lnTo>
                        <a:lnTo>
                          <a:pt x="906" y="754"/>
                        </a:lnTo>
                        <a:lnTo>
                          <a:pt x="902" y="754"/>
                        </a:lnTo>
                        <a:lnTo>
                          <a:pt x="902" y="757"/>
                        </a:lnTo>
                        <a:lnTo>
                          <a:pt x="901" y="759"/>
                        </a:lnTo>
                        <a:lnTo>
                          <a:pt x="897" y="754"/>
                        </a:lnTo>
                        <a:lnTo>
                          <a:pt x="897" y="751"/>
                        </a:lnTo>
                        <a:lnTo>
                          <a:pt x="894" y="754"/>
                        </a:lnTo>
                        <a:lnTo>
                          <a:pt x="894" y="757"/>
                        </a:lnTo>
                        <a:lnTo>
                          <a:pt x="891" y="759"/>
                        </a:lnTo>
                        <a:lnTo>
                          <a:pt x="886" y="756"/>
                        </a:lnTo>
                        <a:lnTo>
                          <a:pt x="883" y="756"/>
                        </a:lnTo>
                        <a:lnTo>
                          <a:pt x="881" y="754"/>
                        </a:lnTo>
                        <a:lnTo>
                          <a:pt x="879" y="754"/>
                        </a:lnTo>
                        <a:lnTo>
                          <a:pt x="878" y="757"/>
                        </a:lnTo>
                        <a:lnTo>
                          <a:pt x="881" y="761"/>
                        </a:lnTo>
                        <a:lnTo>
                          <a:pt x="881" y="762"/>
                        </a:lnTo>
                        <a:lnTo>
                          <a:pt x="876" y="764"/>
                        </a:lnTo>
                        <a:lnTo>
                          <a:pt x="874" y="762"/>
                        </a:lnTo>
                        <a:lnTo>
                          <a:pt x="868" y="761"/>
                        </a:lnTo>
                        <a:lnTo>
                          <a:pt x="868" y="759"/>
                        </a:lnTo>
                        <a:lnTo>
                          <a:pt x="871" y="756"/>
                        </a:lnTo>
                        <a:lnTo>
                          <a:pt x="873" y="752"/>
                        </a:lnTo>
                        <a:lnTo>
                          <a:pt x="869" y="752"/>
                        </a:lnTo>
                        <a:lnTo>
                          <a:pt x="868" y="754"/>
                        </a:lnTo>
                        <a:lnTo>
                          <a:pt x="863" y="752"/>
                        </a:lnTo>
                        <a:lnTo>
                          <a:pt x="866" y="749"/>
                        </a:lnTo>
                        <a:lnTo>
                          <a:pt x="869" y="746"/>
                        </a:lnTo>
                        <a:lnTo>
                          <a:pt x="876" y="739"/>
                        </a:lnTo>
                        <a:lnTo>
                          <a:pt x="881" y="739"/>
                        </a:lnTo>
                        <a:lnTo>
                          <a:pt x="886" y="739"/>
                        </a:lnTo>
                        <a:lnTo>
                          <a:pt x="902" y="739"/>
                        </a:lnTo>
                        <a:lnTo>
                          <a:pt x="916" y="736"/>
                        </a:lnTo>
                        <a:lnTo>
                          <a:pt x="919" y="736"/>
                        </a:lnTo>
                        <a:lnTo>
                          <a:pt x="924" y="734"/>
                        </a:lnTo>
                        <a:lnTo>
                          <a:pt x="927" y="737"/>
                        </a:lnTo>
                        <a:lnTo>
                          <a:pt x="931" y="739"/>
                        </a:lnTo>
                        <a:lnTo>
                          <a:pt x="932" y="741"/>
                        </a:lnTo>
                        <a:lnTo>
                          <a:pt x="934" y="744"/>
                        </a:lnTo>
                        <a:lnTo>
                          <a:pt x="932" y="752"/>
                        </a:lnTo>
                        <a:lnTo>
                          <a:pt x="932" y="756"/>
                        </a:lnTo>
                        <a:lnTo>
                          <a:pt x="934" y="756"/>
                        </a:lnTo>
                        <a:lnTo>
                          <a:pt x="934" y="757"/>
                        </a:lnTo>
                        <a:lnTo>
                          <a:pt x="929" y="761"/>
                        </a:lnTo>
                        <a:lnTo>
                          <a:pt x="931" y="762"/>
                        </a:lnTo>
                        <a:lnTo>
                          <a:pt x="932" y="764"/>
                        </a:lnTo>
                        <a:lnTo>
                          <a:pt x="932" y="772"/>
                        </a:lnTo>
                        <a:lnTo>
                          <a:pt x="936" y="772"/>
                        </a:lnTo>
                        <a:lnTo>
                          <a:pt x="939" y="774"/>
                        </a:lnTo>
                        <a:lnTo>
                          <a:pt x="939" y="776"/>
                        </a:lnTo>
                        <a:lnTo>
                          <a:pt x="936" y="777"/>
                        </a:lnTo>
                        <a:lnTo>
                          <a:pt x="936" y="781"/>
                        </a:lnTo>
                        <a:lnTo>
                          <a:pt x="934" y="784"/>
                        </a:lnTo>
                        <a:lnTo>
                          <a:pt x="937" y="784"/>
                        </a:lnTo>
                        <a:lnTo>
                          <a:pt x="942" y="786"/>
                        </a:lnTo>
                        <a:lnTo>
                          <a:pt x="944" y="787"/>
                        </a:lnTo>
                        <a:lnTo>
                          <a:pt x="946" y="787"/>
                        </a:lnTo>
                        <a:lnTo>
                          <a:pt x="949" y="791"/>
                        </a:lnTo>
                        <a:lnTo>
                          <a:pt x="954" y="791"/>
                        </a:lnTo>
                        <a:lnTo>
                          <a:pt x="957" y="787"/>
                        </a:lnTo>
                        <a:lnTo>
                          <a:pt x="959" y="789"/>
                        </a:lnTo>
                        <a:lnTo>
                          <a:pt x="959" y="792"/>
                        </a:lnTo>
                        <a:lnTo>
                          <a:pt x="961" y="794"/>
                        </a:lnTo>
                        <a:lnTo>
                          <a:pt x="962" y="792"/>
                        </a:lnTo>
                        <a:lnTo>
                          <a:pt x="966" y="796"/>
                        </a:lnTo>
                        <a:lnTo>
                          <a:pt x="964" y="797"/>
                        </a:lnTo>
                        <a:lnTo>
                          <a:pt x="964" y="801"/>
                        </a:lnTo>
                        <a:lnTo>
                          <a:pt x="966" y="801"/>
                        </a:lnTo>
                        <a:lnTo>
                          <a:pt x="967" y="804"/>
                        </a:lnTo>
                        <a:lnTo>
                          <a:pt x="974" y="809"/>
                        </a:lnTo>
                        <a:lnTo>
                          <a:pt x="974" y="812"/>
                        </a:lnTo>
                        <a:lnTo>
                          <a:pt x="979" y="809"/>
                        </a:lnTo>
                        <a:lnTo>
                          <a:pt x="981" y="811"/>
                        </a:lnTo>
                        <a:lnTo>
                          <a:pt x="981" y="814"/>
                        </a:lnTo>
                        <a:lnTo>
                          <a:pt x="982" y="814"/>
                        </a:lnTo>
                        <a:lnTo>
                          <a:pt x="987" y="819"/>
                        </a:lnTo>
                        <a:lnTo>
                          <a:pt x="992" y="816"/>
                        </a:lnTo>
                        <a:lnTo>
                          <a:pt x="1000" y="816"/>
                        </a:lnTo>
                        <a:lnTo>
                          <a:pt x="1004" y="812"/>
                        </a:lnTo>
                        <a:lnTo>
                          <a:pt x="1010" y="809"/>
                        </a:lnTo>
                        <a:lnTo>
                          <a:pt x="1010" y="809"/>
                        </a:lnTo>
                        <a:lnTo>
                          <a:pt x="1012" y="812"/>
                        </a:lnTo>
                        <a:lnTo>
                          <a:pt x="1022" y="812"/>
                        </a:lnTo>
                        <a:lnTo>
                          <a:pt x="1030" y="817"/>
                        </a:lnTo>
                        <a:lnTo>
                          <a:pt x="1034" y="817"/>
                        </a:lnTo>
                        <a:lnTo>
                          <a:pt x="1037" y="821"/>
                        </a:lnTo>
                        <a:lnTo>
                          <a:pt x="1039" y="819"/>
                        </a:lnTo>
                        <a:lnTo>
                          <a:pt x="1049" y="817"/>
                        </a:lnTo>
                        <a:lnTo>
                          <a:pt x="1052" y="822"/>
                        </a:lnTo>
                        <a:lnTo>
                          <a:pt x="1054" y="821"/>
                        </a:lnTo>
                        <a:lnTo>
                          <a:pt x="1054" y="816"/>
                        </a:lnTo>
                        <a:lnTo>
                          <a:pt x="1049" y="812"/>
                        </a:lnTo>
                        <a:lnTo>
                          <a:pt x="1049" y="806"/>
                        </a:lnTo>
                        <a:lnTo>
                          <a:pt x="1050" y="804"/>
                        </a:lnTo>
                        <a:lnTo>
                          <a:pt x="1052" y="804"/>
                        </a:lnTo>
                        <a:lnTo>
                          <a:pt x="1055" y="812"/>
                        </a:lnTo>
                        <a:lnTo>
                          <a:pt x="1057" y="817"/>
                        </a:lnTo>
                        <a:lnTo>
                          <a:pt x="1064" y="824"/>
                        </a:lnTo>
                        <a:lnTo>
                          <a:pt x="1067" y="827"/>
                        </a:lnTo>
                        <a:lnTo>
                          <a:pt x="1069" y="832"/>
                        </a:lnTo>
                        <a:lnTo>
                          <a:pt x="1069" y="822"/>
                        </a:lnTo>
                        <a:lnTo>
                          <a:pt x="1065" y="819"/>
                        </a:lnTo>
                        <a:lnTo>
                          <a:pt x="1059" y="817"/>
                        </a:lnTo>
                        <a:lnTo>
                          <a:pt x="1057" y="811"/>
                        </a:lnTo>
                        <a:lnTo>
                          <a:pt x="1055" y="802"/>
                        </a:lnTo>
                        <a:lnTo>
                          <a:pt x="1057" y="799"/>
                        </a:lnTo>
                        <a:lnTo>
                          <a:pt x="1059" y="799"/>
                        </a:lnTo>
                        <a:lnTo>
                          <a:pt x="1059" y="802"/>
                        </a:lnTo>
                        <a:lnTo>
                          <a:pt x="1060" y="804"/>
                        </a:lnTo>
                        <a:lnTo>
                          <a:pt x="1064" y="802"/>
                        </a:lnTo>
                        <a:lnTo>
                          <a:pt x="1064" y="799"/>
                        </a:lnTo>
                        <a:lnTo>
                          <a:pt x="1060" y="796"/>
                        </a:lnTo>
                        <a:lnTo>
                          <a:pt x="1062" y="794"/>
                        </a:lnTo>
                        <a:lnTo>
                          <a:pt x="1062" y="791"/>
                        </a:lnTo>
                        <a:lnTo>
                          <a:pt x="1062" y="789"/>
                        </a:lnTo>
                        <a:lnTo>
                          <a:pt x="1065" y="789"/>
                        </a:lnTo>
                        <a:lnTo>
                          <a:pt x="1069" y="792"/>
                        </a:lnTo>
                        <a:lnTo>
                          <a:pt x="1069" y="794"/>
                        </a:lnTo>
                        <a:lnTo>
                          <a:pt x="1070" y="796"/>
                        </a:lnTo>
                        <a:lnTo>
                          <a:pt x="1070" y="794"/>
                        </a:lnTo>
                        <a:lnTo>
                          <a:pt x="1075" y="791"/>
                        </a:lnTo>
                        <a:lnTo>
                          <a:pt x="1079" y="787"/>
                        </a:lnTo>
                        <a:lnTo>
                          <a:pt x="1082" y="787"/>
                        </a:lnTo>
                        <a:lnTo>
                          <a:pt x="1084" y="791"/>
                        </a:lnTo>
                        <a:lnTo>
                          <a:pt x="1082" y="792"/>
                        </a:lnTo>
                        <a:lnTo>
                          <a:pt x="1082" y="796"/>
                        </a:lnTo>
                        <a:lnTo>
                          <a:pt x="1084" y="792"/>
                        </a:lnTo>
                        <a:lnTo>
                          <a:pt x="1087" y="792"/>
                        </a:lnTo>
                        <a:lnTo>
                          <a:pt x="1090" y="796"/>
                        </a:lnTo>
                        <a:lnTo>
                          <a:pt x="1088" y="801"/>
                        </a:lnTo>
                        <a:lnTo>
                          <a:pt x="1088" y="802"/>
                        </a:lnTo>
                        <a:lnTo>
                          <a:pt x="1090" y="806"/>
                        </a:lnTo>
                        <a:lnTo>
                          <a:pt x="1093" y="806"/>
                        </a:lnTo>
                        <a:lnTo>
                          <a:pt x="1097" y="806"/>
                        </a:lnTo>
                        <a:lnTo>
                          <a:pt x="1097" y="811"/>
                        </a:lnTo>
                        <a:lnTo>
                          <a:pt x="1090" y="812"/>
                        </a:lnTo>
                        <a:lnTo>
                          <a:pt x="1090" y="814"/>
                        </a:lnTo>
                        <a:lnTo>
                          <a:pt x="1093" y="816"/>
                        </a:lnTo>
                        <a:lnTo>
                          <a:pt x="1098" y="812"/>
                        </a:lnTo>
                        <a:lnTo>
                          <a:pt x="1102" y="807"/>
                        </a:lnTo>
                        <a:lnTo>
                          <a:pt x="1107" y="806"/>
                        </a:lnTo>
                        <a:lnTo>
                          <a:pt x="1112" y="806"/>
                        </a:lnTo>
                        <a:lnTo>
                          <a:pt x="1112" y="807"/>
                        </a:lnTo>
                        <a:lnTo>
                          <a:pt x="1108" y="809"/>
                        </a:lnTo>
                        <a:lnTo>
                          <a:pt x="1105" y="811"/>
                        </a:lnTo>
                        <a:lnTo>
                          <a:pt x="1105" y="817"/>
                        </a:lnTo>
                        <a:lnTo>
                          <a:pt x="1098" y="821"/>
                        </a:lnTo>
                        <a:lnTo>
                          <a:pt x="1097" y="824"/>
                        </a:lnTo>
                        <a:lnTo>
                          <a:pt x="1090" y="829"/>
                        </a:lnTo>
                        <a:lnTo>
                          <a:pt x="1090" y="832"/>
                        </a:lnTo>
                        <a:lnTo>
                          <a:pt x="1088" y="834"/>
                        </a:lnTo>
                        <a:lnTo>
                          <a:pt x="1088" y="831"/>
                        </a:lnTo>
                        <a:lnTo>
                          <a:pt x="1085" y="834"/>
                        </a:lnTo>
                        <a:lnTo>
                          <a:pt x="1084" y="842"/>
                        </a:lnTo>
                        <a:lnTo>
                          <a:pt x="1084" y="844"/>
                        </a:lnTo>
                        <a:lnTo>
                          <a:pt x="1087" y="842"/>
                        </a:lnTo>
                        <a:lnTo>
                          <a:pt x="1090" y="842"/>
                        </a:lnTo>
                        <a:lnTo>
                          <a:pt x="1090" y="847"/>
                        </a:lnTo>
                        <a:lnTo>
                          <a:pt x="1085" y="849"/>
                        </a:lnTo>
                        <a:lnTo>
                          <a:pt x="1084" y="852"/>
                        </a:lnTo>
                        <a:lnTo>
                          <a:pt x="1090" y="850"/>
                        </a:lnTo>
                        <a:lnTo>
                          <a:pt x="1093" y="847"/>
                        </a:lnTo>
                        <a:lnTo>
                          <a:pt x="1097" y="847"/>
                        </a:lnTo>
                        <a:lnTo>
                          <a:pt x="1095" y="852"/>
                        </a:lnTo>
                        <a:lnTo>
                          <a:pt x="1092" y="854"/>
                        </a:lnTo>
                        <a:lnTo>
                          <a:pt x="1093" y="855"/>
                        </a:lnTo>
                        <a:lnTo>
                          <a:pt x="1098" y="854"/>
                        </a:lnTo>
                        <a:lnTo>
                          <a:pt x="1095" y="859"/>
                        </a:lnTo>
                        <a:lnTo>
                          <a:pt x="1095" y="862"/>
                        </a:lnTo>
                        <a:lnTo>
                          <a:pt x="1092" y="865"/>
                        </a:lnTo>
                        <a:lnTo>
                          <a:pt x="1087" y="864"/>
                        </a:lnTo>
                        <a:lnTo>
                          <a:pt x="1085" y="859"/>
                        </a:lnTo>
                        <a:lnTo>
                          <a:pt x="1079" y="862"/>
                        </a:lnTo>
                        <a:lnTo>
                          <a:pt x="1077" y="855"/>
                        </a:lnTo>
                        <a:lnTo>
                          <a:pt x="1075" y="855"/>
                        </a:lnTo>
                        <a:lnTo>
                          <a:pt x="1074" y="862"/>
                        </a:lnTo>
                        <a:lnTo>
                          <a:pt x="1077" y="867"/>
                        </a:lnTo>
                        <a:lnTo>
                          <a:pt x="1079" y="872"/>
                        </a:lnTo>
                        <a:lnTo>
                          <a:pt x="1077" y="882"/>
                        </a:lnTo>
                        <a:lnTo>
                          <a:pt x="1080" y="874"/>
                        </a:lnTo>
                        <a:lnTo>
                          <a:pt x="1079" y="865"/>
                        </a:lnTo>
                        <a:lnTo>
                          <a:pt x="1082" y="864"/>
                        </a:lnTo>
                        <a:lnTo>
                          <a:pt x="1085" y="867"/>
                        </a:lnTo>
                        <a:lnTo>
                          <a:pt x="1090" y="867"/>
                        </a:lnTo>
                        <a:lnTo>
                          <a:pt x="1095" y="869"/>
                        </a:lnTo>
                        <a:lnTo>
                          <a:pt x="1098" y="867"/>
                        </a:lnTo>
                        <a:lnTo>
                          <a:pt x="1098" y="862"/>
                        </a:lnTo>
                        <a:lnTo>
                          <a:pt x="1105" y="860"/>
                        </a:lnTo>
                        <a:lnTo>
                          <a:pt x="1108" y="855"/>
                        </a:lnTo>
                        <a:lnTo>
                          <a:pt x="1113" y="855"/>
                        </a:lnTo>
                        <a:lnTo>
                          <a:pt x="1117" y="852"/>
                        </a:lnTo>
                        <a:lnTo>
                          <a:pt x="1113" y="854"/>
                        </a:lnTo>
                        <a:lnTo>
                          <a:pt x="1108" y="854"/>
                        </a:lnTo>
                        <a:lnTo>
                          <a:pt x="1105" y="857"/>
                        </a:lnTo>
                        <a:lnTo>
                          <a:pt x="1103" y="859"/>
                        </a:lnTo>
                        <a:lnTo>
                          <a:pt x="1102" y="859"/>
                        </a:lnTo>
                        <a:lnTo>
                          <a:pt x="1103" y="854"/>
                        </a:lnTo>
                        <a:lnTo>
                          <a:pt x="1107" y="850"/>
                        </a:lnTo>
                        <a:lnTo>
                          <a:pt x="1105" y="849"/>
                        </a:lnTo>
                        <a:lnTo>
                          <a:pt x="1105" y="845"/>
                        </a:lnTo>
                        <a:lnTo>
                          <a:pt x="1107" y="839"/>
                        </a:lnTo>
                        <a:lnTo>
                          <a:pt x="1107" y="835"/>
                        </a:lnTo>
                        <a:lnTo>
                          <a:pt x="1105" y="834"/>
                        </a:lnTo>
                        <a:lnTo>
                          <a:pt x="1107" y="832"/>
                        </a:lnTo>
                        <a:lnTo>
                          <a:pt x="1110" y="826"/>
                        </a:lnTo>
                        <a:lnTo>
                          <a:pt x="1112" y="821"/>
                        </a:lnTo>
                        <a:lnTo>
                          <a:pt x="1117" y="817"/>
                        </a:lnTo>
                        <a:lnTo>
                          <a:pt x="1118" y="819"/>
                        </a:lnTo>
                        <a:lnTo>
                          <a:pt x="1117" y="821"/>
                        </a:lnTo>
                        <a:lnTo>
                          <a:pt x="1120" y="821"/>
                        </a:lnTo>
                        <a:lnTo>
                          <a:pt x="1122" y="816"/>
                        </a:lnTo>
                        <a:lnTo>
                          <a:pt x="1123" y="819"/>
                        </a:lnTo>
                        <a:lnTo>
                          <a:pt x="1125" y="819"/>
                        </a:lnTo>
                        <a:lnTo>
                          <a:pt x="1127" y="821"/>
                        </a:lnTo>
                        <a:lnTo>
                          <a:pt x="1132" y="821"/>
                        </a:lnTo>
                        <a:lnTo>
                          <a:pt x="1135" y="816"/>
                        </a:lnTo>
                        <a:lnTo>
                          <a:pt x="1145" y="812"/>
                        </a:lnTo>
                        <a:lnTo>
                          <a:pt x="1148" y="809"/>
                        </a:lnTo>
                        <a:lnTo>
                          <a:pt x="1147" y="806"/>
                        </a:lnTo>
                        <a:lnTo>
                          <a:pt x="1150" y="806"/>
                        </a:lnTo>
                        <a:lnTo>
                          <a:pt x="1155" y="801"/>
                        </a:lnTo>
                        <a:lnTo>
                          <a:pt x="1162" y="801"/>
                        </a:lnTo>
                        <a:lnTo>
                          <a:pt x="1165" y="797"/>
                        </a:lnTo>
                        <a:lnTo>
                          <a:pt x="1165" y="794"/>
                        </a:lnTo>
                        <a:lnTo>
                          <a:pt x="1167" y="789"/>
                        </a:lnTo>
                        <a:lnTo>
                          <a:pt x="1170" y="784"/>
                        </a:lnTo>
                        <a:lnTo>
                          <a:pt x="1170" y="779"/>
                        </a:lnTo>
                        <a:lnTo>
                          <a:pt x="1168" y="777"/>
                        </a:lnTo>
                        <a:lnTo>
                          <a:pt x="1165" y="779"/>
                        </a:lnTo>
                        <a:lnTo>
                          <a:pt x="1162" y="781"/>
                        </a:lnTo>
                        <a:lnTo>
                          <a:pt x="1163" y="782"/>
                        </a:lnTo>
                        <a:lnTo>
                          <a:pt x="1160" y="786"/>
                        </a:lnTo>
                        <a:lnTo>
                          <a:pt x="1155" y="786"/>
                        </a:lnTo>
                        <a:lnTo>
                          <a:pt x="1153" y="784"/>
                        </a:lnTo>
                        <a:lnTo>
                          <a:pt x="1150" y="784"/>
                        </a:lnTo>
                        <a:lnTo>
                          <a:pt x="1148" y="782"/>
                        </a:lnTo>
                        <a:lnTo>
                          <a:pt x="1152" y="777"/>
                        </a:lnTo>
                        <a:lnTo>
                          <a:pt x="1155" y="777"/>
                        </a:lnTo>
                        <a:lnTo>
                          <a:pt x="1158" y="774"/>
                        </a:lnTo>
                        <a:lnTo>
                          <a:pt x="1165" y="771"/>
                        </a:lnTo>
                        <a:lnTo>
                          <a:pt x="1165" y="769"/>
                        </a:lnTo>
                        <a:lnTo>
                          <a:pt x="1162" y="766"/>
                        </a:lnTo>
                        <a:lnTo>
                          <a:pt x="1167" y="762"/>
                        </a:lnTo>
                        <a:lnTo>
                          <a:pt x="1172" y="761"/>
                        </a:lnTo>
                        <a:lnTo>
                          <a:pt x="1177" y="762"/>
                        </a:lnTo>
                        <a:lnTo>
                          <a:pt x="1173" y="764"/>
                        </a:lnTo>
                        <a:lnTo>
                          <a:pt x="1173" y="769"/>
                        </a:lnTo>
                        <a:lnTo>
                          <a:pt x="1173" y="771"/>
                        </a:lnTo>
                        <a:lnTo>
                          <a:pt x="1178" y="767"/>
                        </a:lnTo>
                        <a:lnTo>
                          <a:pt x="1183" y="759"/>
                        </a:lnTo>
                        <a:lnTo>
                          <a:pt x="1183" y="756"/>
                        </a:lnTo>
                        <a:lnTo>
                          <a:pt x="1178" y="756"/>
                        </a:lnTo>
                        <a:lnTo>
                          <a:pt x="1173" y="756"/>
                        </a:lnTo>
                        <a:lnTo>
                          <a:pt x="1172" y="752"/>
                        </a:lnTo>
                        <a:lnTo>
                          <a:pt x="1165" y="752"/>
                        </a:lnTo>
                        <a:lnTo>
                          <a:pt x="1162" y="746"/>
                        </a:lnTo>
                        <a:lnTo>
                          <a:pt x="1163" y="741"/>
                        </a:lnTo>
                        <a:lnTo>
                          <a:pt x="1160" y="746"/>
                        </a:lnTo>
                        <a:lnTo>
                          <a:pt x="1157" y="746"/>
                        </a:lnTo>
                        <a:lnTo>
                          <a:pt x="1155" y="741"/>
                        </a:lnTo>
                        <a:lnTo>
                          <a:pt x="1150" y="739"/>
                        </a:lnTo>
                        <a:lnTo>
                          <a:pt x="1148" y="734"/>
                        </a:lnTo>
                        <a:lnTo>
                          <a:pt x="1147" y="733"/>
                        </a:lnTo>
                        <a:lnTo>
                          <a:pt x="1143" y="734"/>
                        </a:lnTo>
                        <a:lnTo>
                          <a:pt x="1142" y="729"/>
                        </a:lnTo>
                        <a:lnTo>
                          <a:pt x="1140" y="728"/>
                        </a:lnTo>
                        <a:lnTo>
                          <a:pt x="1143" y="724"/>
                        </a:lnTo>
                        <a:lnTo>
                          <a:pt x="1143" y="721"/>
                        </a:lnTo>
                        <a:lnTo>
                          <a:pt x="1140" y="718"/>
                        </a:lnTo>
                        <a:lnTo>
                          <a:pt x="1142" y="706"/>
                        </a:lnTo>
                        <a:lnTo>
                          <a:pt x="1145" y="703"/>
                        </a:lnTo>
                        <a:lnTo>
                          <a:pt x="1153" y="696"/>
                        </a:lnTo>
                        <a:lnTo>
                          <a:pt x="1158" y="694"/>
                        </a:lnTo>
                        <a:lnTo>
                          <a:pt x="1162" y="694"/>
                        </a:lnTo>
                        <a:lnTo>
                          <a:pt x="1162" y="693"/>
                        </a:lnTo>
                        <a:lnTo>
                          <a:pt x="1165" y="691"/>
                        </a:lnTo>
                        <a:lnTo>
                          <a:pt x="1167" y="688"/>
                        </a:lnTo>
                        <a:lnTo>
                          <a:pt x="1163" y="688"/>
                        </a:lnTo>
                        <a:lnTo>
                          <a:pt x="1160" y="689"/>
                        </a:lnTo>
                        <a:lnTo>
                          <a:pt x="1157" y="689"/>
                        </a:lnTo>
                        <a:lnTo>
                          <a:pt x="1157" y="686"/>
                        </a:lnTo>
                        <a:lnTo>
                          <a:pt x="1155" y="681"/>
                        </a:lnTo>
                        <a:lnTo>
                          <a:pt x="1157" y="678"/>
                        </a:lnTo>
                        <a:lnTo>
                          <a:pt x="1162" y="671"/>
                        </a:lnTo>
                        <a:lnTo>
                          <a:pt x="1167" y="663"/>
                        </a:lnTo>
                        <a:lnTo>
                          <a:pt x="1170" y="663"/>
                        </a:lnTo>
                        <a:lnTo>
                          <a:pt x="1173" y="656"/>
                        </a:lnTo>
                        <a:lnTo>
                          <a:pt x="1175" y="656"/>
                        </a:lnTo>
                        <a:lnTo>
                          <a:pt x="1180" y="651"/>
                        </a:lnTo>
                        <a:lnTo>
                          <a:pt x="1185" y="649"/>
                        </a:lnTo>
                        <a:lnTo>
                          <a:pt x="1188" y="651"/>
                        </a:lnTo>
                        <a:lnTo>
                          <a:pt x="1187" y="656"/>
                        </a:lnTo>
                        <a:lnTo>
                          <a:pt x="1190" y="659"/>
                        </a:lnTo>
                        <a:lnTo>
                          <a:pt x="1188" y="663"/>
                        </a:lnTo>
                        <a:lnTo>
                          <a:pt x="1193" y="659"/>
                        </a:lnTo>
                        <a:lnTo>
                          <a:pt x="1193" y="656"/>
                        </a:lnTo>
                        <a:lnTo>
                          <a:pt x="1200" y="649"/>
                        </a:lnTo>
                        <a:lnTo>
                          <a:pt x="1200" y="648"/>
                        </a:lnTo>
                        <a:lnTo>
                          <a:pt x="1195" y="646"/>
                        </a:lnTo>
                        <a:lnTo>
                          <a:pt x="1191" y="644"/>
                        </a:lnTo>
                        <a:lnTo>
                          <a:pt x="1188" y="641"/>
                        </a:lnTo>
                        <a:lnTo>
                          <a:pt x="1193" y="638"/>
                        </a:lnTo>
                        <a:lnTo>
                          <a:pt x="1198" y="638"/>
                        </a:lnTo>
                        <a:lnTo>
                          <a:pt x="1200" y="636"/>
                        </a:lnTo>
                        <a:lnTo>
                          <a:pt x="1206" y="631"/>
                        </a:lnTo>
                        <a:lnTo>
                          <a:pt x="1206" y="628"/>
                        </a:lnTo>
                        <a:lnTo>
                          <a:pt x="1210" y="626"/>
                        </a:lnTo>
                        <a:lnTo>
                          <a:pt x="1216" y="628"/>
                        </a:lnTo>
                        <a:lnTo>
                          <a:pt x="1223" y="630"/>
                        </a:lnTo>
                        <a:lnTo>
                          <a:pt x="1225" y="633"/>
                        </a:lnTo>
                        <a:lnTo>
                          <a:pt x="1223" y="636"/>
                        </a:lnTo>
                        <a:lnTo>
                          <a:pt x="1226" y="636"/>
                        </a:lnTo>
                        <a:lnTo>
                          <a:pt x="1230" y="639"/>
                        </a:lnTo>
                        <a:lnTo>
                          <a:pt x="1233" y="643"/>
                        </a:lnTo>
                        <a:lnTo>
                          <a:pt x="1231" y="646"/>
                        </a:lnTo>
                        <a:lnTo>
                          <a:pt x="1230" y="648"/>
                        </a:lnTo>
                        <a:lnTo>
                          <a:pt x="1231" y="651"/>
                        </a:lnTo>
                        <a:lnTo>
                          <a:pt x="1230" y="654"/>
                        </a:lnTo>
                        <a:lnTo>
                          <a:pt x="1235" y="658"/>
                        </a:lnTo>
                        <a:lnTo>
                          <a:pt x="1235" y="661"/>
                        </a:lnTo>
                        <a:lnTo>
                          <a:pt x="1235" y="669"/>
                        </a:lnTo>
                        <a:lnTo>
                          <a:pt x="1238" y="671"/>
                        </a:lnTo>
                        <a:lnTo>
                          <a:pt x="1238" y="673"/>
                        </a:lnTo>
                        <a:lnTo>
                          <a:pt x="1235" y="678"/>
                        </a:lnTo>
                        <a:lnTo>
                          <a:pt x="1233" y="681"/>
                        </a:lnTo>
                        <a:lnTo>
                          <a:pt x="1230" y="686"/>
                        </a:lnTo>
                        <a:lnTo>
                          <a:pt x="1230" y="691"/>
                        </a:lnTo>
                        <a:lnTo>
                          <a:pt x="1228" y="693"/>
                        </a:lnTo>
                        <a:lnTo>
                          <a:pt x="1230" y="696"/>
                        </a:lnTo>
                        <a:lnTo>
                          <a:pt x="1228" y="701"/>
                        </a:lnTo>
                        <a:lnTo>
                          <a:pt x="1233" y="706"/>
                        </a:lnTo>
                        <a:lnTo>
                          <a:pt x="1233" y="709"/>
                        </a:lnTo>
                        <a:lnTo>
                          <a:pt x="1231" y="711"/>
                        </a:lnTo>
                        <a:lnTo>
                          <a:pt x="1233" y="714"/>
                        </a:lnTo>
                        <a:lnTo>
                          <a:pt x="1231" y="719"/>
                        </a:lnTo>
                        <a:lnTo>
                          <a:pt x="1231" y="723"/>
                        </a:lnTo>
                        <a:lnTo>
                          <a:pt x="1235" y="723"/>
                        </a:lnTo>
                        <a:lnTo>
                          <a:pt x="1238" y="726"/>
                        </a:lnTo>
                        <a:lnTo>
                          <a:pt x="1238" y="731"/>
                        </a:lnTo>
                        <a:lnTo>
                          <a:pt x="1233" y="733"/>
                        </a:lnTo>
                        <a:lnTo>
                          <a:pt x="1231" y="731"/>
                        </a:lnTo>
                        <a:lnTo>
                          <a:pt x="1226" y="733"/>
                        </a:lnTo>
                        <a:lnTo>
                          <a:pt x="1225" y="728"/>
                        </a:lnTo>
                        <a:lnTo>
                          <a:pt x="1226" y="724"/>
                        </a:lnTo>
                        <a:lnTo>
                          <a:pt x="1220" y="726"/>
                        </a:lnTo>
                        <a:lnTo>
                          <a:pt x="1218" y="731"/>
                        </a:lnTo>
                        <a:lnTo>
                          <a:pt x="1213" y="733"/>
                        </a:lnTo>
                        <a:lnTo>
                          <a:pt x="1213" y="734"/>
                        </a:lnTo>
                        <a:lnTo>
                          <a:pt x="1220" y="733"/>
                        </a:lnTo>
                        <a:lnTo>
                          <a:pt x="1223" y="736"/>
                        </a:lnTo>
                        <a:lnTo>
                          <a:pt x="1221" y="737"/>
                        </a:lnTo>
                        <a:lnTo>
                          <a:pt x="1210" y="746"/>
                        </a:lnTo>
                        <a:lnTo>
                          <a:pt x="1206" y="746"/>
                        </a:lnTo>
                        <a:lnTo>
                          <a:pt x="1205" y="749"/>
                        </a:lnTo>
                        <a:lnTo>
                          <a:pt x="1201" y="749"/>
                        </a:lnTo>
                        <a:lnTo>
                          <a:pt x="1201" y="754"/>
                        </a:lnTo>
                        <a:lnTo>
                          <a:pt x="1203" y="756"/>
                        </a:lnTo>
                        <a:lnTo>
                          <a:pt x="1208" y="756"/>
                        </a:lnTo>
                        <a:lnTo>
                          <a:pt x="1211" y="756"/>
                        </a:lnTo>
                        <a:lnTo>
                          <a:pt x="1211" y="761"/>
                        </a:lnTo>
                        <a:lnTo>
                          <a:pt x="1216" y="764"/>
                        </a:lnTo>
                        <a:lnTo>
                          <a:pt x="1221" y="762"/>
                        </a:lnTo>
                        <a:lnTo>
                          <a:pt x="1223" y="759"/>
                        </a:lnTo>
                        <a:lnTo>
                          <a:pt x="1226" y="759"/>
                        </a:lnTo>
                        <a:lnTo>
                          <a:pt x="1228" y="761"/>
                        </a:lnTo>
                        <a:lnTo>
                          <a:pt x="1226" y="762"/>
                        </a:lnTo>
                        <a:lnTo>
                          <a:pt x="1226" y="762"/>
                        </a:lnTo>
                        <a:lnTo>
                          <a:pt x="1230" y="764"/>
                        </a:lnTo>
                        <a:lnTo>
                          <a:pt x="1233" y="767"/>
                        </a:lnTo>
                        <a:lnTo>
                          <a:pt x="1238" y="764"/>
                        </a:lnTo>
                        <a:lnTo>
                          <a:pt x="1241" y="766"/>
                        </a:lnTo>
                        <a:lnTo>
                          <a:pt x="1238" y="769"/>
                        </a:lnTo>
                        <a:lnTo>
                          <a:pt x="1233" y="769"/>
                        </a:lnTo>
                        <a:lnTo>
                          <a:pt x="1228" y="774"/>
                        </a:lnTo>
                        <a:lnTo>
                          <a:pt x="1226" y="776"/>
                        </a:lnTo>
                        <a:lnTo>
                          <a:pt x="1225" y="771"/>
                        </a:lnTo>
                        <a:lnTo>
                          <a:pt x="1223" y="771"/>
                        </a:lnTo>
                        <a:lnTo>
                          <a:pt x="1221" y="771"/>
                        </a:lnTo>
                        <a:lnTo>
                          <a:pt x="1221" y="772"/>
                        </a:lnTo>
                        <a:lnTo>
                          <a:pt x="1225" y="776"/>
                        </a:lnTo>
                        <a:lnTo>
                          <a:pt x="1225" y="779"/>
                        </a:lnTo>
                        <a:lnTo>
                          <a:pt x="1228" y="786"/>
                        </a:lnTo>
                        <a:lnTo>
                          <a:pt x="1228" y="791"/>
                        </a:lnTo>
                        <a:lnTo>
                          <a:pt x="1228" y="792"/>
                        </a:lnTo>
                        <a:lnTo>
                          <a:pt x="1228" y="796"/>
                        </a:lnTo>
                        <a:lnTo>
                          <a:pt x="1225" y="799"/>
                        </a:lnTo>
                        <a:lnTo>
                          <a:pt x="1225" y="802"/>
                        </a:lnTo>
                        <a:lnTo>
                          <a:pt x="1223" y="807"/>
                        </a:lnTo>
                        <a:lnTo>
                          <a:pt x="1220" y="812"/>
                        </a:lnTo>
                        <a:lnTo>
                          <a:pt x="1220" y="814"/>
                        </a:lnTo>
                        <a:lnTo>
                          <a:pt x="1221" y="819"/>
                        </a:lnTo>
                        <a:lnTo>
                          <a:pt x="1218" y="821"/>
                        </a:lnTo>
                        <a:lnTo>
                          <a:pt x="1218" y="824"/>
                        </a:lnTo>
                        <a:lnTo>
                          <a:pt x="1221" y="824"/>
                        </a:lnTo>
                        <a:lnTo>
                          <a:pt x="1225" y="819"/>
                        </a:lnTo>
                        <a:lnTo>
                          <a:pt x="1226" y="816"/>
                        </a:lnTo>
                        <a:lnTo>
                          <a:pt x="1233" y="814"/>
                        </a:lnTo>
                        <a:lnTo>
                          <a:pt x="1233" y="812"/>
                        </a:lnTo>
                        <a:lnTo>
                          <a:pt x="1233" y="811"/>
                        </a:lnTo>
                        <a:lnTo>
                          <a:pt x="1236" y="807"/>
                        </a:lnTo>
                        <a:lnTo>
                          <a:pt x="1238" y="809"/>
                        </a:lnTo>
                        <a:lnTo>
                          <a:pt x="1241" y="807"/>
                        </a:lnTo>
                        <a:lnTo>
                          <a:pt x="1241" y="799"/>
                        </a:lnTo>
                        <a:lnTo>
                          <a:pt x="1241" y="796"/>
                        </a:lnTo>
                        <a:lnTo>
                          <a:pt x="1248" y="791"/>
                        </a:lnTo>
                        <a:lnTo>
                          <a:pt x="1253" y="782"/>
                        </a:lnTo>
                        <a:lnTo>
                          <a:pt x="1255" y="779"/>
                        </a:lnTo>
                        <a:lnTo>
                          <a:pt x="1258" y="779"/>
                        </a:lnTo>
                        <a:lnTo>
                          <a:pt x="1260" y="781"/>
                        </a:lnTo>
                        <a:lnTo>
                          <a:pt x="1260" y="784"/>
                        </a:lnTo>
                        <a:lnTo>
                          <a:pt x="1265" y="792"/>
                        </a:lnTo>
                        <a:lnTo>
                          <a:pt x="1265" y="797"/>
                        </a:lnTo>
                        <a:lnTo>
                          <a:pt x="1270" y="802"/>
                        </a:lnTo>
                        <a:lnTo>
                          <a:pt x="1270" y="807"/>
                        </a:lnTo>
                        <a:lnTo>
                          <a:pt x="1268" y="811"/>
                        </a:lnTo>
                        <a:lnTo>
                          <a:pt x="1270" y="821"/>
                        </a:lnTo>
                        <a:lnTo>
                          <a:pt x="1266" y="824"/>
                        </a:lnTo>
                        <a:lnTo>
                          <a:pt x="1263" y="826"/>
                        </a:lnTo>
                        <a:lnTo>
                          <a:pt x="1260" y="824"/>
                        </a:lnTo>
                        <a:lnTo>
                          <a:pt x="1256" y="826"/>
                        </a:lnTo>
                        <a:lnTo>
                          <a:pt x="1255" y="829"/>
                        </a:lnTo>
                        <a:lnTo>
                          <a:pt x="1256" y="834"/>
                        </a:lnTo>
                        <a:lnTo>
                          <a:pt x="1253" y="837"/>
                        </a:lnTo>
                        <a:lnTo>
                          <a:pt x="1250" y="844"/>
                        </a:lnTo>
                        <a:lnTo>
                          <a:pt x="1251" y="845"/>
                        </a:lnTo>
                        <a:lnTo>
                          <a:pt x="1253" y="854"/>
                        </a:lnTo>
                        <a:lnTo>
                          <a:pt x="1256" y="869"/>
                        </a:lnTo>
                        <a:lnTo>
                          <a:pt x="1260" y="875"/>
                        </a:lnTo>
                        <a:lnTo>
                          <a:pt x="1258" y="879"/>
                        </a:lnTo>
                        <a:lnTo>
                          <a:pt x="1261" y="882"/>
                        </a:lnTo>
                        <a:lnTo>
                          <a:pt x="1266" y="882"/>
                        </a:lnTo>
                        <a:lnTo>
                          <a:pt x="1265" y="877"/>
                        </a:lnTo>
                        <a:lnTo>
                          <a:pt x="1263" y="875"/>
                        </a:lnTo>
                        <a:lnTo>
                          <a:pt x="1266" y="872"/>
                        </a:lnTo>
                        <a:lnTo>
                          <a:pt x="1270" y="872"/>
                        </a:lnTo>
                        <a:lnTo>
                          <a:pt x="1271" y="877"/>
                        </a:lnTo>
                        <a:lnTo>
                          <a:pt x="1275" y="877"/>
                        </a:lnTo>
                        <a:lnTo>
                          <a:pt x="1276" y="872"/>
                        </a:lnTo>
                        <a:lnTo>
                          <a:pt x="1280" y="869"/>
                        </a:lnTo>
                        <a:lnTo>
                          <a:pt x="1280" y="862"/>
                        </a:lnTo>
                        <a:lnTo>
                          <a:pt x="1283" y="860"/>
                        </a:lnTo>
                        <a:lnTo>
                          <a:pt x="1288" y="854"/>
                        </a:lnTo>
                        <a:lnTo>
                          <a:pt x="1289" y="854"/>
                        </a:lnTo>
                        <a:lnTo>
                          <a:pt x="1293" y="850"/>
                        </a:lnTo>
                        <a:lnTo>
                          <a:pt x="1301" y="844"/>
                        </a:lnTo>
                        <a:lnTo>
                          <a:pt x="1306" y="835"/>
                        </a:lnTo>
                        <a:lnTo>
                          <a:pt x="1311" y="827"/>
                        </a:lnTo>
                        <a:lnTo>
                          <a:pt x="1314" y="819"/>
                        </a:lnTo>
                        <a:lnTo>
                          <a:pt x="1319" y="816"/>
                        </a:lnTo>
                        <a:lnTo>
                          <a:pt x="1323" y="821"/>
                        </a:lnTo>
                        <a:lnTo>
                          <a:pt x="1326" y="817"/>
                        </a:lnTo>
                        <a:lnTo>
                          <a:pt x="1328" y="819"/>
                        </a:lnTo>
                        <a:lnTo>
                          <a:pt x="1333" y="819"/>
                        </a:lnTo>
                        <a:lnTo>
                          <a:pt x="1333" y="816"/>
                        </a:lnTo>
                        <a:lnTo>
                          <a:pt x="1331" y="816"/>
                        </a:lnTo>
                        <a:lnTo>
                          <a:pt x="1326" y="812"/>
                        </a:lnTo>
                        <a:lnTo>
                          <a:pt x="1328" y="811"/>
                        </a:lnTo>
                        <a:lnTo>
                          <a:pt x="1334" y="809"/>
                        </a:lnTo>
                        <a:lnTo>
                          <a:pt x="1336" y="812"/>
                        </a:lnTo>
                        <a:lnTo>
                          <a:pt x="1338" y="811"/>
                        </a:lnTo>
                        <a:lnTo>
                          <a:pt x="1341" y="811"/>
                        </a:lnTo>
                        <a:lnTo>
                          <a:pt x="1344" y="809"/>
                        </a:lnTo>
                        <a:lnTo>
                          <a:pt x="1341" y="806"/>
                        </a:lnTo>
                        <a:lnTo>
                          <a:pt x="1339" y="804"/>
                        </a:lnTo>
                        <a:lnTo>
                          <a:pt x="1338" y="801"/>
                        </a:lnTo>
                        <a:lnTo>
                          <a:pt x="1334" y="801"/>
                        </a:lnTo>
                        <a:lnTo>
                          <a:pt x="1334" y="794"/>
                        </a:lnTo>
                        <a:lnTo>
                          <a:pt x="1338" y="791"/>
                        </a:lnTo>
                        <a:lnTo>
                          <a:pt x="1338" y="787"/>
                        </a:lnTo>
                        <a:lnTo>
                          <a:pt x="1341" y="787"/>
                        </a:lnTo>
                        <a:lnTo>
                          <a:pt x="1339" y="784"/>
                        </a:lnTo>
                        <a:lnTo>
                          <a:pt x="1339" y="781"/>
                        </a:lnTo>
                        <a:lnTo>
                          <a:pt x="1343" y="777"/>
                        </a:lnTo>
                        <a:lnTo>
                          <a:pt x="1341" y="776"/>
                        </a:lnTo>
                        <a:lnTo>
                          <a:pt x="1341" y="774"/>
                        </a:lnTo>
                        <a:lnTo>
                          <a:pt x="1346" y="774"/>
                        </a:lnTo>
                        <a:lnTo>
                          <a:pt x="1348" y="771"/>
                        </a:lnTo>
                        <a:lnTo>
                          <a:pt x="1344" y="769"/>
                        </a:lnTo>
                        <a:lnTo>
                          <a:pt x="1343" y="767"/>
                        </a:lnTo>
                        <a:lnTo>
                          <a:pt x="1348" y="767"/>
                        </a:lnTo>
                        <a:lnTo>
                          <a:pt x="1349" y="771"/>
                        </a:lnTo>
                        <a:lnTo>
                          <a:pt x="1353" y="771"/>
                        </a:lnTo>
                        <a:lnTo>
                          <a:pt x="1356" y="769"/>
                        </a:lnTo>
                        <a:lnTo>
                          <a:pt x="1364" y="769"/>
                        </a:lnTo>
                        <a:lnTo>
                          <a:pt x="1371" y="774"/>
                        </a:lnTo>
                        <a:lnTo>
                          <a:pt x="1371" y="776"/>
                        </a:lnTo>
                        <a:lnTo>
                          <a:pt x="1373" y="779"/>
                        </a:lnTo>
                        <a:lnTo>
                          <a:pt x="1383" y="782"/>
                        </a:lnTo>
                        <a:lnTo>
                          <a:pt x="1386" y="781"/>
                        </a:lnTo>
                        <a:lnTo>
                          <a:pt x="1391" y="782"/>
                        </a:lnTo>
                        <a:lnTo>
                          <a:pt x="1397" y="786"/>
                        </a:lnTo>
                        <a:lnTo>
                          <a:pt x="1397" y="787"/>
                        </a:lnTo>
                        <a:lnTo>
                          <a:pt x="1394" y="789"/>
                        </a:lnTo>
                        <a:lnTo>
                          <a:pt x="1397" y="792"/>
                        </a:lnTo>
                        <a:lnTo>
                          <a:pt x="1394" y="794"/>
                        </a:lnTo>
                        <a:lnTo>
                          <a:pt x="1391" y="791"/>
                        </a:lnTo>
                        <a:lnTo>
                          <a:pt x="1387" y="791"/>
                        </a:lnTo>
                        <a:lnTo>
                          <a:pt x="1387" y="792"/>
                        </a:lnTo>
                        <a:lnTo>
                          <a:pt x="1397" y="799"/>
                        </a:lnTo>
                        <a:lnTo>
                          <a:pt x="1399" y="802"/>
                        </a:lnTo>
                        <a:lnTo>
                          <a:pt x="1394" y="804"/>
                        </a:lnTo>
                        <a:lnTo>
                          <a:pt x="1397" y="806"/>
                        </a:lnTo>
                        <a:lnTo>
                          <a:pt x="1401" y="804"/>
                        </a:lnTo>
                        <a:lnTo>
                          <a:pt x="1409" y="806"/>
                        </a:lnTo>
                        <a:lnTo>
                          <a:pt x="1411" y="809"/>
                        </a:lnTo>
                        <a:lnTo>
                          <a:pt x="1412" y="809"/>
                        </a:lnTo>
                        <a:lnTo>
                          <a:pt x="1414" y="811"/>
                        </a:lnTo>
                        <a:lnTo>
                          <a:pt x="1411" y="816"/>
                        </a:lnTo>
                        <a:lnTo>
                          <a:pt x="1402" y="821"/>
                        </a:lnTo>
                        <a:lnTo>
                          <a:pt x="1399" y="822"/>
                        </a:lnTo>
                        <a:lnTo>
                          <a:pt x="1396" y="824"/>
                        </a:lnTo>
                        <a:lnTo>
                          <a:pt x="1402" y="824"/>
                        </a:lnTo>
                        <a:lnTo>
                          <a:pt x="1404" y="824"/>
                        </a:lnTo>
                        <a:lnTo>
                          <a:pt x="1404" y="827"/>
                        </a:lnTo>
                        <a:lnTo>
                          <a:pt x="1406" y="827"/>
                        </a:lnTo>
                        <a:lnTo>
                          <a:pt x="1407" y="829"/>
                        </a:lnTo>
                        <a:lnTo>
                          <a:pt x="1404" y="834"/>
                        </a:lnTo>
                        <a:lnTo>
                          <a:pt x="1407" y="835"/>
                        </a:lnTo>
                        <a:lnTo>
                          <a:pt x="1401" y="839"/>
                        </a:lnTo>
                        <a:lnTo>
                          <a:pt x="1394" y="840"/>
                        </a:lnTo>
                        <a:lnTo>
                          <a:pt x="1391" y="840"/>
                        </a:lnTo>
                        <a:lnTo>
                          <a:pt x="1389" y="842"/>
                        </a:lnTo>
                        <a:lnTo>
                          <a:pt x="1384" y="842"/>
                        </a:lnTo>
                        <a:lnTo>
                          <a:pt x="1381" y="837"/>
                        </a:lnTo>
                        <a:lnTo>
                          <a:pt x="1376" y="837"/>
                        </a:lnTo>
                        <a:lnTo>
                          <a:pt x="1376" y="835"/>
                        </a:lnTo>
                        <a:lnTo>
                          <a:pt x="1373" y="835"/>
                        </a:lnTo>
                        <a:lnTo>
                          <a:pt x="1373" y="839"/>
                        </a:lnTo>
                        <a:lnTo>
                          <a:pt x="1369" y="840"/>
                        </a:lnTo>
                        <a:lnTo>
                          <a:pt x="1374" y="840"/>
                        </a:lnTo>
                        <a:lnTo>
                          <a:pt x="1378" y="844"/>
                        </a:lnTo>
                        <a:lnTo>
                          <a:pt x="1376" y="845"/>
                        </a:lnTo>
                        <a:lnTo>
                          <a:pt x="1373" y="849"/>
                        </a:lnTo>
                        <a:lnTo>
                          <a:pt x="1378" y="849"/>
                        </a:lnTo>
                        <a:lnTo>
                          <a:pt x="1374" y="852"/>
                        </a:lnTo>
                        <a:lnTo>
                          <a:pt x="1374" y="855"/>
                        </a:lnTo>
                        <a:lnTo>
                          <a:pt x="1376" y="855"/>
                        </a:lnTo>
                        <a:lnTo>
                          <a:pt x="1379" y="854"/>
                        </a:lnTo>
                        <a:lnTo>
                          <a:pt x="1381" y="854"/>
                        </a:lnTo>
                        <a:lnTo>
                          <a:pt x="1379" y="857"/>
                        </a:lnTo>
                        <a:lnTo>
                          <a:pt x="1374" y="859"/>
                        </a:lnTo>
                        <a:lnTo>
                          <a:pt x="1371" y="862"/>
                        </a:lnTo>
                        <a:lnTo>
                          <a:pt x="1373" y="867"/>
                        </a:lnTo>
                        <a:lnTo>
                          <a:pt x="1378" y="870"/>
                        </a:lnTo>
                        <a:lnTo>
                          <a:pt x="1378" y="874"/>
                        </a:lnTo>
                        <a:lnTo>
                          <a:pt x="1383" y="884"/>
                        </a:lnTo>
                        <a:lnTo>
                          <a:pt x="1381" y="889"/>
                        </a:lnTo>
                        <a:lnTo>
                          <a:pt x="1379" y="890"/>
                        </a:lnTo>
                        <a:lnTo>
                          <a:pt x="1379" y="894"/>
                        </a:lnTo>
                        <a:lnTo>
                          <a:pt x="1373" y="899"/>
                        </a:lnTo>
                        <a:lnTo>
                          <a:pt x="1374" y="902"/>
                        </a:lnTo>
                        <a:lnTo>
                          <a:pt x="1371" y="905"/>
                        </a:lnTo>
                        <a:lnTo>
                          <a:pt x="1368" y="904"/>
                        </a:lnTo>
                        <a:lnTo>
                          <a:pt x="1359" y="904"/>
                        </a:lnTo>
                        <a:lnTo>
                          <a:pt x="1356" y="905"/>
                        </a:lnTo>
                        <a:lnTo>
                          <a:pt x="1356" y="910"/>
                        </a:lnTo>
                        <a:lnTo>
                          <a:pt x="1351" y="914"/>
                        </a:lnTo>
                        <a:lnTo>
                          <a:pt x="1348" y="915"/>
                        </a:lnTo>
                        <a:lnTo>
                          <a:pt x="1344" y="915"/>
                        </a:lnTo>
                        <a:lnTo>
                          <a:pt x="1338" y="922"/>
                        </a:lnTo>
                        <a:lnTo>
                          <a:pt x="1336" y="922"/>
                        </a:lnTo>
                        <a:lnTo>
                          <a:pt x="1331" y="922"/>
                        </a:lnTo>
                        <a:lnTo>
                          <a:pt x="1329" y="927"/>
                        </a:lnTo>
                        <a:lnTo>
                          <a:pt x="1318" y="929"/>
                        </a:lnTo>
                        <a:lnTo>
                          <a:pt x="1314" y="927"/>
                        </a:lnTo>
                        <a:lnTo>
                          <a:pt x="1316" y="925"/>
                        </a:lnTo>
                        <a:lnTo>
                          <a:pt x="1314" y="919"/>
                        </a:lnTo>
                        <a:lnTo>
                          <a:pt x="1311" y="915"/>
                        </a:lnTo>
                        <a:lnTo>
                          <a:pt x="1311" y="914"/>
                        </a:lnTo>
                        <a:lnTo>
                          <a:pt x="1314" y="912"/>
                        </a:lnTo>
                        <a:lnTo>
                          <a:pt x="1314" y="909"/>
                        </a:lnTo>
                        <a:lnTo>
                          <a:pt x="1318" y="904"/>
                        </a:lnTo>
                        <a:lnTo>
                          <a:pt x="1313" y="907"/>
                        </a:lnTo>
                        <a:lnTo>
                          <a:pt x="1311" y="909"/>
                        </a:lnTo>
                        <a:lnTo>
                          <a:pt x="1311" y="899"/>
                        </a:lnTo>
                        <a:lnTo>
                          <a:pt x="1309" y="899"/>
                        </a:lnTo>
                        <a:lnTo>
                          <a:pt x="1306" y="894"/>
                        </a:lnTo>
                        <a:lnTo>
                          <a:pt x="1301" y="897"/>
                        </a:lnTo>
                        <a:lnTo>
                          <a:pt x="1299" y="895"/>
                        </a:lnTo>
                        <a:lnTo>
                          <a:pt x="1296" y="895"/>
                        </a:lnTo>
                        <a:lnTo>
                          <a:pt x="1291" y="902"/>
                        </a:lnTo>
                        <a:lnTo>
                          <a:pt x="1294" y="902"/>
                        </a:lnTo>
                        <a:lnTo>
                          <a:pt x="1299" y="899"/>
                        </a:lnTo>
                        <a:lnTo>
                          <a:pt x="1303" y="899"/>
                        </a:lnTo>
                        <a:lnTo>
                          <a:pt x="1303" y="904"/>
                        </a:lnTo>
                        <a:lnTo>
                          <a:pt x="1306" y="905"/>
                        </a:lnTo>
                        <a:lnTo>
                          <a:pt x="1309" y="912"/>
                        </a:lnTo>
                        <a:lnTo>
                          <a:pt x="1308" y="917"/>
                        </a:lnTo>
                        <a:lnTo>
                          <a:pt x="1311" y="919"/>
                        </a:lnTo>
                        <a:lnTo>
                          <a:pt x="1311" y="925"/>
                        </a:lnTo>
                        <a:lnTo>
                          <a:pt x="1309" y="927"/>
                        </a:lnTo>
                        <a:lnTo>
                          <a:pt x="1311" y="929"/>
                        </a:lnTo>
                        <a:lnTo>
                          <a:pt x="1311" y="932"/>
                        </a:lnTo>
                        <a:lnTo>
                          <a:pt x="1308" y="933"/>
                        </a:lnTo>
                        <a:lnTo>
                          <a:pt x="1301" y="927"/>
                        </a:lnTo>
                        <a:lnTo>
                          <a:pt x="1299" y="924"/>
                        </a:lnTo>
                        <a:lnTo>
                          <a:pt x="1296" y="922"/>
                        </a:lnTo>
                        <a:lnTo>
                          <a:pt x="1296" y="919"/>
                        </a:lnTo>
                        <a:lnTo>
                          <a:pt x="1293" y="922"/>
                        </a:lnTo>
                        <a:lnTo>
                          <a:pt x="1298" y="925"/>
                        </a:lnTo>
                        <a:lnTo>
                          <a:pt x="1296" y="930"/>
                        </a:lnTo>
                        <a:lnTo>
                          <a:pt x="1291" y="927"/>
                        </a:lnTo>
                        <a:lnTo>
                          <a:pt x="1286" y="925"/>
                        </a:lnTo>
                        <a:lnTo>
                          <a:pt x="1286" y="924"/>
                        </a:lnTo>
                        <a:lnTo>
                          <a:pt x="1283" y="925"/>
                        </a:lnTo>
                        <a:lnTo>
                          <a:pt x="1283" y="922"/>
                        </a:lnTo>
                        <a:lnTo>
                          <a:pt x="1285" y="915"/>
                        </a:lnTo>
                        <a:lnTo>
                          <a:pt x="1286" y="915"/>
                        </a:lnTo>
                        <a:lnTo>
                          <a:pt x="1283" y="914"/>
                        </a:lnTo>
                        <a:lnTo>
                          <a:pt x="1283" y="912"/>
                        </a:lnTo>
                        <a:lnTo>
                          <a:pt x="1276" y="914"/>
                        </a:lnTo>
                        <a:lnTo>
                          <a:pt x="1271" y="914"/>
                        </a:lnTo>
                        <a:lnTo>
                          <a:pt x="1266" y="912"/>
                        </a:lnTo>
                        <a:lnTo>
                          <a:pt x="1263" y="912"/>
                        </a:lnTo>
                        <a:lnTo>
                          <a:pt x="1258" y="909"/>
                        </a:lnTo>
                        <a:lnTo>
                          <a:pt x="1256" y="912"/>
                        </a:lnTo>
                        <a:lnTo>
                          <a:pt x="1258" y="915"/>
                        </a:lnTo>
                        <a:lnTo>
                          <a:pt x="1256" y="917"/>
                        </a:lnTo>
                        <a:lnTo>
                          <a:pt x="1256" y="920"/>
                        </a:lnTo>
                        <a:lnTo>
                          <a:pt x="1258" y="924"/>
                        </a:lnTo>
                        <a:lnTo>
                          <a:pt x="1265" y="925"/>
                        </a:lnTo>
                        <a:lnTo>
                          <a:pt x="1266" y="929"/>
                        </a:lnTo>
                        <a:lnTo>
                          <a:pt x="1263" y="935"/>
                        </a:lnTo>
                        <a:lnTo>
                          <a:pt x="1260" y="935"/>
                        </a:lnTo>
                        <a:lnTo>
                          <a:pt x="1248" y="943"/>
                        </a:lnTo>
                        <a:lnTo>
                          <a:pt x="1243" y="948"/>
                        </a:lnTo>
                        <a:lnTo>
                          <a:pt x="1238" y="955"/>
                        </a:lnTo>
                        <a:lnTo>
                          <a:pt x="1235" y="953"/>
                        </a:lnTo>
                        <a:lnTo>
                          <a:pt x="1231" y="957"/>
                        </a:lnTo>
                        <a:lnTo>
                          <a:pt x="1228" y="962"/>
                        </a:lnTo>
                        <a:lnTo>
                          <a:pt x="1225" y="963"/>
                        </a:lnTo>
                        <a:lnTo>
                          <a:pt x="1210" y="960"/>
                        </a:lnTo>
                        <a:lnTo>
                          <a:pt x="1206" y="955"/>
                        </a:lnTo>
                        <a:lnTo>
                          <a:pt x="1203" y="950"/>
                        </a:lnTo>
                        <a:lnTo>
                          <a:pt x="1196" y="948"/>
                        </a:lnTo>
                        <a:lnTo>
                          <a:pt x="1196" y="945"/>
                        </a:lnTo>
                        <a:lnTo>
                          <a:pt x="1198" y="945"/>
                        </a:lnTo>
                        <a:lnTo>
                          <a:pt x="1201" y="943"/>
                        </a:lnTo>
                        <a:lnTo>
                          <a:pt x="1198" y="942"/>
                        </a:lnTo>
                        <a:lnTo>
                          <a:pt x="1193" y="940"/>
                        </a:lnTo>
                        <a:lnTo>
                          <a:pt x="1188" y="932"/>
                        </a:lnTo>
                        <a:lnTo>
                          <a:pt x="1183" y="929"/>
                        </a:lnTo>
                        <a:lnTo>
                          <a:pt x="1173" y="929"/>
                        </a:lnTo>
                        <a:lnTo>
                          <a:pt x="1167" y="924"/>
                        </a:lnTo>
                        <a:lnTo>
                          <a:pt x="1155" y="924"/>
                        </a:lnTo>
                        <a:lnTo>
                          <a:pt x="1150" y="922"/>
                        </a:lnTo>
                        <a:lnTo>
                          <a:pt x="1150" y="925"/>
                        </a:lnTo>
                        <a:lnTo>
                          <a:pt x="1153" y="929"/>
                        </a:lnTo>
                        <a:lnTo>
                          <a:pt x="1155" y="927"/>
                        </a:lnTo>
                        <a:lnTo>
                          <a:pt x="1158" y="925"/>
                        </a:lnTo>
                        <a:lnTo>
                          <a:pt x="1168" y="929"/>
                        </a:lnTo>
                        <a:lnTo>
                          <a:pt x="1178" y="929"/>
                        </a:lnTo>
                        <a:lnTo>
                          <a:pt x="1182" y="930"/>
                        </a:lnTo>
                        <a:lnTo>
                          <a:pt x="1182" y="933"/>
                        </a:lnTo>
                        <a:lnTo>
                          <a:pt x="1180" y="933"/>
                        </a:lnTo>
                        <a:lnTo>
                          <a:pt x="1178" y="935"/>
                        </a:lnTo>
                        <a:lnTo>
                          <a:pt x="1178" y="937"/>
                        </a:lnTo>
                        <a:lnTo>
                          <a:pt x="1180" y="943"/>
                        </a:lnTo>
                        <a:lnTo>
                          <a:pt x="1182" y="943"/>
                        </a:lnTo>
                        <a:lnTo>
                          <a:pt x="1187" y="953"/>
                        </a:lnTo>
                        <a:lnTo>
                          <a:pt x="1190" y="960"/>
                        </a:lnTo>
                        <a:lnTo>
                          <a:pt x="1198" y="962"/>
                        </a:lnTo>
                        <a:lnTo>
                          <a:pt x="1208" y="963"/>
                        </a:lnTo>
                        <a:lnTo>
                          <a:pt x="1226" y="968"/>
                        </a:lnTo>
                        <a:lnTo>
                          <a:pt x="1226" y="973"/>
                        </a:lnTo>
                        <a:lnTo>
                          <a:pt x="1225" y="975"/>
                        </a:lnTo>
                        <a:lnTo>
                          <a:pt x="1218" y="978"/>
                        </a:lnTo>
                        <a:lnTo>
                          <a:pt x="1215" y="980"/>
                        </a:lnTo>
                        <a:lnTo>
                          <a:pt x="1208" y="988"/>
                        </a:lnTo>
                        <a:lnTo>
                          <a:pt x="1206" y="987"/>
                        </a:lnTo>
                        <a:lnTo>
                          <a:pt x="1205" y="988"/>
                        </a:lnTo>
                        <a:lnTo>
                          <a:pt x="1203" y="990"/>
                        </a:lnTo>
                        <a:lnTo>
                          <a:pt x="1188" y="1005"/>
                        </a:lnTo>
                        <a:lnTo>
                          <a:pt x="1182" y="1008"/>
                        </a:lnTo>
                        <a:lnTo>
                          <a:pt x="1178" y="1015"/>
                        </a:lnTo>
                        <a:lnTo>
                          <a:pt x="1173" y="1015"/>
                        </a:lnTo>
                        <a:lnTo>
                          <a:pt x="1172" y="1013"/>
                        </a:lnTo>
                        <a:lnTo>
                          <a:pt x="1168" y="1013"/>
                        </a:lnTo>
                        <a:lnTo>
                          <a:pt x="1168" y="1017"/>
                        </a:lnTo>
                        <a:lnTo>
                          <a:pt x="1162" y="1010"/>
                        </a:lnTo>
                        <a:lnTo>
                          <a:pt x="1158" y="1008"/>
                        </a:lnTo>
                        <a:lnTo>
                          <a:pt x="1155" y="1012"/>
                        </a:lnTo>
                        <a:lnTo>
                          <a:pt x="1153" y="1008"/>
                        </a:lnTo>
                        <a:lnTo>
                          <a:pt x="1152" y="1008"/>
                        </a:lnTo>
                        <a:lnTo>
                          <a:pt x="1155" y="1003"/>
                        </a:lnTo>
                        <a:lnTo>
                          <a:pt x="1153" y="1002"/>
                        </a:lnTo>
                        <a:lnTo>
                          <a:pt x="1153" y="1000"/>
                        </a:lnTo>
                        <a:lnTo>
                          <a:pt x="1148" y="1003"/>
                        </a:lnTo>
                        <a:lnTo>
                          <a:pt x="1145" y="1012"/>
                        </a:lnTo>
                        <a:lnTo>
                          <a:pt x="1145" y="1007"/>
                        </a:lnTo>
                        <a:lnTo>
                          <a:pt x="1142" y="1000"/>
                        </a:lnTo>
                        <a:lnTo>
                          <a:pt x="1140" y="1007"/>
                        </a:lnTo>
                        <a:lnTo>
                          <a:pt x="1142" y="1010"/>
                        </a:lnTo>
                        <a:lnTo>
                          <a:pt x="1142" y="1017"/>
                        </a:lnTo>
                        <a:lnTo>
                          <a:pt x="1135" y="1025"/>
                        </a:lnTo>
                        <a:lnTo>
                          <a:pt x="1132" y="1023"/>
                        </a:lnTo>
                        <a:lnTo>
                          <a:pt x="1132" y="1022"/>
                        </a:lnTo>
                        <a:lnTo>
                          <a:pt x="1128" y="1017"/>
                        </a:lnTo>
                        <a:lnTo>
                          <a:pt x="1127" y="1020"/>
                        </a:lnTo>
                        <a:lnTo>
                          <a:pt x="1130" y="1022"/>
                        </a:lnTo>
                        <a:lnTo>
                          <a:pt x="1125" y="1025"/>
                        </a:lnTo>
                        <a:lnTo>
                          <a:pt x="1125" y="1030"/>
                        </a:lnTo>
                        <a:lnTo>
                          <a:pt x="1123" y="1028"/>
                        </a:lnTo>
                        <a:lnTo>
                          <a:pt x="1118" y="1027"/>
                        </a:lnTo>
                        <a:lnTo>
                          <a:pt x="1117" y="1023"/>
                        </a:lnTo>
                        <a:lnTo>
                          <a:pt x="1113" y="1020"/>
                        </a:lnTo>
                        <a:lnTo>
                          <a:pt x="1108" y="1015"/>
                        </a:lnTo>
                        <a:lnTo>
                          <a:pt x="1098" y="1012"/>
                        </a:lnTo>
                        <a:lnTo>
                          <a:pt x="1090" y="1007"/>
                        </a:lnTo>
                        <a:lnTo>
                          <a:pt x="1087" y="1000"/>
                        </a:lnTo>
                        <a:lnTo>
                          <a:pt x="1084" y="1000"/>
                        </a:lnTo>
                        <a:lnTo>
                          <a:pt x="1077" y="995"/>
                        </a:lnTo>
                        <a:lnTo>
                          <a:pt x="1074" y="992"/>
                        </a:lnTo>
                        <a:lnTo>
                          <a:pt x="1074" y="998"/>
                        </a:lnTo>
                        <a:lnTo>
                          <a:pt x="1069" y="997"/>
                        </a:lnTo>
                        <a:lnTo>
                          <a:pt x="1072" y="1003"/>
                        </a:lnTo>
                        <a:lnTo>
                          <a:pt x="1077" y="1007"/>
                        </a:lnTo>
                        <a:lnTo>
                          <a:pt x="1079" y="1005"/>
                        </a:lnTo>
                        <a:lnTo>
                          <a:pt x="1075" y="1002"/>
                        </a:lnTo>
                        <a:lnTo>
                          <a:pt x="1077" y="1000"/>
                        </a:lnTo>
                        <a:lnTo>
                          <a:pt x="1079" y="1000"/>
                        </a:lnTo>
                        <a:lnTo>
                          <a:pt x="1088" y="1008"/>
                        </a:lnTo>
                        <a:lnTo>
                          <a:pt x="1097" y="1013"/>
                        </a:lnTo>
                        <a:lnTo>
                          <a:pt x="1098" y="1017"/>
                        </a:lnTo>
                        <a:lnTo>
                          <a:pt x="1092" y="1020"/>
                        </a:lnTo>
                        <a:lnTo>
                          <a:pt x="1087" y="1020"/>
                        </a:lnTo>
                        <a:lnTo>
                          <a:pt x="1084" y="1020"/>
                        </a:lnTo>
                        <a:lnTo>
                          <a:pt x="1084" y="1022"/>
                        </a:lnTo>
                        <a:lnTo>
                          <a:pt x="1084" y="1023"/>
                        </a:lnTo>
                        <a:lnTo>
                          <a:pt x="1087" y="1022"/>
                        </a:lnTo>
                        <a:lnTo>
                          <a:pt x="1097" y="1022"/>
                        </a:lnTo>
                        <a:lnTo>
                          <a:pt x="1102" y="1017"/>
                        </a:lnTo>
                        <a:lnTo>
                          <a:pt x="1103" y="1017"/>
                        </a:lnTo>
                        <a:lnTo>
                          <a:pt x="1107" y="1020"/>
                        </a:lnTo>
                        <a:lnTo>
                          <a:pt x="1107" y="1025"/>
                        </a:lnTo>
                        <a:lnTo>
                          <a:pt x="1117" y="1035"/>
                        </a:lnTo>
                        <a:lnTo>
                          <a:pt x="1115" y="1045"/>
                        </a:lnTo>
                        <a:lnTo>
                          <a:pt x="1110" y="1051"/>
                        </a:lnTo>
                        <a:lnTo>
                          <a:pt x="1105" y="1051"/>
                        </a:lnTo>
                        <a:lnTo>
                          <a:pt x="1103" y="1053"/>
                        </a:lnTo>
                        <a:lnTo>
                          <a:pt x="1097" y="1053"/>
                        </a:lnTo>
                        <a:lnTo>
                          <a:pt x="1093" y="1050"/>
                        </a:lnTo>
                        <a:lnTo>
                          <a:pt x="1082" y="1048"/>
                        </a:lnTo>
                        <a:lnTo>
                          <a:pt x="1075" y="1041"/>
                        </a:lnTo>
                        <a:lnTo>
                          <a:pt x="1074" y="1033"/>
                        </a:lnTo>
                        <a:lnTo>
                          <a:pt x="1070" y="1031"/>
                        </a:lnTo>
                        <a:lnTo>
                          <a:pt x="1069" y="1033"/>
                        </a:lnTo>
                        <a:lnTo>
                          <a:pt x="1070" y="1035"/>
                        </a:lnTo>
                        <a:lnTo>
                          <a:pt x="1070" y="1040"/>
                        </a:lnTo>
                        <a:lnTo>
                          <a:pt x="1074" y="1045"/>
                        </a:lnTo>
                        <a:lnTo>
                          <a:pt x="1077" y="1053"/>
                        </a:lnTo>
                        <a:lnTo>
                          <a:pt x="1082" y="1061"/>
                        </a:lnTo>
                        <a:lnTo>
                          <a:pt x="1079" y="1063"/>
                        </a:lnTo>
                        <a:lnTo>
                          <a:pt x="1077" y="1061"/>
                        </a:lnTo>
                        <a:lnTo>
                          <a:pt x="1072" y="1063"/>
                        </a:lnTo>
                        <a:lnTo>
                          <a:pt x="1070" y="1056"/>
                        </a:lnTo>
                        <a:lnTo>
                          <a:pt x="1070" y="1060"/>
                        </a:lnTo>
                        <a:lnTo>
                          <a:pt x="1067" y="1061"/>
                        </a:lnTo>
                        <a:lnTo>
                          <a:pt x="1069" y="1063"/>
                        </a:lnTo>
                        <a:lnTo>
                          <a:pt x="1074" y="1065"/>
                        </a:lnTo>
                        <a:lnTo>
                          <a:pt x="1075" y="1068"/>
                        </a:lnTo>
                        <a:lnTo>
                          <a:pt x="1065" y="1066"/>
                        </a:lnTo>
                        <a:lnTo>
                          <a:pt x="1064" y="1065"/>
                        </a:lnTo>
                        <a:lnTo>
                          <a:pt x="1064" y="1068"/>
                        </a:lnTo>
                        <a:lnTo>
                          <a:pt x="1067" y="1070"/>
                        </a:lnTo>
                        <a:lnTo>
                          <a:pt x="1067" y="1073"/>
                        </a:lnTo>
                        <a:lnTo>
                          <a:pt x="1062" y="1078"/>
                        </a:lnTo>
                        <a:lnTo>
                          <a:pt x="1062" y="1073"/>
                        </a:lnTo>
                        <a:lnTo>
                          <a:pt x="1059" y="1073"/>
                        </a:lnTo>
                        <a:lnTo>
                          <a:pt x="1060" y="1075"/>
                        </a:lnTo>
                        <a:lnTo>
                          <a:pt x="1060" y="1078"/>
                        </a:lnTo>
                        <a:lnTo>
                          <a:pt x="1059" y="1076"/>
                        </a:lnTo>
                        <a:lnTo>
                          <a:pt x="1052" y="1076"/>
                        </a:lnTo>
                        <a:lnTo>
                          <a:pt x="1050" y="1080"/>
                        </a:lnTo>
                        <a:lnTo>
                          <a:pt x="1042" y="1081"/>
                        </a:lnTo>
                        <a:lnTo>
                          <a:pt x="1047" y="1083"/>
                        </a:lnTo>
                        <a:lnTo>
                          <a:pt x="1047" y="1086"/>
                        </a:lnTo>
                        <a:lnTo>
                          <a:pt x="1045" y="1088"/>
                        </a:lnTo>
                        <a:lnTo>
                          <a:pt x="1044" y="1086"/>
                        </a:lnTo>
                        <a:lnTo>
                          <a:pt x="1039" y="1081"/>
                        </a:lnTo>
                        <a:lnTo>
                          <a:pt x="1035" y="1081"/>
                        </a:lnTo>
                        <a:lnTo>
                          <a:pt x="1035" y="1085"/>
                        </a:lnTo>
                        <a:lnTo>
                          <a:pt x="1032" y="1085"/>
                        </a:lnTo>
                        <a:lnTo>
                          <a:pt x="1039" y="1090"/>
                        </a:lnTo>
                        <a:lnTo>
                          <a:pt x="1035" y="1091"/>
                        </a:lnTo>
                        <a:lnTo>
                          <a:pt x="1035" y="1095"/>
                        </a:lnTo>
                        <a:lnTo>
                          <a:pt x="1032" y="1095"/>
                        </a:lnTo>
                        <a:lnTo>
                          <a:pt x="1027" y="1100"/>
                        </a:lnTo>
                        <a:lnTo>
                          <a:pt x="1022" y="1103"/>
                        </a:lnTo>
                        <a:lnTo>
                          <a:pt x="1024" y="1105"/>
                        </a:lnTo>
                        <a:lnTo>
                          <a:pt x="1022" y="1108"/>
                        </a:lnTo>
                        <a:lnTo>
                          <a:pt x="1020" y="1108"/>
                        </a:lnTo>
                        <a:lnTo>
                          <a:pt x="1017" y="1111"/>
                        </a:lnTo>
                        <a:lnTo>
                          <a:pt x="1017" y="1115"/>
                        </a:lnTo>
                        <a:lnTo>
                          <a:pt x="1014" y="1116"/>
                        </a:lnTo>
                        <a:lnTo>
                          <a:pt x="1007" y="1123"/>
                        </a:lnTo>
                        <a:lnTo>
                          <a:pt x="1002" y="1125"/>
                        </a:lnTo>
                        <a:lnTo>
                          <a:pt x="1000" y="1128"/>
                        </a:lnTo>
                        <a:lnTo>
                          <a:pt x="995" y="1133"/>
                        </a:lnTo>
                        <a:lnTo>
                          <a:pt x="990" y="1130"/>
                        </a:lnTo>
                        <a:lnTo>
                          <a:pt x="990" y="1133"/>
                        </a:lnTo>
                        <a:lnTo>
                          <a:pt x="992" y="1138"/>
                        </a:lnTo>
                        <a:lnTo>
                          <a:pt x="989" y="1141"/>
                        </a:lnTo>
                        <a:lnTo>
                          <a:pt x="987" y="1149"/>
                        </a:lnTo>
                        <a:lnTo>
                          <a:pt x="984" y="1153"/>
                        </a:lnTo>
                        <a:lnTo>
                          <a:pt x="982" y="1159"/>
                        </a:lnTo>
                        <a:lnTo>
                          <a:pt x="977" y="1161"/>
                        </a:lnTo>
                        <a:lnTo>
                          <a:pt x="974" y="1169"/>
                        </a:lnTo>
                        <a:lnTo>
                          <a:pt x="976" y="1171"/>
                        </a:lnTo>
                        <a:lnTo>
                          <a:pt x="976" y="1178"/>
                        </a:lnTo>
                        <a:lnTo>
                          <a:pt x="972" y="1184"/>
                        </a:lnTo>
                        <a:lnTo>
                          <a:pt x="971" y="1189"/>
                        </a:lnTo>
                        <a:lnTo>
                          <a:pt x="966" y="1189"/>
                        </a:lnTo>
                        <a:lnTo>
                          <a:pt x="964" y="1193"/>
                        </a:lnTo>
                        <a:lnTo>
                          <a:pt x="969" y="1193"/>
                        </a:lnTo>
                        <a:lnTo>
                          <a:pt x="971" y="1196"/>
                        </a:lnTo>
                        <a:lnTo>
                          <a:pt x="969" y="1199"/>
                        </a:lnTo>
                        <a:lnTo>
                          <a:pt x="971" y="1203"/>
                        </a:lnTo>
                        <a:lnTo>
                          <a:pt x="971" y="1208"/>
                        </a:lnTo>
                        <a:lnTo>
                          <a:pt x="972" y="1209"/>
                        </a:lnTo>
                        <a:lnTo>
                          <a:pt x="969" y="1219"/>
                        </a:lnTo>
                        <a:lnTo>
                          <a:pt x="962" y="1226"/>
                        </a:lnTo>
                        <a:lnTo>
                          <a:pt x="949" y="1228"/>
                        </a:lnTo>
                        <a:lnTo>
                          <a:pt x="947" y="1232"/>
                        </a:lnTo>
                        <a:lnTo>
                          <a:pt x="954" y="1228"/>
                        </a:lnTo>
                        <a:lnTo>
                          <a:pt x="966" y="1226"/>
                        </a:lnTo>
                        <a:lnTo>
                          <a:pt x="974" y="1218"/>
                        </a:lnTo>
                        <a:lnTo>
                          <a:pt x="979" y="1206"/>
                        </a:lnTo>
                        <a:lnTo>
                          <a:pt x="994" y="1206"/>
                        </a:lnTo>
                        <a:lnTo>
                          <a:pt x="997" y="1208"/>
                        </a:lnTo>
                        <a:lnTo>
                          <a:pt x="997" y="1211"/>
                        </a:lnTo>
                        <a:lnTo>
                          <a:pt x="995" y="1216"/>
                        </a:lnTo>
                        <a:lnTo>
                          <a:pt x="995" y="1221"/>
                        </a:lnTo>
                        <a:lnTo>
                          <a:pt x="999" y="1228"/>
                        </a:lnTo>
                        <a:lnTo>
                          <a:pt x="999" y="1236"/>
                        </a:lnTo>
                        <a:lnTo>
                          <a:pt x="994" y="1244"/>
                        </a:lnTo>
                        <a:lnTo>
                          <a:pt x="997" y="1247"/>
                        </a:lnTo>
                        <a:lnTo>
                          <a:pt x="999" y="1257"/>
                        </a:lnTo>
                        <a:lnTo>
                          <a:pt x="997" y="1261"/>
                        </a:lnTo>
                        <a:lnTo>
                          <a:pt x="982" y="1274"/>
                        </a:lnTo>
                        <a:lnTo>
                          <a:pt x="976" y="1276"/>
                        </a:lnTo>
                        <a:lnTo>
                          <a:pt x="971" y="1276"/>
                        </a:lnTo>
                        <a:lnTo>
                          <a:pt x="976" y="1277"/>
                        </a:lnTo>
                        <a:lnTo>
                          <a:pt x="982" y="1277"/>
                        </a:lnTo>
                        <a:lnTo>
                          <a:pt x="1000" y="1272"/>
                        </a:lnTo>
                        <a:lnTo>
                          <a:pt x="1017" y="1267"/>
                        </a:lnTo>
                        <a:lnTo>
                          <a:pt x="1025" y="1266"/>
                        </a:lnTo>
                        <a:lnTo>
                          <a:pt x="1037" y="1272"/>
                        </a:lnTo>
                        <a:lnTo>
                          <a:pt x="1044" y="1279"/>
                        </a:lnTo>
                        <a:lnTo>
                          <a:pt x="1055" y="1282"/>
                        </a:lnTo>
                        <a:lnTo>
                          <a:pt x="1057" y="1284"/>
                        </a:lnTo>
                        <a:lnTo>
                          <a:pt x="1062" y="1286"/>
                        </a:lnTo>
                        <a:lnTo>
                          <a:pt x="1070" y="1292"/>
                        </a:lnTo>
                        <a:lnTo>
                          <a:pt x="1074" y="1294"/>
                        </a:lnTo>
                        <a:lnTo>
                          <a:pt x="1077" y="1301"/>
                        </a:lnTo>
                        <a:lnTo>
                          <a:pt x="1082" y="1302"/>
                        </a:lnTo>
                        <a:lnTo>
                          <a:pt x="1082" y="1306"/>
                        </a:lnTo>
                        <a:lnTo>
                          <a:pt x="1085" y="1309"/>
                        </a:lnTo>
                        <a:lnTo>
                          <a:pt x="1088" y="1317"/>
                        </a:lnTo>
                        <a:lnTo>
                          <a:pt x="1088" y="1319"/>
                        </a:lnTo>
                        <a:lnTo>
                          <a:pt x="1092" y="1317"/>
                        </a:lnTo>
                        <a:lnTo>
                          <a:pt x="1093" y="1321"/>
                        </a:lnTo>
                        <a:lnTo>
                          <a:pt x="1103" y="1326"/>
                        </a:lnTo>
                        <a:lnTo>
                          <a:pt x="1107" y="1327"/>
                        </a:lnTo>
                        <a:lnTo>
                          <a:pt x="1113" y="1330"/>
                        </a:lnTo>
                        <a:lnTo>
                          <a:pt x="1118" y="1332"/>
                        </a:lnTo>
                        <a:lnTo>
                          <a:pt x="1125" y="1339"/>
                        </a:lnTo>
                        <a:lnTo>
                          <a:pt x="1127" y="1342"/>
                        </a:lnTo>
                        <a:lnTo>
                          <a:pt x="1133" y="1347"/>
                        </a:lnTo>
                        <a:lnTo>
                          <a:pt x="1132" y="1349"/>
                        </a:lnTo>
                        <a:lnTo>
                          <a:pt x="1133" y="1350"/>
                        </a:lnTo>
                        <a:lnTo>
                          <a:pt x="1142" y="1350"/>
                        </a:lnTo>
                        <a:lnTo>
                          <a:pt x="1143" y="1352"/>
                        </a:lnTo>
                        <a:lnTo>
                          <a:pt x="1148" y="1350"/>
                        </a:lnTo>
                        <a:lnTo>
                          <a:pt x="1160" y="1350"/>
                        </a:lnTo>
                        <a:lnTo>
                          <a:pt x="1162" y="1354"/>
                        </a:lnTo>
                        <a:lnTo>
                          <a:pt x="1163" y="1354"/>
                        </a:lnTo>
                        <a:lnTo>
                          <a:pt x="1172" y="1355"/>
                        </a:lnTo>
                        <a:lnTo>
                          <a:pt x="1180" y="1357"/>
                        </a:lnTo>
                        <a:lnTo>
                          <a:pt x="1185" y="1355"/>
                        </a:lnTo>
                        <a:lnTo>
                          <a:pt x="1188" y="1355"/>
                        </a:lnTo>
                        <a:lnTo>
                          <a:pt x="1188" y="1357"/>
                        </a:lnTo>
                        <a:lnTo>
                          <a:pt x="1190" y="1355"/>
                        </a:lnTo>
                        <a:lnTo>
                          <a:pt x="1193" y="1355"/>
                        </a:lnTo>
                        <a:lnTo>
                          <a:pt x="1193" y="1362"/>
                        </a:lnTo>
                        <a:lnTo>
                          <a:pt x="1187" y="1372"/>
                        </a:lnTo>
                        <a:lnTo>
                          <a:pt x="1187" y="1377"/>
                        </a:lnTo>
                        <a:lnTo>
                          <a:pt x="1183" y="1380"/>
                        </a:lnTo>
                        <a:lnTo>
                          <a:pt x="1180" y="1387"/>
                        </a:lnTo>
                        <a:lnTo>
                          <a:pt x="1182" y="1392"/>
                        </a:lnTo>
                        <a:lnTo>
                          <a:pt x="1183" y="1392"/>
                        </a:lnTo>
                        <a:lnTo>
                          <a:pt x="1183" y="1402"/>
                        </a:lnTo>
                        <a:lnTo>
                          <a:pt x="1177" y="1410"/>
                        </a:lnTo>
                        <a:lnTo>
                          <a:pt x="1177" y="1415"/>
                        </a:lnTo>
                        <a:lnTo>
                          <a:pt x="1175" y="1420"/>
                        </a:lnTo>
                        <a:lnTo>
                          <a:pt x="1170" y="1424"/>
                        </a:lnTo>
                        <a:lnTo>
                          <a:pt x="1167" y="1433"/>
                        </a:lnTo>
                        <a:lnTo>
                          <a:pt x="1170" y="1437"/>
                        </a:lnTo>
                        <a:lnTo>
                          <a:pt x="1175" y="1440"/>
                        </a:lnTo>
                        <a:lnTo>
                          <a:pt x="1175" y="1445"/>
                        </a:lnTo>
                        <a:lnTo>
                          <a:pt x="1178" y="1447"/>
                        </a:lnTo>
                        <a:lnTo>
                          <a:pt x="1180" y="1450"/>
                        </a:lnTo>
                        <a:lnTo>
                          <a:pt x="1180" y="1453"/>
                        </a:lnTo>
                        <a:lnTo>
                          <a:pt x="1180" y="1457"/>
                        </a:lnTo>
                        <a:lnTo>
                          <a:pt x="1180" y="1458"/>
                        </a:lnTo>
                        <a:lnTo>
                          <a:pt x="1185" y="1460"/>
                        </a:lnTo>
                        <a:lnTo>
                          <a:pt x="1190" y="1463"/>
                        </a:lnTo>
                        <a:lnTo>
                          <a:pt x="1191" y="1463"/>
                        </a:lnTo>
                        <a:lnTo>
                          <a:pt x="1191" y="1467"/>
                        </a:lnTo>
                        <a:lnTo>
                          <a:pt x="1195" y="1470"/>
                        </a:lnTo>
                        <a:lnTo>
                          <a:pt x="1196" y="1477"/>
                        </a:lnTo>
                        <a:lnTo>
                          <a:pt x="1196" y="1480"/>
                        </a:lnTo>
                        <a:lnTo>
                          <a:pt x="1195" y="1487"/>
                        </a:lnTo>
                        <a:lnTo>
                          <a:pt x="1187" y="1493"/>
                        </a:lnTo>
                        <a:lnTo>
                          <a:pt x="1193" y="1490"/>
                        </a:lnTo>
                        <a:lnTo>
                          <a:pt x="1198" y="1487"/>
                        </a:lnTo>
                        <a:lnTo>
                          <a:pt x="1205" y="1488"/>
                        </a:lnTo>
                        <a:lnTo>
                          <a:pt x="1210" y="1492"/>
                        </a:lnTo>
                        <a:lnTo>
                          <a:pt x="1213" y="1492"/>
                        </a:lnTo>
                        <a:lnTo>
                          <a:pt x="1215" y="1488"/>
                        </a:lnTo>
                        <a:lnTo>
                          <a:pt x="1215" y="1485"/>
                        </a:lnTo>
                        <a:lnTo>
                          <a:pt x="1223" y="1475"/>
                        </a:lnTo>
                        <a:lnTo>
                          <a:pt x="1225" y="1475"/>
                        </a:lnTo>
                        <a:lnTo>
                          <a:pt x="1225" y="1480"/>
                        </a:lnTo>
                        <a:lnTo>
                          <a:pt x="1225" y="1482"/>
                        </a:lnTo>
                        <a:lnTo>
                          <a:pt x="1228" y="1482"/>
                        </a:lnTo>
                        <a:lnTo>
                          <a:pt x="1230" y="1490"/>
                        </a:lnTo>
                        <a:lnTo>
                          <a:pt x="1228" y="1497"/>
                        </a:lnTo>
                        <a:lnTo>
                          <a:pt x="1235" y="1500"/>
                        </a:lnTo>
                        <a:lnTo>
                          <a:pt x="1243" y="1500"/>
                        </a:lnTo>
                        <a:lnTo>
                          <a:pt x="1238" y="1498"/>
                        </a:lnTo>
                        <a:lnTo>
                          <a:pt x="1233" y="1493"/>
                        </a:lnTo>
                        <a:lnTo>
                          <a:pt x="1231" y="1488"/>
                        </a:lnTo>
                        <a:lnTo>
                          <a:pt x="1233" y="1482"/>
                        </a:lnTo>
                        <a:lnTo>
                          <a:pt x="1236" y="1478"/>
                        </a:lnTo>
                        <a:lnTo>
                          <a:pt x="1233" y="1477"/>
                        </a:lnTo>
                        <a:lnTo>
                          <a:pt x="1233" y="1472"/>
                        </a:lnTo>
                        <a:lnTo>
                          <a:pt x="1235" y="1473"/>
                        </a:lnTo>
                        <a:lnTo>
                          <a:pt x="1238" y="1472"/>
                        </a:lnTo>
                        <a:lnTo>
                          <a:pt x="1240" y="1467"/>
                        </a:lnTo>
                        <a:lnTo>
                          <a:pt x="1245" y="1462"/>
                        </a:lnTo>
                        <a:lnTo>
                          <a:pt x="1243" y="1458"/>
                        </a:lnTo>
                        <a:lnTo>
                          <a:pt x="1243" y="1453"/>
                        </a:lnTo>
                        <a:lnTo>
                          <a:pt x="1240" y="1452"/>
                        </a:lnTo>
                        <a:lnTo>
                          <a:pt x="1240" y="1447"/>
                        </a:lnTo>
                        <a:lnTo>
                          <a:pt x="1245" y="1442"/>
                        </a:lnTo>
                        <a:lnTo>
                          <a:pt x="1243" y="1440"/>
                        </a:lnTo>
                        <a:lnTo>
                          <a:pt x="1243" y="1437"/>
                        </a:lnTo>
                        <a:lnTo>
                          <a:pt x="1241" y="1437"/>
                        </a:lnTo>
                        <a:lnTo>
                          <a:pt x="1240" y="1433"/>
                        </a:lnTo>
                        <a:lnTo>
                          <a:pt x="1245" y="1422"/>
                        </a:lnTo>
                        <a:lnTo>
                          <a:pt x="1243" y="1419"/>
                        </a:lnTo>
                        <a:lnTo>
                          <a:pt x="1245" y="1410"/>
                        </a:lnTo>
                        <a:lnTo>
                          <a:pt x="1246" y="1409"/>
                        </a:lnTo>
                        <a:lnTo>
                          <a:pt x="1245" y="1405"/>
                        </a:lnTo>
                        <a:lnTo>
                          <a:pt x="1248" y="1404"/>
                        </a:lnTo>
                        <a:lnTo>
                          <a:pt x="1246" y="1400"/>
                        </a:lnTo>
                        <a:lnTo>
                          <a:pt x="1248" y="1397"/>
                        </a:lnTo>
                        <a:lnTo>
                          <a:pt x="1246" y="1397"/>
                        </a:lnTo>
                        <a:lnTo>
                          <a:pt x="1245" y="1394"/>
                        </a:lnTo>
                        <a:lnTo>
                          <a:pt x="1246" y="1394"/>
                        </a:lnTo>
                        <a:lnTo>
                          <a:pt x="1245" y="1390"/>
                        </a:lnTo>
                        <a:lnTo>
                          <a:pt x="1245" y="1385"/>
                        </a:lnTo>
                        <a:lnTo>
                          <a:pt x="1243" y="1382"/>
                        </a:lnTo>
                        <a:lnTo>
                          <a:pt x="1243" y="1377"/>
                        </a:lnTo>
                        <a:lnTo>
                          <a:pt x="1241" y="1375"/>
                        </a:lnTo>
                        <a:lnTo>
                          <a:pt x="1248" y="1372"/>
                        </a:lnTo>
                        <a:lnTo>
                          <a:pt x="1256" y="1372"/>
                        </a:lnTo>
                        <a:lnTo>
                          <a:pt x="1261" y="1367"/>
                        </a:lnTo>
                        <a:lnTo>
                          <a:pt x="1268" y="1369"/>
                        </a:lnTo>
                        <a:lnTo>
                          <a:pt x="1270" y="1365"/>
                        </a:lnTo>
                        <a:lnTo>
                          <a:pt x="1280" y="1362"/>
                        </a:lnTo>
                        <a:lnTo>
                          <a:pt x="1294" y="1357"/>
                        </a:lnTo>
                        <a:lnTo>
                          <a:pt x="1294" y="1355"/>
                        </a:lnTo>
                        <a:lnTo>
                          <a:pt x="1298" y="1352"/>
                        </a:lnTo>
                        <a:lnTo>
                          <a:pt x="1309" y="1349"/>
                        </a:lnTo>
                        <a:lnTo>
                          <a:pt x="1309" y="1344"/>
                        </a:lnTo>
                        <a:lnTo>
                          <a:pt x="1316" y="1342"/>
                        </a:lnTo>
                        <a:lnTo>
                          <a:pt x="1323" y="1332"/>
                        </a:lnTo>
                        <a:lnTo>
                          <a:pt x="1324" y="1332"/>
                        </a:lnTo>
                        <a:lnTo>
                          <a:pt x="1328" y="1335"/>
                        </a:lnTo>
                        <a:lnTo>
                          <a:pt x="1333" y="1334"/>
                        </a:lnTo>
                        <a:lnTo>
                          <a:pt x="1336" y="1330"/>
                        </a:lnTo>
                        <a:lnTo>
                          <a:pt x="1331" y="1326"/>
                        </a:lnTo>
                        <a:lnTo>
                          <a:pt x="1331" y="1321"/>
                        </a:lnTo>
                        <a:lnTo>
                          <a:pt x="1328" y="1322"/>
                        </a:lnTo>
                        <a:lnTo>
                          <a:pt x="1328" y="1327"/>
                        </a:lnTo>
                        <a:lnTo>
                          <a:pt x="1324" y="1327"/>
                        </a:lnTo>
                        <a:lnTo>
                          <a:pt x="1326" y="1322"/>
                        </a:lnTo>
                        <a:lnTo>
                          <a:pt x="1331" y="1311"/>
                        </a:lnTo>
                        <a:lnTo>
                          <a:pt x="1333" y="1309"/>
                        </a:lnTo>
                        <a:lnTo>
                          <a:pt x="1333" y="1302"/>
                        </a:lnTo>
                        <a:lnTo>
                          <a:pt x="1334" y="1297"/>
                        </a:lnTo>
                        <a:lnTo>
                          <a:pt x="1329" y="1291"/>
                        </a:lnTo>
                        <a:lnTo>
                          <a:pt x="1331" y="1277"/>
                        </a:lnTo>
                        <a:lnTo>
                          <a:pt x="1329" y="1266"/>
                        </a:lnTo>
                        <a:lnTo>
                          <a:pt x="1321" y="1256"/>
                        </a:lnTo>
                        <a:lnTo>
                          <a:pt x="1316" y="1252"/>
                        </a:lnTo>
                        <a:lnTo>
                          <a:pt x="1314" y="1247"/>
                        </a:lnTo>
                        <a:lnTo>
                          <a:pt x="1309" y="1246"/>
                        </a:lnTo>
                        <a:lnTo>
                          <a:pt x="1308" y="1242"/>
                        </a:lnTo>
                        <a:lnTo>
                          <a:pt x="1311" y="1234"/>
                        </a:lnTo>
                        <a:lnTo>
                          <a:pt x="1316" y="1232"/>
                        </a:lnTo>
                        <a:lnTo>
                          <a:pt x="1329" y="1221"/>
                        </a:lnTo>
                        <a:lnTo>
                          <a:pt x="1333" y="1219"/>
                        </a:lnTo>
                        <a:lnTo>
                          <a:pt x="1336" y="1216"/>
                        </a:lnTo>
                        <a:lnTo>
                          <a:pt x="1336" y="1213"/>
                        </a:lnTo>
                        <a:lnTo>
                          <a:pt x="1334" y="1213"/>
                        </a:lnTo>
                        <a:lnTo>
                          <a:pt x="1334" y="1211"/>
                        </a:lnTo>
                        <a:lnTo>
                          <a:pt x="1339" y="1204"/>
                        </a:lnTo>
                        <a:lnTo>
                          <a:pt x="1341" y="1204"/>
                        </a:lnTo>
                        <a:lnTo>
                          <a:pt x="1344" y="1209"/>
                        </a:lnTo>
                        <a:lnTo>
                          <a:pt x="1348" y="1211"/>
                        </a:lnTo>
                        <a:lnTo>
                          <a:pt x="1346" y="1209"/>
                        </a:lnTo>
                        <a:lnTo>
                          <a:pt x="1346" y="1204"/>
                        </a:lnTo>
                        <a:lnTo>
                          <a:pt x="1351" y="1201"/>
                        </a:lnTo>
                        <a:lnTo>
                          <a:pt x="1356" y="1193"/>
                        </a:lnTo>
                        <a:lnTo>
                          <a:pt x="1356" y="1191"/>
                        </a:lnTo>
                        <a:lnTo>
                          <a:pt x="1349" y="1191"/>
                        </a:lnTo>
                        <a:lnTo>
                          <a:pt x="1349" y="1189"/>
                        </a:lnTo>
                        <a:lnTo>
                          <a:pt x="1353" y="1184"/>
                        </a:lnTo>
                        <a:lnTo>
                          <a:pt x="1351" y="1181"/>
                        </a:lnTo>
                        <a:lnTo>
                          <a:pt x="1349" y="1179"/>
                        </a:lnTo>
                        <a:lnTo>
                          <a:pt x="1353" y="1174"/>
                        </a:lnTo>
                        <a:lnTo>
                          <a:pt x="1356" y="1174"/>
                        </a:lnTo>
                        <a:lnTo>
                          <a:pt x="1351" y="1173"/>
                        </a:lnTo>
                        <a:lnTo>
                          <a:pt x="1351" y="1171"/>
                        </a:lnTo>
                        <a:lnTo>
                          <a:pt x="1353" y="1164"/>
                        </a:lnTo>
                        <a:lnTo>
                          <a:pt x="1358" y="1163"/>
                        </a:lnTo>
                        <a:lnTo>
                          <a:pt x="1354" y="1161"/>
                        </a:lnTo>
                        <a:lnTo>
                          <a:pt x="1346" y="1163"/>
                        </a:lnTo>
                        <a:lnTo>
                          <a:pt x="1344" y="1161"/>
                        </a:lnTo>
                        <a:lnTo>
                          <a:pt x="1344" y="1158"/>
                        </a:lnTo>
                        <a:lnTo>
                          <a:pt x="1354" y="1151"/>
                        </a:lnTo>
                        <a:lnTo>
                          <a:pt x="1361" y="1143"/>
                        </a:lnTo>
                        <a:lnTo>
                          <a:pt x="1363" y="1138"/>
                        </a:lnTo>
                        <a:lnTo>
                          <a:pt x="1366" y="1138"/>
                        </a:lnTo>
                        <a:lnTo>
                          <a:pt x="1368" y="1136"/>
                        </a:lnTo>
                        <a:lnTo>
                          <a:pt x="1368" y="1131"/>
                        </a:lnTo>
                        <a:lnTo>
                          <a:pt x="1364" y="1130"/>
                        </a:lnTo>
                        <a:lnTo>
                          <a:pt x="1364" y="1128"/>
                        </a:lnTo>
                        <a:lnTo>
                          <a:pt x="1363" y="1128"/>
                        </a:lnTo>
                        <a:lnTo>
                          <a:pt x="1359" y="1123"/>
                        </a:lnTo>
                        <a:lnTo>
                          <a:pt x="1359" y="1115"/>
                        </a:lnTo>
                        <a:lnTo>
                          <a:pt x="1363" y="1108"/>
                        </a:lnTo>
                        <a:lnTo>
                          <a:pt x="1363" y="1103"/>
                        </a:lnTo>
                        <a:lnTo>
                          <a:pt x="1366" y="1101"/>
                        </a:lnTo>
                        <a:lnTo>
                          <a:pt x="1368" y="1101"/>
                        </a:lnTo>
                        <a:lnTo>
                          <a:pt x="1371" y="1101"/>
                        </a:lnTo>
                        <a:lnTo>
                          <a:pt x="1371" y="1100"/>
                        </a:lnTo>
                        <a:lnTo>
                          <a:pt x="1374" y="1096"/>
                        </a:lnTo>
                        <a:lnTo>
                          <a:pt x="1378" y="1096"/>
                        </a:lnTo>
                        <a:lnTo>
                          <a:pt x="1381" y="1095"/>
                        </a:lnTo>
                        <a:lnTo>
                          <a:pt x="1383" y="1096"/>
                        </a:lnTo>
                        <a:lnTo>
                          <a:pt x="1391" y="1096"/>
                        </a:lnTo>
                        <a:lnTo>
                          <a:pt x="1399" y="1101"/>
                        </a:lnTo>
                        <a:lnTo>
                          <a:pt x="1411" y="1106"/>
                        </a:lnTo>
                        <a:lnTo>
                          <a:pt x="1416" y="1106"/>
                        </a:lnTo>
                        <a:lnTo>
                          <a:pt x="1414" y="1110"/>
                        </a:lnTo>
                        <a:lnTo>
                          <a:pt x="1409" y="1113"/>
                        </a:lnTo>
                        <a:lnTo>
                          <a:pt x="1416" y="1113"/>
                        </a:lnTo>
                        <a:lnTo>
                          <a:pt x="1422" y="1108"/>
                        </a:lnTo>
                        <a:lnTo>
                          <a:pt x="1427" y="1108"/>
                        </a:lnTo>
                        <a:lnTo>
                          <a:pt x="1431" y="1111"/>
                        </a:lnTo>
                        <a:lnTo>
                          <a:pt x="1434" y="1111"/>
                        </a:lnTo>
                        <a:lnTo>
                          <a:pt x="1437" y="1115"/>
                        </a:lnTo>
                        <a:lnTo>
                          <a:pt x="1437" y="1110"/>
                        </a:lnTo>
                        <a:lnTo>
                          <a:pt x="1442" y="1113"/>
                        </a:lnTo>
                        <a:lnTo>
                          <a:pt x="1446" y="1110"/>
                        </a:lnTo>
                        <a:lnTo>
                          <a:pt x="1449" y="1110"/>
                        </a:lnTo>
                        <a:lnTo>
                          <a:pt x="1456" y="1106"/>
                        </a:lnTo>
                        <a:lnTo>
                          <a:pt x="1464" y="1113"/>
                        </a:lnTo>
                        <a:lnTo>
                          <a:pt x="1464" y="1116"/>
                        </a:lnTo>
                        <a:lnTo>
                          <a:pt x="1469" y="1121"/>
                        </a:lnTo>
                        <a:lnTo>
                          <a:pt x="1474" y="1121"/>
                        </a:lnTo>
                        <a:lnTo>
                          <a:pt x="1474" y="1128"/>
                        </a:lnTo>
                        <a:lnTo>
                          <a:pt x="1471" y="1131"/>
                        </a:lnTo>
                        <a:lnTo>
                          <a:pt x="1471" y="1134"/>
                        </a:lnTo>
                        <a:lnTo>
                          <a:pt x="1474" y="1133"/>
                        </a:lnTo>
                        <a:lnTo>
                          <a:pt x="1479" y="1136"/>
                        </a:lnTo>
                        <a:lnTo>
                          <a:pt x="1482" y="1141"/>
                        </a:lnTo>
                        <a:lnTo>
                          <a:pt x="1477" y="1143"/>
                        </a:lnTo>
                        <a:lnTo>
                          <a:pt x="1482" y="1146"/>
                        </a:lnTo>
                        <a:lnTo>
                          <a:pt x="1485" y="1143"/>
                        </a:lnTo>
                        <a:lnTo>
                          <a:pt x="1489" y="1148"/>
                        </a:lnTo>
                        <a:lnTo>
                          <a:pt x="1489" y="1151"/>
                        </a:lnTo>
                        <a:lnTo>
                          <a:pt x="1485" y="1148"/>
                        </a:lnTo>
                        <a:lnTo>
                          <a:pt x="1482" y="1151"/>
                        </a:lnTo>
                        <a:lnTo>
                          <a:pt x="1479" y="1151"/>
                        </a:lnTo>
                        <a:lnTo>
                          <a:pt x="1484" y="1158"/>
                        </a:lnTo>
                        <a:lnTo>
                          <a:pt x="1484" y="1161"/>
                        </a:lnTo>
                        <a:lnTo>
                          <a:pt x="1489" y="1158"/>
                        </a:lnTo>
                        <a:lnTo>
                          <a:pt x="1489" y="1161"/>
                        </a:lnTo>
                        <a:lnTo>
                          <a:pt x="1492" y="1159"/>
                        </a:lnTo>
                        <a:lnTo>
                          <a:pt x="1500" y="1164"/>
                        </a:lnTo>
                        <a:lnTo>
                          <a:pt x="1502" y="1164"/>
                        </a:lnTo>
                        <a:lnTo>
                          <a:pt x="1505" y="1166"/>
                        </a:lnTo>
                        <a:lnTo>
                          <a:pt x="1510" y="1164"/>
                        </a:lnTo>
                        <a:lnTo>
                          <a:pt x="1515" y="1166"/>
                        </a:lnTo>
                        <a:lnTo>
                          <a:pt x="1515" y="1174"/>
                        </a:lnTo>
                        <a:lnTo>
                          <a:pt x="1517" y="1178"/>
                        </a:lnTo>
                        <a:lnTo>
                          <a:pt x="1524" y="1173"/>
                        </a:lnTo>
                        <a:lnTo>
                          <a:pt x="1524" y="1168"/>
                        </a:lnTo>
                        <a:lnTo>
                          <a:pt x="1529" y="1166"/>
                        </a:lnTo>
                        <a:lnTo>
                          <a:pt x="1529" y="1174"/>
                        </a:lnTo>
                        <a:lnTo>
                          <a:pt x="1527" y="1181"/>
                        </a:lnTo>
                        <a:lnTo>
                          <a:pt x="1520" y="1183"/>
                        </a:lnTo>
                        <a:lnTo>
                          <a:pt x="1515" y="1189"/>
                        </a:lnTo>
                        <a:lnTo>
                          <a:pt x="1517" y="1199"/>
                        </a:lnTo>
                        <a:lnTo>
                          <a:pt x="1515" y="1204"/>
                        </a:lnTo>
                        <a:lnTo>
                          <a:pt x="1514" y="1198"/>
                        </a:lnTo>
                        <a:lnTo>
                          <a:pt x="1512" y="1201"/>
                        </a:lnTo>
                        <a:lnTo>
                          <a:pt x="1510" y="1208"/>
                        </a:lnTo>
                        <a:lnTo>
                          <a:pt x="1500" y="1206"/>
                        </a:lnTo>
                        <a:lnTo>
                          <a:pt x="1487" y="1203"/>
                        </a:lnTo>
                        <a:lnTo>
                          <a:pt x="1499" y="1208"/>
                        </a:lnTo>
                        <a:lnTo>
                          <a:pt x="1507" y="1209"/>
                        </a:lnTo>
                        <a:lnTo>
                          <a:pt x="1514" y="1214"/>
                        </a:lnTo>
                        <a:lnTo>
                          <a:pt x="1514" y="1223"/>
                        </a:lnTo>
                        <a:lnTo>
                          <a:pt x="1509" y="1228"/>
                        </a:lnTo>
                        <a:lnTo>
                          <a:pt x="1509" y="1229"/>
                        </a:lnTo>
                        <a:lnTo>
                          <a:pt x="1504" y="1236"/>
                        </a:lnTo>
                        <a:lnTo>
                          <a:pt x="1505" y="1236"/>
                        </a:lnTo>
                        <a:lnTo>
                          <a:pt x="1512" y="1244"/>
                        </a:lnTo>
                        <a:lnTo>
                          <a:pt x="1515" y="1246"/>
                        </a:lnTo>
                        <a:lnTo>
                          <a:pt x="1512" y="1247"/>
                        </a:lnTo>
                        <a:lnTo>
                          <a:pt x="1504" y="1244"/>
                        </a:lnTo>
                        <a:lnTo>
                          <a:pt x="1510" y="1251"/>
                        </a:lnTo>
                        <a:lnTo>
                          <a:pt x="1514" y="1254"/>
                        </a:lnTo>
                        <a:lnTo>
                          <a:pt x="1515" y="1254"/>
                        </a:lnTo>
                        <a:lnTo>
                          <a:pt x="1514" y="1249"/>
                        </a:lnTo>
                        <a:lnTo>
                          <a:pt x="1519" y="1249"/>
                        </a:lnTo>
                        <a:lnTo>
                          <a:pt x="1524" y="1252"/>
                        </a:lnTo>
                        <a:lnTo>
                          <a:pt x="1525" y="1257"/>
                        </a:lnTo>
                        <a:lnTo>
                          <a:pt x="1525" y="1262"/>
                        </a:lnTo>
                        <a:lnTo>
                          <a:pt x="1525" y="1267"/>
                        </a:lnTo>
                        <a:lnTo>
                          <a:pt x="1520" y="1274"/>
                        </a:lnTo>
                        <a:lnTo>
                          <a:pt x="1519" y="1279"/>
                        </a:lnTo>
                        <a:lnTo>
                          <a:pt x="1515" y="1282"/>
                        </a:lnTo>
                        <a:lnTo>
                          <a:pt x="1520" y="1281"/>
                        </a:lnTo>
                        <a:lnTo>
                          <a:pt x="1527" y="1269"/>
                        </a:lnTo>
                        <a:lnTo>
                          <a:pt x="1534" y="1264"/>
                        </a:lnTo>
                        <a:lnTo>
                          <a:pt x="1535" y="1264"/>
                        </a:lnTo>
                        <a:lnTo>
                          <a:pt x="1534" y="1267"/>
                        </a:lnTo>
                        <a:lnTo>
                          <a:pt x="1535" y="1277"/>
                        </a:lnTo>
                        <a:lnTo>
                          <a:pt x="1534" y="1279"/>
                        </a:lnTo>
                        <a:lnTo>
                          <a:pt x="1534" y="1282"/>
                        </a:lnTo>
                        <a:lnTo>
                          <a:pt x="1532" y="1287"/>
                        </a:lnTo>
                        <a:lnTo>
                          <a:pt x="1537" y="1281"/>
                        </a:lnTo>
                        <a:lnTo>
                          <a:pt x="1537" y="1276"/>
                        </a:lnTo>
                        <a:lnTo>
                          <a:pt x="1544" y="1272"/>
                        </a:lnTo>
                        <a:lnTo>
                          <a:pt x="1547" y="1272"/>
                        </a:lnTo>
                        <a:lnTo>
                          <a:pt x="1552" y="1269"/>
                        </a:lnTo>
                        <a:lnTo>
                          <a:pt x="1555" y="1269"/>
                        </a:lnTo>
                        <a:lnTo>
                          <a:pt x="1555" y="1271"/>
                        </a:lnTo>
                        <a:lnTo>
                          <a:pt x="1557" y="1269"/>
                        </a:lnTo>
                        <a:lnTo>
                          <a:pt x="1562" y="1267"/>
                        </a:lnTo>
                        <a:lnTo>
                          <a:pt x="1564" y="1264"/>
                        </a:lnTo>
                        <a:lnTo>
                          <a:pt x="1565" y="1259"/>
                        </a:lnTo>
                        <a:lnTo>
                          <a:pt x="1572" y="1256"/>
                        </a:lnTo>
                        <a:lnTo>
                          <a:pt x="1575" y="1257"/>
                        </a:lnTo>
                        <a:lnTo>
                          <a:pt x="1577" y="1264"/>
                        </a:lnTo>
                        <a:lnTo>
                          <a:pt x="1577" y="1269"/>
                        </a:lnTo>
                        <a:lnTo>
                          <a:pt x="1580" y="1262"/>
                        </a:lnTo>
                        <a:lnTo>
                          <a:pt x="1579" y="1256"/>
                        </a:lnTo>
                        <a:lnTo>
                          <a:pt x="1582" y="1256"/>
                        </a:lnTo>
                        <a:lnTo>
                          <a:pt x="1580" y="1254"/>
                        </a:lnTo>
                        <a:lnTo>
                          <a:pt x="1583" y="1249"/>
                        </a:lnTo>
                        <a:lnTo>
                          <a:pt x="1587" y="1249"/>
                        </a:lnTo>
                        <a:lnTo>
                          <a:pt x="1588" y="1244"/>
                        </a:lnTo>
                        <a:lnTo>
                          <a:pt x="1592" y="1241"/>
                        </a:lnTo>
                        <a:lnTo>
                          <a:pt x="1595" y="1237"/>
                        </a:lnTo>
                        <a:lnTo>
                          <a:pt x="1597" y="1234"/>
                        </a:lnTo>
                        <a:lnTo>
                          <a:pt x="1600" y="1234"/>
                        </a:lnTo>
                        <a:lnTo>
                          <a:pt x="1603" y="1237"/>
                        </a:lnTo>
                        <a:lnTo>
                          <a:pt x="1603" y="1236"/>
                        </a:lnTo>
                        <a:lnTo>
                          <a:pt x="1602" y="1232"/>
                        </a:lnTo>
                        <a:lnTo>
                          <a:pt x="1597" y="1232"/>
                        </a:lnTo>
                        <a:lnTo>
                          <a:pt x="1597" y="1229"/>
                        </a:lnTo>
                        <a:lnTo>
                          <a:pt x="1600" y="1223"/>
                        </a:lnTo>
                        <a:lnTo>
                          <a:pt x="1603" y="1221"/>
                        </a:lnTo>
                        <a:lnTo>
                          <a:pt x="1605" y="1224"/>
                        </a:lnTo>
                        <a:lnTo>
                          <a:pt x="1605" y="1219"/>
                        </a:lnTo>
                        <a:lnTo>
                          <a:pt x="1608" y="1218"/>
                        </a:lnTo>
                        <a:lnTo>
                          <a:pt x="1608" y="1214"/>
                        </a:lnTo>
                        <a:lnTo>
                          <a:pt x="1613" y="1209"/>
                        </a:lnTo>
                        <a:lnTo>
                          <a:pt x="1617" y="1206"/>
                        </a:lnTo>
                        <a:lnTo>
                          <a:pt x="1615" y="1203"/>
                        </a:lnTo>
                        <a:lnTo>
                          <a:pt x="1620" y="1198"/>
                        </a:lnTo>
                        <a:lnTo>
                          <a:pt x="1625" y="1196"/>
                        </a:lnTo>
                        <a:lnTo>
                          <a:pt x="1627" y="1198"/>
                        </a:lnTo>
                        <a:lnTo>
                          <a:pt x="1622" y="1201"/>
                        </a:lnTo>
                        <a:lnTo>
                          <a:pt x="1627" y="1199"/>
                        </a:lnTo>
                        <a:lnTo>
                          <a:pt x="1628" y="1201"/>
                        </a:lnTo>
                        <a:lnTo>
                          <a:pt x="1625" y="1203"/>
                        </a:lnTo>
                        <a:lnTo>
                          <a:pt x="1625" y="1206"/>
                        </a:lnTo>
                        <a:lnTo>
                          <a:pt x="1628" y="1208"/>
                        </a:lnTo>
                        <a:lnTo>
                          <a:pt x="1625" y="1211"/>
                        </a:lnTo>
                        <a:lnTo>
                          <a:pt x="1622" y="1213"/>
                        </a:lnTo>
                        <a:lnTo>
                          <a:pt x="1622" y="1213"/>
                        </a:lnTo>
                        <a:lnTo>
                          <a:pt x="1625" y="1214"/>
                        </a:lnTo>
                        <a:lnTo>
                          <a:pt x="1628" y="1214"/>
                        </a:lnTo>
                        <a:lnTo>
                          <a:pt x="1627" y="1218"/>
                        </a:lnTo>
                        <a:lnTo>
                          <a:pt x="1625" y="1219"/>
                        </a:lnTo>
                        <a:lnTo>
                          <a:pt x="1628" y="1219"/>
                        </a:lnTo>
                        <a:lnTo>
                          <a:pt x="1630" y="1223"/>
                        </a:lnTo>
                        <a:lnTo>
                          <a:pt x="1627" y="1226"/>
                        </a:lnTo>
                        <a:lnTo>
                          <a:pt x="1627" y="1229"/>
                        </a:lnTo>
                        <a:lnTo>
                          <a:pt x="1632" y="1232"/>
                        </a:lnTo>
                        <a:lnTo>
                          <a:pt x="1632" y="1239"/>
                        </a:lnTo>
                        <a:lnTo>
                          <a:pt x="1630" y="1241"/>
                        </a:lnTo>
                        <a:lnTo>
                          <a:pt x="1628" y="1239"/>
                        </a:lnTo>
                        <a:lnTo>
                          <a:pt x="1625" y="1239"/>
                        </a:lnTo>
                        <a:lnTo>
                          <a:pt x="1628" y="1242"/>
                        </a:lnTo>
                        <a:lnTo>
                          <a:pt x="1628" y="1244"/>
                        </a:lnTo>
                        <a:lnTo>
                          <a:pt x="1632" y="1244"/>
                        </a:lnTo>
                        <a:lnTo>
                          <a:pt x="1633" y="1242"/>
                        </a:lnTo>
                        <a:lnTo>
                          <a:pt x="1635" y="1246"/>
                        </a:lnTo>
                        <a:lnTo>
                          <a:pt x="1638" y="1247"/>
                        </a:lnTo>
                        <a:lnTo>
                          <a:pt x="1635" y="1252"/>
                        </a:lnTo>
                        <a:lnTo>
                          <a:pt x="1630" y="1254"/>
                        </a:lnTo>
                        <a:lnTo>
                          <a:pt x="1625" y="1252"/>
                        </a:lnTo>
                        <a:lnTo>
                          <a:pt x="1622" y="1256"/>
                        </a:lnTo>
                        <a:lnTo>
                          <a:pt x="1627" y="1257"/>
                        </a:lnTo>
                        <a:lnTo>
                          <a:pt x="1637" y="1254"/>
                        </a:lnTo>
                        <a:lnTo>
                          <a:pt x="1642" y="1256"/>
                        </a:lnTo>
                        <a:lnTo>
                          <a:pt x="1640" y="1259"/>
                        </a:lnTo>
                        <a:lnTo>
                          <a:pt x="1635" y="1264"/>
                        </a:lnTo>
                        <a:lnTo>
                          <a:pt x="1638" y="1264"/>
                        </a:lnTo>
                        <a:lnTo>
                          <a:pt x="1643" y="1262"/>
                        </a:lnTo>
                        <a:lnTo>
                          <a:pt x="1643" y="1267"/>
                        </a:lnTo>
                        <a:lnTo>
                          <a:pt x="1638" y="1272"/>
                        </a:lnTo>
                        <a:lnTo>
                          <a:pt x="1632" y="1272"/>
                        </a:lnTo>
                        <a:lnTo>
                          <a:pt x="1628" y="1271"/>
                        </a:lnTo>
                        <a:lnTo>
                          <a:pt x="1625" y="1274"/>
                        </a:lnTo>
                        <a:lnTo>
                          <a:pt x="1627" y="1276"/>
                        </a:lnTo>
                        <a:lnTo>
                          <a:pt x="1625" y="1279"/>
                        </a:lnTo>
                        <a:lnTo>
                          <a:pt x="1632" y="1277"/>
                        </a:lnTo>
                        <a:lnTo>
                          <a:pt x="1640" y="1277"/>
                        </a:lnTo>
                        <a:lnTo>
                          <a:pt x="1645" y="1276"/>
                        </a:lnTo>
                        <a:lnTo>
                          <a:pt x="1647" y="1276"/>
                        </a:lnTo>
                        <a:lnTo>
                          <a:pt x="1643" y="1279"/>
                        </a:lnTo>
                        <a:lnTo>
                          <a:pt x="1643" y="1281"/>
                        </a:lnTo>
                        <a:lnTo>
                          <a:pt x="1638" y="1284"/>
                        </a:lnTo>
                        <a:lnTo>
                          <a:pt x="1635" y="1284"/>
                        </a:lnTo>
                        <a:lnTo>
                          <a:pt x="1627" y="1292"/>
                        </a:lnTo>
                        <a:lnTo>
                          <a:pt x="1635" y="1289"/>
                        </a:lnTo>
                        <a:lnTo>
                          <a:pt x="1640" y="1289"/>
                        </a:lnTo>
                        <a:lnTo>
                          <a:pt x="1643" y="1287"/>
                        </a:lnTo>
                        <a:lnTo>
                          <a:pt x="1648" y="1287"/>
                        </a:lnTo>
                        <a:lnTo>
                          <a:pt x="1648" y="1292"/>
                        </a:lnTo>
                        <a:lnTo>
                          <a:pt x="1645" y="1292"/>
                        </a:lnTo>
                        <a:lnTo>
                          <a:pt x="1640" y="1296"/>
                        </a:lnTo>
                        <a:lnTo>
                          <a:pt x="1638" y="1299"/>
                        </a:lnTo>
                        <a:lnTo>
                          <a:pt x="1640" y="1297"/>
                        </a:lnTo>
                        <a:lnTo>
                          <a:pt x="1645" y="1299"/>
                        </a:lnTo>
                        <a:lnTo>
                          <a:pt x="1648" y="1296"/>
                        </a:lnTo>
                        <a:lnTo>
                          <a:pt x="1653" y="1299"/>
                        </a:lnTo>
                        <a:lnTo>
                          <a:pt x="1655" y="1307"/>
                        </a:lnTo>
                        <a:lnTo>
                          <a:pt x="1650" y="1311"/>
                        </a:lnTo>
                        <a:lnTo>
                          <a:pt x="1647" y="1309"/>
                        </a:lnTo>
                        <a:lnTo>
                          <a:pt x="1645" y="1311"/>
                        </a:lnTo>
                        <a:lnTo>
                          <a:pt x="1640" y="1311"/>
                        </a:lnTo>
                        <a:lnTo>
                          <a:pt x="1643" y="1314"/>
                        </a:lnTo>
                        <a:lnTo>
                          <a:pt x="1647" y="1314"/>
                        </a:lnTo>
                        <a:lnTo>
                          <a:pt x="1648" y="1314"/>
                        </a:lnTo>
                        <a:lnTo>
                          <a:pt x="1653" y="1314"/>
                        </a:lnTo>
                        <a:lnTo>
                          <a:pt x="1655" y="1317"/>
                        </a:lnTo>
                        <a:lnTo>
                          <a:pt x="1655" y="1321"/>
                        </a:lnTo>
                        <a:lnTo>
                          <a:pt x="1652" y="1322"/>
                        </a:lnTo>
                        <a:lnTo>
                          <a:pt x="1655" y="1324"/>
                        </a:lnTo>
                        <a:lnTo>
                          <a:pt x="1658" y="1322"/>
                        </a:lnTo>
                        <a:lnTo>
                          <a:pt x="1663" y="1327"/>
                        </a:lnTo>
                        <a:lnTo>
                          <a:pt x="1662" y="1330"/>
                        </a:lnTo>
                        <a:lnTo>
                          <a:pt x="1658" y="1332"/>
                        </a:lnTo>
                        <a:lnTo>
                          <a:pt x="1653" y="1337"/>
                        </a:lnTo>
                        <a:lnTo>
                          <a:pt x="1648" y="1335"/>
                        </a:lnTo>
                        <a:lnTo>
                          <a:pt x="1648" y="1337"/>
                        </a:lnTo>
                        <a:lnTo>
                          <a:pt x="1652" y="1339"/>
                        </a:lnTo>
                        <a:lnTo>
                          <a:pt x="1652" y="1342"/>
                        </a:lnTo>
                        <a:lnTo>
                          <a:pt x="1647" y="1342"/>
                        </a:lnTo>
                        <a:lnTo>
                          <a:pt x="1642" y="1339"/>
                        </a:lnTo>
                        <a:lnTo>
                          <a:pt x="1635" y="1339"/>
                        </a:lnTo>
                        <a:lnTo>
                          <a:pt x="1640" y="1342"/>
                        </a:lnTo>
                        <a:lnTo>
                          <a:pt x="1640" y="1345"/>
                        </a:lnTo>
                        <a:lnTo>
                          <a:pt x="1645" y="1350"/>
                        </a:lnTo>
                        <a:lnTo>
                          <a:pt x="1648" y="1352"/>
                        </a:lnTo>
                        <a:lnTo>
                          <a:pt x="1647" y="1355"/>
                        </a:lnTo>
                        <a:lnTo>
                          <a:pt x="1642" y="1355"/>
                        </a:lnTo>
                        <a:lnTo>
                          <a:pt x="1640" y="1359"/>
                        </a:lnTo>
                        <a:lnTo>
                          <a:pt x="1633" y="1357"/>
                        </a:lnTo>
                        <a:lnTo>
                          <a:pt x="1642" y="1360"/>
                        </a:lnTo>
                        <a:lnTo>
                          <a:pt x="1645" y="1359"/>
                        </a:lnTo>
                        <a:lnTo>
                          <a:pt x="1645" y="1357"/>
                        </a:lnTo>
                        <a:lnTo>
                          <a:pt x="1652" y="1355"/>
                        </a:lnTo>
                        <a:lnTo>
                          <a:pt x="1655" y="1357"/>
                        </a:lnTo>
                        <a:lnTo>
                          <a:pt x="1655" y="1360"/>
                        </a:lnTo>
                        <a:lnTo>
                          <a:pt x="1657" y="1362"/>
                        </a:lnTo>
                        <a:lnTo>
                          <a:pt x="1653" y="1364"/>
                        </a:lnTo>
                        <a:lnTo>
                          <a:pt x="1657" y="1364"/>
                        </a:lnTo>
                        <a:lnTo>
                          <a:pt x="1658" y="1365"/>
                        </a:lnTo>
                        <a:lnTo>
                          <a:pt x="1657" y="1369"/>
                        </a:lnTo>
                        <a:lnTo>
                          <a:pt x="1658" y="1370"/>
                        </a:lnTo>
                        <a:lnTo>
                          <a:pt x="1663" y="1367"/>
                        </a:lnTo>
                        <a:lnTo>
                          <a:pt x="1665" y="1369"/>
                        </a:lnTo>
                        <a:lnTo>
                          <a:pt x="1668" y="1369"/>
                        </a:lnTo>
                        <a:lnTo>
                          <a:pt x="1667" y="1374"/>
                        </a:lnTo>
                        <a:lnTo>
                          <a:pt x="1665" y="1377"/>
                        </a:lnTo>
                        <a:lnTo>
                          <a:pt x="1665" y="1379"/>
                        </a:lnTo>
                        <a:lnTo>
                          <a:pt x="1668" y="1379"/>
                        </a:lnTo>
                        <a:lnTo>
                          <a:pt x="1673" y="1374"/>
                        </a:lnTo>
                        <a:lnTo>
                          <a:pt x="1673" y="1374"/>
                        </a:lnTo>
                        <a:lnTo>
                          <a:pt x="1673" y="1377"/>
                        </a:lnTo>
                        <a:lnTo>
                          <a:pt x="1677" y="1380"/>
                        </a:lnTo>
                        <a:lnTo>
                          <a:pt x="1670" y="1384"/>
                        </a:lnTo>
                        <a:lnTo>
                          <a:pt x="1663" y="1392"/>
                        </a:lnTo>
                        <a:lnTo>
                          <a:pt x="1658" y="1395"/>
                        </a:lnTo>
                        <a:lnTo>
                          <a:pt x="1653" y="1394"/>
                        </a:lnTo>
                        <a:lnTo>
                          <a:pt x="1658" y="1397"/>
                        </a:lnTo>
                        <a:lnTo>
                          <a:pt x="1662" y="1395"/>
                        </a:lnTo>
                        <a:lnTo>
                          <a:pt x="1672" y="1387"/>
                        </a:lnTo>
                        <a:lnTo>
                          <a:pt x="1675" y="1387"/>
                        </a:lnTo>
                        <a:lnTo>
                          <a:pt x="1675" y="1390"/>
                        </a:lnTo>
                        <a:lnTo>
                          <a:pt x="1672" y="1392"/>
                        </a:lnTo>
                        <a:lnTo>
                          <a:pt x="1668" y="1397"/>
                        </a:lnTo>
                        <a:lnTo>
                          <a:pt x="1672" y="1397"/>
                        </a:lnTo>
                        <a:lnTo>
                          <a:pt x="1677" y="1392"/>
                        </a:lnTo>
                        <a:lnTo>
                          <a:pt x="1680" y="1387"/>
                        </a:lnTo>
                        <a:lnTo>
                          <a:pt x="1685" y="1387"/>
                        </a:lnTo>
                        <a:lnTo>
                          <a:pt x="1685" y="1389"/>
                        </a:lnTo>
                        <a:lnTo>
                          <a:pt x="1682" y="1390"/>
                        </a:lnTo>
                        <a:lnTo>
                          <a:pt x="1680" y="1392"/>
                        </a:lnTo>
                        <a:lnTo>
                          <a:pt x="1682" y="1394"/>
                        </a:lnTo>
                        <a:lnTo>
                          <a:pt x="1688" y="1390"/>
                        </a:lnTo>
                        <a:lnTo>
                          <a:pt x="1690" y="1394"/>
                        </a:lnTo>
                        <a:lnTo>
                          <a:pt x="1683" y="1397"/>
                        </a:lnTo>
                        <a:lnTo>
                          <a:pt x="1680" y="1400"/>
                        </a:lnTo>
                        <a:lnTo>
                          <a:pt x="1682" y="1402"/>
                        </a:lnTo>
                        <a:lnTo>
                          <a:pt x="1686" y="1399"/>
                        </a:lnTo>
                        <a:lnTo>
                          <a:pt x="1695" y="1392"/>
                        </a:lnTo>
                        <a:lnTo>
                          <a:pt x="1696" y="1392"/>
                        </a:lnTo>
                        <a:lnTo>
                          <a:pt x="1695" y="1394"/>
                        </a:lnTo>
                        <a:lnTo>
                          <a:pt x="1693" y="1395"/>
                        </a:lnTo>
                        <a:lnTo>
                          <a:pt x="1700" y="1392"/>
                        </a:lnTo>
                        <a:lnTo>
                          <a:pt x="1700" y="1394"/>
                        </a:lnTo>
                        <a:lnTo>
                          <a:pt x="1700" y="1402"/>
                        </a:lnTo>
                        <a:lnTo>
                          <a:pt x="1696" y="1402"/>
                        </a:lnTo>
                        <a:lnTo>
                          <a:pt x="1698" y="1405"/>
                        </a:lnTo>
                        <a:lnTo>
                          <a:pt x="1703" y="1404"/>
                        </a:lnTo>
                        <a:lnTo>
                          <a:pt x="1708" y="1407"/>
                        </a:lnTo>
                        <a:lnTo>
                          <a:pt x="1711" y="1404"/>
                        </a:lnTo>
                        <a:lnTo>
                          <a:pt x="1718" y="1402"/>
                        </a:lnTo>
                        <a:lnTo>
                          <a:pt x="1721" y="1402"/>
                        </a:lnTo>
                        <a:lnTo>
                          <a:pt x="1720" y="1407"/>
                        </a:lnTo>
                        <a:lnTo>
                          <a:pt x="1716" y="1407"/>
                        </a:lnTo>
                        <a:lnTo>
                          <a:pt x="1715" y="1409"/>
                        </a:lnTo>
                        <a:lnTo>
                          <a:pt x="1726" y="1412"/>
                        </a:lnTo>
                        <a:lnTo>
                          <a:pt x="1731" y="1415"/>
                        </a:lnTo>
                        <a:lnTo>
                          <a:pt x="1723" y="1415"/>
                        </a:lnTo>
                        <a:lnTo>
                          <a:pt x="1723" y="1417"/>
                        </a:lnTo>
                        <a:lnTo>
                          <a:pt x="1713" y="1419"/>
                        </a:lnTo>
                        <a:lnTo>
                          <a:pt x="1711" y="1417"/>
                        </a:lnTo>
                        <a:lnTo>
                          <a:pt x="1705" y="1420"/>
                        </a:lnTo>
                        <a:lnTo>
                          <a:pt x="1700" y="1424"/>
                        </a:lnTo>
                        <a:lnTo>
                          <a:pt x="1691" y="1425"/>
                        </a:lnTo>
                        <a:lnTo>
                          <a:pt x="1678" y="1427"/>
                        </a:lnTo>
                        <a:lnTo>
                          <a:pt x="1678" y="1430"/>
                        </a:lnTo>
                        <a:lnTo>
                          <a:pt x="1686" y="1428"/>
                        </a:lnTo>
                        <a:lnTo>
                          <a:pt x="1696" y="1425"/>
                        </a:lnTo>
                        <a:lnTo>
                          <a:pt x="1700" y="1425"/>
                        </a:lnTo>
                        <a:lnTo>
                          <a:pt x="1700" y="1428"/>
                        </a:lnTo>
                        <a:lnTo>
                          <a:pt x="1691" y="1428"/>
                        </a:lnTo>
                        <a:lnTo>
                          <a:pt x="1682" y="1430"/>
                        </a:lnTo>
                        <a:lnTo>
                          <a:pt x="1673" y="1435"/>
                        </a:lnTo>
                        <a:lnTo>
                          <a:pt x="1672" y="1437"/>
                        </a:lnTo>
                        <a:lnTo>
                          <a:pt x="1665" y="1437"/>
                        </a:lnTo>
                        <a:lnTo>
                          <a:pt x="1665" y="1442"/>
                        </a:lnTo>
                        <a:lnTo>
                          <a:pt x="1663" y="1443"/>
                        </a:lnTo>
                        <a:lnTo>
                          <a:pt x="1653" y="1438"/>
                        </a:lnTo>
                        <a:lnTo>
                          <a:pt x="1648" y="1430"/>
                        </a:lnTo>
                        <a:lnTo>
                          <a:pt x="1650" y="1433"/>
                        </a:lnTo>
                        <a:lnTo>
                          <a:pt x="1648" y="1437"/>
                        </a:lnTo>
                        <a:lnTo>
                          <a:pt x="1652" y="1438"/>
                        </a:lnTo>
                        <a:lnTo>
                          <a:pt x="1653" y="1440"/>
                        </a:lnTo>
                        <a:lnTo>
                          <a:pt x="1662" y="1447"/>
                        </a:lnTo>
                        <a:lnTo>
                          <a:pt x="1660" y="1450"/>
                        </a:lnTo>
                        <a:lnTo>
                          <a:pt x="1658" y="1448"/>
                        </a:lnTo>
                        <a:lnTo>
                          <a:pt x="1655" y="1452"/>
                        </a:lnTo>
                        <a:lnTo>
                          <a:pt x="1657" y="1455"/>
                        </a:lnTo>
                        <a:lnTo>
                          <a:pt x="1660" y="1455"/>
                        </a:lnTo>
                        <a:lnTo>
                          <a:pt x="1662" y="1453"/>
                        </a:lnTo>
                        <a:lnTo>
                          <a:pt x="1663" y="1453"/>
                        </a:lnTo>
                        <a:lnTo>
                          <a:pt x="1668" y="1445"/>
                        </a:lnTo>
                        <a:lnTo>
                          <a:pt x="1675" y="1447"/>
                        </a:lnTo>
                        <a:lnTo>
                          <a:pt x="1680" y="1442"/>
                        </a:lnTo>
                        <a:lnTo>
                          <a:pt x="1683" y="1442"/>
                        </a:lnTo>
                        <a:lnTo>
                          <a:pt x="1686" y="1437"/>
                        </a:lnTo>
                        <a:lnTo>
                          <a:pt x="1690" y="1433"/>
                        </a:lnTo>
                        <a:lnTo>
                          <a:pt x="1696" y="1432"/>
                        </a:lnTo>
                        <a:lnTo>
                          <a:pt x="1703" y="1428"/>
                        </a:lnTo>
                        <a:lnTo>
                          <a:pt x="1710" y="1430"/>
                        </a:lnTo>
                        <a:lnTo>
                          <a:pt x="1715" y="1430"/>
                        </a:lnTo>
                        <a:lnTo>
                          <a:pt x="1713" y="1428"/>
                        </a:lnTo>
                        <a:lnTo>
                          <a:pt x="1708" y="1428"/>
                        </a:lnTo>
                        <a:lnTo>
                          <a:pt x="1706" y="1427"/>
                        </a:lnTo>
                        <a:lnTo>
                          <a:pt x="1710" y="1425"/>
                        </a:lnTo>
                        <a:lnTo>
                          <a:pt x="1720" y="1425"/>
                        </a:lnTo>
                        <a:lnTo>
                          <a:pt x="1728" y="1427"/>
                        </a:lnTo>
                        <a:lnTo>
                          <a:pt x="1731" y="1433"/>
                        </a:lnTo>
                        <a:lnTo>
                          <a:pt x="1731" y="1437"/>
                        </a:lnTo>
                        <a:lnTo>
                          <a:pt x="1725" y="1442"/>
                        </a:lnTo>
                        <a:lnTo>
                          <a:pt x="1723" y="1442"/>
                        </a:lnTo>
                        <a:lnTo>
                          <a:pt x="1720" y="1445"/>
                        </a:lnTo>
                        <a:lnTo>
                          <a:pt x="1725" y="1445"/>
                        </a:lnTo>
                        <a:lnTo>
                          <a:pt x="1726" y="1450"/>
                        </a:lnTo>
                        <a:lnTo>
                          <a:pt x="1730" y="1447"/>
                        </a:lnTo>
                        <a:lnTo>
                          <a:pt x="1731" y="1443"/>
                        </a:lnTo>
                        <a:lnTo>
                          <a:pt x="1738" y="1440"/>
                        </a:lnTo>
                        <a:lnTo>
                          <a:pt x="1743" y="1440"/>
                        </a:lnTo>
                        <a:lnTo>
                          <a:pt x="1745" y="1442"/>
                        </a:lnTo>
                        <a:lnTo>
                          <a:pt x="1743" y="1443"/>
                        </a:lnTo>
                        <a:lnTo>
                          <a:pt x="1741" y="1445"/>
                        </a:lnTo>
                        <a:lnTo>
                          <a:pt x="1748" y="1445"/>
                        </a:lnTo>
                        <a:lnTo>
                          <a:pt x="1755" y="1448"/>
                        </a:lnTo>
                        <a:lnTo>
                          <a:pt x="1755" y="1450"/>
                        </a:lnTo>
                        <a:lnTo>
                          <a:pt x="1751" y="1448"/>
                        </a:lnTo>
                        <a:lnTo>
                          <a:pt x="1748" y="1450"/>
                        </a:lnTo>
                        <a:lnTo>
                          <a:pt x="1750" y="1453"/>
                        </a:lnTo>
                        <a:lnTo>
                          <a:pt x="1756" y="1455"/>
                        </a:lnTo>
                        <a:lnTo>
                          <a:pt x="1758" y="1458"/>
                        </a:lnTo>
                        <a:lnTo>
                          <a:pt x="1755" y="1462"/>
                        </a:lnTo>
                        <a:lnTo>
                          <a:pt x="1750" y="1460"/>
                        </a:lnTo>
                        <a:lnTo>
                          <a:pt x="1746" y="1463"/>
                        </a:lnTo>
                        <a:lnTo>
                          <a:pt x="1753" y="1465"/>
                        </a:lnTo>
                        <a:lnTo>
                          <a:pt x="1751" y="1470"/>
                        </a:lnTo>
                        <a:lnTo>
                          <a:pt x="1748" y="1472"/>
                        </a:lnTo>
                        <a:lnTo>
                          <a:pt x="1746" y="1475"/>
                        </a:lnTo>
                        <a:lnTo>
                          <a:pt x="1743" y="1477"/>
                        </a:lnTo>
                        <a:lnTo>
                          <a:pt x="1738" y="1473"/>
                        </a:lnTo>
                        <a:lnTo>
                          <a:pt x="1740" y="1477"/>
                        </a:lnTo>
                        <a:lnTo>
                          <a:pt x="1746" y="1480"/>
                        </a:lnTo>
                        <a:lnTo>
                          <a:pt x="1750" y="1478"/>
                        </a:lnTo>
                        <a:lnTo>
                          <a:pt x="1753" y="1482"/>
                        </a:lnTo>
                        <a:lnTo>
                          <a:pt x="1750" y="1483"/>
                        </a:lnTo>
                        <a:lnTo>
                          <a:pt x="1746" y="1483"/>
                        </a:lnTo>
                        <a:lnTo>
                          <a:pt x="1743" y="1483"/>
                        </a:lnTo>
                        <a:lnTo>
                          <a:pt x="1746" y="1485"/>
                        </a:lnTo>
                        <a:lnTo>
                          <a:pt x="1751" y="1485"/>
                        </a:lnTo>
                        <a:lnTo>
                          <a:pt x="1753" y="1487"/>
                        </a:lnTo>
                        <a:lnTo>
                          <a:pt x="1751" y="1490"/>
                        </a:lnTo>
                        <a:lnTo>
                          <a:pt x="1751" y="1493"/>
                        </a:lnTo>
                        <a:lnTo>
                          <a:pt x="1746" y="1493"/>
                        </a:lnTo>
                        <a:lnTo>
                          <a:pt x="1745" y="1498"/>
                        </a:lnTo>
                        <a:lnTo>
                          <a:pt x="1738" y="1502"/>
                        </a:lnTo>
                        <a:lnTo>
                          <a:pt x="1733" y="1502"/>
                        </a:lnTo>
                        <a:lnTo>
                          <a:pt x="1728" y="1507"/>
                        </a:lnTo>
                        <a:lnTo>
                          <a:pt x="1726" y="1507"/>
                        </a:lnTo>
                        <a:lnTo>
                          <a:pt x="1723" y="1510"/>
                        </a:lnTo>
                        <a:lnTo>
                          <a:pt x="1720" y="1510"/>
                        </a:lnTo>
                        <a:lnTo>
                          <a:pt x="1720" y="1512"/>
                        </a:lnTo>
                        <a:lnTo>
                          <a:pt x="1715" y="1513"/>
                        </a:lnTo>
                        <a:lnTo>
                          <a:pt x="1711" y="1510"/>
                        </a:lnTo>
                        <a:lnTo>
                          <a:pt x="1708" y="1512"/>
                        </a:lnTo>
                        <a:lnTo>
                          <a:pt x="1705" y="1512"/>
                        </a:lnTo>
                        <a:lnTo>
                          <a:pt x="1703" y="1510"/>
                        </a:lnTo>
                        <a:lnTo>
                          <a:pt x="1698" y="1513"/>
                        </a:lnTo>
                        <a:lnTo>
                          <a:pt x="1693" y="1513"/>
                        </a:lnTo>
                        <a:lnTo>
                          <a:pt x="1691" y="1510"/>
                        </a:lnTo>
                        <a:lnTo>
                          <a:pt x="1690" y="1510"/>
                        </a:lnTo>
                        <a:lnTo>
                          <a:pt x="1690" y="1513"/>
                        </a:lnTo>
                        <a:lnTo>
                          <a:pt x="1685" y="1515"/>
                        </a:lnTo>
                        <a:lnTo>
                          <a:pt x="1680" y="1513"/>
                        </a:lnTo>
                        <a:lnTo>
                          <a:pt x="1680" y="1515"/>
                        </a:lnTo>
                        <a:lnTo>
                          <a:pt x="1682" y="1517"/>
                        </a:lnTo>
                        <a:lnTo>
                          <a:pt x="1680" y="1518"/>
                        </a:lnTo>
                        <a:lnTo>
                          <a:pt x="1677" y="1522"/>
                        </a:lnTo>
                        <a:lnTo>
                          <a:pt x="1673" y="1522"/>
                        </a:lnTo>
                        <a:lnTo>
                          <a:pt x="1673" y="1525"/>
                        </a:lnTo>
                        <a:lnTo>
                          <a:pt x="1670" y="1531"/>
                        </a:lnTo>
                        <a:lnTo>
                          <a:pt x="1667" y="1531"/>
                        </a:lnTo>
                        <a:lnTo>
                          <a:pt x="1665" y="1533"/>
                        </a:lnTo>
                        <a:lnTo>
                          <a:pt x="1662" y="1535"/>
                        </a:lnTo>
                        <a:lnTo>
                          <a:pt x="1658" y="1540"/>
                        </a:lnTo>
                        <a:lnTo>
                          <a:pt x="1657" y="1538"/>
                        </a:lnTo>
                        <a:lnTo>
                          <a:pt x="1653" y="1540"/>
                        </a:lnTo>
                        <a:lnTo>
                          <a:pt x="1648" y="1540"/>
                        </a:lnTo>
                        <a:lnTo>
                          <a:pt x="1647" y="1543"/>
                        </a:lnTo>
                        <a:lnTo>
                          <a:pt x="1643" y="1545"/>
                        </a:lnTo>
                        <a:lnTo>
                          <a:pt x="1640" y="1543"/>
                        </a:lnTo>
                        <a:lnTo>
                          <a:pt x="1632" y="1543"/>
                        </a:lnTo>
                        <a:lnTo>
                          <a:pt x="1630" y="1541"/>
                        </a:lnTo>
                        <a:lnTo>
                          <a:pt x="1625" y="1543"/>
                        </a:lnTo>
                        <a:lnTo>
                          <a:pt x="1622" y="1543"/>
                        </a:lnTo>
                        <a:lnTo>
                          <a:pt x="1610" y="1546"/>
                        </a:lnTo>
                        <a:lnTo>
                          <a:pt x="1607" y="1545"/>
                        </a:lnTo>
                        <a:lnTo>
                          <a:pt x="1607" y="1543"/>
                        </a:lnTo>
                        <a:lnTo>
                          <a:pt x="1603" y="1541"/>
                        </a:lnTo>
                        <a:lnTo>
                          <a:pt x="1600" y="1543"/>
                        </a:lnTo>
                        <a:lnTo>
                          <a:pt x="1595" y="1543"/>
                        </a:lnTo>
                        <a:lnTo>
                          <a:pt x="1588" y="1540"/>
                        </a:lnTo>
                        <a:lnTo>
                          <a:pt x="1587" y="1541"/>
                        </a:lnTo>
                        <a:lnTo>
                          <a:pt x="1580" y="1540"/>
                        </a:lnTo>
                        <a:lnTo>
                          <a:pt x="1577" y="1538"/>
                        </a:lnTo>
                        <a:lnTo>
                          <a:pt x="1575" y="1538"/>
                        </a:lnTo>
                        <a:lnTo>
                          <a:pt x="1572" y="1540"/>
                        </a:lnTo>
                        <a:lnTo>
                          <a:pt x="1564" y="1540"/>
                        </a:lnTo>
                        <a:lnTo>
                          <a:pt x="1559" y="1536"/>
                        </a:lnTo>
                        <a:lnTo>
                          <a:pt x="1554" y="1538"/>
                        </a:lnTo>
                        <a:lnTo>
                          <a:pt x="1550" y="1538"/>
                        </a:lnTo>
                        <a:lnTo>
                          <a:pt x="1547" y="1536"/>
                        </a:lnTo>
                        <a:lnTo>
                          <a:pt x="1540" y="1538"/>
                        </a:lnTo>
                        <a:lnTo>
                          <a:pt x="1539" y="1538"/>
                        </a:lnTo>
                        <a:lnTo>
                          <a:pt x="1535" y="1538"/>
                        </a:lnTo>
                        <a:lnTo>
                          <a:pt x="1527" y="1535"/>
                        </a:lnTo>
                        <a:lnTo>
                          <a:pt x="1517" y="1536"/>
                        </a:lnTo>
                        <a:lnTo>
                          <a:pt x="1512" y="1535"/>
                        </a:lnTo>
                        <a:lnTo>
                          <a:pt x="1507" y="1531"/>
                        </a:lnTo>
                        <a:lnTo>
                          <a:pt x="1504" y="1533"/>
                        </a:lnTo>
                        <a:lnTo>
                          <a:pt x="1500" y="1535"/>
                        </a:lnTo>
                        <a:lnTo>
                          <a:pt x="1504" y="1538"/>
                        </a:lnTo>
                        <a:lnTo>
                          <a:pt x="1502" y="1540"/>
                        </a:lnTo>
                        <a:lnTo>
                          <a:pt x="1497" y="1540"/>
                        </a:lnTo>
                        <a:lnTo>
                          <a:pt x="1489" y="1548"/>
                        </a:lnTo>
                        <a:lnTo>
                          <a:pt x="1482" y="1550"/>
                        </a:lnTo>
                        <a:lnTo>
                          <a:pt x="1482" y="1553"/>
                        </a:lnTo>
                        <a:lnTo>
                          <a:pt x="1481" y="1556"/>
                        </a:lnTo>
                        <a:lnTo>
                          <a:pt x="1479" y="1561"/>
                        </a:lnTo>
                        <a:lnTo>
                          <a:pt x="1477" y="1565"/>
                        </a:lnTo>
                        <a:lnTo>
                          <a:pt x="1469" y="1565"/>
                        </a:lnTo>
                        <a:lnTo>
                          <a:pt x="1466" y="1566"/>
                        </a:lnTo>
                        <a:lnTo>
                          <a:pt x="1457" y="1566"/>
                        </a:lnTo>
                        <a:lnTo>
                          <a:pt x="1454" y="1571"/>
                        </a:lnTo>
                        <a:lnTo>
                          <a:pt x="1451" y="1573"/>
                        </a:lnTo>
                        <a:lnTo>
                          <a:pt x="1449" y="1571"/>
                        </a:lnTo>
                        <a:lnTo>
                          <a:pt x="1444" y="1573"/>
                        </a:lnTo>
                        <a:lnTo>
                          <a:pt x="1442" y="1578"/>
                        </a:lnTo>
                        <a:lnTo>
                          <a:pt x="1437" y="1578"/>
                        </a:lnTo>
                        <a:lnTo>
                          <a:pt x="1432" y="1581"/>
                        </a:lnTo>
                        <a:lnTo>
                          <a:pt x="1432" y="1585"/>
                        </a:lnTo>
                        <a:lnTo>
                          <a:pt x="1429" y="1585"/>
                        </a:lnTo>
                        <a:lnTo>
                          <a:pt x="1422" y="1593"/>
                        </a:lnTo>
                        <a:lnTo>
                          <a:pt x="1414" y="1596"/>
                        </a:lnTo>
                        <a:lnTo>
                          <a:pt x="1411" y="1605"/>
                        </a:lnTo>
                        <a:lnTo>
                          <a:pt x="1404" y="1608"/>
                        </a:lnTo>
                        <a:lnTo>
                          <a:pt x="1399" y="1613"/>
                        </a:lnTo>
                        <a:lnTo>
                          <a:pt x="1394" y="1613"/>
                        </a:lnTo>
                        <a:lnTo>
                          <a:pt x="1392" y="1620"/>
                        </a:lnTo>
                        <a:lnTo>
                          <a:pt x="1389" y="1624"/>
                        </a:lnTo>
                        <a:lnTo>
                          <a:pt x="1378" y="1629"/>
                        </a:lnTo>
                        <a:lnTo>
                          <a:pt x="1378" y="1633"/>
                        </a:lnTo>
                        <a:lnTo>
                          <a:pt x="1364" y="1638"/>
                        </a:lnTo>
                        <a:lnTo>
                          <a:pt x="1358" y="1639"/>
                        </a:lnTo>
                        <a:lnTo>
                          <a:pt x="1363" y="1639"/>
                        </a:lnTo>
                        <a:lnTo>
                          <a:pt x="1376" y="1634"/>
                        </a:lnTo>
                        <a:lnTo>
                          <a:pt x="1386" y="1629"/>
                        </a:lnTo>
                        <a:lnTo>
                          <a:pt x="1394" y="1626"/>
                        </a:lnTo>
                        <a:lnTo>
                          <a:pt x="1401" y="1618"/>
                        </a:lnTo>
                        <a:lnTo>
                          <a:pt x="1407" y="1613"/>
                        </a:lnTo>
                        <a:lnTo>
                          <a:pt x="1411" y="1611"/>
                        </a:lnTo>
                        <a:lnTo>
                          <a:pt x="1422" y="1601"/>
                        </a:lnTo>
                        <a:lnTo>
                          <a:pt x="1439" y="1591"/>
                        </a:lnTo>
                        <a:lnTo>
                          <a:pt x="1451" y="1585"/>
                        </a:lnTo>
                        <a:lnTo>
                          <a:pt x="1457" y="1585"/>
                        </a:lnTo>
                        <a:lnTo>
                          <a:pt x="1464" y="1581"/>
                        </a:lnTo>
                        <a:lnTo>
                          <a:pt x="1476" y="1578"/>
                        </a:lnTo>
                        <a:lnTo>
                          <a:pt x="1490" y="1575"/>
                        </a:lnTo>
                        <a:lnTo>
                          <a:pt x="1495" y="1573"/>
                        </a:lnTo>
                        <a:lnTo>
                          <a:pt x="1500" y="1571"/>
                        </a:lnTo>
                        <a:lnTo>
                          <a:pt x="1517" y="1571"/>
                        </a:lnTo>
                        <a:lnTo>
                          <a:pt x="1525" y="1575"/>
                        </a:lnTo>
                        <a:lnTo>
                          <a:pt x="1535" y="1580"/>
                        </a:lnTo>
                        <a:lnTo>
                          <a:pt x="1535" y="1581"/>
                        </a:lnTo>
                        <a:lnTo>
                          <a:pt x="1529" y="1581"/>
                        </a:lnTo>
                        <a:lnTo>
                          <a:pt x="1529" y="1581"/>
                        </a:lnTo>
                        <a:lnTo>
                          <a:pt x="1527" y="1583"/>
                        </a:lnTo>
                        <a:lnTo>
                          <a:pt x="1532" y="1583"/>
                        </a:lnTo>
                        <a:lnTo>
                          <a:pt x="1537" y="1585"/>
                        </a:lnTo>
                        <a:lnTo>
                          <a:pt x="1539" y="1588"/>
                        </a:lnTo>
                        <a:lnTo>
                          <a:pt x="1535" y="1588"/>
                        </a:lnTo>
                        <a:lnTo>
                          <a:pt x="1539" y="1590"/>
                        </a:lnTo>
                        <a:lnTo>
                          <a:pt x="1534" y="1598"/>
                        </a:lnTo>
                        <a:lnTo>
                          <a:pt x="1529" y="1598"/>
                        </a:lnTo>
                        <a:lnTo>
                          <a:pt x="1524" y="1603"/>
                        </a:lnTo>
                        <a:lnTo>
                          <a:pt x="1520" y="1603"/>
                        </a:lnTo>
                        <a:lnTo>
                          <a:pt x="1514" y="1606"/>
                        </a:lnTo>
                        <a:lnTo>
                          <a:pt x="1509" y="1606"/>
                        </a:lnTo>
                        <a:lnTo>
                          <a:pt x="1505" y="1603"/>
                        </a:lnTo>
                        <a:lnTo>
                          <a:pt x="1499" y="1601"/>
                        </a:lnTo>
                        <a:lnTo>
                          <a:pt x="1495" y="1605"/>
                        </a:lnTo>
                        <a:lnTo>
                          <a:pt x="1490" y="1605"/>
                        </a:lnTo>
                        <a:lnTo>
                          <a:pt x="1485" y="1605"/>
                        </a:lnTo>
                        <a:lnTo>
                          <a:pt x="1479" y="1606"/>
                        </a:lnTo>
                        <a:lnTo>
                          <a:pt x="1485" y="1606"/>
                        </a:lnTo>
                        <a:lnTo>
                          <a:pt x="1492" y="1606"/>
                        </a:lnTo>
                        <a:lnTo>
                          <a:pt x="1502" y="1610"/>
                        </a:lnTo>
                        <a:lnTo>
                          <a:pt x="1504" y="1613"/>
                        </a:lnTo>
                        <a:lnTo>
                          <a:pt x="1505" y="1616"/>
                        </a:lnTo>
                        <a:lnTo>
                          <a:pt x="1510" y="1613"/>
                        </a:lnTo>
                        <a:lnTo>
                          <a:pt x="1515" y="1611"/>
                        </a:lnTo>
                        <a:lnTo>
                          <a:pt x="1520" y="1611"/>
                        </a:lnTo>
                        <a:lnTo>
                          <a:pt x="1522" y="1613"/>
                        </a:lnTo>
                        <a:lnTo>
                          <a:pt x="1525" y="1613"/>
                        </a:lnTo>
                        <a:lnTo>
                          <a:pt x="1525" y="1615"/>
                        </a:lnTo>
                        <a:lnTo>
                          <a:pt x="1522" y="1618"/>
                        </a:lnTo>
                        <a:lnTo>
                          <a:pt x="1515" y="1629"/>
                        </a:lnTo>
                        <a:lnTo>
                          <a:pt x="1512" y="1629"/>
                        </a:lnTo>
                        <a:lnTo>
                          <a:pt x="1509" y="1633"/>
                        </a:lnTo>
                        <a:lnTo>
                          <a:pt x="1519" y="1633"/>
                        </a:lnTo>
                        <a:lnTo>
                          <a:pt x="1519" y="1634"/>
                        </a:lnTo>
                        <a:lnTo>
                          <a:pt x="1515" y="1639"/>
                        </a:lnTo>
                        <a:lnTo>
                          <a:pt x="1519" y="1643"/>
                        </a:lnTo>
                        <a:lnTo>
                          <a:pt x="1519" y="1646"/>
                        </a:lnTo>
                        <a:lnTo>
                          <a:pt x="1519" y="1653"/>
                        </a:lnTo>
                        <a:lnTo>
                          <a:pt x="1520" y="1653"/>
                        </a:lnTo>
                        <a:lnTo>
                          <a:pt x="1524" y="1659"/>
                        </a:lnTo>
                        <a:lnTo>
                          <a:pt x="1529" y="1659"/>
                        </a:lnTo>
                        <a:lnTo>
                          <a:pt x="1530" y="1661"/>
                        </a:lnTo>
                        <a:lnTo>
                          <a:pt x="1537" y="1661"/>
                        </a:lnTo>
                        <a:lnTo>
                          <a:pt x="1535" y="1664"/>
                        </a:lnTo>
                        <a:lnTo>
                          <a:pt x="1530" y="1666"/>
                        </a:lnTo>
                        <a:lnTo>
                          <a:pt x="1537" y="1669"/>
                        </a:lnTo>
                        <a:lnTo>
                          <a:pt x="1545" y="1669"/>
                        </a:lnTo>
                        <a:lnTo>
                          <a:pt x="1549" y="1673"/>
                        </a:lnTo>
                        <a:lnTo>
                          <a:pt x="1552" y="1671"/>
                        </a:lnTo>
                        <a:lnTo>
                          <a:pt x="1559" y="1673"/>
                        </a:lnTo>
                        <a:lnTo>
                          <a:pt x="1559" y="1676"/>
                        </a:lnTo>
                        <a:lnTo>
                          <a:pt x="1567" y="1676"/>
                        </a:lnTo>
                        <a:lnTo>
                          <a:pt x="1569" y="1674"/>
                        </a:lnTo>
                        <a:lnTo>
                          <a:pt x="1577" y="1669"/>
                        </a:lnTo>
                        <a:lnTo>
                          <a:pt x="1577" y="1674"/>
                        </a:lnTo>
                        <a:lnTo>
                          <a:pt x="1575" y="1676"/>
                        </a:lnTo>
                        <a:lnTo>
                          <a:pt x="1582" y="1676"/>
                        </a:lnTo>
                        <a:lnTo>
                          <a:pt x="1590" y="1679"/>
                        </a:lnTo>
                        <a:lnTo>
                          <a:pt x="1590" y="1683"/>
                        </a:lnTo>
                        <a:lnTo>
                          <a:pt x="1587" y="1683"/>
                        </a:lnTo>
                        <a:lnTo>
                          <a:pt x="1585" y="1683"/>
                        </a:lnTo>
                        <a:lnTo>
                          <a:pt x="1588" y="1686"/>
                        </a:lnTo>
                        <a:lnTo>
                          <a:pt x="1593" y="1686"/>
                        </a:lnTo>
                        <a:lnTo>
                          <a:pt x="1597" y="1688"/>
                        </a:lnTo>
                        <a:lnTo>
                          <a:pt x="1592" y="1689"/>
                        </a:lnTo>
                        <a:lnTo>
                          <a:pt x="1588" y="1688"/>
                        </a:lnTo>
                        <a:lnTo>
                          <a:pt x="1585" y="1689"/>
                        </a:lnTo>
                        <a:lnTo>
                          <a:pt x="1577" y="1691"/>
                        </a:lnTo>
                        <a:lnTo>
                          <a:pt x="1567" y="1696"/>
                        </a:lnTo>
                        <a:lnTo>
                          <a:pt x="1562" y="1696"/>
                        </a:lnTo>
                        <a:lnTo>
                          <a:pt x="1554" y="1698"/>
                        </a:lnTo>
                        <a:lnTo>
                          <a:pt x="1547" y="1699"/>
                        </a:lnTo>
                        <a:lnTo>
                          <a:pt x="1539" y="1704"/>
                        </a:lnTo>
                        <a:lnTo>
                          <a:pt x="1535" y="1704"/>
                        </a:lnTo>
                        <a:lnTo>
                          <a:pt x="1535" y="1706"/>
                        </a:lnTo>
                        <a:lnTo>
                          <a:pt x="1529" y="1704"/>
                        </a:lnTo>
                        <a:lnTo>
                          <a:pt x="1527" y="1701"/>
                        </a:lnTo>
                        <a:lnTo>
                          <a:pt x="1525" y="1701"/>
                        </a:lnTo>
                        <a:lnTo>
                          <a:pt x="1524" y="1703"/>
                        </a:lnTo>
                        <a:lnTo>
                          <a:pt x="1520" y="1703"/>
                        </a:lnTo>
                        <a:lnTo>
                          <a:pt x="1517" y="1708"/>
                        </a:lnTo>
                        <a:lnTo>
                          <a:pt x="1519" y="1709"/>
                        </a:lnTo>
                        <a:lnTo>
                          <a:pt x="1510" y="1714"/>
                        </a:lnTo>
                        <a:lnTo>
                          <a:pt x="1504" y="1722"/>
                        </a:lnTo>
                        <a:lnTo>
                          <a:pt x="1500" y="1724"/>
                        </a:lnTo>
                        <a:lnTo>
                          <a:pt x="1494" y="1727"/>
                        </a:lnTo>
                        <a:lnTo>
                          <a:pt x="1492" y="1727"/>
                        </a:lnTo>
                        <a:lnTo>
                          <a:pt x="1490" y="1727"/>
                        </a:lnTo>
                        <a:lnTo>
                          <a:pt x="1489" y="1732"/>
                        </a:lnTo>
                        <a:lnTo>
                          <a:pt x="1487" y="1734"/>
                        </a:lnTo>
                        <a:lnTo>
                          <a:pt x="1484" y="1732"/>
                        </a:lnTo>
                        <a:lnTo>
                          <a:pt x="1482" y="1734"/>
                        </a:lnTo>
                        <a:lnTo>
                          <a:pt x="1479" y="1731"/>
                        </a:lnTo>
                        <a:lnTo>
                          <a:pt x="1477" y="1726"/>
                        </a:lnTo>
                        <a:lnTo>
                          <a:pt x="1476" y="1724"/>
                        </a:lnTo>
                        <a:lnTo>
                          <a:pt x="1472" y="1726"/>
                        </a:lnTo>
                        <a:lnTo>
                          <a:pt x="1472" y="1721"/>
                        </a:lnTo>
                        <a:lnTo>
                          <a:pt x="1471" y="1718"/>
                        </a:lnTo>
                        <a:lnTo>
                          <a:pt x="1471" y="1713"/>
                        </a:lnTo>
                        <a:lnTo>
                          <a:pt x="1474" y="1706"/>
                        </a:lnTo>
                        <a:lnTo>
                          <a:pt x="1481" y="1701"/>
                        </a:lnTo>
                        <a:lnTo>
                          <a:pt x="1481" y="1698"/>
                        </a:lnTo>
                        <a:lnTo>
                          <a:pt x="1490" y="1693"/>
                        </a:lnTo>
                        <a:lnTo>
                          <a:pt x="1500" y="1691"/>
                        </a:lnTo>
                        <a:lnTo>
                          <a:pt x="1509" y="1686"/>
                        </a:lnTo>
                        <a:lnTo>
                          <a:pt x="1515" y="1684"/>
                        </a:lnTo>
                        <a:lnTo>
                          <a:pt x="1519" y="1686"/>
                        </a:lnTo>
                        <a:lnTo>
                          <a:pt x="1520" y="1689"/>
                        </a:lnTo>
                        <a:lnTo>
                          <a:pt x="1524" y="1691"/>
                        </a:lnTo>
                        <a:lnTo>
                          <a:pt x="1522" y="1689"/>
                        </a:lnTo>
                        <a:lnTo>
                          <a:pt x="1524" y="1686"/>
                        </a:lnTo>
                        <a:lnTo>
                          <a:pt x="1529" y="1686"/>
                        </a:lnTo>
                        <a:lnTo>
                          <a:pt x="1535" y="1684"/>
                        </a:lnTo>
                        <a:lnTo>
                          <a:pt x="1540" y="1683"/>
                        </a:lnTo>
                        <a:lnTo>
                          <a:pt x="1532" y="1683"/>
                        </a:lnTo>
                        <a:lnTo>
                          <a:pt x="1522" y="1683"/>
                        </a:lnTo>
                        <a:lnTo>
                          <a:pt x="1519" y="1681"/>
                        </a:lnTo>
                        <a:lnTo>
                          <a:pt x="1514" y="1681"/>
                        </a:lnTo>
                        <a:lnTo>
                          <a:pt x="1512" y="1684"/>
                        </a:lnTo>
                        <a:lnTo>
                          <a:pt x="1505" y="1683"/>
                        </a:lnTo>
                        <a:lnTo>
                          <a:pt x="1510" y="1678"/>
                        </a:lnTo>
                        <a:lnTo>
                          <a:pt x="1515" y="1676"/>
                        </a:lnTo>
                        <a:lnTo>
                          <a:pt x="1520" y="1671"/>
                        </a:lnTo>
                        <a:lnTo>
                          <a:pt x="1520" y="1669"/>
                        </a:lnTo>
                        <a:lnTo>
                          <a:pt x="1517" y="1671"/>
                        </a:lnTo>
                        <a:lnTo>
                          <a:pt x="1517" y="1668"/>
                        </a:lnTo>
                        <a:lnTo>
                          <a:pt x="1512" y="1674"/>
                        </a:lnTo>
                        <a:lnTo>
                          <a:pt x="1507" y="1676"/>
                        </a:lnTo>
                        <a:lnTo>
                          <a:pt x="1502" y="1681"/>
                        </a:lnTo>
                        <a:lnTo>
                          <a:pt x="1497" y="1681"/>
                        </a:lnTo>
                        <a:lnTo>
                          <a:pt x="1495" y="1683"/>
                        </a:lnTo>
                        <a:lnTo>
                          <a:pt x="1484" y="1686"/>
                        </a:lnTo>
                        <a:lnTo>
                          <a:pt x="1482" y="1684"/>
                        </a:lnTo>
                        <a:lnTo>
                          <a:pt x="1484" y="1683"/>
                        </a:lnTo>
                        <a:lnTo>
                          <a:pt x="1482" y="1683"/>
                        </a:lnTo>
                        <a:lnTo>
                          <a:pt x="1484" y="1678"/>
                        </a:lnTo>
                        <a:lnTo>
                          <a:pt x="1481" y="1683"/>
                        </a:lnTo>
                        <a:lnTo>
                          <a:pt x="1477" y="1686"/>
                        </a:lnTo>
                        <a:lnTo>
                          <a:pt x="1472" y="1688"/>
                        </a:lnTo>
                        <a:lnTo>
                          <a:pt x="1469" y="1686"/>
                        </a:lnTo>
                        <a:lnTo>
                          <a:pt x="1466" y="1689"/>
                        </a:lnTo>
                        <a:lnTo>
                          <a:pt x="1464" y="1688"/>
                        </a:lnTo>
                        <a:lnTo>
                          <a:pt x="1462" y="1684"/>
                        </a:lnTo>
                        <a:lnTo>
                          <a:pt x="1457" y="1686"/>
                        </a:lnTo>
                        <a:lnTo>
                          <a:pt x="1449" y="1684"/>
                        </a:lnTo>
                        <a:lnTo>
                          <a:pt x="1449" y="1684"/>
                        </a:lnTo>
                        <a:lnTo>
                          <a:pt x="1449" y="1683"/>
                        </a:lnTo>
                        <a:lnTo>
                          <a:pt x="1449" y="1681"/>
                        </a:lnTo>
                        <a:lnTo>
                          <a:pt x="1449" y="1679"/>
                        </a:lnTo>
                        <a:lnTo>
                          <a:pt x="1449" y="1676"/>
                        </a:lnTo>
                        <a:lnTo>
                          <a:pt x="1449" y="1673"/>
                        </a:lnTo>
                        <a:lnTo>
                          <a:pt x="1447" y="1671"/>
                        </a:lnTo>
                        <a:lnTo>
                          <a:pt x="1446" y="1668"/>
                        </a:lnTo>
                        <a:lnTo>
                          <a:pt x="1444" y="1668"/>
                        </a:lnTo>
                        <a:lnTo>
                          <a:pt x="1446" y="1664"/>
                        </a:lnTo>
                        <a:lnTo>
                          <a:pt x="1451" y="1636"/>
                        </a:lnTo>
                        <a:lnTo>
                          <a:pt x="1451" y="1629"/>
                        </a:lnTo>
                        <a:lnTo>
                          <a:pt x="1441" y="1621"/>
                        </a:lnTo>
                        <a:lnTo>
                          <a:pt x="1439" y="1623"/>
                        </a:lnTo>
                        <a:lnTo>
                          <a:pt x="1432" y="1621"/>
                        </a:lnTo>
                        <a:lnTo>
                          <a:pt x="1427" y="1623"/>
                        </a:lnTo>
                        <a:lnTo>
                          <a:pt x="1424" y="1620"/>
                        </a:lnTo>
                        <a:lnTo>
                          <a:pt x="1421" y="1618"/>
                        </a:lnTo>
                        <a:lnTo>
                          <a:pt x="1419" y="1618"/>
                        </a:lnTo>
                        <a:lnTo>
                          <a:pt x="1416" y="1623"/>
                        </a:lnTo>
                        <a:lnTo>
                          <a:pt x="1412" y="1626"/>
                        </a:lnTo>
                        <a:lnTo>
                          <a:pt x="1404" y="1634"/>
                        </a:lnTo>
                        <a:lnTo>
                          <a:pt x="1401" y="1639"/>
                        </a:lnTo>
                        <a:lnTo>
                          <a:pt x="1401" y="1643"/>
                        </a:lnTo>
                        <a:lnTo>
                          <a:pt x="1394" y="1646"/>
                        </a:lnTo>
                        <a:lnTo>
                          <a:pt x="1394" y="1651"/>
                        </a:lnTo>
                        <a:lnTo>
                          <a:pt x="1391" y="1656"/>
                        </a:lnTo>
                        <a:lnTo>
                          <a:pt x="1386" y="1663"/>
                        </a:lnTo>
                        <a:lnTo>
                          <a:pt x="1383" y="1664"/>
                        </a:lnTo>
                        <a:lnTo>
                          <a:pt x="1374" y="1671"/>
                        </a:lnTo>
                        <a:lnTo>
                          <a:pt x="1373" y="1674"/>
                        </a:lnTo>
                        <a:lnTo>
                          <a:pt x="1371" y="1676"/>
                        </a:lnTo>
                        <a:lnTo>
                          <a:pt x="1366" y="1676"/>
                        </a:lnTo>
                        <a:lnTo>
                          <a:pt x="1363" y="1676"/>
                        </a:lnTo>
                        <a:lnTo>
                          <a:pt x="1361" y="1678"/>
                        </a:lnTo>
                        <a:lnTo>
                          <a:pt x="1359" y="1678"/>
                        </a:lnTo>
                        <a:lnTo>
                          <a:pt x="1353" y="1683"/>
                        </a:lnTo>
                        <a:lnTo>
                          <a:pt x="1283" y="1681"/>
                        </a:lnTo>
                        <a:lnTo>
                          <a:pt x="1275" y="1683"/>
                        </a:lnTo>
                        <a:lnTo>
                          <a:pt x="1270" y="1686"/>
                        </a:lnTo>
                        <a:lnTo>
                          <a:pt x="1265" y="1688"/>
                        </a:lnTo>
                        <a:lnTo>
                          <a:pt x="1260" y="1691"/>
                        </a:lnTo>
                        <a:lnTo>
                          <a:pt x="1248" y="1701"/>
                        </a:lnTo>
                        <a:lnTo>
                          <a:pt x="1241" y="1703"/>
                        </a:lnTo>
                        <a:lnTo>
                          <a:pt x="1238" y="1704"/>
                        </a:lnTo>
                        <a:lnTo>
                          <a:pt x="1216" y="1719"/>
                        </a:lnTo>
                        <a:lnTo>
                          <a:pt x="1172" y="1731"/>
                        </a:lnTo>
                        <a:lnTo>
                          <a:pt x="1170" y="1741"/>
                        </a:lnTo>
                        <a:lnTo>
                          <a:pt x="1158" y="1744"/>
                        </a:lnTo>
                        <a:lnTo>
                          <a:pt x="1075" y="1764"/>
                        </a:lnTo>
                        <a:lnTo>
                          <a:pt x="1072" y="1757"/>
                        </a:lnTo>
                        <a:lnTo>
                          <a:pt x="1077" y="1752"/>
                        </a:lnTo>
                        <a:lnTo>
                          <a:pt x="1085" y="1749"/>
                        </a:lnTo>
                        <a:lnTo>
                          <a:pt x="1088" y="1744"/>
                        </a:lnTo>
                        <a:lnTo>
                          <a:pt x="1092" y="1739"/>
                        </a:lnTo>
                        <a:lnTo>
                          <a:pt x="1095" y="1734"/>
                        </a:lnTo>
                        <a:lnTo>
                          <a:pt x="1097" y="1704"/>
                        </a:lnTo>
                        <a:lnTo>
                          <a:pt x="1080" y="1638"/>
                        </a:lnTo>
                        <a:lnTo>
                          <a:pt x="1065" y="1626"/>
                        </a:lnTo>
                        <a:lnTo>
                          <a:pt x="1060" y="1620"/>
                        </a:lnTo>
                        <a:lnTo>
                          <a:pt x="962" y="1578"/>
                        </a:lnTo>
                        <a:lnTo>
                          <a:pt x="959" y="1576"/>
                        </a:lnTo>
                        <a:lnTo>
                          <a:pt x="954" y="1575"/>
                        </a:lnTo>
                        <a:lnTo>
                          <a:pt x="951" y="1573"/>
                        </a:lnTo>
                        <a:lnTo>
                          <a:pt x="939" y="1573"/>
                        </a:lnTo>
                        <a:lnTo>
                          <a:pt x="937" y="1570"/>
                        </a:lnTo>
                        <a:lnTo>
                          <a:pt x="936" y="1566"/>
                        </a:lnTo>
                        <a:lnTo>
                          <a:pt x="931" y="1570"/>
                        </a:lnTo>
                        <a:lnTo>
                          <a:pt x="922" y="1570"/>
                        </a:lnTo>
                        <a:lnTo>
                          <a:pt x="919" y="1568"/>
                        </a:lnTo>
                        <a:lnTo>
                          <a:pt x="916" y="1565"/>
                        </a:lnTo>
                        <a:lnTo>
                          <a:pt x="911" y="1563"/>
                        </a:lnTo>
                        <a:lnTo>
                          <a:pt x="902" y="1561"/>
                        </a:lnTo>
                        <a:lnTo>
                          <a:pt x="901" y="1556"/>
                        </a:lnTo>
                        <a:lnTo>
                          <a:pt x="897" y="1556"/>
                        </a:lnTo>
                        <a:lnTo>
                          <a:pt x="892" y="1551"/>
                        </a:lnTo>
                        <a:lnTo>
                          <a:pt x="888" y="1553"/>
                        </a:lnTo>
                        <a:lnTo>
                          <a:pt x="884" y="1551"/>
                        </a:lnTo>
                        <a:lnTo>
                          <a:pt x="879" y="1553"/>
                        </a:lnTo>
                        <a:lnTo>
                          <a:pt x="878" y="1553"/>
                        </a:lnTo>
                        <a:lnTo>
                          <a:pt x="874" y="1550"/>
                        </a:lnTo>
                        <a:lnTo>
                          <a:pt x="869" y="1548"/>
                        </a:lnTo>
                        <a:lnTo>
                          <a:pt x="869" y="1548"/>
                        </a:lnTo>
                        <a:lnTo>
                          <a:pt x="864" y="1546"/>
                        </a:lnTo>
                        <a:lnTo>
                          <a:pt x="863" y="1545"/>
                        </a:lnTo>
                        <a:lnTo>
                          <a:pt x="859" y="1543"/>
                        </a:lnTo>
                        <a:lnTo>
                          <a:pt x="859" y="1541"/>
                        </a:lnTo>
                        <a:lnTo>
                          <a:pt x="854" y="1536"/>
                        </a:lnTo>
                        <a:lnTo>
                          <a:pt x="849" y="1536"/>
                        </a:lnTo>
                        <a:lnTo>
                          <a:pt x="844" y="1536"/>
                        </a:lnTo>
                        <a:lnTo>
                          <a:pt x="215" y="1480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05" name="Google Shape;3110;p98">
                    <a:extLst>
                      <a:ext uri="{FF2B5EF4-FFF2-40B4-BE49-F238E27FC236}">
                        <a16:creationId xmlns:a16="http://schemas.microsoft.com/office/drawing/2014/main" id="{1A5F289A-2F8A-2ACF-08CD-072FE850697F}"/>
                      </a:ext>
                    </a:extLst>
                  </p:cNvPr>
                  <p:cNvSpPr/>
                  <p:nvPr/>
                </p:nvSpPr>
                <p:spPr>
                  <a:xfrm>
                    <a:off x="4480005" y="2005932"/>
                    <a:ext cx="497665" cy="46691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30" h="899" extrusionOk="0">
                        <a:moveTo>
                          <a:pt x="801" y="861"/>
                        </a:moveTo>
                        <a:lnTo>
                          <a:pt x="801" y="859"/>
                        </a:lnTo>
                        <a:lnTo>
                          <a:pt x="801" y="856"/>
                        </a:lnTo>
                        <a:lnTo>
                          <a:pt x="802" y="854"/>
                        </a:lnTo>
                        <a:lnTo>
                          <a:pt x="802" y="853"/>
                        </a:lnTo>
                        <a:lnTo>
                          <a:pt x="804" y="851"/>
                        </a:lnTo>
                        <a:lnTo>
                          <a:pt x="802" y="849"/>
                        </a:lnTo>
                        <a:lnTo>
                          <a:pt x="799" y="848"/>
                        </a:lnTo>
                        <a:lnTo>
                          <a:pt x="799" y="843"/>
                        </a:lnTo>
                        <a:lnTo>
                          <a:pt x="797" y="839"/>
                        </a:lnTo>
                        <a:lnTo>
                          <a:pt x="792" y="836"/>
                        </a:lnTo>
                        <a:lnTo>
                          <a:pt x="789" y="833"/>
                        </a:lnTo>
                        <a:lnTo>
                          <a:pt x="787" y="831"/>
                        </a:lnTo>
                        <a:lnTo>
                          <a:pt x="782" y="824"/>
                        </a:lnTo>
                        <a:lnTo>
                          <a:pt x="779" y="824"/>
                        </a:lnTo>
                        <a:lnTo>
                          <a:pt x="776" y="824"/>
                        </a:lnTo>
                        <a:lnTo>
                          <a:pt x="776" y="823"/>
                        </a:lnTo>
                        <a:lnTo>
                          <a:pt x="777" y="819"/>
                        </a:lnTo>
                        <a:lnTo>
                          <a:pt x="776" y="816"/>
                        </a:lnTo>
                        <a:lnTo>
                          <a:pt x="774" y="814"/>
                        </a:lnTo>
                        <a:lnTo>
                          <a:pt x="774" y="813"/>
                        </a:lnTo>
                        <a:lnTo>
                          <a:pt x="776" y="811"/>
                        </a:lnTo>
                        <a:lnTo>
                          <a:pt x="777" y="809"/>
                        </a:lnTo>
                        <a:lnTo>
                          <a:pt x="777" y="808"/>
                        </a:lnTo>
                        <a:lnTo>
                          <a:pt x="774" y="806"/>
                        </a:lnTo>
                        <a:lnTo>
                          <a:pt x="772" y="806"/>
                        </a:lnTo>
                        <a:lnTo>
                          <a:pt x="772" y="803"/>
                        </a:lnTo>
                        <a:lnTo>
                          <a:pt x="776" y="801"/>
                        </a:lnTo>
                        <a:lnTo>
                          <a:pt x="774" y="784"/>
                        </a:lnTo>
                        <a:lnTo>
                          <a:pt x="776" y="770"/>
                        </a:lnTo>
                        <a:lnTo>
                          <a:pt x="777" y="756"/>
                        </a:lnTo>
                        <a:lnTo>
                          <a:pt x="776" y="753"/>
                        </a:lnTo>
                        <a:lnTo>
                          <a:pt x="774" y="750"/>
                        </a:lnTo>
                        <a:lnTo>
                          <a:pt x="777" y="745"/>
                        </a:lnTo>
                        <a:lnTo>
                          <a:pt x="776" y="741"/>
                        </a:lnTo>
                        <a:lnTo>
                          <a:pt x="774" y="738"/>
                        </a:lnTo>
                        <a:lnTo>
                          <a:pt x="772" y="730"/>
                        </a:lnTo>
                        <a:lnTo>
                          <a:pt x="767" y="725"/>
                        </a:lnTo>
                        <a:lnTo>
                          <a:pt x="766" y="716"/>
                        </a:lnTo>
                        <a:lnTo>
                          <a:pt x="767" y="713"/>
                        </a:lnTo>
                        <a:lnTo>
                          <a:pt x="762" y="700"/>
                        </a:lnTo>
                        <a:lnTo>
                          <a:pt x="764" y="696"/>
                        </a:lnTo>
                        <a:lnTo>
                          <a:pt x="767" y="691"/>
                        </a:lnTo>
                        <a:lnTo>
                          <a:pt x="766" y="688"/>
                        </a:lnTo>
                        <a:lnTo>
                          <a:pt x="766" y="683"/>
                        </a:lnTo>
                        <a:lnTo>
                          <a:pt x="761" y="680"/>
                        </a:lnTo>
                        <a:lnTo>
                          <a:pt x="752" y="680"/>
                        </a:lnTo>
                        <a:lnTo>
                          <a:pt x="744" y="683"/>
                        </a:lnTo>
                        <a:lnTo>
                          <a:pt x="743" y="683"/>
                        </a:lnTo>
                        <a:lnTo>
                          <a:pt x="734" y="686"/>
                        </a:lnTo>
                        <a:lnTo>
                          <a:pt x="729" y="691"/>
                        </a:lnTo>
                        <a:lnTo>
                          <a:pt x="723" y="700"/>
                        </a:lnTo>
                        <a:lnTo>
                          <a:pt x="716" y="703"/>
                        </a:lnTo>
                        <a:lnTo>
                          <a:pt x="708" y="705"/>
                        </a:lnTo>
                        <a:lnTo>
                          <a:pt x="699" y="705"/>
                        </a:lnTo>
                        <a:lnTo>
                          <a:pt x="698" y="706"/>
                        </a:lnTo>
                        <a:lnTo>
                          <a:pt x="698" y="703"/>
                        </a:lnTo>
                        <a:lnTo>
                          <a:pt x="701" y="696"/>
                        </a:lnTo>
                        <a:lnTo>
                          <a:pt x="699" y="691"/>
                        </a:lnTo>
                        <a:lnTo>
                          <a:pt x="693" y="667"/>
                        </a:lnTo>
                        <a:lnTo>
                          <a:pt x="688" y="655"/>
                        </a:lnTo>
                        <a:lnTo>
                          <a:pt x="686" y="648"/>
                        </a:lnTo>
                        <a:lnTo>
                          <a:pt x="691" y="640"/>
                        </a:lnTo>
                        <a:lnTo>
                          <a:pt x="679" y="638"/>
                        </a:lnTo>
                        <a:lnTo>
                          <a:pt x="669" y="643"/>
                        </a:lnTo>
                        <a:lnTo>
                          <a:pt x="664" y="640"/>
                        </a:lnTo>
                        <a:lnTo>
                          <a:pt x="649" y="640"/>
                        </a:lnTo>
                        <a:lnTo>
                          <a:pt x="930" y="177"/>
                        </a:lnTo>
                        <a:lnTo>
                          <a:pt x="929" y="175"/>
                        </a:lnTo>
                        <a:lnTo>
                          <a:pt x="924" y="173"/>
                        </a:lnTo>
                        <a:lnTo>
                          <a:pt x="920" y="175"/>
                        </a:lnTo>
                        <a:lnTo>
                          <a:pt x="917" y="172"/>
                        </a:lnTo>
                        <a:lnTo>
                          <a:pt x="915" y="163"/>
                        </a:lnTo>
                        <a:lnTo>
                          <a:pt x="914" y="158"/>
                        </a:lnTo>
                        <a:lnTo>
                          <a:pt x="910" y="157"/>
                        </a:lnTo>
                        <a:lnTo>
                          <a:pt x="909" y="152"/>
                        </a:lnTo>
                        <a:lnTo>
                          <a:pt x="905" y="147"/>
                        </a:lnTo>
                        <a:lnTo>
                          <a:pt x="904" y="145"/>
                        </a:lnTo>
                        <a:lnTo>
                          <a:pt x="895" y="145"/>
                        </a:lnTo>
                        <a:lnTo>
                          <a:pt x="894" y="145"/>
                        </a:lnTo>
                        <a:lnTo>
                          <a:pt x="887" y="145"/>
                        </a:lnTo>
                        <a:lnTo>
                          <a:pt x="880" y="147"/>
                        </a:lnTo>
                        <a:lnTo>
                          <a:pt x="877" y="145"/>
                        </a:lnTo>
                        <a:lnTo>
                          <a:pt x="875" y="145"/>
                        </a:lnTo>
                        <a:lnTo>
                          <a:pt x="874" y="143"/>
                        </a:lnTo>
                        <a:lnTo>
                          <a:pt x="872" y="145"/>
                        </a:lnTo>
                        <a:lnTo>
                          <a:pt x="869" y="145"/>
                        </a:lnTo>
                        <a:lnTo>
                          <a:pt x="869" y="143"/>
                        </a:lnTo>
                        <a:lnTo>
                          <a:pt x="870" y="143"/>
                        </a:lnTo>
                        <a:lnTo>
                          <a:pt x="872" y="142"/>
                        </a:lnTo>
                        <a:lnTo>
                          <a:pt x="867" y="138"/>
                        </a:lnTo>
                        <a:lnTo>
                          <a:pt x="864" y="140"/>
                        </a:lnTo>
                        <a:lnTo>
                          <a:pt x="862" y="138"/>
                        </a:lnTo>
                        <a:lnTo>
                          <a:pt x="862" y="137"/>
                        </a:lnTo>
                        <a:lnTo>
                          <a:pt x="864" y="135"/>
                        </a:lnTo>
                        <a:lnTo>
                          <a:pt x="862" y="133"/>
                        </a:lnTo>
                        <a:lnTo>
                          <a:pt x="859" y="135"/>
                        </a:lnTo>
                        <a:lnTo>
                          <a:pt x="855" y="133"/>
                        </a:lnTo>
                        <a:lnTo>
                          <a:pt x="855" y="132"/>
                        </a:lnTo>
                        <a:lnTo>
                          <a:pt x="852" y="128"/>
                        </a:lnTo>
                        <a:lnTo>
                          <a:pt x="845" y="123"/>
                        </a:lnTo>
                        <a:lnTo>
                          <a:pt x="844" y="123"/>
                        </a:lnTo>
                        <a:lnTo>
                          <a:pt x="842" y="123"/>
                        </a:lnTo>
                        <a:lnTo>
                          <a:pt x="841" y="123"/>
                        </a:lnTo>
                        <a:lnTo>
                          <a:pt x="837" y="125"/>
                        </a:lnTo>
                        <a:lnTo>
                          <a:pt x="839" y="123"/>
                        </a:lnTo>
                        <a:lnTo>
                          <a:pt x="837" y="122"/>
                        </a:lnTo>
                        <a:lnTo>
                          <a:pt x="834" y="120"/>
                        </a:lnTo>
                        <a:lnTo>
                          <a:pt x="831" y="123"/>
                        </a:lnTo>
                        <a:lnTo>
                          <a:pt x="829" y="122"/>
                        </a:lnTo>
                        <a:lnTo>
                          <a:pt x="829" y="120"/>
                        </a:lnTo>
                        <a:lnTo>
                          <a:pt x="831" y="118"/>
                        </a:lnTo>
                        <a:lnTo>
                          <a:pt x="829" y="117"/>
                        </a:lnTo>
                        <a:lnTo>
                          <a:pt x="826" y="115"/>
                        </a:lnTo>
                        <a:lnTo>
                          <a:pt x="822" y="115"/>
                        </a:lnTo>
                        <a:lnTo>
                          <a:pt x="824" y="113"/>
                        </a:lnTo>
                        <a:lnTo>
                          <a:pt x="822" y="112"/>
                        </a:lnTo>
                        <a:lnTo>
                          <a:pt x="819" y="110"/>
                        </a:lnTo>
                        <a:lnTo>
                          <a:pt x="816" y="107"/>
                        </a:lnTo>
                        <a:lnTo>
                          <a:pt x="816" y="105"/>
                        </a:lnTo>
                        <a:lnTo>
                          <a:pt x="816" y="103"/>
                        </a:lnTo>
                        <a:lnTo>
                          <a:pt x="812" y="102"/>
                        </a:lnTo>
                        <a:lnTo>
                          <a:pt x="809" y="103"/>
                        </a:lnTo>
                        <a:lnTo>
                          <a:pt x="801" y="112"/>
                        </a:lnTo>
                        <a:lnTo>
                          <a:pt x="791" y="117"/>
                        </a:lnTo>
                        <a:lnTo>
                          <a:pt x="799" y="112"/>
                        </a:lnTo>
                        <a:lnTo>
                          <a:pt x="804" y="103"/>
                        </a:lnTo>
                        <a:lnTo>
                          <a:pt x="811" y="98"/>
                        </a:lnTo>
                        <a:lnTo>
                          <a:pt x="811" y="93"/>
                        </a:lnTo>
                        <a:lnTo>
                          <a:pt x="807" y="92"/>
                        </a:lnTo>
                        <a:lnTo>
                          <a:pt x="802" y="87"/>
                        </a:lnTo>
                        <a:lnTo>
                          <a:pt x="796" y="87"/>
                        </a:lnTo>
                        <a:lnTo>
                          <a:pt x="789" y="90"/>
                        </a:lnTo>
                        <a:lnTo>
                          <a:pt x="786" y="90"/>
                        </a:lnTo>
                        <a:lnTo>
                          <a:pt x="784" y="90"/>
                        </a:lnTo>
                        <a:lnTo>
                          <a:pt x="777" y="92"/>
                        </a:lnTo>
                        <a:lnTo>
                          <a:pt x="771" y="98"/>
                        </a:lnTo>
                        <a:lnTo>
                          <a:pt x="764" y="102"/>
                        </a:lnTo>
                        <a:lnTo>
                          <a:pt x="769" y="97"/>
                        </a:lnTo>
                        <a:lnTo>
                          <a:pt x="769" y="92"/>
                        </a:lnTo>
                        <a:lnTo>
                          <a:pt x="769" y="87"/>
                        </a:lnTo>
                        <a:lnTo>
                          <a:pt x="769" y="84"/>
                        </a:lnTo>
                        <a:lnTo>
                          <a:pt x="762" y="79"/>
                        </a:lnTo>
                        <a:lnTo>
                          <a:pt x="762" y="77"/>
                        </a:lnTo>
                        <a:lnTo>
                          <a:pt x="766" y="75"/>
                        </a:lnTo>
                        <a:lnTo>
                          <a:pt x="771" y="75"/>
                        </a:lnTo>
                        <a:lnTo>
                          <a:pt x="769" y="74"/>
                        </a:lnTo>
                        <a:lnTo>
                          <a:pt x="757" y="67"/>
                        </a:lnTo>
                        <a:lnTo>
                          <a:pt x="757" y="65"/>
                        </a:lnTo>
                        <a:lnTo>
                          <a:pt x="759" y="62"/>
                        </a:lnTo>
                        <a:lnTo>
                          <a:pt x="766" y="59"/>
                        </a:lnTo>
                        <a:lnTo>
                          <a:pt x="769" y="55"/>
                        </a:lnTo>
                        <a:lnTo>
                          <a:pt x="767" y="52"/>
                        </a:lnTo>
                        <a:lnTo>
                          <a:pt x="764" y="49"/>
                        </a:lnTo>
                        <a:lnTo>
                          <a:pt x="762" y="49"/>
                        </a:lnTo>
                        <a:lnTo>
                          <a:pt x="759" y="49"/>
                        </a:lnTo>
                        <a:lnTo>
                          <a:pt x="757" y="45"/>
                        </a:lnTo>
                        <a:lnTo>
                          <a:pt x="754" y="44"/>
                        </a:lnTo>
                        <a:lnTo>
                          <a:pt x="749" y="45"/>
                        </a:lnTo>
                        <a:lnTo>
                          <a:pt x="744" y="42"/>
                        </a:lnTo>
                        <a:lnTo>
                          <a:pt x="741" y="42"/>
                        </a:lnTo>
                        <a:lnTo>
                          <a:pt x="738" y="44"/>
                        </a:lnTo>
                        <a:lnTo>
                          <a:pt x="733" y="44"/>
                        </a:lnTo>
                        <a:lnTo>
                          <a:pt x="729" y="47"/>
                        </a:lnTo>
                        <a:lnTo>
                          <a:pt x="729" y="49"/>
                        </a:lnTo>
                        <a:lnTo>
                          <a:pt x="726" y="45"/>
                        </a:lnTo>
                        <a:lnTo>
                          <a:pt x="728" y="42"/>
                        </a:lnTo>
                        <a:lnTo>
                          <a:pt x="731" y="40"/>
                        </a:lnTo>
                        <a:lnTo>
                          <a:pt x="729" y="37"/>
                        </a:lnTo>
                        <a:lnTo>
                          <a:pt x="731" y="34"/>
                        </a:lnTo>
                        <a:lnTo>
                          <a:pt x="734" y="32"/>
                        </a:lnTo>
                        <a:lnTo>
                          <a:pt x="734" y="29"/>
                        </a:lnTo>
                        <a:lnTo>
                          <a:pt x="736" y="24"/>
                        </a:lnTo>
                        <a:lnTo>
                          <a:pt x="734" y="22"/>
                        </a:lnTo>
                        <a:lnTo>
                          <a:pt x="733" y="22"/>
                        </a:lnTo>
                        <a:lnTo>
                          <a:pt x="728" y="27"/>
                        </a:lnTo>
                        <a:lnTo>
                          <a:pt x="726" y="30"/>
                        </a:lnTo>
                        <a:lnTo>
                          <a:pt x="724" y="30"/>
                        </a:lnTo>
                        <a:lnTo>
                          <a:pt x="721" y="29"/>
                        </a:lnTo>
                        <a:lnTo>
                          <a:pt x="716" y="30"/>
                        </a:lnTo>
                        <a:lnTo>
                          <a:pt x="716" y="32"/>
                        </a:lnTo>
                        <a:lnTo>
                          <a:pt x="716" y="37"/>
                        </a:lnTo>
                        <a:lnTo>
                          <a:pt x="714" y="40"/>
                        </a:lnTo>
                        <a:lnTo>
                          <a:pt x="711" y="40"/>
                        </a:lnTo>
                        <a:lnTo>
                          <a:pt x="709" y="39"/>
                        </a:lnTo>
                        <a:lnTo>
                          <a:pt x="708" y="44"/>
                        </a:lnTo>
                        <a:lnTo>
                          <a:pt x="708" y="49"/>
                        </a:lnTo>
                        <a:lnTo>
                          <a:pt x="706" y="44"/>
                        </a:lnTo>
                        <a:lnTo>
                          <a:pt x="706" y="39"/>
                        </a:lnTo>
                        <a:lnTo>
                          <a:pt x="708" y="35"/>
                        </a:lnTo>
                        <a:lnTo>
                          <a:pt x="706" y="35"/>
                        </a:lnTo>
                        <a:lnTo>
                          <a:pt x="703" y="37"/>
                        </a:lnTo>
                        <a:lnTo>
                          <a:pt x="701" y="40"/>
                        </a:lnTo>
                        <a:lnTo>
                          <a:pt x="698" y="42"/>
                        </a:lnTo>
                        <a:lnTo>
                          <a:pt x="699" y="35"/>
                        </a:lnTo>
                        <a:lnTo>
                          <a:pt x="698" y="30"/>
                        </a:lnTo>
                        <a:lnTo>
                          <a:pt x="693" y="32"/>
                        </a:lnTo>
                        <a:lnTo>
                          <a:pt x="694" y="29"/>
                        </a:lnTo>
                        <a:lnTo>
                          <a:pt x="699" y="25"/>
                        </a:lnTo>
                        <a:lnTo>
                          <a:pt x="704" y="24"/>
                        </a:lnTo>
                        <a:lnTo>
                          <a:pt x="709" y="27"/>
                        </a:lnTo>
                        <a:lnTo>
                          <a:pt x="716" y="25"/>
                        </a:lnTo>
                        <a:lnTo>
                          <a:pt x="721" y="24"/>
                        </a:lnTo>
                        <a:lnTo>
                          <a:pt x="726" y="19"/>
                        </a:lnTo>
                        <a:lnTo>
                          <a:pt x="726" y="17"/>
                        </a:lnTo>
                        <a:lnTo>
                          <a:pt x="728" y="15"/>
                        </a:lnTo>
                        <a:lnTo>
                          <a:pt x="726" y="14"/>
                        </a:lnTo>
                        <a:lnTo>
                          <a:pt x="721" y="10"/>
                        </a:lnTo>
                        <a:lnTo>
                          <a:pt x="719" y="12"/>
                        </a:lnTo>
                        <a:lnTo>
                          <a:pt x="718" y="7"/>
                        </a:lnTo>
                        <a:lnTo>
                          <a:pt x="716" y="5"/>
                        </a:lnTo>
                        <a:lnTo>
                          <a:pt x="714" y="5"/>
                        </a:lnTo>
                        <a:lnTo>
                          <a:pt x="716" y="4"/>
                        </a:lnTo>
                        <a:lnTo>
                          <a:pt x="718" y="2"/>
                        </a:lnTo>
                        <a:lnTo>
                          <a:pt x="719" y="0"/>
                        </a:lnTo>
                        <a:lnTo>
                          <a:pt x="716" y="0"/>
                        </a:lnTo>
                        <a:lnTo>
                          <a:pt x="708" y="5"/>
                        </a:lnTo>
                        <a:lnTo>
                          <a:pt x="706" y="7"/>
                        </a:lnTo>
                        <a:lnTo>
                          <a:pt x="699" y="7"/>
                        </a:lnTo>
                        <a:lnTo>
                          <a:pt x="694" y="10"/>
                        </a:lnTo>
                        <a:lnTo>
                          <a:pt x="684" y="17"/>
                        </a:lnTo>
                        <a:lnTo>
                          <a:pt x="678" y="19"/>
                        </a:lnTo>
                        <a:lnTo>
                          <a:pt x="666" y="19"/>
                        </a:lnTo>
                        <a:lnTo>
                          <a:pt x="659" y="15"/>
                        </a:lnTo>
                        <a:lnTo>
                          <a:pt x="658" y="14"/>
                        </a:lnTo>
                        <a:lnTo>
                          <a:pt x="658" y="15"/>
                        </a:lnTo>
                        <a:lnTo>
                          <a:pt x="653" y="15"/>
                        </a:lnTo>
                        <a:lnTo>
                          <a:pt x="648" y="12"/>
                        </a:lnTo>
                        <a:lnTo>
                          <a:pt x="645" y="14"/>
                        </a:lnTo>
                        <a:lnTo>
                          <a:pt x="643" y="17"/>
                        </a:lnTo>
                        <a:lnTo>
                          <a:pt x="641" y="17"/>
                        </a:lnTo>
                        <a:lnTo>
                          <a:pt x="640" y="14"/>
                        </a:lnTo>
                        <a:lnTo>
                          <a:pt x="641" y="12"/>
                        </a:lnTo>
                        <a:lnTo>
                          <a:pt x="645" y="10"/>
                        </a:lnTo>
                        <a:lnTo>
                          <a:pt x="643" y="9"/>
                        </a:lnTo>
                        <a:lnTo>
                          <a:pt x="636" y="10"/>
                        </a:lnTo>
                        <a:lnTo>
                          <a:pt x="628" y="14"/>
                        </a:lnTo>
                        <a:lnTo>
                          <a:pt x="621" y="17"/>
                        </a:lnTo>
                        <a:lnTo>
                          <a:pt x="618" y="22"/>
                        </a:lnTo>
                        <a:lnTo>
                          <a:pt x="620" y="25"/>
                        </a:lnTo>
                        <a:lnTo>
                          <a:pt x="626" y="27"/>
                        </a:lnTo>
                        <a:lnTo>
                          <a:pt x="623" y="29"/>
                        </a:lnTo>
                        <a:lnTo>
                          <a:pt x="616" y="29"/>
                        </a:lnTo>
                        <a:lnTo>
                          <a:pt x="610" y="34"/>
                        </a:lnTo>
                        <a:lnTo>
                          <a:pt x="605" y="44"/>
                        </a:lnTo>
                        <a:lnTo>
                          <a:pt x="603" y="52"/>
                        </a:lnTo>
                        <a:lnTo>
                          <a:pt x="600" y="52"/>
                        </a:lnTo>
                        <a:lnTo>
                          <a:pt x="600" y="50"/>
                        </a:lnTo>
                        <a:lnTo>
                          <a:pt x="601" y="42"/>
                        </a:lnTo>
                        <a:lnTo>
                          <a:pt x="608" y="32"/>
                        </a:lnTo>
                        <a:lnTo>
                          <a:pt x="608" y="30"/>
                        </a:lnTo>
                        <a:lnTo>
                          <a:pt x="606" y="30"/>
                        </a:lnTo>
                        <a:lnTo>
                          <a:pt x="593" y="34"/>
                        </a:lnTo>
                        <a:lnTo>
                          <a:pt x="588" y="34"/>
                        </a:lnTo>
                        <a:lnTo>
                          <a:pt x="585" y="34"/>
                        </a:lnTo>
                        <a:lnTo>
                          <a:pt x="581" y="29"/>
                        </a:lnTo>
                        <a:lnTo>
                          <a:pt x="576" y="27"/>
                        </a:lnTo>
                        <a:lnTo>
                          <a:pt x="573" y="27"/>
                        </a:lnTo>
                        <a:lnTo>
                          <a:pt x="573" y="29"/>
                        </a:lnTo>
                        <a:lnTo>
                          <a:pt x="580" y="32"/>
                        </a:lnTo>
                        <a:lnTo>
                          <a:pt x="583" y="35"/>
                        </a:lnTo>
                        <a:lnTo>
                          <a:pt x="581" y="35"/>
                        </a:lnTo>
                        <a:lnTo>
                          <a:pt x="573" y="34"/>
                        </a:lnTo>
                        <a:lnTo>
                          <a:pt x="565" y="34"/>
                        </a:lnTo>
                        <a:lnTo>
                          <a:pt x="555" y="37"/>
                        </a:lnTo>
                        <a:lnTo>
                          <a:pt x="543" y="47"/>
                        </a:lnTo>
                        <a:lnTo>
                          <a:pt x="530" y="54"/>
                        </a:lnTo>
                        <a:lnTo>
                          <a:pt x="520" y="60"/>
                        </a:lnTo>
                        <a:lnTo>
                          <a:pt x="510" y="69"/>
                        </a:lnTo>
                        <a:lnTo>
                          <a:pt x="497" y="79"/>
                        </a:lnTo>
                        <a:lnTo>
                          <a:pt x="488" y="80"/>
                        </a:lnTo>
                        <a:lnTo>
                          <a:pt x="485" y="82"/>
                        </a:lnTo>
                        <a:lnTo>
                          <a:pt x="478" y="85"/>
                        </a:lnTo>
                        <a:lnTo>
                          <a:pt x="473" y="85"/>
                        </a:lnTo>
                        <a:lnTo>
                          <a:pt x="465" y="90"/>
                        </a:lnTo>
                        <a:lnTo>
                          <a:pt x="457" y="90"/>
                        </a:lnTo>
                        <a:lnTo>
                          <a:pt x="453" y="87"/>
                        </a:lnTo>
                        <a:lnTo>
                          <a:pt x="447" y="87"/>
                        </a:lnTo>
                        <a:lnTo>
                          <a:pt x="440" y="84"/>
                        </a:lnTo>
                        <a:lnTo>
                          <a:pt x="435" y="82"/>
                        </a:lnTo>
                        <a:lnTo>
                          <a:pt x="427" y="79"/>
                        </a:lnTo>
                        <a:lnTo>
                          <a:pt x="425" y="79"/>
                        </a:lnTo>
                        <a:lnTo>
                          <a:pt x="419" y="84"/>
                        </a:lnTo>
                        <a:lnTo>
                          <a:pt x="410" y="92"/>
                        </a:lnTo>
                        <a:lnTo>
                          <a:pt x="409" y="97"/>
                        </a:lnTo>
                        <a:lnTo>
                          <a:pt x="404" y="100"/>
                        </a:lnTo>
                        <a:lnTo>
                          <a:pt x="400" y="107"/>
                        </a:lnTo>
                        <a:lnTo>
                          <a:pt x="397" y="105"/>
                        </a:lnTo>
                        <a:lnTo>
                          <a:pt x="394" y="103"/>
                        </a:lnTo>
                        <a:lnTo>
                          <a:pt x="392" y="105"/>
                        </a:lnTo>
                        <a:lnTo>
                          <a:pt x="395" y="115"/>
                        </a:lnTo>
                        <a:lnTo>
                          <a:pt x="402" y="133"/>
                        </a:lnTo>
                        <a:lnTo>
                          <a:pt x="407" y="148"/>
                        </a:lnTo>
                        <a:lnTo>
                          <a:pt x="410" y="162"/>
                        </a:lnTo>
                        <a:lnTo>
                          <a:pt x="409" y="175"/>
                        </a:lnTo>
                        <a:lnTo>
                          <a:pt x="404" y="183"/>
                        </a:lnTo>
                        <a:lnTo>
                          <a:pt x="399" y="188"/>
                        </a:lnTo>
                        <a:lnTo>
                          <a:pt x="399" y="191"/>
                        </a:lnTo>
                        <a:lnTo>
                          <a:pt x="409" y="201"/>
                        </a:lnTo>
                        <a:lnTo>
                          <a:pt x="414" y="203"/>
                        </a:lnTo>
                        <a:lnTo>
                          <a:pt x="414" y="198"/>
                        </a:lnTo>
                        <a:lnTo>
                          <a:pt x="415" y="200"/>
                        </a:lnTo>
                        <a:lnTo>
                          <a:pt x="419" y="198"/>
                        </a:lnTo>
                        <a:lnTo>
                          <a:pt x="424" y="198"/>
                        </a:lnTo>
                        <a:lnTo>
                          <a:pt x="419" y="201"/>
                        </a:lnTo>
                        <a:lnTo>
                          <a:pt x="419" y="203"/>
                        </a:lnTo>
                        <a:lnTo>
                          <a:pt x="430" y="213"/>
                        </a:lnTo>
                        <a:lnTo>
                          <a:pt x="429" y="215"/>
                        </a:lnTo>
                        <a:lnTo>
                          <a:pt x="424" y="213"/>
                        </a:lnTo>
                        <a:lnTo>
                          <a:pt x="422" y="216"/>
                        </a:lnTo>
                        <a:lnTo>
                          <a:pt x="420" y="228"/>
                        </a:lnTo>
                        <a:lnTo>
                          <a:pt x="422" y="233"/>
                        </a:lnTo>
                        <a:lnTo>
                          <a:pt x="424" y="235"/>
                        </a:lnTo>
                        <a:lnTo>
                          <a:pt x="427" y="231"/>
                        </a:lnTo>
                        <a:lnTo>
                          <a:pt x="434" y="231"/>
                        </a:lnTo>
                        <a:lnTo>
                          <a:pt x="437" y="233"/>
                        </a:lnTo>
                        <a:lnTo>
                          <a:pt x="439" y="235"/>
                        </a:lnTo>
                        <a:lnTo>
                          <a:pt x="445" y="233"/>
                        </a:lnTo>
                        <a:lnTo>
                          <a:pt x="452" y="235"/>
                        </a:lnTo>
                        <a:lnTo>
                          <a:pt x="458" y="238"/>
                        </a:lnTo>
                        <a:lnTo>
                          <a:pt x="452" y="241"/>
                        </a:lnTo>
                        <a:lnTo>
                          <a:pt x="453" y="246"/>
                        </a:lnTo>
                        <a:lnTo>
                          <a:pt x="452" y="251"/>
                        </a:lnTo>
                        <a:lnTo>
                          <a:pt x="444" y="251"/>
                        </a:lnTo>
                        <a:lnTo>
                          <a:pt x="445" y="248"/>
                        </a:lnTo>
                        <a:lnTo>
                          <a:pt x="440" y="246"/>
                        </a:lnTo>
                        <a:lnTo>
                          <a:pt x="437" y="248"/>
                        </a:lnTo>
                        <a:lnTo>
                          <a:pt x="430" y="246"/>
                        </a:lnTo>
                        <a:lnTo>
                          <a:pt x="429" y="245"/>
                        </a:lnTo>
                        <a:lnTo>
                          <a:pt x="425" y="238"/>
                        </a:lnTo>
                        <a:lnTo>
                          <a:pt x="422" y="236"/>
                        </a:lnTo>
                        <a:lnTo>
                          <a:pt x="419" y="238"/>
                        </a:lnTo>
                        <a:lnTo>
                          <a:pt x="414" y="233"/>
                        </a:lnTo>
                        <a:lnTo>
                          <a:pt x="414" y="226"/>
                        </a:lnTo>
                        <a:lnTo>
                          <a:pt x="420" y="213"/>
                        </a:lnTo>
                        <a:lnTo>
                          <a:pt x="419" y="210"/>
                        </a:lnTo>
                        <a:lnTo>
                          <a:pt x="417" y="210"/>
                        </a:lnTo>
                        <a:lnTo>
                          <a:pt x="412" y="213"/>
                        </a:lnTo>
                        <a:lnTo>
                          <a:pt x="412" y="226"/>
                        </a:lnTo>
                        <a:lnTo>
                          <a:pt x="410" y="235"/>
                        </a:lnTo>
                        <a:lnTo>
                          <a:pt x="405" y="240"/>
                        </a:lnTo>
                        <a:lnTo>
                          <a:pt x="405" y="243"/>
                        </a:lnTo>
                        <a:lnTo>
                          <a:pt x="409" y="238"/>
                        </a:lnTo>
                        <a:lnTo>
                          <a:pt x="412" y="238"/>
                        </a:lnTo>
                        <a:lnTo>
                          <a:pt x="414" y="240"/>
                        </a:lnTo>
                        <a:lnTo>
                          <a:pt x="420" y="240"/>
                        </a:lnTo>
                        <a:lnTo>
                          <a:pt x="422" y="245"/>
                        </a:lnTo>
                        <a:lnTo>
                          <a:pt x="422" y="253"/>
                        </a:lnTo>
                        <a:lnTo>
                          <a:pt x="417" y="258"/>
                        </a:lnTo>
                        <a:lnTo>
                          <a:pt x="410" y="260"/>
                        </a:lnTo>
                        <a:lnTo>
                          <a:pt x="417" y="253"/>
                        </a:lnTo>
                        <a:lnTo>
                          <a:pt x="417" y="250"/>
                        </a:lnTo>
                        <a:lnTo>
                          <a:pt x="414" y="250"/>
                        </a:lnTo>
                        <a:lnTo>
                          <a:pt x="412" y="248"/>
                        </a:lnTo>
                        <a:lnTo>
                          <a:pt x="409" y="250"/>
                        </a:lnTo>
                        <a:lnTo>
                          <a:pt x="400" y="255"/>
                        </a:lnTo>
                        <a:lnTo>
                          <a:pt x="400" y="258"/>
                        </a:lnTo>
                        <a:lnTo>
                          <a:pt x="397" y="260"/>
                        </a:lnTo>
                        <a:lnTo>
                          <a:pt x="392" y="261"/>
                        </a:lnTo>
                        <a:lnTo>
                          <a:pt x="390" y="258"/>
                        </a:lnTo>
                        <a:lnTo>
                          <a:pt x="389" y="256"/>
                        </a:lnTo>
                        <a:lnTo>
                          <a:pt x="382" y="258"/>
                        </a:lnTo>
                        <a:lnTo>
                          <a:pt x="379" y="256"/>
                        </a:lnTo>
                        <a:lnTo>
                          <a:pt x="379" y="251"/>
                        </a:lnTo>
                        <a:lnTo>
                          <a:pt x="375" y="251"/>
                        </a:lnTo>
                        <a:lnTo>
                          <a:pt x="372" y="251"/>
                        </a:lnTo>
                        <a:lnTo>
                          <a:pt x="369" y="251"/>
                        </a:lnTo>
                        <a:lnTo>
                          <a:pt x="369" y="248"/>
                        </a:lnTo>
                        <a:lnTo>
                          <a:pt x="365" y="246"/>
                        </a:lnTo>
                        <a:lnTo>
                          <a:pt x="362" y="248"/>
                        </a:lnTo>
                        <a:lnTo>
                          <a:pt x="359" y="248"/>
                        </a:lnTo>
                        <a:lnTo>
                          <a:pt x="359" y="243"/>
                        </a:lnTo>
                        <a:lnTo>
                          <a:pt x="357" y="240"/>
                        </a:lnTo>
                        <a:lnTo>
                          <a:pt x="357" y="236"/>
                        </a:lnTo>
                        <a:lnTo>
                          <a:pt x="362" y="235"/>
                        </a:lnTo>
                        <a:lnTo>
                          <a:pt x="367" y="228"/>
                        </a:lnTo>
                        <a:lnTo>
                          <a:pt x="369" y="228"/>
                        </a:lnTo>
                        <a:lnTo>
                          <a:pt x="372" y="225"/>
                        </a:lnTo>
                        <a:lnTo>
                          <a:pt x="372" y="221"/>
                        </a:lnTo>
                        <a:lnTo>
                          <a:pt x="365" y="216"/>
                        </a:lnTo>
                        <a:lnTo>
                          <a:pt x="362" y="215"/>
                        </a:lnTo>
                        <a:lnTo>
                          <a:pt x="357" y="215"/>
                        </a:lnTo>
                        <a:lnTo>
                          <a:pt x="350" y="218"/>
                        </a:lnTo>
                        <a:lnTo>
                          <a:pt x="346" y="218"/>
                        </a:lnTo>
                        <a:lnTo>
                          <a:pt x="341" y="216"/>
                        </a:lnTo>
                        <a:lnTo>
                          <a:pt x="337" y="216"/>
                        </a:lnTo>
                        <a:lnTo>
                          <a:pt x="322" y="221"/>
                        </a:lnTo>
                        <a:lnTo>
                          <a:pt x="322" y="223"/>
                        </a:lnTo>
                        <a:lnTo>
                          <a:pt x="324" y="226"/>
                        </a:lnTo>
                        <a:lnTo>
                          <a:pt x="329" y="230"/>
                        </a:lnTo>
                        <a:lnTo>
                          <a:pt x="329" y="231"/>
                        </a:lnTo>
                        <a:lnTo>
                          <a:pt x="324" y="231"/>
                        </a:lnTo>
                        <a:lnTo>
                          <a:pt x="321" y="231"/>
                        </a:lnTo>
                        <a:lnTo>
                          <a:pt x="319" y="228"/>
                        </a:lnTo>
                        <a:lnTo>
                          <a:pt x="314" y="228"/>
                        </a:lnTo>
                        <a:lnTo>
                          <a:pt x="306" y="226"/>
                        </a:lnTo>
                        <a:lnTo>
                          <a:pt x="296" y="228"/>
                        </a:lnTo>
                        <a:lnTo>
                          <a:pt x="292" y="230"/>
                        </a:lnTo>
                        <a:lnTo>
                          <a:pt x="292" y="231"/>
                        </a:lnTo>
                        <a:lnTo>
                          <a:pt x="287" y="231"/>
                        </a:lnTo>
                        <a:lnTo>
                          <a:pt x="287" y="231"/>
                        </a:lnTo>
                        <a:lnTo>
                          <a:pt x="282" y="231"/>
                        </a:lnTo>
                        <a:lnTo>
                          <a:pt x="276" y="235"/>
                        </a:lnTo>
                        <a:lnTo>
                          <a:pt x="276" y="236"/>
                        </a:lnTo>
                        <a:lnTo>
                          <a:pt x="272" y="238"/>
                        </a:lnTo>
                        <a:lnTo>
                          <a:pt x="266" y="241"/>
                        </a:lnTo>
                        <a:lnTo>
                          <a:pt x="261" y="245"/>
                        </a:lnTo>
                        <a:lnTo>
                          <a:pt x="257" y="245"/>
                        </a:lnTo>
                        <a:lnTo>
                          <a:pt x="259" y="243"/>
                        </a:lnTo>
                        <a:lnTo>
                          <a:pt x="259" y="240"/>
                        </a:lnTo>
                        <a:lnTo>
                          <a:pt x="256" y="241"/>
                        </a:lnTo>
                        <a:lnTo>
                          <a:pt x="252" y="246"/>
                        </a:lnTo>
                        <a:lnTo>
                          <a:pt x="251" y="248"/>
                        </a:lnTo>
                        <a:lnTo>
                          <a:pt x="257" y="256"/>
                        </a:lnTo>
                        <a:lnTo>
                          <a:pt x="264" y="265"/>
                        </a:lnTo>
                        <a:lnTo>
                          <a:pt x="271" y="266"/>
                        </a:lnTo>
                        <a:lnTo>
                          <a:pt x="276" y="273"/>
                        </a:lnTo>
                        <a:lnTo>
                          <a:pt x="282" y="275"/>
                        </a:lnTo>
                        <a:lnTo>
                          <a:pt x="284" y="280"/>
                        </a:lnTo>
                        <a:lnTo>
                          <a:pt x="289" y="281"/>
                        </a:lnTo>
                        <a:lnTo>
                          <a:pt x="294" y="285"/>
                        </a:lnTo>
                        <a:lnTo>
                          <a:pt x="292" y="286"/>
                        </a:lnTo>
                        <a:lnTo>
                          <a:pt x="284" y="286"/>
                        </a:lnTo>
                        <a:lnTo>
                          <a:pt x="284" y="281"/>
                        </a:lnTo>
                        <a:lnTo>
                          <a:pt x="277" y="278"/>
                        </a:lnTo>
                        <a:lnTo>
                          <a:pt x="274" y="275"/>
                        </a:lnTo>
                        <a:lnTo>
                          <a:pt x="272" y="276"/>
                        </a:lnTo>
                        <a:lnTo>
                          <a:pt x="267" y="281"/>
                        </a:lnTo>
                        <a:lnTo>
                          <a:pt x="264" y="281"/>
                        </a:lnTo>
                        <a:lnTo>
                          <a:pt x="261" y="276"/>
                        </a:lnTo>
                        <a:lnTo>
                          <a:pt x="264" y="273"/>
                        </a:lnTo>
                        <a:lnTo>
                          <a:pt x="264" y="271"/>
                        </a:lnTo>
                        <a:lnTo>
                          <a:pt x="261" y="271"/>
                        </a:lnTo>
                        <a:lnTo>
                          <a:pt x="257" y="276"/>
                        </a:lnTo>
                        <a:lnTo>
                          <a:pt x="257" y="285"/>
                        </a:lnTo>
                        <a:lnTo>
                          <a:pt x="259" y="286"/>
                        </a:lnTo>
                        <a:lnTo>
                          <a:pt x="259" y="289"/>
                        </a:lnTo>
                        <a:lnTo>
                          <a:pt x="254" y="293"/>
                        </a:lnTo>
                        <a:lnTo>
                          <a:pt x="251" y="299"/>
                        </a:lnTo>
                        <a:lnTo>
                          <a:pt x="249" y="304"/>
                        </a:lnTo>
                        <a:lnTo>
                          <a:pt x="251" y="311"/>
                        </a:lnTo>
                        <a:lnTo>
                          <a:pt x="259" y="319"/>
                        </a:lnTo>
                        <a:lnTo>
                          <a:pt x="267" y="323"/>
                        </a:lnTo>
                        <a:lnTo>
                          <a:pt x="272" y="328"/>
                        </a:lnTo>
                        <a:lnTo>
                          <a:pt x="276" y="328"/>
                        </a:lnTo>
                        <a:lnTo>
                          <a:pt x="281" y="324"/>
                        </a:lnTo>
                        <a:lnTo>
                          <a:pt x="287" y="321"/>
                        </a:lnTo>
                        <a:lnTo>
                          <a:pt x="294" y="324"/>
                        </a:lnTo>
                        <a:lnTo>
                          <a:pt x="304" y="326"/>
                        </a:lnTo>
                        <a:lnTo>
                          <a:pt x="309" y="328"/>
                        </a:lnTo>
                        <a:lnTo>
                          <a:pt x="311" y="333"/>
                        </a:lnTo>
                        <a:lnTo>
                          <a:pt x="312" y="334"/>
                        </a:lnTo>
                        <a:lnTo>
                          <a:pt x="316" y="333"/>
                        </a:lnTo>
                        <a:lnTo>
                          <a:pt x="314" y="326"/>
                        </a:lnTo>
                        <a:lnTo>
                          <a:pt x="316" y="324"/>
                        </a:lnTo>
                        <a:lnTo>
                          <a:pt x="321" y="326"/>
                        </a:lnTo>
                        <a:lnTo>
                          <a:pt x="321" y="329"/>
                        </a:lnTo>
                        <a:lnTo>
                          <a:pt x="316" y="334"/>
                        </a:lnTo>
                        <a:lnTo>
                          <a:pt x="316" y="338"/>
                        </a:lnTo>
                        <a:lnTo>
                          <a:pt x="319" y="338"/>
                        </a:lnTo>
                        <a:lnTo>
                          <a:pt x="324" y="333"/>
                        </a:lnTo>
                        <a:lnTo>
                          <a:pt x="327" y="331"/>
                        </a:lnTo>
                        <a:lnTo>
                          <a:pt x="334" y="329"/>
                        </a:lnTo>
                        <a:lnTo>
                          <a:pt x="344" y="324"/>
                        </a:lnTo>
                        <a:lnTo>
                          <a:pt x="350" y="323"/>
                        </a:lnTo>
                        <a:lnTo>
                          <a:pt x="354" y="319"/>
                        </a:lnTo>
                        <a:lnTo>
                          <a:pt x="357" y="319"/>
                        </a:lnTo>
                        <a:lnTo>
                          <a:pt x="357" y="321"/>
                        </a:lnTo>
                        <a:lnTo>
                          <a:pt x="360" y="323"/>
                        </a:lnTo>
                        <a:lnTo>
                          <a:pt x="369" y="318"/>
                        </a:lnTo>
                        <a:lnTo>
                          <a:pt x="374" y="318"/>
                        </a:lnTo>
                        <a:lnTo>
                          <a:pt x="377" y="316"/>
                        </a:lnTo>
                        <a:lnTo>
                          <a:pt x="375" y="319"/>
                        </a:lnTo>
                        <a:lnTo>
                          <a:pt x="369" y="323"/>
                        </a:lnTo>
                        <a:lnTo>
                          <a:pt x="369" y="324"/>
                        </a:lnTo>
                        <a:lnTo>
                          <a:pt x="372" y="326"/>
                        </a:lnTo>
                        <a:lnTo>
                          <a:pt x="367" y="333"/>
                        </a:lnTo>
                        <a:lnTo>
                          <a:pt x="360" y="334"/>
                        </a:lnTo>
                        <a:lnTo>
                          <a:pt x="359" y="331"/>
                        </a:lnTo>
                        <a:lnTo>
                          <a:pt x="355" y="331"/>
                        </a:lnTo>
                        <a:lnTo>
                          <a:pt x="349" y="336"/>
                        </a:lnTo>
                        <a:lnTo>
                          <a:pt x="349" y="338"/>
                        </a:lnTo>
                        <a:lnTo>
                          <a:pt x="355" y="338"/>
                        </a:lnTo>
                        <a:lnTo>
                          <a:pt x="357" y="341"/>
                        </a:lnTo>
                        <a:lnTo>
                          <a:pt x="357" y="346"/>
                        </a:lnTo>
                        <a:lnTo>
                          <a:pt x="349" y="354"/>
                        </a:lnTo>
                        <a:lnTo>
                          <a:pt x="349" y="359"/>
                        </a:lnTo>
                        <a:lnTo>
                          <a:pt x="346" y="363"/>
                        </a:lnTo>
                        <a:lnTo>
                          <a:pt x="346" y="366"/>
                        </a:lnTo>
                        <a:lnTo>
                          <a:pt x="346" y="368"/>
                        </a:lnTo>
                        <a:lnTo>
                          <a:pt x="347" y="371"/>
                        </a:lnTo>
                        <a:lnTo>
                          <a:pt x="346" y="374"/>
                        </a:lnTo>
                        <a:lnTo>
                          <a:pt x="341" y="381"/>
                        </a:lnTo>
                        <a:lnTo>
                          <a:pt x="337" y="383"/>
                        </a:lnTo>
                        <a:lnTo>
                          <a:pt x="332" y="383"/>
                        </a:lnTo>
                        <a:lnTo>
                          <a:pt x="329" y="384"/>
                        </a:lnTo>
                        <a:lnTo>
                          <a:pt x="324" y="387"/>
                        </a:lnTo>
                        <a:lnTo>
                          <a:pt x="321" y="389"/>
                        </a:lnTo>
                        <a:lnTo>
                          <a:pt x="316" y="389"/>
                        </a:lnTo>
                        <a:lnTo>
                          <a:pt x="307" y="384"/>
                        </a:lnTo>
                        <a:lnTo>
                          <a:pt x="306" y="386"/>
                        </a:lnTo>
                        <a:lnTo>
                          <a:pt x="304" y="384"/>
                        </a:lnTo>
                        <a:lnTo>
                          <a:pt x="301" y="379"/>
                        </a:lnTo>
                        <a:lnTo>
                          <a:pt x="299" y="381"/>
                        </a:lnTo>
                        <a:lnTo>
                          <a:pt x="294" y="386"/>
                        </a:lnTo>
                        <a:lnTo>
                          <a:pt x="289" y="389"/>
                        </a:lnTo>
                        <a:lnTo>
                          <a:pt x="284" y="394"/>
                        </a:lnTo>
                        <a:lnTo>
                          <a:pt x="276" y="397"/>
                        </a:lnTo>
                        <a:lnTo>
                          <a:pt x="272" y="399"/>
                        </a:lnTo>
                        <a:lnTo>
                          <a:pt x="267" y="399"/>
                        </a:lnTo>
                        <a:lnTo>
                          <a:pt x="264" y="397"/>
                        </a:lnTo>
                        <a:lnTo>
                          <a:pt x="256" y="397"/>
                        </a:lnTo>
                        <a:lnTo>
                          <a:pt x="249" y="402"/>
                        </a:lnTo>
                        <a:lnTo>
                          <a:pt x="244" y="402"/>
                        </a:lnTo>
                        <a:lnTo>
                          <a:pt x="241" y="404"/>
                        </a:lnTo>
                        <a:lnTo>
                          <a:pt x="241" y="411"/>
                        </a:lnTo>
                        <a:lnTo>
                          <a:pt x="238" y="417"/>
                        </a:lnTo>
                        <a:lnTo>
                          <a:pt x="234" y="421"/>
                        </a:lnTo>
                        <a:lnTo>
                          <a:pt x="234" y="417"/>
                        </a:lnTo>
                        <a:lnTo>
                          <a:pt x="228" y="412"/>
                        </a:lnTo>
                        <a:lnTo>
                          <a:pt x="221" y="412"/>
                        </a:lnTo>
                        <a:lnTo>
                          <a:pt x="218" y="414"/>
                        </a:lnTo>
                        <a:lnTo>
                          <a:pt x="219" y="417"/>
                        </a:lnTo>
                        <a:lnTo>
                          <a:pt x="223" y="419"/>
                        </a:lnTo>
                        <a:lnTo>
                          <a:pt x="219" y="422"/>
                        </a:lnTo>
                        <a:lnTo>
                          <a:pt x="218" y="422"/>
                        </a:lnTo>
                        <a:lnTo>
                          <a:pt x="216" y="419"/>
                        </a:lnTo>
                        <a:lnTo>
                          <a:pt x="211" y="414"/>
                        </a:lnTo>
                        <a:lnTo>
                          <a:pt x="209" y="414"/>
                        </a:lnTo>
                        <a:lnTo>
                          <a:pt x="203" y="421"/>
                        </a:lnTo>
                        <a:lnTo>
                          <a:pt x="199" y="426"/>
                        </a:lnTo>
                        <a:lnTo>
                          <a:pt x="198" y="427"/>
                        </a:lnTo>
                        <a:lnTo>
                          <a:pt x="194" y="427"/>
                        </a:lnTo>
                        <a:lnTo>
                          <a:pt x="183" y="436"/>
                        </a:lnTo>
                        <a:lnTo>
                          <a:pt x="181" y="442"/>
                        </a:lnTo>
                        <a:lnTo>
                          <a:pt x="179" y="444"/>
                        </a:lnTo>
                        <a:lnTo>
                          <a:pt x="174" y="446"/>
                        </a:lnTo>
                        <a:lnTo>
                          <a:pt x="169" y="444"/>
                        </a:lnTo>
                        <a:lnTo>
                          <a:pt x="168" y="446"/>
                        </a:lnTo>
                        <a:lnTo>
                          <a:pt x="173" y="451"/>
                        </a:lnTo>
                        <a:lnTo>
                          <a:pt x="173" y="452"/>
                        </a:lnTo>
                        <a:lnTo>
                          <a:pt x="169" y="454"/>
                        </a:lnTo>
                        <a:lnTo>
                          <a:pt x="166" y="449"/>
                        </a:lnTo>
                        <a:lnTo>
                          <a:pt x="164" y="451"/>
                        </a:lnTo>
                        <a:lnTo>
                          <a:pt x="163" y="454"/>
                        </a:lnTo>
                        <a:lnTo>
                          <a:pt x="156" y="461"/>
                        </a:lnTo>
                        <a:lnTo>
                          <a:pt x="156" y="462"/>
                        </a:lnTo>
                        <a:lnTo>
                          <a:pt x="161" y="469"/>
                        </a:lnTo>
                        <a:lnTo>
                          <a:pt x="161" y="474"/>
                        </a:lnTo>
                        <a:lnTo>
                          <a:pt x="161" y="477"/>
                        </a:lnTo>
                        <a:lnTo>
                          <a:pt x="158" y="482"/>
                        </a:lnTo>
                        <a:lnTo>
                          <a:pt x="159" y="485"/>
                        </a:lnTo>
                        <a:lnTo>
                          <a:pt x="163" y="484"/>
                        </a:lnTo>
                        <a:lnTo>
                          <a:pt x="166" y="481"/>
                        </a:lnTo>
                        <a:lnTo>
                          <a:pt x="166" y="484"/>
                        </a:lnTo>
                        <a:lnTo>
                          <a:pt x="168" y="489"/>
                        </a:lnTo>
                        <a:lnTo>
                          <a:pt x="164" y="490"/>
                        </a:lnTo>
                        <a:lnTo>
                          <a:pt x="163" y="492"/>
                        </a:lnTo>
                        <a:lnTo>
                          <a:pt x="164" y="494"/>
                        </a:lnTo>
                        <a:lnTo>
                          <a:pt x="168" y="494"/>
                        </a:lnTo>
                        <a:lnTo>
                          <a:pt x="169" y="492"/>
                        </a:lnTo>
                        <a:lnTo>
                          <a:pt x="173" y="492"/>
                        </a:lnTo>
                        <a:lnTo>
                          <a:pt x="174" y="494"/>
                        </a:lnTo>
                        <a:lnTo>
                          <a:pt x="174" y="495"/>
                        </a:lnTo>
                        <a:lnTo>
                          <a:pt x="179" y="497"/>
                        </a:lnTo>
                        <a:lnTo>
                          <a:pt x="184" y="499"/>
                        </a:lnTo>
                        <a:lnTo>
                          <a:pt x="189" y="499"/>
                        </a:lnTo>
                        <a:lnTo>
                          <a:pt x="193" y="495"/>
                        </a:lnTo>
                        <a:lnTo>
                          <a:pt x="194" y="487"/>
                        </a:lnTo>
                        <a:lnTo>
                          <a:pt x="198" y="484"/>
                        </a:lnTo>
                        <a:lnTo>
                          <a:pt x="206" y="484"/>
                        </a:lnTo>
                        <a:lnTo>
                          <a:pt x="211" y="482"/>
                        </a:lnTo>
                        <a:lnTo>
                          <a:pt x="206" y="487"/>
                        </a:lnTo>
                        <a:lnTo>
                          <a:pt x="203" y="487"/>
                        </a:lnTo>
                        <a:lnTo>
                          <a:pt x="194" y="494"/>
                        </a:lnTo>
                        <a:lnTo>
                          <a:pt x="193" y="499"/>
                        </a:lnTo>
                        <a:lnTo>
                          <a:pt x="191" y="500"/>
                        </a:lnTo>
                        <a:lnTo>
                          <a:pt x="194" y="505"/>
                        </a:lnTo>
                        <a:lnTo>
                          <a:pt x="196" y="509"/>
                        </a:lnTo>
                        <a:lnTo>
                          <a:pt x="189" y="510"/>
                        </a:lnTo>
                        <a:lnTo>
                          <a:pt x="186" y="509"/>
                        </a:lnTo>
                        <a:lnTo>
                          <a:pt x="186" y="505"/>
                        </a:lnTo>
                        <a:lnTo>
                          <a:pt x="184" y="504"/>
                        </a:lnTo>
                        <a:lnTo>
                          <a:pt x="181" y="504"/>
                        </a:lnTo>
                        <a:lnTo>
                          <a:pt x="178" y="500"/>
                        </a:lnTo>
                        <a:lnTo>
                          <a:pt x="171" y="499"/>
                        </a:lnTo>
                        <a:lnTo>
                          <a:pt x="169" y="495"/>
                        </a:lnTo>
                        <a:lnTo>
                          <a:pt x="164" y="499"/>
                        </a:lnTo>
                        <a:lnTo>
                          <a:pt x="161" y="499"/>
                        </a:lnTo>
                        <a:lnTo>
                          <a:pt x="159" y="504"/>
                        </a:lnTo>
                        <a:lnTo>
                          <a:pt x="156" y="505"/>
                        </a:lnTo>
                        <a:lnTo>
                          <a:pt x="151" y="504"/>
                        </a:lnTo>
                        <a:lnTo>
                          <a:pt x="151" y="507"/>
                        </a:lnTo>
                        <a:lnTo>
                          <a:pt x="153" y="510"/>
                        </a:lnTo>
                        <a:lnTo>
                          <a:pt x="154" y="510"/>
                        </a:lnTo>
                        <a:lnTo>
                          <a:pt x="153" y="514"/>
                        </a:lnTo>
                        <a:lnTo>
                          <a:pt x="151" y="520"/>
                        </a:lnTo>
                        <a:lnTo>
                          <a:pt x="153" y="524"/>
                        </a:lnTo>
                        <a:lnTo>
                          <a:pt x="156" y="524"/>
                        </a:lnTo>
                        <a:lnTo>
                          <a:pt x="156" y="532"/>
                        </a:lnTo>
                        <a:lnTo>
                          <a:pt x="158" y="534"/>
                        </a:lnTo>
                        <a:lnTo>
                          <a:pt x="158" y="537"/>
                        </a:lnTo>
                        <a:lnTo>
                          <a:pt x="161" y="540"/>
                        </a:lnTo>
                        <a:lnTo>
                          <a:pt x="161" y="542"/>
                        </a:lnTo>
                        <a:lnTo>
                          <a:pt x="156" y="544"/>
                        </a:lnTo>
                        <a:lnTo>
                          <a:pt x="154" y="545"/>
                        </a:lnTo>
                        <a:lnTo>
                          <a:pt x="171" y="552"/>
                        </a:lnTo>
                        <a:lnTo>
                          <a:pt x="178" y="552"/>
                        </a:lnTo>
                        <a:lnTo>
                          <a:pt x="184" y="550"/>
                        </a:lnTo>
                        <a:lnTo>
                          <a:pt x="188" y="549"/>
                        </a:lnTo>
                        <a:lnTo>
                          <a:pt x="191" y="550"/>
                        </a:lnTo>
                        <a:lnTo>
                          <a:pt x="194" y="549"/>
                        </a:lnTo>
                        <a:lnTo>
                          <a:pt x="201" y="542"/>
                        </a:lnTo>
                        <a:lnTo>
                          <a:pt x="201" y="537"/>
                        </a:lnTo>
                        <a:lnTo>
                          <a:pt x="198" y="535"/>
                        </a:lnTo>
                        <a:lnTo>
                          <a:pt x="198" y="532"/>
                        </a:lnTo>
                        <a:lnTo>
                          <a:pt x="204" y="530"/>
                        </a:lnTo>
                        <a:lnTo>
                          <a:pt x="211" y="525"/>
                        </a:lnTo>
                        <a:lnTo>
                          <a:pt x="223" y="519"/>
                        </a:lnTo>
                        <a:lnTo>
                          <a:pt x="226" y="519"/>
                        </a:lnTo>
                        <a:lnTo>
                          <a:pt x="221" y="520"/>
                        </a:lnTo>
                        <a:lnTo>
                          <a:pt x="211" y="529"/>
                        </a:lnTo>
                        <a:lnTo>
                          <a:pt x="206" y="532"/>
                        </a:lnTo>
                        <a:lnTo>
                          <a:pt x="204" y="535"/>
                        </a:lnTo>
                        <a:lnTo>
                          <a:pt x="209" y="537"/>
                        </a:lnTo>
                        <a:lnTo>
                          <a:pt x="209" y="540"/>
                        </a:lnTo>
                        <a:lnTo>
                          <a:pt x="204" y="547"/>
                        </a:lnTo>
                        <a:lnTo>
                          <a:pt x="199" y="550"/>
                        </a:lnTo>
                        <a:lnTo>
                          <a:pt x="199" y="554"/>
                        </a:lnTo>
                        <a:lnTo>
                          <a:pt x="201" y="560"/>
                        </a:lnTo>
                        <a:lnTo>
                          <a:pt x="199" y="564"/>
                        </a:lnTo>
                        <a:lnTo>
                          <a:pt x="199" y="567"/>
                        </a:lnTo>
                        <a:lnTo>
                          <a:pt x="199" y="570"/>
                        </a:lnTo>
                        <a:lnTo>
                          <a:pt x="199" y="575"/>
                        </a:lnTo>
                        <a:lnTo>
                          <a:pt x="193" y="577"/>
                        </a:lnTo>
                        <a:lnTo>
                          <a:pt x="189" y="579"/>
                        </a:lnTo>
                        <a:lnTo>
                          <a:pt x="189" y="582"/>
                        </a:lnTo>
                        <a:lnTo>
                          <a:pt x="186" y="582"/>
                        </a:lnTo>
                        <a:lnTo>
                          <a:pt x="184" y="582"/>
                        </a:lnTo>
                        <a:lnTo>
                          <a:pt x="186" y="587"/>
                        </a:lnTo>
                        <a:lnTo>
                          <a:pt x="186" y="592"/>
                        </a:lnTo>
                        <a:lnTo>
                          <a:pt x="189" y="592"/>
                        </a:lnTo>
                        <a:lnTo>
                          <a:pt x="193" y="592"/>
                        </a:lnTo>
                        <a:lnTo>
                          <a:pt x="196" y="590"/>
                        </a:lnTo>
                        <a:lnTo>
                          <a:pt x="198" y="593"/>
                        </a:lnTo>
                        <a:lnTo>
                          <a:pt x="194" y="597"/>
                        </a:lnTo>
                        <a:lnTo>
                          <a:pt x="189" y="595"/>
                        </a:lnTo>
                        <a:lnTo>
                          <a:pt x="188" y="598"/>
                        </a:lnTo>
                        <a:lnTo>
                          <a:pt x="188" y="600"/>
                        </a:lnTo>
                        <a:lnTo>
                          <a:pt x="188" y="602"/>
                        </a:lnTo>
                        <a:lnTo>
                          <a:pt x="189" y="605"/>
                        </a:lnTo>
                        <a:lnTo>
                          <a:pt x="186" y="607"/>
                        </a:lnTo>
                        <a:lnTo>
                          <a:pt x="183" y="608"/>
                        </a:lnTo>
                        <a:lnTo>
                          <a:pt x="178" y="610"/>
                        </a:lnTo>
                        <a:lnTo>
                          <a:pt x="174" y="610"/>
                        </a:lnTo>
                        <a:lnTo>
                          <a:pt x="173" y="610"/>
                        </a:lnTo>
                        <a:lnTo>
                          <a:pt x="176" y="613"/>
                        </a:lnTo>
                        <a:lnTo>
                          <a:pt x="181" y="613"/>
                        </a:lnTo>
                        <a:lnTo>
                          <a:pt x="183" y="615"/>
                        </a:lnTo>
                        <a:lnTo>
                          <a:pt x="188" y="610"/>
                        </a:lnTo>
                        <a:lnTo>
                          <a:pt x="198" y="605"/>
                        </a:lnTo>
                        <a:lnTo>
                          <a:pt x="201" y="605"/>
                        </a:lnTo>
                        <a:lnTo>
                          <a:pt x="204" y="605"/>
                        </a:lnTo>
                        <a:lnTo>
                          <a:pt x="208" y="602"/>
                        </a:lnTo>
                        <a:lnTo>
                          <a:pt x="216" y="600"/>
                        </a:lnTo>
                        <a:lnTo>
                          <a:pt x="214" y="603"/>
                        </a:lnTo>
                        <a:lnTo>
                          <a:pt x="211" y="605"/>
                        </a:lnTo>
                        <a:lnTo>
                          <a:pt x="211" y="607"/>
                        </a:lnTo>
                        <a:lnTo>
                          <a:pt x="214" y="608"/>
                        </a:lnTo>
                        <a:lnTo>
                          <a:pt x="216" y="612"/>
                        </a:lnTo>
                        <a:lnTo>
                          <a:pt x="214" y="613"/>
                        </a:lnTo>
                        <a:lnTo>
                          <a:pt x="218" y="617"/>
                        </a:lnTo>
                        <a:lnTo>
                          <a:pt x="223" y="613"/>
                        </a:lnTo>
                        <a:lnTo>
                          <a:pt x="224" y="610"/>
                        </a:lnTo>
                        <a:lnTo>
                          <a:pt x="226" y="612"/>
                        </a:lnTo>
                        <a:lnTo>
                          <a:pt x="224" y="613"/>
                        </a:lnTo>
                        <a:lnTo>
                          <a:pt x="228" y="618"/>
                        </a:lnTo>
                        <a:lnTo>
                          <a:pt x="229" y="627"/>
                        </a:lnTo>
                        <a:lnTo>
                          <a:pt x="228" y="630"/>
                        </a:lnTo>
                        <a:lnTo>
                          <a:pt x="231" y="635"/>
                        </a:lnTo>
                        <a:lnTo>
                          <a:pt x="233" y="637"/>
                        </a:lnTo>
                        <a:lnTo>
                          <a:pt x="236" y="630"/>
                        </a:lnTo>
                        <a:lnTo>
                          <a:pt x="234" y="627"/>
                        </a:lnTo>
                        <a:lnTo>
                          <a:pt x="239" y="620"/>
                        </a:lnTo>
                        <a:lnTo>
                          <a:pt x="241" y="617"/>
                        </a:lnTo>
                        <a:lnTo>
                          <a:pt x="246" y="612"/>
                        </a:lnTo>
                        <a:lnTo>
                          <a:pt x="248" y="612"/>
                        </a:lnTo>
                        <a:lnTo>
                          <a:pt x="252" y="608"/>
                        </a:lnTo>
                        <a:lnTo>
                          <a:pt x="259" y="608"/>
                        </a:lnTo>
                        <a:lnTo>
                          <a:pt x="252" y="612"/>
                        </a:lnTo>
                        <a:lnTo>
                          <a:pt x="246" y="618"/>
                        </a:lnTo>
                        <a:lnTo>
                          <a:pt x="246" y="620"/>
                        </a:lnTo>
                        <a:lnTo>
                          <a:pt x="251" y="627"/>
                        </a:lnTo>
                        <a:lnTo>
                          <a:pt x="254" y="627"/>
                        </a:lnTo>
                        <a:lnTo>
                          <a:pt x="262" y="623"/>
                        </a:lnTo>
                        <a:lnTo>
                          <a:pt x="271" y="623"/>
                        </a:lnTo>
                        <a:lnTo>
                          <a:pt x="276" y="620"/>
                        </a:lnTo>
                        <a:lnTo>
                          <a:pt x="279" y="620"/>
                        </a:lnTo>
                        <a:lnTo>
                          <a:pt x="287" y="615"/>
                        </a:lnTo>
                        <a:lnTo>
                          <a:pt x="291" y="615"/>
                        </a:lnTo>
                        <a:lnTo>
                          <a:pt x="287" y="617"/>
                        </a:lnTo>
                        <a:lnTo>
                          <a:pt x="282" y="623"/>
                        </a:lnTo>
                        <a:lnTo>
                          <a:pt x="282" y="625"/>
                        </a:lnTo>
                        <a:lnTo>
                          <a:pt x="279" y="628"/>
                        </a:lnTo>
                        <a:lnTo>
                          <a:pt x="266" y="635"/>
                        </a:lnTo>
                        <a:lnTo>
                          <a:pt x="259" y="638"/>
                        </a:lnTo>
                        <a:lnTo>
                          <a:pt x="256" y="647"/>
                        </a:lnTo>
                        <a:lnTo>
                          <a:pt x="254" y="650"/>
                        </a:lnTo>
                        <a:lnTo>
                          <a:pt x="256" y="653"/>
                        </a:lnTo>
                        <a:lnTo>
                          <a:pt x="261" y="657"/>
                        </a:lnTo>
                        <a:lnTo>
                          <a:pt x="252" y="655"/>
                        </a:lnTo>
                        <a:lnTo>
                          <a:pt x="249" y="657"/>
                        </a:lnTo>
                        <a:lnTo>
                          <a:pt x="246" y="662"/>
                        </a:lnTo>
                        <a:lnTo>
                          <a:pt x="244" y="667"/>
                        </a:lnTo>
                        <a:lnTo>
                          <a:pt x="238" y="673"/>
                        </a:lnTo>
                        <a:lnTo>
                          <a:pt x="234" y="677"/>
                        </a:lnTo>
                        <a:lnTo>
                          <a:pt x="236" y="680"/>
                        </a:lnTo>
                        <a:lnTo>
                          <a:pt x="238" y="681"/>
                        </a:lnTo>
                        <a:lnTo>
                          <a:pt x="238" y="685"/>
                        </a:lnTo>
                        <a:lnTo>
                          <a:pt x="234" y="683"/>
                        </a:lnTo>
                        <a:lnTo>
                          <a:pt x="233" y="680"/>
                        </a:lnTo>
                        <a:lnTo>
                          <a:pt x="229" y="680"/>
                        </a:lnTo>
                        <a:lnTo>
                          <a:pt x="226" y="685"/>
                        </a:lnTo>
                        <a:lnTo>
                          <a:pt x="219" y="688"/>
                        </a:lnTo>
                        <a:lnTo>
                          <a:pt x="221" y="690"/>
                        </a:lnTo>
                        <a:lnTo>
                          <a:pt x="219" y="693"/>
                        </a:lnTo>
                        <a:lnTo>
                          <a:pt x="216" y="693"/>
                        </a:lnTo>
                        <a:lnTo>
                          <a:pt x="214" y="690"/>
                        </a:lnTo>
                        <a:lnTo>
                          <a:pt x="213" y="691"/>
                        </a:lnTo>
                        <a:lnTo>
                          <a:pt x="201" y="700"/>
                        </a:lnTo>
                        <a:lnTo>
                          <a:pt x="198" y="705"/>
                        </a:lnTo>
                        <a:lnTo>
                          <a:pt x="199" y="706"/>
                        </a:lnTo>
                        <a:lnTo>
                          <a:pt x="198" y="708"/>
                        </a:lnTo>
                        <a:lnTo>
                          <a:pt x="194" y="706"/>
                        </a:lnTo>
                        <a:lnTo>
                          <a:pt x="194" y="703"/>
                        </a:lnTo>
                        <a:lnTo>
                          <a:pt x="186" y="706"/>
                        </a:lnTo>
                        <a:lnTo>
                          <a:pt x="181" y="710"/>
                        </a:lnTo>
                        <a:lnTo>
                          <a:pt x="178" y="711"/>
                        </a:lnTo>
                        <a:lnTo>
                          <a:pt x="176" y="713"/>
                        </a:lnTo>
                        <a:lnTo>
                          <a:pt x="173" y="715"/>
                        </a:lnTo>
                        <a:lnTo>
                          <a:pt x="166" y="715"/>
                        </a:lnTo>
                        <a:lnTo>
                          <a:pt x="159" y="721"/>
                        </a:lnTo>
                        <a:lnTo>
                          <a:pt x="148" y="725"/>
                        </a:lnTo>
                        <a:lnTo>
                          <a:pt x="140" y="730"/>
                        </a:lnTo>
                        <a:lnTo>
                          <a:pt x="138" y="736"/>
                        </a:lnTo>
                        <a:lnTo>
                          <a:pt x="136" y="738"/>
                        </a:lnTo>
                        <a:lnTo>
                          <a:pt x="138" y="741"/>
                        </a:lnTo>
                        <a:lnTo>
                          <a:pt x="138" y="745"/>
                        </a:lnTo>
                        <a:lnTo>
                          <a:pt x="136" y="746"/>
                        </a:lnTo>
                        <a:lnTo>
                          <a:pt x="135" y="743"/>
                        </a:lnTo>
                        <a:lnTo>
                          <a:pt x="131" y="743"/>
                        </a:lnTo>
                        <a:lnTo>
                          <a:pt x="131" y="745"/>
                        </a:lnTo>
                        <a:lnTo>
                          <a:pt x="131" y="748"/>
                        </a:lnTo>
                        <a:lnTo>
                          <a:pt x="130" y="750"/>
                        </a:lnTo>
                        <a:lnTo>
                          <a:pt x="126" y="746"/>
                        </a:lnTo>
                        <a:lnTo>
                          <a:pt x="126" y="741"/>
                        </a:lnTo>
                        <a:lnTo>
                          <a:pt x="128" y="740"/>
                        </a:lnTo>
                        <a:lnTo>
                          <a:pt x="125" y="738"/>
                        </a:lnTo>
                        <a:lnTo>
                          <a:pt x="120" y="738"/>
                        </a:lnTo>
                        <a:lnTo>
                          <a:pt x="118" y="736"/>
                        </a:lnTo>
                        <a:lnTo>
                          <a:pt x="113" y="738"/>
                        </a:lnTo>
                        <a:lnTo>
                          <a:pt x="106" y="738"/>
                        </a:lnTo>
                        <a:lnTo>
                          <a:pt x="101" y="741"/>
                        </a:lnTo>
                        <a:lnTo>
                          <a:pt x="98" y="745"/>
                        </a:lnTo>
                        <a:lnTo>
                          <a:pt x="91" y="746"/>
                        </a:lnTo>
                        <a:lnTo>
                          <a:pt x="86" y="750"/>
                        </a:lnTo>
                        <a:lnTo>
                          <a:pt x="81" y="755"/>
                        </a:lnTo>
                        <a:lnTo>
                          <a:pt x="81" y="758"/>
                        </a:lnTo>
                        <a:lnTo>
                          <a:pt x="80" y="760"/>
                        </a:lnTo>
                        <a:lnTo>
                          <a:pt x="78" y="758"/>
                        </a:lnTo>
                        <a:lnTo>
                          <a:pt x="71" y="761"/>
                        </a:lnTo>
                        <a:lnTo>
                          <a:pt x="68" y="763"/>
                        </a:lnTo>
                        <a:lnTo>
                          <a:pt x="68" y="766"/>
                        </a:lnTo>
                        <a:lnTo>
                          <a:pt x="66" y="766"/>
                        </a:lnTo>
                        <a:lnTo>
                          <a:pt x="61" y="765"/>
                        </a:lnTo>
                        <a:lnTo>
                          <a:pt x="58" y="766"/>
                        </a:lnTo>
                        <a:lnTo>
                          <a:pt x="56" y="770"/>
                        </a:lnTo>
                        <a:lnTo>
                          <a:pt x="55" y="773"/>
                        </a:lnTo>
                        <a:lnTo>
                          <a:pt x="56" y="776"/>
                        </a:lnTo>
                        <a:lnTo>
                          <a:pt x="60" y="775"/>
                        </a:lnTo>
                        <a:lnTo>
                          <a:pt x="60" y="773"/>
                        </a:lnTo>
                        <a:lnTo>
                          <a:pt x="60" y="770"/>
                        </a:lnTo>
                        <a:lnTo>
                          <a:pt x="63" y="768"/>
                        </a:lnTo>
                        <a:lnTo>
                          <a:pt x="65" y="770"/>
                        </a:lnTo>
                        <a:lnTo>
                          <a:pt x="65" y="773"/>
                        </a:lnTo>
                        <a:lnTo>
                          <a:pt x="65" y="775"/>
                        </a:lnTo>
                        <a:lnTo>
                          <a:pt x="68" y="773"/>
                        </a:lnTo>
                        <a:lnTo>
                          <a:pt x="73" y="766"/>
                        </a:lnTo>
                        <a:lnTo>
                          <a:pt x="75" y="766"/>
                        </a:lnTo>
                        <a:lnTo>
                          <a:pt x="76" y="768"/>
                        </a:lnTo>
                        <a:lnTo>
                          <a:pt x="76" y="771"/>
                        </a:lnTo>
                        <a:lnTo>
                          <a:pt x="76" y="773"/>
                        </a:lnTo>
                        <a:lnTo>
                          <a:pt x="81" y="773"/>
                        </a:lnTo>
                        <a:lnTo>
                          <a:pt x="83" y="768"/>
                        </a:lnTo>
                        <a:lnTo>
                          <a:pt x="83" y="771"/>
                        </a:lnTo>
                        <a:lnTo>
                          <a:pt x="85" y="771"/>
                        </a:lnTo>
                        <a:lnTo>
                          <a:pt x="86" y="768"/>
                        </a:lnTo>
                        <a:lnTo>
                          <a:pt x="90" y="766"/>
                        </a:lnTo>
                        <a:lnTo>
                          <a:pt x="95" y="768"/>
                        </a:lnTo>
                        <a:lnTo>
                          <a:pt x="98" y="765"/>
                        </a:lnTo>
                        <a:lnTo>
                          <a:pt x="101" y="760"/>
                        </a:lnTo>
                        <a:lnTo>
                          <a:pt x="101" y="756"/>
                        </a:lnTo>
                        <a:lnTo>
                          <a:pt x="105" y="755"/>
                        </a:lnTo>
                        <a:lnTo>
                          <a:pt x="108" y="750"/>
                        </a:lnTo>
                        <a:lnTo>
                          <a:pt x="111" y="750"/>
                        </a:lnTo>
                        <a:lnTo>
                          <a:pt x="116" y="753"/>
                        </a:lnTo>
                        <a:lnTo>
                          <a:pt x="115" y="755"/>
                        </a:lnTo>
                        <a:lnTo>
                          <a:pt x="111" y="756"/>
                        </a:lnTo>
                        <a:lnTo>
                          <a:pt x="108" y="760"/>
                        </a:lnTo>
                        <a:lnTo>
                          <a:pt x="108" y="763"/>
                        </a:lnTo>
                        <a:lnTo>
                          <a:pt x="110" y="765"/>
                        </a:lnTo>
                        <a:lnTo>
                          <a:pt x="116" y="760"/>
                        </a:lnTo>
                        <a:lnTo>
                          <a:pt x="118" y="756"/>
                        </a:lnTo>
                        <a:lnTo>
                          <a:pt x="120" y="756"/>
                        </a:lnTo>
                        <a:lnTo>
                          <a:pt x="121" y="758"/>
                        </a:lnTo>
                        <a:lnTo>
                          <a:pt x="123" y="755"/>
                        </a:lnTo>
                        <a:lnTo>
                          <a:pt x="125" y="756"/>
                        </a:lnTo>
                        <a:lnTo>
                          <a:pt x="126" y="758"/>
                        </a:lnTo>
                        <a:lnTo>
                          <a:pt x="125" y="761"/>
                        </a:lnTo>
                        <a:lnTo>
                          <a:pt x="126" y="761"/>
                        </a:lnTo>
                        <a:lnTo>
                          <a:pt x="130" y="756"/>
                        </a:lnTo>
                        <a:lnTo>
                          <a:pt x="133" y="758"/>
                        </a:lnTo>
                        <a:lnTo>
                          <a:pt x="136" y="755"/>
                        </a:lnTo>
                        <a:lnTo>
                          <a:pt x="141" y="755"/>
                        </a:lnTo>
                        <a:lnTo>
                          <a:pt x="146" y="748"/>
                        </a:lnTo>
                        <a:lnTo>
                          <a:pt x="149" y="746"/>
                        </a:lnTo>
                        <a:lnTo>
                          <a:pt x="153" y="748"/>
                        </a:lnTo>
                        <a:lnTo>
                          <a:pt x="153" y="750"/>
                        </a:lnTo>
                        <a:lnTo>
                          <a:pt x="149" y="755"/>
                        </a:lnTo>
                        <a:lnTo>
                          <a:pt x="146" y="760"/>
                        </a:lnTo>
                        <a:lnTo>
                          <a:pt x="146" y="761"/>
                        </a:lnTo>
                        <a:lnTo>
                          <a:pt x="149" y="761"/>
                        </a:lnTo>
                        <a:lnTo>
                          <a:pt x="156" y="755"/>
                        </a:lnTo>
                        <a:lnTo>
                          <a:pt x="156" y="748"/>
                        </a:lnTo>
                        <a:lnTo>
                          <a:pt x="156" y="746"/>
                        </a:lnTo>
                        <a:lnTo>
                          <a:pt x="159" y="750"/>
                        </a:lnTo>
                        <a:lnTo>
                          <a:pt x="163" y="748"/>
                        </a:lnTo>
                        <a:lnTo>
                          <a:pt x="166" y="748"/>
                        </a:lnTo>
                        <a:lnTo>
                          <a:pt x="171" y="748"/>
                        </a:lnTo>
                        <a:lnTo>
                          <a:pt x="174" y="743"/>
                        </a:lnTo>
                        <a:lnTo>
                          <a:pt x="176" y="743"/>
                        </a:lnTo>
                        <a:lnTo>
                          <a:pt x="178" y="745"/>
                        </a:lnTo>
                        <a:lnTo>
                          <a:pt x="181" y="740"/>
                        </a:lnTo>
                        <a:lnTo>
                          <a:pt x="183" y="736"/>
                        </a:lnTo>
                        <a:lnTo>
                          <a:pt x="184" y="738"/>
                        </a:lnTo>
                        <a:lnTo>
                          <a:pt x="183" y="741"/>
                        </a:lnTo>
                        <a:lnTo>
                          <a:pt x="183" y="745"/>
                        </a:lnTo>
                        <a:lnTo>
                          <a:pt x="186" y="745"/>
                        </a:lnTo>
                        <a:lnTo>
                          <a:pt x="189" y="741"/>
                        </a:lnTo>
                        <a:lnTo>
                          <a:pt x="188" y="740"/>
                        </a:lnTo>
                        <a:lnTo>
                          <a:pt x="191" y="736"/>
                        </a:lnTo>
                        <a:lnTo>
                          <a:pt x="191" y="735"/>
                        </a:lnTo>
                        <a:lnTo>
                          <a:pt x="184" y="735"/>
                        </a:lnTo>
                        <a:lnTo>
                          <a:pt x="183" y="733"/>
                        </a:lnTo>
                        <a:lnTo>
                          <a:pt x="188" y="733"/>
                        </a:lnTo>
                        <a:lnTo>
                          <a:pt x="196" y="728"/>
                        </a:lnTo>
                        <a:lnTo>
                          <a:pt x="206" y="728"/>
                        </a:lnTo>
                        <a:lnTo>
                          <a:pt x="208" y="726"/>
                        </a:lnTo>
                        <a:lnTo>
                          <a:pt x="208" y="723"/>
                        </a:lnTo>
                        <a:lnTo>
                          <a:pt x="204" y="723"/>
                        </a:lnTo>
                        <a:lnTo>
                          <a:pt x="208" y="721"/>
                        </a:lnTo>
                        <a:lnTo>
                          <a:pt x="211" y="721"/>
                        </a:lnTo>
                        <a:lnTo>
                          <a:pt x="214" y="720"/>
                        </a:lnTo>
                        <a:lnTo>
                          <a:pt x="216" y="720"/>
                        </a:lnTo>
                        <a:lnTo>
                          <a:pt x="218" y="723"/>
                        </a:lnTo>
                        <a:lnTo>
                          <a:pt x="219" y="723"/>
                        </a:lnTo>
                        <a:lnTo>
                          <a:pt x="221" y="720"/>
                        </a:lnTo>
                        <a:lnTo>
                          <a:pt x="221" y="720"/>
                        </a:lnTo>
                        <a:lnTo>
                          <a:pt x="224" y="716"/>
                        </a:lnTo>
                        <a:lnTo>
                          <a:pt x="224" y="713"/>
                        </a:lnTo>
                        <a:lnTo>
                          <a:pt x="226" y="711"/>
                        </a:lnTo>
                        <a:lnTo>
                          <a:pt x="228" y="713"/>
                        </a:lnTo>
                        <a:lnTo>
                          <a:pt x="228" y="716"/>
                        </a:lnTo>
                        <a:lnTo>
                          <a:pt x="231" y="718"/>
                        </a:lnTo>
                        <a:lnTo>
                          <a:pt x="236" y="713"/>
                        </a:lnTo>
                        <a:lnTo>
                          <a:pt x="239" y="711"/>
                        </a:lnTo>
                        <a:lnTo>
                          <a:pt x="243" y="711"/>
                        </a:lnTo>
                        <a:lnTo>
                          <a:pt x="244" y="706"/>
                        </a:lnTo>
                        <a:lnTo>
                          <a:pt x="246" y="706"/>
                        </a:lnTo>
                        <a:lnTo>
                          <a:pt x="249" y="708"/>
                        </a:lnTo>
                        <a:lnTo>
                          <a:pt x="252" y="708"/>
                        </a:lnTo>
                        <a:lnTo>
                          <a:pt x="257" y="701"/>
                        </a:lnTo>
                        <a:lnTo>
                          <a:pt x="257" y="698"/>
                        </a:lnTo>
                        <a:lnTo>
                          <a:pt x="256" y="698"/>
                        </a:lnTo>
                        <a:lnTo>
                          <a:pt x="252" y="698"/>
                        </a:lnTo>
                        <a:lnTo>
                          <a:pt x="252" y="698"/>
                        </a:lnTo>
                        <a:lnTo>
                          <a:pt x="259" y="693"/>
                        </a:lnTo>
                        <a:lnTo>
                          <a:pt x="262" y="691"/>
                        </a:lnTo>
                        <a:lnTo>
                          <a:pt x="267" y="688"/>
                        </a:lnTo>
                        <a:lnTo>
                          <a:pt x="269" y="688"/>
                        </a:lnTo>
                        <a:lnTo>
                          <a:pt x="271" y="690"/>
                        </a:lnTo>
                        <a:lnTo>
                          <a:pt x="276" y="686"/>
                        </a:lnTo>
                        <a:lnTo>
                          <a:pt x="279" y="685"/>
                        </a:lnTo>
                        <a:lnTo>
                          <a:pt x="281" y="681"/>
                        </a:lnTo>
                        <a:lnTo>
                          <a:pt x="284" y="680"/>
                        </a:lnTo>
                        <a:lnTo>
                          <a:pt x="286" y="678"/>
                        </a:lnTo>
                        <a:lnTo>
                          <a:pt x="289" y="677"/>
                        </a:lnTo>
                        <a:lnTo>
                          <a:pt x="291" y="680"/>
                        </a:lnTo>
                        <a:lnTo>
                          <a:pt x="292" y="681"/>
                        </a:lnTo>
                        <a:lnTo>
                          <a:pt x="294" y="678"/>
                        </a:lnTo>
                        <a:lnTo>
                          <a:pt x="297" y="678"/>
                        </a:lnTo>
                        <a:lnTo>
                          <a:pt x="299" y="677"/>
                        </a:lnTo>
                        <a:lnTo>
                          <a:pt x="299" y="673"/>
                        </a:lnTo>
                        <a:lnTo>
                          <a:pt x="304" y="673"/>
                        </a:lnTo>
                        <a:lnTo>
                          <a:pt x="304" y="672"/>
                        </a:lnTo>
                        <a:lnTo>
                          <a:pt x="306" y="672"/>
                        </a:lnTo>
                        <a:lnTo>
                          <a:pt x="312" y="673"/>
                        </a:lnTo>
                        <a:lnTo>
                          <a:pt x="314" y="668"/>
                        </a:lnTo>
                        <a:lnTo>
                          <a:pt x="316" y="668"/>
                        </a:lnTo>
                        <a:lnTo>
                          <a:pt x="317" y="672"/>
                        </a:lnTo>
                        <a:lnTo>
                          <a:pt x="319" y="672"/>
                        </a:lnTo>
                        <a:lnTo>
                          <a:pt x="321" y="668"/>
                        </a:lnTo>
                        <a:lnTo>
                          <a:pt x="322" y="670"/>
                        </a:lnTo>
                        <a:lnTo>
                          <a:pt x="324" y="670"/>
                        </a:lnTo>
                        <a:lnTo>
                          <a:pt x="327" y="663"/>
                        </a:lnTo>
                        <a:lnTo>
                          <a:pt x="326" y="663"/>
                        </a:lnTo>
                        <a:lnTo>
                          <a:pt x="322" y="665"/>
                        </a:lnTo>
                        <a:lnTo>
                          <a:pt x="324" y="662"/>
                        </a:lnTo>
                        <a:lnTo>
                          <a:pt x="329" y="658"/>
                        </a:lnTo>
                        <a:lnTo>
                          <a:pt x="331" y="658"/>
                        </a:lnTo>
                        <a:lnTo>
                          <a:pt x="332" y="658"/>
                        </a:lnTo>
                        <a:lnTo>
                          <a:pt x="334" y="658"/>
                        </a:lnTo>
                        <a:lnTo>
                          <a:pt x="332" y="655"/>
                        </a:lnTo>
                        <a:lnTo>
                          <a:pt x="329" y="653"/>
                        </a:lnTo>
                        <a:lnTo>
                          <a:pt x="332" y="653"/>
                        </a:lnTo>
                        <a:lnTo>
                          <a:pt x="336" y="655"/>
                        </a:lnTo>
                        <a:lnTo>
                          <a:pt x="341" y="650"/>
                        </a:lnTo>
                        <a:lnTo>
                          <a:pt x="347" y="650"/>
                        </a:lnTo>
                        <a:lnTo>
                          <a:pt x="352" y="647"/>
                        </a:lnTo>
                        <a:lnTo>
                          <a:pt x="355" y="645"/>
                        </a:lnTo>
                        <a:lnTo>
                          <a:pt x="360" y="640"/>
                        </a:lnTo>
                        <a:lnTo>
                          <a:pt x="360" y="633"/>
                        </a:lnTo>
                        <a:lnTo>
                          <a:pt x="359" y="632"/>
                        </a:lnTo>
                        <a:lnTo>
                          <a:pt x="357" y="632"/>
                        </a:lnTo>
                        <a:lnTo>
                          <a:pt x="355" y="628"/>
                        </a:lnTo>
                        <a:lnTo>
                          <a:pt x="354" y="627"/>
                        </a:lnTo>
                        <a:lnTo>
                          <a:pt x="347" y="627"/>
                        </a:lnTo>
                        <a:lnTo>
                          <a:pt x="349" y="622"/>
                        </a:lnTo>
                        <a:lnTo>
                          <a:pt x="347" y="618"/>
                        </a:lnTo>
                        <a:lnTo>
                          <a:pt x="354" y="615"/>
                        </a:lnTo>
                        <a:lnTo>
                          <a:pt x="355" y="613"/>
                        </a:lnTo>
                        <a:lnTo>
                          <a:pt x="359" y="613"/>
                        </a:lnTo>
                        <a:lnTo>
                          <a:pt x="360" y="610"/>
                        </a:lnTo>
                        <a:lnTo>
                          <a:pt x="359" y="610"/>
                        </a:lnTo>
                        <a:lnTo>
                          <a:pt x="362" y="608"/>
                        </a:lnTo>
                        <a:lnTo>
                          <a:pt x="365" y="608"/>
                        </a:lnTo>
                        <a:lnTo>
                          <a:pt x="372" y="605"/>
                        </a:lnTo>
                        <a:lnTo>
                          <a:pt x="377" y="608"/>
                        </a:lnTo>
                        <a:lnTo>
                          <a:pt x="382" y="605"/>
                        </a:lnTo>
                        <a:lnTo>
                          <a:pt x="382" y="608"/>
                        </a:lnTo>
                        <a:lnTo>
                          <a:pt x="384" y="612"/>
                        </a:lnTo>
                        <a:lnTo>
                          <a:pt x="385" y="610"/>
                        </a:lnTo>
                        <a:lnTo>
                          <a:pt x="392" y="605"/>
                        </a:lnTo>
                        <a:lnTo>
                          <a:pt x="390" y="603"/>
                        </a:lnTo>
                        <a:lnTo>
                          <a:pt x="387" y="603"/>
                        </a:lnTo>
                        <a:lnTo>
                          <a:pt x="387" y="600"/>
                        </a:lnTo>
                        <a:lnTo>
                          <a:pt x="389" y="600"/>
                        </a:lnTo>
                        <a:lnTo>
                          <a:pt x="394" y="602"/>
                        </a:lnTo>
                        <a:lnTo>
                          <a:pt x="402" y="600"/>
                        </a:lnTo>
                        <a:lnTo>
                          <a:pt x="404" y="593"/>
                        </a:lnTo>
                        <a:lnTo>
                          <a:pt x="402" y="588"/>
                        </a:lnTo>
                        <a:lnTo>
                          <a:pt x="395" y="585"/>
                        </a:lnTo>
                        <a:lnTo>
                          <a:pt x="392" y="585"/>
                        </a:lnTo>
                        <a:lnTo>
                          <a:pt x="389" y="587"/>
                        </a:lnTo>
                        <a:lnTo>
                          <a:pt x="389" y="585"/>
                        </a:lnTo>
                        <a:lnTo>
                          <a:pt x="392" y="583"/>
                        </a:lnTo>
                        <a:lnTo>
                          <a:pt x="399" y="582"/>
                        </a:lnTo>
                        <a:lnTo>
                          <a:pt x="402" y="585"/>
                        </a:lnTo>
                        <a:lnTo>
                          <a:pt x="409" y="585"/>
                        </a:lnTo>
                        <a:lnTo>
                          <a:pt x="414" y="582"/>
                        </a:lnTo>
                        <a:lnTo>
                          <a:pt x="414" y="579"/>
                        </a:lnTo>
                        <a:lnTo>
                          <a:pt x="424" y="574"/>
                        </a:lnTo>
                        <a:lnTo>
                          <a:pt x="430" y="569"/>
                        </a:lnTo>
                        <a:lnTo>
                          <a:pt x="435" y="569"/>
                        </a:lnTo>
                        <a:lnTo>
                          <a:pt x="437" y="567"/>
                        </a:lnTo>
                        <a:lnTo>
                          <a:pt x="437" y="564"/>
                        </a:lnTo>
                        <a:lnTo>
                          <a:pt x="447" y="557"/>
                        </a:lnTo>
                        <a:lnTo>
                          <a:pt x="457" y="557"/>
                        </a:lnTo>
                        <a:lnTo>
                          <a:pt x="467" y="549"/>
                        </a:lnTo>
                        <a:lnTo>
                          <a:pt x="473" y="547"/>
                        </a:lnTo>
                        <a:lnTo>
                          <a:pt x="482" y="539"/>
                        </a:lnTo>
                        <a:lnTo>
                          <a:pt x="478" y="544"/>
                        </a:lnTo>
                        <a:lnTo>
                          <a:pt x="478" y="549"/>
                        </a:lnTo>
                        <a:lnTo>
                          <a:pt x="482" y="550"/>
                        </a:lnTo>
                        <a:lnTo>
                          <a:pt x="485" y="550"/>
                        </a:lnTo>
                        <a:lnTo>
                          <a:pt x="487" y="552"/>
                        </a:lnTo>
                        <a:lnTo>
                          <a:pt x="493" y="547"/>
                        </a:lnTo>
                        <a:lnTo>
                          <a:pt x="498" y="545"/>
                        </a:lnTo>
                        <a:lnTo>
                          <a:pt x="507" y="542"/>
                        </a:lnTo>
                        <a:lnTo>
                          <a:pt x="510" y="539"/>
                        </a:lnTo>
                        <a:lnTo>
                          <a:pt x="508" y="544"/>
                        </a:lnTo>
                        <a:lnTo>
                          <a:pt x="502" y="547"/>
                        </a:lnTo>
                        <a:lnTo>
                          <a:pt x="495" y="549"/>
                        </a:lnTo>
                        <a:lnTo>
                          <a:pt x="485" y="559"/>
                        </a:lnTo>
                        <a:lnTo>
                          <a:pt x="483" y="562"/>
                        </a:lnTo>
                        <a:lnTo>
                          <a:pt x="490" y="569"/>
                        </a:lnTo>
                        <a:lnTo>
                          <a:pt x="490" y="574"/>
                        </a:lnTo>
                        <a:lnTo>
                          <a:pt x="485" y="570"/>
                        </a:lnTo>
                        <a:lnTo>
                          <a:pt x="482" y="570"/>
                        </a:lnTo>
                        <a:lnTo>
                          <a:pt x="480" y="570"/>
                        </a:lnTo>
                        <a:lnTo>
                          <a:pt x="475" y="570"/>
                        </a:lnTo>
                        <a:lnTo>
                          <a:pt x="472" y="567"/>
                        </a:lnTo>
                        <a:lnTo>
                          <a:pt x="470" y="562"/>
                        </a:lnTo>
                        <a:lnTo>
                          <a:pt x="462" y="565"/>
                        </a:lnTo>
                        <a:lnTo>
                          <a:pt x="458" y="565"/>
                        </a:lnTo>
                        <a:lnTo>
                          <a:pt x="452" y="570"/>
                        </a:lnTo>
                        <a:lnTo>
                          <a:pt x="445" y="570"/>
                        </a:lnTo>
                        <a:lnTo>
                          <a:pt x="440" y="574"/>
                        </a:lnTo>
                        <a:lnTo>
                          <a:pt x="440" y="579"/>
                        </a:lnTo>
                        <a:lnTo>
                          <a:pt x="440" y="580"/>
                        </a:lnTo>
                        <a:lnTo>
                          <a:pt x="437" y="587"/>
                        </a:lnTo>
                        <a:lnTo>
                          <a:pt x="430" y="590"/>
                        </a:lnTo>
                        <a:lnTo>
                          <a:pt x="429" y="597"/>
                        </a:lnTo>
                        <a:lnTo>
                          <a:pt x="415" y="607"/>
                        </a:lnTo>
                        <a:lnTo>
                          <a:pt x="410" y="612"/>
                        </a:lnTo>
                        <a:lnTo>
                          <a:pt x="412" y="615"/>
                        </a:lnTo>
                        <a:lnTo>
                          <a:pt x="417" y="622"/>
                        </a:lnTo>
                        <a:lnTo>
                          <a:pt x="419" y="617"/>
                        </a:lnTo>
                        <a:lnTo>
                          <a:pt x="422" y="617"/>
                        </a:lnTo>
                        <a:lnTo>
                          <a:pt x="425" y="615"/>
                        </a:lnTo>
                        <a:lnTo>
                          <a:pt x="430" y="615"/>
                        </a:lnTo>
                        <a:lnTo>
                          <a:pt x="430" y="618"/>
                        </a:lnTo>
                        <a:lnTo>
                          <a:pt x="420" y="623"/>
                        </a:lnTo>
                        <a:lnTo>
                          <a:pt x="417" y="623"/>
                        </a:lnTo>
                        <a:lnTo>
                          <a:pt x="415" y="628"/>
                        </a:lnTo>
                        <a:lnTo>
                          <a:pt x="410" y="625"/>
                        </a:lnTo>
                        <a:lnTo>
                          <a:pt x="407" y="627"/>
                        </a:lnTo>
                        <a:lnTo>
                          <a:pt x="404" y="627"/>
                        </a:lnTo>
                        <a:lnTo>
                          <a:pt x="404" y="632"/>
                        </a:lnTo>
                        <a:lnTo>
                          <a:pt x="400" y="630"/>
                        </a:lnTo>
                        <a:lnTo>
                          <a:pt x="395" y="632"/>
                        </a:lnTo>
                        <a:lnTo>
                          <a:pt x="397" y="637"/>
                        </a:lnTo>
                        <a:lnTo>
                          <a:pt x="404" y="643"/>
                        </a:lnTo>
                        <a:lnTo>
                          <a:pt x="405" y="642"/>
                        </a:lnTo>
                        <a:lnTo>
                          <a:pt x="407" y="638"/>
                        </a:lnTo>
                        <a:lnTo>
                          <a:pt x="410" y="642"/>
                        </a:lnTo>
                        <a:lnTo>
                          <a:pt x="412" y="637"/>
                        </a:lnTo>
                        <a:lnTo>
                          <a:pt x="415" y="637"/>
                        </a:lnTo>
                        <a:lnTo>
                          <a:pt x="415" y="640"/>
                        </a:lnTo>
                        <a:lnTo>
                          <a:pt x="419" y="638"/>
                        </a:lnTo>
                        <a:lnTo>
                          <a:pt x="419" y="637"/>
                        </a:lnTo>
                        <a:lnTo>
                          <a:pt x="422" y="635"/>
                        </a:lnTo>
                        <a:lnTo>
                          <a:pt x="427" y="632"/>
                        </a:lnTo>
                        <a:lnTo>
                          <a:pt x="427" y="627"/>
                        </a:lnTo>
                        <a:lnTo>
                          <a:pt x="430" y="623"/>
                        </a:lnTo>
                        <a:lnTo>
                          <a:pt x="432" y="627"/>
                        </a:lnTo>
                        <a:lnTo>
                          <a:pt x="430" y="628"/>
                        </a:lnTo>
                        <a:lnTo>
                          <a:pt x="432" y="632"/>
                        </a:lnTo>
                        <a:lnTo>
                          <a:pt x="437" y="630"/>
                        </a:lnTo>
                        <a:lnTo>
                          <a:pt x="445" y="625"/>
                        </a:lnTo>
                        <a:lnTo>
                          <a:pt x="450" y="625"/>
                        </a:lnTo>
                        <a:lnTo>
                          <a:pt x="452" y="628"/>
                        </a:lnTo>
                        <a:lnTo>
                          <a:pt x="453" y="625"/>
                        </a:lnTo>
                        <a:lnTo>
                          <a:pt x="457" y="618"/>
                        </a:lnTo>
                        <a:lnTo>
                          <a:pt x="462" y="615"/>
                        </a:lnTo>
                        <a:lnTo>
                          <a:pt x="463" y="615"/>
                        </a:lnTo>
                        <a:lnTo>
                          <a:pt x="458" y="620"/>
                        </a:lnTo>
                        <a:lnTo>
                          <a:pt x="458" y="625"/>
                        </a:lnTo>
                        <a:lnTo>
                          <a:pt x="462" y="622"/>
                        </a:lnTo>
                        <a:lnTo>
                          <a:pt x="467" y="617"/>
                        </a:lnTo>
                        <a:lnTo>
                          <a:pt x="470" y="608"/>
                        </a:lnTo>
                        <a:lnTo>
                          <a:pt x="473" y="607"/>
                        </a:lnTo>
                        <a:lnTo>
                          <a:pt x="473" y="610"/>
                        </a:lnTo>
                        <a:lnTo>
                          <a:pt x="470" y="615"/>
                        </a:lnTo>
                        <a:lnTo>
                          <a:pt x="470" y="617"/>
                        </a:lnTo>
                        <a:lnTo>
                          <a:pt x="475" y="612"/>
                        </a:lnTo>
                        <a:lnTo>
                          <a:pt x="477" y="615"/>
                        </a:lnTo>
                        <a:lnTo>
                          <a:pt x="477" y="617"/>
                        </a:lnTo>
                        <a:lnTo>
                          <a:pt x="482" y="618"/>
                        </a:lnTo>
                        <a:lnTo>
                          <a:pt x="485" y="620"/>
                        </a:lnTo>
                        <a:lnTo>
                          <a:pt x="488" y="617"/>
                        </a:lnTo>
                        <a:lnTo>
                          <a:pt x="490" y="612"/>
                        </a:lnTo>
                        <a:lnTo>
                          <a:pt x="497" y="612"/>
                        </a:lnTo>
                        <a:lnTo>
                          <a:pt x="502" y="608"/>
                        </a:lnTo>
                        <a:lnTo>
                          <a:pt x="498" y="607"/>
                        </a:lnTo>
                        <a:lnTo>
                          <a:pt x="500" y="603"/>
                        </a:lnTo>
                        <a:lnTo>
                          <a:pt x="508" y="600"/>
                        </a:lnTo>
                        <a:lnTo>
                          <a:pt x="510" y="597"/>
                        </a:lnTo>
                        <a:lnTo>
                          <a:pt x="510" y="593"/>
                        </a:lnTo>
                        <a:lnTo>
                          <a:pt x="507" y="593"/>
                        </a:lnTo>
                        <a:lnTo>
                          <a:pt x="503" y="592"/>
                        </a:lnTo>
                        <a:lnTo>
                          <a:pt x="497" y="590"/>
                        </a:lnTo>
                        <a:lnTo>
                          <a:pt x="500" y="588"/>
                        </a:lnTo>
                        <a:lnTo>
                          <a:pt x="503" y="588"/>
                        </a:lnTo>
                        <a:lnTo>
                          <a:pt x="507" y="588"/>
                        </a:lnTo>
                        <a:lnTo>
                          <a:pt x="510" y="587"/>
                        </a:lnTo>
                        <a:lnTo>
                          <a:pt x="510" y="583"/>
                        </a:lnTo>
                        <a:lnTo>
                          <a:pt x="505" y="585"/>
                        </a:lnTo>
                        <a:lnTo>
                          <a:pt x="500" y="582"/>
                        </a:lnTo>
                        <a:lnTo>
                          <a:pt x="500" y="577"/>
                        </a:lnTo>
                        <a:lnTo>
                          <a:pt x="507" y="577"/>
                        </a:lnTo>
                        <a:lnTo>
                          <a:pt x="508" y="575"/>
                        </a:lnTo>
                        <a:lnTo>
                          <a:pt x="512" y="577"/>
                        </a:lnTo>
                        <a:lnTo>
                          <a:pt x="512" y="575"/>
                        </a:lnTo>
                        <a:lnTo>
                          <a:pt x="510" y="570"/>
                        </a:lnTo>
                        <a:lnTo>
                          <a:pt x="518" y="567"/>
                        </a:lnTo>
                        <a:lnTo>
                          <a:pt x="523" y="570"/>
                        </a:lnTo>
                        <a:lnTo>
                          <a:pt x="527" y="569"/>
                        </a:lnTo>
                        <a:lnTo>
                          <a:pt x="532" y="569"/>
                        </a:lnTo>
                        <a:lnTo>
                          <a:pt x="523" y="575"/>
                        </a:lnTo>
                        <a:lnTo>
                          <a:pt x="523" y="579"/>
                        </a:lnTo>
                        <a:lnTo>
                          <a:pt x="525" y="585"/>
                        </a:lnTo>
                        <a:lnTo>
                          <a:pt x="527" y="585"/>
                        </a:lnTo>
                        <a:lnTo>
                          <a:pt x="530" y="577"/>
                        </a:lnTo>
                        <a:lnTo>
                          <a:pt x="533" y="575"/>
                        </a:lnTo>
                        <a:lnTo>
                          <a:pt x="537" y="575"/>
                        </a:lnTo>
                        <a:lnTo>
                          <a:pt x="535" y="577"/>
                        </a:lnTo>
                        <a:lnTo>
                          <a:pt x="532" y="580"/>
                        </a:lnTo>
                        <a:lnTo>
                          <a:pt x="533" y="583"/>
                        </a:lnTo>
                        <a:lnTo>
                          <a:pt x="538" y="580"/>
                        </a:lnTo>
                        <a:lnTo>
                          <a:pt x="540" y="577"/>
                        </a:lnTo>
                        <a:lnTo>
                          <a:pt x="543" y="580"/>
                        </a:lnTo>
                        <a:lnTo>
                          <a:pt x="548" y="577"/>
                        </a:lnTo>
                        <a:lnTo>
                          <a:pt x="550" y="577"/>
                        </a:lnTo>
                        <a:lnTo>
                          <a:pt x="555" y="574"/>
                        </a:lnTo>
                        <a:lnTo>
                          <a:pt x="560" y="572"/>
                        </a:lnTo>
                        <a:lnTo>
                          <a:pt x="565" y="574"/>
                        </a:lnTo>
                        <a:lnTo>
                          <a:pt x="563" y="575"/>
                        </a:lnTo>
                        <a:lnTo>
                          <a:pt x="558" y="575"/>
                        </a:lnTo>
                        <a:lnTo>
                          <a:pt x="553" y="580"/>
                        </a:lnTo>
                        <a:lnTo>
                          <a:pt x="550" y="580"/>
                        </a:lnTo>
                        <a:lnTo>
                          <a:pt x="548" y="583"/>
                        </a:lnTo>
                        <a:lnTo>
                          <a:pt x="550" y="585"/>
                        </a:lnTo>
                        <a:lnTo>
                          <a:pt x="558" y="587"/>
                        </a:lnTo>
                        <a:lnTo>
                          <a:pt x="561" y="590"/>
                        </a:lnTo>
                        <a:lnTo>
                          <a:pt x="561" y="592"/>
                        </a:lnTo>
                        <a:lnTo>
                          <a:pt x="556" y="588"/>
                        </a:lnTo>
                        <a:lnTo>
                          <a:pt x="550" y="587"/>
                        </a:lnTo>
                        <a:lnTo>
                          <a:pt x="545" y="588"/>
                        </a:lnTo>
                        <a:lnTo>
                          <a:pt x="545" y="593"/>
                        </a:lnTo>
                        <a:lnTo>
                          <a:pt x="548" y="593"/>
                        </a:lnTo>
                        <a:lnTo>
                          <a:pt x="551" y="592"/>
                        </a:lnTo>
                        <a:lnTo>
                          <a:pt x="556" y="595"/>
                        </a:lnTo>
                        <a:lnTo>
                          <a:pt x="553" y="595"/>
                        </a:lnTo>
                        <a:lnTo>
                          <a:pt x="548" y="595"/>
                        </a:lnTo>
                        <a:lnTo>
                          <a:pt x="550" y="598"/>
                        </a:lnTo>
                        <a:lnTo>
                          <a:pt x="556" y="600"/>
                        </a:lnTo>
                        <a:lnTo>
                          <a:pt x="558" y="603"/>
                        </a:lnTo>
                        <a:lnTo>
                          <a:pt x="555" y="605"/>
                        </a:lnTo>
                        <a:lnTo>
                          <a:pt x="551" y="605"/>
                        </a:lnTo>
                        <a:lnTo>
                          <a:pt x="551" y="608"/>
                        </a:lnTo>
                        <a:lnTo>
                          <a:pt x="556" y="608"/>
                        </a:lnTo>
                        <a:lnTo>
                          <a:pt x="561" y="607"/>
                        </a:lnTo>
                        <a:lnTo>
                          <a:pt x="565" y="610"/>
                        </a:lnTo>
                        <a:lnTo>
                          <a:pt x="570" y="612"/>
                        </a:lnTo>
                        <a:lnTo>
                          <a:pt x="576" y="608"/>
                        </a:lnTo>
                        <a:lnTo>
                          <a:pt x="578" y="612"/>
                        </a:lnTo>
                        <a:lnTo>
                          <a:pt x="578" y="613"/>
                        </a:lnTo>
                        <a:lnTo>
                          <a:pt x="575" y="615"/>
                        </a:lnTo>
                        <a:lnTo>
                          <a:pt x="576" y="618"/>
                        </a:lnTo>
                        <a:lnTo>
                          <a:pt x="578" y="618"/>
                        </a:lnTo>
                        <a:lnTo>
                          <a:pt x="578" y="622"/>
                        </a:lnTo>
                        <a:lnTo>
                          <a:pt x="583" y="622"/>
                        </a:lnTo>
                        <a:lnTo>
                          <a:pt x="586" y="618"/>
                        </a:lnTo>
                        <a:lnTo>
                          <a:pt x="585" y="617"/>
                        </a:lnTo>
                        <a:lnTo>
                          <a:pt x="585" y="615"/>
                        </a:lnTo>
                        <a:lnTo>
                          <a:pt x="591" y="615"/>
                        </a:lnTo>
                        <a:lnTo>
                          <a:pt x="588" y="618"/>
                        </a:lnTo>
                        <a:lnTo>
                          <a:pt x="588" y="622"/>
                        </a:lnTo>
                        <a:lnTo>
                          <a:pt x="581" y="627"/>
                        </a:lnTo>
                        <a:lnTo>
                          <a:pt x="586" y="630"/>
                        </a:lnTo>
                        <a:lnTo>
                          <a:pt x="585" y="632"/>
                        </a:lnTo>
                        <a:lnTo>
                          <a:pt x="581" y="632"/>
                        </a:lnTo>
                        <a:lnTo>
                          <a:pt x="580" y="632"/>
                        </a:lnTo>
                        <a:lnTo>
                          <a:pt x="581" y="635"/>
                        </a:lnTo>
                        <a:lnTo>
                          <a:pt x="593" y="637"/>
                        </a:lnTo>
                        <a:lnTo>
                          <a:pt x="596" y="635"/>
                        </a:lnTo>
                        <a:lnTo>
                          <a:pt x="600" y="637"/>
                        </a:lnTo>
                        <a:lnTo>
                          <a:pt x="605" y="635"/>
                        </a:lnTo>
                        <a:lnTo>
                          <a:pt x="610" y="637"/>
                        </a:lnTo>
                        <a:lnTo>
                          <a:pt x="616" y="635"/>
                        </a:lnTo>
                        <a:lnTo>
                          <a:pt x="618" y="637"/>
                        </a:lnTo>
                        <a:lnTo>
                          <a:pt x="618" y="638"/>
                        </a:lnTo>
                        <a:lnTo>
                          <a:pt x="621" y="640"/>
                        </a:lnTo>
                        <a:lnTo>
                          <a:pt x="625" y="643"/>
                        </a:lnTo>
                        <a:lnTo>
                          <a:pt x="628" y="645"/>
                        </a:lnTo>
                        <a:lnTo>
                          <a:pt x="628" y="648"/>
                        </a:lnTo>
                        <a:lnTo>
                          <a:pt x="633" y="648"/>
                        </a:lnTo>
                        <a:lnTo>
                          <a:pt x="640" y="645"/>
                        </a:lnTo>
                        <a:lnTo>
                          <a:pt x="641" y="643"/>
                        </a:lnTo>
                        <a:lnTo>
                          <a:pt x="643" y="645"/>
                        </a:lnTo>
                        <a:lnTo>
                          <a:pt x="643" y="648"/>
                        </a:lnTo>
                        <a:lnTo>
                          <a:pt x="640" y="650"/>
                        </a:lnTo>
                        <a:lnTo>
                          <a:pt x="635" y="652"/>
                        </a:lnTo>
                        <a:lnTo>
                          <a:pt x="636" y="653"/>
                        </a:lnTo>
                        <a:lnTo>
                          <a:pt x="643" y="655"/>
                        </a:lnTo>
                        <a:lnTo>
                          <a:pt x="645" y="658"/>
                        </a:lnTo>
                        <a:lnTo>
                          <a:pt x="648" y="662"/>
                        </a:lnTo>
                        <a:lnTo>
                          <a:pt x="654" y="663"/>
                        </a:lnTo>
                        <a:lnTo>
                          <a:pt x="663" y="662"/>
                        </a:lnTo>
                        <a:lnTo>
                          <a:pt x="668" y="660"/>
                        </a:lnTo>
                        <a:lnTo>
                          <a:pt x="668" y="663"/>
                        </a:lnTo>
                        <a:lnTo>
                          <a:pt x="671" y="660"/>
                        </a:lnTo>
                        <a:lnTo>
                          <a:pt x="678" y="655"/>
                        </a:lnTo>
                        <a:lnTo>
                          <a:pt x="679" y="655"/>
                        </a:lnTo>
                        <a:lnTo>
                          <a:pt x="678" y="658"/>
                        </a:lnTo>
                        <a:lnTo>
                          <a:pt x="673" y="662"/>
                        </a:lnTo>
                        <a:lnTo>
                          <a:pt x="673" y="668"/>
                        </a:lnTo>
                        <a:lnTo>
                          <a:pt x="669" y="673"/>
                        </a:lnTo>
                        <a:lnTo>
                          <a:pt x="668" y="673"/>
                        </a:lnTo>
                        <a:lnTo>
                          <a:pt x="663" y="672"/>
                        </a:lnTo>
                        <a:lnTo>
                          <a:pt x="661" y="672"/>
                        </a:lnTo>
                        <a:lnTo>
                          <a:pt x="663" y="677"/>
                        </a:lnTo>
                        <a:lnTo>
                          <a:pt x="664" y="681"/>
                        </a:lnTo>
                        <a:lnTo>
                          <a:pt x="668" y="683"/>
                        </a:lnTo>
                        <a:lnTo>
                          <a:pt x="671" y="681"/>
                        </a:lnTo>
                        <a:lnTo>
                          <a:pt x="674" y="683"/>
                        </a:lnTo>
                        <a:lnTo>
                          <a:pt x="673" y="686"/>
                        </a:lnTo>
                        <a:lnTo>
                          <a:pt x="671" y="686"/>
                        </a:lnTo>
                        <a:lnTo>
                          <a:pt x="671" y="688"/>
                        </a:lnTo>
                        <a:lnTo>
                          <a:pt x="678" y="695"/>
                        </a:lnTo>
                        <a:lnTo>
                          <a:pt x="679" y="693"/>
                        </a:lnTo>
                        <a:lnTo>
                          <a:pt x="684" y="693"/>
                        </a:lnTo>
                        <a:lnTo>
                          <a:pt x="688" y="690"/>
                        </a:lnTo>
                        <a:lnTo>
                          <a:pt x="693" y="680"/>
                        </a:lnTo>
                        <a:lnTo>
                          <a:pt x="691" y="686"/>
                        </a:lnTo>
                        <a:lnTo>
                          <a:pt x="691" y="691"/>
                        </a:lnTo>
                        <a:lnTo>
                          <a:pt x="689" y="695"/>
                        </a:lnTo>
                        <a:lnTo>
                          <a:pt x="686" y="696"/>
                        </a:lnTo>
                        <a:lnTo>
                          <a:pt x="683" y="700"/>
                        </a:lnTo>
                        <a:lnTo>
                          <a:pt x="684" y="703"/>
                        </a:lnTo>
                        <a:lnTo>
                          <a:pt x="688" y="705"/>
                        </a:lnTo>
                        <a:lnTo>
                          <a:pt x="686" y="706"/>
                        </a:lnTo>
                        <a:lnTo>
                          <a:pt x="686" y="716"/>
                        </a:lnTo>
                        <a:lnTo>
                          <a:pt x="688" y="720"/>
                        </a:lnTo>
                        <a:lnTo>
                          <a:pt x="691" y="720"/>
                        </a:lnTo>
                        <a:lnTo>
                          <a:pt x="689" y="723"/>
                        </a:lnTo>
                        <a:lnTo>
                          <a:pt x="691" y="726"/>
                        </a:lnTo>
                        <a:lnTo>
                          <a:pt x="699" y="735"/>
                        </a:lnTo>
                        <a:lnTo>
                          <a:pt x="701" y="735"/>
                        </a:lnTo>
                        <a:lnTo>
                          <a:pt x="703" y="738"/>
                        </a:lnTo>
                        <a:lnTo>
                          <a:pt x="704" y="736"/>
                        </a:lnTo>
                        <a:lnTo>
                          <a:pt x="708" y="740"/>
                        </a:lnTo>
                        <a:lnTo>
                          <a:pt x="711" y="738"/>
                        </a:lnTo>
                        <a:lnTo>
                          <a:pt x="709" y="736"/>
                        </a:lnTo>
                        <a:lnTo>
                          <a:pt x="711" y="735"/>
                        </a:lnTo>
                        <a:lnTo>
                          <a:pt x="713" y="736"/>
                        </a:lnTo>
                        <a:lnTo>
                          <a:pt x="714" y="736"/>
                        </a:lnTo>
                        <a:lnTo>
                          <a:pt x="718" y="733"/>
                        </a:lnTo>
                        <a:lnTo>
                          <a:pt x="714" y="726"/>
                        </a:lnTo>
                        <a:lnTo>
                          <a:pt x="711" y="728"/>
                        </a:lnTo>
                        <a:lnTo>
                          <a:pt x="709" y="728"/>
                        </a:lnTo>
                        <a:lnTo>
                          <a:pt x="708" y="726"/>
                        </a:lnTo>
                        <a:lnTo>
                          <a:pt x="711" y="723"/>
                        </a:lnTo>
                        <a:lnTo>
                          <a:pt x="711" y="720"/>
                        </a:lnTo>
                        <a:lnTo>
                          <a:pt x="709" y="716"/>
                        </a:lnTo>
                        <a:lnTo>
                          <a:pt x="706" y="716"/>
                        </a:lnTo>
                        <a:lnTo>
                          <a:pt x="706" y="713"/>
                        </a:lnTo>
                        <a:lnTo>
                          <a:pt x="708" y="711"/>
                        </a:lnTo>
                        <a:lnTo>
                          <a:pt x="709" y="706"/>
                        </a:lnTo>
                        <a:lnTo>
                          <a:pt x="711" y="706"/>
                        </a:lnTo>
                        <a:lnTo>
                          <a:pt x="711" y="711"/>
                        </a:lnTo>
                        <a:lnTo>
                          <a:pt x="713" y="715"/>
                        </a:lnTo>
                        <a:lnTo>
                          <a:pt x="716" y="710"/>
                        </a:lnTo>
                        <a:lnTo>
                          <a:pt x="718" y="713"/>
                        </a:lnTo>
                        <a:lnTo>
                          <a:pt x="719" y="715"/>
                        </a:lnTo>
                        <a:lnTo>
                          <a:pt x="718" y="720"/>
                        </a:lnTo>
                        <a:lnTo>
                          <a:pt x="719" y="723"/>
                        </a:lnTo>
                        <a:lnTo>
                          <a:pt x="721" y="723"/>
                        </a:lnTo>
                        <a:lnTo>
                          <a:pt x="726" y="720"/>
                        </a:lnTo>
                        <a:lnTo>
                          <a:pt x="728" y="720"/>
                        </a:lnTo>
                        <a:lnTo>
                          <a:pt x="726" y="723"/>
                        </a:lnTo>
                        <a:lnTo>
                          <a:pt x="723" y="726"/>
                        </a:lnTo>
                        <a:lnTo>
                          <a:pt x="723" y="730"/>
                        </a:lnTo>
                        <a:lnTo>
                          <a:pt x="724" y="733"/>
                        </a:lnTo>
                        <a:lnTo>
                          <a:pt x="723" y="738"/>
                        </a:lnTo>
                        <a:lnTo>
                          <a:pt x="724" y="740"/>
                        </a:lnTo>
                        <a:lnTo>
                          <a:pt x="729" y="741"/>
                        </a:lnTo>
                        <a:lnTo>
                          <a:pt x="729" y="740"/>
                        </a:lnTo>
                        <a:lnTo>
                          <a:pt x="733" y="736"/>
                        </a:lnTo>
                        <a:lnTo>
                          <a:pt x="733" y="740"/>
                        </a:lnTo>
                        <a:lnTo>
                          <a:pt x="731" y="741"/>
                        </a:lnTo>
                        <a:lnTo>
                          <a:pt x="733" y="746"/>
                        </a:lnTo>
                        <a:lnTo>
                          <a:pt x="736" y="748"/>
                        </a:lnTo>
                        <a:lnTo>
                          <a:pt x="739" y="741"/>
                        </a:lnTo>
                        <a:lnTo>
                          <a:pt x="741" y="735"/>
                        </a:lnTo>
                        <a:lnTo>
                          <a:pt x="743" y="733"/>
                        </a:lnTo>
                        <a:lnTo>
                          <a:pt x="743" y="721"/>
                        </a:lnTo>
                        <a:lnTo>
                          <a:pt x="746" y="713"/>
                        </a:lnTo>
                        <a:lnTo>
                          <a:pt x="746" y="703"/>
                        </a:lnTo>
                        <a:lnTo>
                          <a:pt x="746" y="696"/>
                        </a:lnTo>
                        <a:lnTo>
                          <a:pt x="744" y="693"/>
                        </a:lnTo>
                        <a:lnTo>
                          <a:pt x="744" y="693"/>
                        </a:lnTo>
                        <a:lnTo>
                          <a:pt x="746" y="693"/>
                        </a:lnTo>
                        <a:lnTo>
                          <a:pt x="747" y="700"/>
                        </a:lnTo>
                        <a:lnTo>
                          <a:pt x="751" y="700"/>
                        </a:lnTo>
                        <a:lnTo>
                          <a:pt x="752" y="695"/>
                        </a:lnTo>
                        <a:lnTo>
                          <a:pt x="757" y="691"/>
                        </a:lnTo>
                        <a:lnTo>
                          <a:pt x="754" y="698"/>
                        </a:lnTo>
                        <a:lnTo>
                          <a:pt x="752" y="705"/>
                        </a:lnTo>
                        <a:lnTo>
                          <a:pt x="754" y="711"/>
                        </a:lnTo>
                        <a:lnTo>
                          <a:pt x="749" y="720"/>
                        </a:lnTo>
                        <a:lnTo>
                          <a:pt x="749" y="725"/>
                        </a:lnTo>
                        <a:lnTo>
                          <a:pt x="751" y="726"/>
                        </a:lnTo>
                        <a:lnTo>
                          <a:pt x="747" y="730"/>
                        </a:lnTo>
                        <a:lnTo>
                          <a:pt x="747" y="736"/>
                        </a:lnTo>
                        <a:lnTo>
                          <a:pt x="747" y="740"/>
                        </a:lnTo>
                        <a:lnTo>
                          <a:pt x="749" y="745"/>
                        </a:lnTo>
                        <a:lnTo>
                          <a:pt x="752" y="748"/>
                        </a:lnTo>
                        <a:lnTo>
                          <a:pt x="754" y="753"/>
                        </a:lnTo>
                        <a:lnTo>
                          <a:pt x="756" y="753"/>
                        </a:lnTo>
                        <a:lnTo>
                          <a:pt x="756" y="758"/>
                        </a:lnTo>
                        <a:lnTo>
                          <a:pt x="761" y="760"/>
                        </a:lnTo>
                        <a:lnTo>
                          <a:pt x="762" y="758"/>
                        </a:lnTo>
                        <a:lnTo>
                          <a:pt x="766" y="760"/>
                        </a:lnTo>
                        <a:lnTo>
                          <a:pt x="769" y="758"/>
                        </a:lnTo>
                        <a:lnTo>
                          <a:pt x="776" y="758"/>
                        </a:lnTo>
                        <a:lnTo>
                          <a:pt x="776" y="760"/>
                        </a:lnTo>
                        <a:lnTo>
                          <a:pt x="769" y="763"/>
                        </a:lnTo>
                        <a:lnTo>
                          <a:pt x="766" y="765"/>
                        </a:lnTo>
                        <a:lnTo>
                          <a:pt x="766" y="766"/>
                        </a:lnTo>
                        <a:lnTo>
                          <a:pt x="769" y="768"/>
                        </a:lnTo>
                        <a:lnTo>
                          <a:pt x="767" y="770"/>
                        </a:lnTo>
                        <a:lnTo>
                          <a:pt x="764" y="770"/>
                        </a:lnTo>
                        <a:lnTo>
                          <a:pt x="764" y="773"/>
                        </a:lnTo>
                        <a:lnTo>
                          <a:pt x="767" y="778"/>
                        </a:lnTo>
                        <a:lnTo>
                          <a:pt x="767" y="781"/>
                        </a:lnTo>
                        <a:lnTo>
                          <a:pt x="766" y="783"/>
                        </a:lnTo>
                        <a:lnTo>
                          <a:pt x="762" y="780"/>
                        </a:lnTo>
                        <a:lnTo>
                          <a:pt x="761" y="776"/>
                        </a:lnTo>
                        <a:lnTo>
                          <a:pt x="759" y="778"/>
                        </a:lnTo>
                        <a:lnTo>
                          <a:pt x="761" y="781"/>
                        </a:lnTo>
                        <a:lnTo>
                          <a:pt x="757" y="784"/>
                        </a:lnTo>
                        <a:lnTo>
                          <a:pt x="757" y="789"/>
                        </a:lnTo>
                        <a:lnTo>
                          <a:pt x="759" y="791"/>
                        </a:lnTo>
                        <a:lnTo>
                          <a:pt x="757" y="793"/>
                        </a:lnTo>
                        <a:lnTo>
                          <a:pt x="754" y="793"/>
                        </a:lnTo>
                        <a:lnTo>
                          <a:pt x="752" y="796"/>
                        </a:lnTo>
                        <a:lnTo>
                          <a:pt x="752" y="798"/>
                        </a:lnTo>
                        <a:lnTo>
                          <a:pt x="756" y="798"/>
                        </a:lnTo>
                        <a:lnTo>
                          <a:pt x="757" y="798"/>
                        </a:lnTo>
                        <a:lnTo>
                          <a:pt x="759" y="801"/>
                        </a:lnTo>
                        <a:lnTo>
                          <a:pt x="762" y="804"/>
                        </a:lnTo>
                        <a:lnTo>
                          <a:pt x="766" y="804"/>
                        </a:lnTo>
                        <a:lnTo>
                          <a:pt x="767" y="806"/>
                        </a:lnTo>
                        <a:lnTo>
                          <a:pt x="767" y="808"/>
                        </a:lnTo>
                        <a:lnTo>
                          <a:pt x="764" y="808"/>
                        </a:lnTo>
                        <a:lnTo>
                          <a:pt x="762" y="808"/>
                        </a:lnTo>
                        <a:lnTo>
                          <a:pt x="764" y="811"/>
                        </a:lnTo>
                        <a:lnTo>
                          <a:pt x="767" y="813"/>
                        </a:lnTo>
                        <a:lnTo>
                          <a:pt x="769" y="816"/>
                        </a:lnTo>
                        <a:lnTo>
                          <a:pt x="772" y="819"/>
                        </a:lnTo>
                        <a:lnTo>
                          <a:pt x="774" y="819"/>
                        </a:lnTo>
                        <a:lnTo>
                          <a:pt x="772" y="821"/>
                        </a:lnTo>
                        <a:lnTo>
                          <a:pt x="769" y="821"/>
                        </a:lnTo>
                        <a:lnTo>
                          <a:pt x="766" y="824"/>
                        </a:lnTo>
                        <a:lnTo>
                          <a:pt x="767" y="829"/>
                        </a:lnTo>
                        <a:lnTo>
                          <a:pt x="771" y="836"/>
                        </a:lnTo>
                        <a:lnTo>
                          <a:pt x="774" y="838"/>
                        </a:lnTo>
                        <a:lnTo>
                          <a:pt x="779" y="838"/>
                        </a:lnTo>
                        <a:lnTo>
                          <a:pt x="782" y="839"/>
                        </a:lnTo>
                        <a:lnTo>
                          <a:pt x="777" y="841"/>
                        </a:lnTo>
                        <a:lnTo>
                          <a:pt x="772" y="841"/>
                        </a:lnTo>
                        <a:lnTo>
                          <a:pt x="769" y="841"/>
                        </a:lnTo>
                        <a:lnTo>
                          <a:pt x="766" y="846"/>
                        </a:lnTo>
                        <a:lnTo>
                          <a:pt x="759" y="854"/>
                        </a:lnTo>
                        <a:lnTo>
                          <a:pt x="752" y="858"/>
                        </a:lnTo>
                        <a:lnTo>
                          <a:pt x="752" y="863"/>
                        </a:lnTo>
                        <a:lnTo>
                          <a:pt x="756" y="866"/>
                        </a:lnTo>
                        <a:lnTo>
                          <a:pt x="761" y="863"/>
                        </a:lnTo>
                        <a:lnTo>
                          <a:pt x="764" y="856"/>
                        </a:lnTo>
                        <a:lnTo>
                          <a:pt x="764" y="854"/>
                        </a:lnTo>
                        <a:lnTo>
                          <a:pt x="767" y="853"/>
                        </a:lnTo>
                        <a:lnTo>
                          <a:pt x="772" y="848"/>
                        </a:lnTo>
                        <a:lnTo>
                          <a:pt x="774" y="849"/>
                        </a:lnTo>
                        <a:lnTo>
                          <a:pt x="777" y="849"/>
                        </a:lnTo>
                        <a:lnTo>
                          <a:pt x="784" y="849"/>
                        </a:lnTo>
                        <a:lnTo>
                          <a:pt x="781" y="853"/>
                        </a:lnTo>
                        <a:lnTo>
                          <a:pt x="781" y="854"/>
                        </a:lnTo>
                        <a:lnTo>
                          <a:pt x="786" y="854"/>
                        </a:lnTo>
                        <a:lnTo>
                          <a:pt x="786" y="856"/>
                        </a:lnTo>
                        <a:lnTo>
                          <a:pt x="781" y="861"/>
                        </a:lnTo>
                        <a:lnTo>
                          <a:pt x="781" y="864"/>
                        </a:lnTo>
                        <a:lnTo>
                          <a:pt x="782" y="868"/>
                        </a:lnTo>
                        <a:lnTo>
                          <a:pt x="779" y="873"/>
                        </a:lnTo>
                        <a:lnTo>
                          <a:pt x="777" y="876"/>
                        </a:lnTo>
                        <a:lnTo>
                          <a:pt x="779" y="878"/>
                        </a:lnTo>
                        <a:lnTo>
                          <a:pt x="779" y="879"/>
                        </a:lnTo>
                        <a:lnTo>
                          <a:pt x="776" y="879"/>
                        </a:lnTo>
                        <a:lnTo>
                          <a:pt x="772" y="879"/>
                        </a:lnTo>
                        <a:lnTo>
                          <a:pt x="769" y="882"/>
                        </a:lnTo>
                        <a:lnTo>
                          <a:pt x="769" y="884"/>
                        </a:lnTo>
                        <a:lnTo>
                          <a:pt x="772" y="886"/>
                        </a:lnTo>
                        <a:lnTo>
                          <a:pt x="774" y="884"/>
                        </a:lnTo>
                        <a:lnTo>
                          <a:pt x="779" y="884"/>
                        </a:lnTo>
                        <a:lnTo>
                          <a:pt x="779" y="886"/>
                        </a:lnTo>
                        <a:lnTo>
                          <a:pt x="776" y="889"/>
                        </a:lnTo>
                        <a:lnTo>
                          <a:pt x="772" y="887"/>
                        </a:lnTo>
                        <a:lnTo>
                          <a:pt x="771" y="887"/>
                        </a:lnTo>
                        <a:lnTo>
                          <a:pt x="767" y="891"/>
                        </a:lnTo>
                        <a:lnTo>
                          <a:pt x="766" y="896"/>
                        </a:lnTo>
                        <a:lnTo>
                          <a:pt x="769" y="899"/>
                        </a:lnTo>
                        <a:lnTo>
                          <a:pt x="772" y="897"/>
                        </a:lnTo>
                        <a:lnTo>
                          <a:pt x="772" y="896"/>
                        </a:lnTo>
                        <a:lnTo>
                          <a:pt x="776" y="896"/>
                        </a:lnTo>
                        <a:lnTo>
                          <a:pt x="781" y="894"/>
                        </a:lnTo>
                        <a:lnTo>
                          <a:pt x="786" y="887"/>
                        </a:lnTo>
                        <a:lnTo>
                          <a:pt x="791" y="881"/>
                        </a:lnTo>
                        <a:lnTo>
                          <a:pt x="792" y="873"/>
                        </a:lnTo>
                        <a:lnTo>
                          <a:pt x="799" y="861"/>
                        </a:lnTo>
                        <a:lnTo>
                          <a:pt x="801" y="861"/>
                        </a:lnTo>
                        <a:lnTo>
                          <a:pt x="801" y="861"/>
                        </a:lnTo>
                        <a:lnTo>
                          <a:pt x="801" y="861"/>
                        </a:lnTo>
                        <a:close/>
                        <a:moveTo>
                          <a:pt x="729" y="884"/>
                        </a:moveTo>
                        <a:lnTo>
                          <a:pt x="728" y="882"/>
                        </a:lnTo>
                        <a:lnTo>
                          <a:pt x="729" y="879"/>
                        </a:lnTo>
                        <a:lnTo>
                          <a:pt x="731" y="882"/>
                        </a:lnTo>
                        <a:lnTo>
                          <a:pt x="729" y="884"/>
                        </a:lnTo>
                        <a:lnTo>
                          <a:pt x="729" y="884"/>
                        </a:lnTo>
                        <a:close/>
                        <a:moveTo>
                          <a:pt x="756" y="892"/>
                        </a:moveTo>
                        <a:lnTo>
                          <a:pt x="759" y="889"/>
                        </a:lnTo>
                        <a:lnTo>
                          <a:pt x="762" y="891"/>
                        </a:lnTo>
                        <a:lnTo>
                          <a:pt x="759" y="894"/>
                        </a:lnTo>
                        <a:lnTo>
                          <a:pt x="756" y="892"/>
                        </a:lnTo>
                        <a:lnTo>
                          <a:pt x="756" y="892"/>
                        </a:lnTo>
                        <a:close/>
                        <a:moveTo>
                          <a:pt x="757" y="881"/>
                        </a:moveTo>
                        <a:lnTo>
                          <a:pt x="761" y="879"/>
                        </a:lnTo>
                        <a:lnTo>
                          <a:pt x="764" y="884"/>
                        </a:lnTo>
                        <a:lnTo>
                          <a:pt x="759" y="887"/>
                        </a:lnTo>
                        <a:lnTo>
                          <a:pt x="756" y="886"/>
                        </a:lnTo>
                        <a:lnTo>
                          <a:pt x="757" y="882"/>
                        </a:lnTo>
                        <a:lnTo>
                          <a:pt x="757" y="881"/>
                        </a:lnTo>
                        <a:lnTo>
                          <a:pt x="757" y="881"/>
                        </a:lnTo>
                        <a:close/>
                        <a:moveTo>
                          <a:pt x="756" y="871"/>
                        </a:moveTo>
                        <a:lnTo>
                          <a:pt x="759" y="876"/>
                        </a:lnTo>
                        <a:lnTo>
                          <a:pt x="756" y="879"/>
                        </a:lnTo>
                        <a:lnTo>
                          <a:pt x="756" y="874"/>
                        </a:lnTo>
                        <a:lnTo>
                          <a:pt x="754" y="873"/>
                        </a:lnTo>
                        <a:lnTo>
                          <a:pt x="756" y="871"/>
                        </a:lnTo>
                        <a:lnTo>
                          <a:pt x="756" y="871"/>
                        </a:lnTo>
                        <a:close/>
                        <a:moveTo>
                          <a:pt x="761" y="869"/>
                        </a:moveTo>
                        <a:lnTo>
                          <a:pt x="764" y="866"/>
                        </a:lnTo>
                        <a:lnTo>
                          <a:pt x="764" y="864"/>
                        </a:lnTo>
                        <a:lnTo>
                          <a:pt x="767" y="858"/>
                        </a:lnTo>
                        <a:lnTo>
                          <a:pt x="772" y="856"/>
                        </a:lnTo>
                        <a:lnTo>
                          <a:pt x="772" y="854"/>
                        </a:lnTo>
                        <a:lnTo>
                          <a:pt x="777" y="854"/>
                        </a:lnTo>
                        <a:lnTo>
                          <a:pt x="779" y="858"/>
                        </a:lnTo>
                        <a:lnTo>
                          <a:pt x="777" y="863"/>
                        </a:lnTo>
                        <a:lnTo>
                          <a:pt x="779" y="868"/>
                        </a:lnTo>
                        <a:lnTo>
                          <a:pt x="772" y="876"/>
                        </a:lnTo>
                        <a:lnTo>
                          <a:pt x="766" y="881"/>
                        </a:lnTo>
                        <a:lnTo>
                          <a:pt x="762" y="878"/>
                        </a:lnTo>
                        <a:lnTo>
                          <a:pt x="766" y="874"/>
                        </a:lnTo>
                        <a:lnTo>
                          <a:pt x="771" y="871"/>
                        </a:lnTo>
                        <a:lnTo>
                          <a:pt x="771" y="868"/>
                        </a:lnTo>
                        <a:lnTo>
                          <a:pt x="762" y="873"/>
                        </a:lnTo>
                        <a:lnTo>
                          <a:pt x="761" y="869"/>
                        </a:lnTo>
                        <a:lnTo>
                          <a:pt x="761" y="869"/>
                        </a:lnTo>
                        <a:close/>
                        <a:moveTo>
                          <a:pt x="718" y="884"/>
                        </a:moveTo>
                        <a:lnTo>
                          <a:pt x="719" y="882"/>
                        </a:lnTo>
                        <a:lnTo>
                          <a:pt x="723" y="884"/>
                        </a:lnTo>
                        <a:lnTo>
                          <a:pt x="723" y="887"/>
                        </a:lnTo>
                        <a:lnTo>
                          <a:pt x="726" y="892"/>
                        </a:lnTo>
                        <a:lnTo>
                          <a:pt x="723" y="897"/>
                        </a:lnTo>
                        <a:lnTo>
                          <a:pt x="721" y="896"/>
                        </a:lnTo>
                        <a:lnTo>
                          <a:pt x="721" y="892"/>
                        </a:lnTo>
                        <a:lnTo>
                          <a:pt x="716" y="886"/>
                        </a:lnTo>
                        <a:lnTo>
                          <a:pt x="718" y="884"/>
                        </a:lnTo>
                        <a:lnTo>
                          <a:pt x="718" y="884"/>
                        </a:lnTo>
                        <a:close/>
                        <a:moveTo>
                          <a:pt x="719" y="878"/>
                        </a:moveTo>
                        <a:lnTo>
                          <a:pt x="721" y="876"/>
                        </a:lnTo>
                        <a:lnTo>
                          <a:pt x="723" y="878"/>
                        </a:lnTo>
                        <a:lnTo>
                          <a:pt x="724" y="881"/>
                        </a:lnTo>
                        <a:lnTo>
                          <a:pt x="721" y="881"/>
                        </a:lnTo>
                        <a:lnTo>
                          <a:pt x="719" y="878"/>
                        </a:lnTo>
                        <a:lnTo>
                          <a:pt x="719" y="878"/>
                        </a:lnTo>
                        <a:close/>
                        <a:moveTo>
                          <a:pt x="716" y="873"/>
                        </a:moveTo>
                        <a:lnTo>
                          <a:pt x="719" y="869"/>
                        </a:lnTo>
                        <a:lnTo>
                          <a:pt x="719" y="874"/>
                        </a:lnTo>
                        <a:lnTo>
                          <a:pt x="716" y="873"/>
                        </a:lnTo>
                        <a:lnTo>
                          <a:pt x="716" y="873"/>
                        </a:lnTo>
                        <a:close/>
                        <a:moveTo>
                          <a:pt x="713" y="866"/>
                        </a:moveTo>
                        <a:lnTo>
                          <a:pt x="716" y="868"/>
                        </a:lnTo>
                        <a:lnTo>
                          <a:pt x="713" y="873"/>
                        </a:lnTo>
                        <a:lnTo>
                          <a:pt x="713" y="866"/>
                        </a:lnTo>
                        <a:lnTo>
                          <a:pt x="713" y="866"/>
                        </a:lnTo>
                        <a:close/>
                        <a:moveTo>
                          <a:pt x="711" y="846"/>
                        </a:moveTo>
                        <a:lnTo>
                          <a:pt x="709" y="843"/>
                        </a:lnTo>
                        <a:lnTo>
                          <a:pt x="713" y="844"/>
                        </a:lnTo>
                        <a:lnTo>
                          <a:pt x="711" y="846"/>
                        </a:lnTo>
                        <a:lnTo>
                          <a:pt x="711" y="846"/>
                        </a:lnTo>
                        <a:close/>
                        <a:moveTo>
                          <a:pt x="723" y="851"/>
                        </a:moveTo>
                        <a:lnTo>
                          <a:pt x="726" y="849"/>
                        </a:lnTo>
                        <a:lnTo>
                          <a:pt x="728" y="853"/>
                        </a:lnTo>
                        <a:lnTo>
                          <a:pt x="726" y="854"/>
                        </a:lnTo>
                        <a:lnTo>
                          <a:pt x="723" y="851"/>
                        </a:lnTo>
                        <a:lnTo>
                          <a:pt x="723" y="851"/>
                        </a:lnTo>
                        <a:close/>
                        <a:moveTo>
                          <a:pt x="724" y="844"/>
                        </a:moveTo>
                        <a:lnTo>
                          <a:pt x="728" y="839"/>
                        </a:lnTo>
                        <a:lnTo>
                          <a:pt x="733" y="838"/>
                        </a:lnTo>
                        <a:lnTo>
                          <a:pt x="736" y="841"/>
                        </a:lnTo>
                        <a:lnTo>
                          <a:pt x="733" y="843"/>
                        </a:lnTo>
                        <a:lnTo>
                          <a:pt x="729" y="843"/>
                        </a:lnTo>
                        <a:lnTo>
                          <a:pt x="726" y="846"/>
                        </a:lnTo>
                        <a:lnTo>
                          <a:pt x="724" y="844"/>
                        </a:lnTo>
                        <a:lnTo>
                          <a:pt x="724" y="844"/>
                        </a:lnTo>
                        <a:close/>
                        <a:moveTo>
                          <a:pt x="736" y="848"/>
                        </a:moveTo>
                        <a:lnTo>
                          <a:pt x="738" y="841"/>
                        </a:lnTo>
                        <a:lnTo>
                          <a:pt x="736" y="838"/>
                        </a:lnTo>
                        <a:lnTo>
                          <a:pt x="733" y="834"/>
                        </a:lnTo>
                        <a:lnTo>
                          <a:pt x="736" y="831"/>
                        </a:lnTo>
                        <a:lnTo>
                          <a:pt x="739" y="833"/>
                        </a:lnTo>
                        <a:lnTo>
                          <a:pt x="743" y="838"/>
                        </a:lnTo>
                        <a:lnTo>
                          <a:pt x="739" y="841"/>
                        </a:lnTo>
                        <a:lnTo>
                          <a:pt x="739" y="844"/>
                        </a:lnTo>
                        <a:lnTo>
                          <a:pt x="741" y="846"/>
                        </a:lnTo>
                        <a:lnTo>
                          <a:pt x="743" y="846"/>
                        </a:lnTo>
                        <a:lnTo>
                          <a:pt x="747" y="849"/>
                        </a:lnTo>
                        <a:lnTo>
                          <a:pt x="747" y="854"/>
                        </a:lnTo>
                        <a:lnTo>
                          <a:pt x="744" y="856"/>
                        </a:lnTo>
                        <a:lnTo>
                          <a:pt x="749" y="859"/>
                        </a:lnTo>
                        <a:lnTo>
                          <a:pt x="749" y="863"/>
                        </a:lnTo>
                        <a:lnTo>
                          <a:pt x="746" y="863"/>
                        </a:lnTo>
                        <a:lnTo>
                          <a:pt x="744" y="861"/>
                        </a:lnTo>
                        <a:lnTo>
                          <a:pt x="743" y="866"/>
                        </a:lnTo>
                        <a:lnTo>
                          <a:pt x="747" y="869"/>
                        </a:lnTo>
                        <a:lnTo>
                          <a:pt x="751" y="873"/>
                        </a:lnTo>
                        <a:lnTo>
                          <a:pt x="746" y="876"/>
                        </a:lnTo>
                        <a:lnTo>
                          <a:pt x="744" y="878"/>
                        </a:lnTo>
                        <a:lnTo>
                          <a:pt x="747" y="878"/>
                        </a:lnTo>
                        <a:lnTo>
                          <a:pt x="749" y="878"/>
                        </a:lnTo>
                        <a:lnTo>
                          <a:pt x="749" y="881"/>
                        </a:lnTo>
                        <a:lnTo>
                          <a:pt x="746" y="884"/>
                        </a:lnTo>
                        <a:lnTo>
                          <a:pt x="743" y="884"/>
                        </a:lnTo>
                        <a:lnTo>
                          <a:pt x="741" y="887"/>
                        </a:lnTo>
                        <a:lnTo>
                          <a:pt x="743" y="887"/>
                        </a:lnTo>
                        <a:lnTo>
                          <a:pt x="744" y="889"/>
                        </a:lnTo>
                        <a:lnTo>
                          <a:pt x="743" y="892"/>
                        </a:lnTo>
                        <a:lnTo>
                          <a:pt x="744" y="894"/>
                        </a:lnTo>
                        <a:lnTo>
                          <a:pt x="743" y="897"/>
                        </a:lnTo>
                        <a:lnTo>
                          <a:pt x="738" y="897"/>
                        </a:lnTo>
                        <a:lnTo>
                          <a:pt x="736" y="896"/>
                        </a:lnTo>
                        <a:lnTo>
                          <a:pt x="738" y="892"/>
                        </a:lnTo>
                        <a:lnTo>
                          <a:pt x="733" y="889"/>
                        </a:lnTo>
                        <a:lnTo>
                          <a:pt x="733" y="886"/>
                        </a:lnTo>
                        <a:lnTo>
                          <a:pt x="736" y="882"/>
                        </a:lnTo>
                        <a:lnTo>
                          <a:pt x="734" y="879"/>
                        </a:lnTo>
                        <a:lnTo>
                          <a:pt x="734" y="878"/>
                        </a:lnTo>
                        <a:lnTo>
                          <a:pt x="738" y="876"/>
                        </a:lnTo>
                        <a:lnTo>
                          <a:pt x="736" y="874"/>
                        </a:lnTo>
                        <a:lnTo>
                          <a:pt x="733" y="874"/>
                        </a:lnTo>
                        <a:lnTo>
                          <a:pt x="731" y="876"/>
                        </a:lnTo>
                        <a:lnTo>
                          <a:pt x="729" y="874"/>
                        </a:lnTo>
                        <a:lnTo>
                          <a:pt x="726" y="874"/>
                        </a:lnTo>
                        <a:lnTo>
                          <a:pt x="724" y="873"/>
                        </a:lnTo>
                        <a:lnTo>
                          <a:pt x="726" y="869"/>
                        </a:lnTo>
                        <a:lnTo>
                          <a:pt x="729" y="869"/>
                        </a:lnTo>
                        <a:lnTo>
                          <a:pt x="731" y="868"/>
                        </a:lnTo>
                        <a:lnTo>
                          <a:pt x="731" y="864"/>
                        </a:lnTo>
                        <a:lnTo>
                          <a:pt x="736" y="861"/>
                        </a:lnTo>
                        <a:lnTo>
                          <a:pt x="736" y="859"/>
                        </a:lnTo>
                        <a:lnTo>
                          <a:pt x="733" y="859"/>
                        </a:lnTo>
                        <a:lnTo>
                          <a:pt x="729" y="859"/>
                        </a:lnTo>
                        <a:lnTo>
                          <a:pt x="728" y="858"/>
                        </a:lnTo>
                        <a:lnTo>
                          <a:pt x="729" y="856"/>
                        </a:lnTo>
                        <a:lnTo>
                          <a:pt x="734" y="854"/>
                        </a:lnTo>
                        <a:lnTo>
                          <a:pt x="736" y="851"/>
                        </a:lnTo>
                        <a:lnTo>
                          <a:pt x="736" y="848"/>
                        </a:lnTo>
                        <a:lnTo>
                          <a:pt x="736" y="848"/>
                        </a:lnTo>
                        <a:close/>
                        <a:moveTo>
                          <a:pt x="764" y="844"/>
                        </a:moveTo>
                        <a:lnTo>
                          <a:pt x="761" y="841"/>
                        </a:lnTo>
                        <a:lnTo>
                          <a:pt x="764" y="838"/>
                        </a:lnTo>
                        <a:lnTo>
                          <a:pt x="766" y="834"/>
                        </a:lnTo>
                        <a:lnTo>
                          <a:pt x="767" y="836"/>
                        </a:lnTo>
                        <a:lnTo>
                          <a:pt x="767" y="841"/>
                        </a:lnTo>
                        <a:lnTo>
                          <a:pt x="764" y="844"/>
                        </a:lnTo>
                        <a:lnTo>
                          <a:pt x="764" y="844"/>
                        </a:lnTo>
                        <a:close/>
                        <a:moveTo>
                          <a:pt x="754" y="849"/>
                        </a:moveTo>
                        <a:lnTo>
                          <a:pt x="757" y="843"/>
                        </a:lnTo>
                        <a:lnTo>
                          <a:pt x="761" y="843"/>
                        </a:lnTo>
                        <a:lnTo>
                          <a:pt x="761" y="848"/>
                        </a:lnTo>
                        <a:lnTo>
                          <a:pt x="757" y="849"/>
                        </a:lnTo>
                        <a:lnTo>
                          <a:pt x="754" y="849"/>
                        </a:lnTo>
                        <a:lnTo>
                          <a:pt x="754" y="849"/>
                        </a:lnTo>
                        <a:close/>
                        <a:moveTo>
                          <a:pt x="751" y="844"/>
                        </a:moveTo>
                        <a:lnTo>
                          <a:pt x="752" y="841"/>
                        </a:lnTo>
                        <a:lnTo>
                          <a:pt x="759" y="836"/>
                        </a:lnTo>
                        <a:lnTo>
                          <a:pt x="759" y="839"/>
                        </a:lnTo>
                        <a:lnTo>
                          <a:pt x="757" y="841"/>
                        </a:lnTo>
                        <a:lnTo>
                          <a:pt x="754" y="844"/>
                        </a:lnTo>
                        <a:lnTo>
                          <a:pt x="751" y="844"/>
                        </a:lnTo>
                        <a:lnTo>
                          <a:pt x="751" y="844"/>
                        </a:lnTo>
                        <a:close/>
                        <a:moveTo>
                          <a:pt x="746" y="833"/>
                        </a:moveTo>
                        <a:lnTo>
                          <a:pt x="751" y="829"/>
                        </a:lnTo>
                        <a:lnTo>
                          <a:pt x="757" y="829"/>
                        </a:lnTo>
                        <a:lnTo>
                          <a:pt x="757" y="833"/>
                        </a:lnTo>
                        <a:lnTo>
                          <a:pt x="752" y="838"/>
                        </a:lnTo>
                        <a:lnTo>
                          <a:pt x="749" y="836"/>
                        </a:lnTo>
                        <a:lnTo>
                          <a:pt x="746" y="833"/>
                        </a:lnTo>
                        <a:lnTo>
                          <a:pt x="746" y="833"/>
                        </a:lnTo>
                        <a:close/>
                        <a:moveTo>
                          <a:pt x="752" y="823"/>
                        </a:moveTo>
                        <a:lnTo>
                          <a:pt x="757" y="816"/>
                        </a:lnTo>
                        <a:lnTo>
                          <a:pt x="761" y="814"/>
                        </a:lnTo>
                        <a:lnTo>
                          <a:pt x="764" y="821"/>
                        </a:lnTo>
                        <a:lnTo>
                          <a:pt x="761" y="826"/>
                        </a:lnTo>
                        <a:lnTo>
                          <a:pt x="754" y="828"/>
                        </a:lnTo>
                        <a:lnTo>
                          <a:pt x="752" y="824"/>
                        </a:lnTo>
                        <a:lnTo>
                          <a:pt x="752" y="823"/>
                        </a:lnTo>
                        <a:lnTo>
                          <a:pt x="752" y="823"/>
                        </a:lnTo>
                        <a:close/>
                        <a:moveTo>
                          <a:pt x="738" y="828"/>
                        </a:moveTo>
                        <a:lnTo>
                          <a:pt x="738" y="823"/>
                        </a:lnTo>
                        <a:lnTo>
                          <a:pt x="741" y="813"/>
                        </a:lnTo>
                        <a:lnTo>
                          <a:pt x="743" y="809"/>
                        </a:lnTo>
                        <a:lnTo>
                          <a:pt x="738" y="808"/>
                        </a:lnTo>
                        <a:lnTo>
                          <a:pt x="739" y="804"/>
                        </a:lnTo>
                        <a:lnTo>
                          <a:pt x="738" y="803"/>
                        </a:lnTo>
                        <a:lnTo>
                          <a:pt x="738" y="799"/>
                        </a:lnTo>
                        <a:lnTo>
                          <a:pt x="744" y="799"/>
                        </a:lnTo>
                        <a:lnTo>
                          <a:pt x="749" y="804"/>
                        </a:lnTo>
                        <a:lnTo>
                          <a:pt x="752" y="804"/>
                        </a:lnTo>
                        <a:lnTo>
                          <a:pt x="756" y="808"/>
                        </a:lnTo>
                        <a:lnTo>
                          <a:pt x="756" y="814"/>
                        </a:lnTo>
                        <a:lnTo>
                          <a:pt x="752" y="819"/>
                        </a:lnTo>
                        <a:lnTo>
                          <a:pt x="751" y="819"/>
                        </a:lnTo>
                        <a:lnTo>
                          <a:pt x="751" y="814"/>
                        </a:lnTo>
                        <a:lnTo>
                          <a:pt x="747" y="814"/>
                        </a:lnTo>
                        <a:lnTo>
                          <a:pt x="747" y="819"/>
                        </a:lnTo>
                        <a:lnTo>
                          <a:pt x="746" y="821"/>
                        </a:lnTo>
                        <a:lnTo>
                          <a:pt x="747" y="826"/>
                        </a:lnTo>
                        <a:lnTo>
                          <a:pt x="744" y="828"/>
                        </a:lnTo>
                        <a:lnTo>
                          <a:pt x="743" y="826"/>
                        </a:lnTo>
                        <a:lnTo>
                          <a:pt x="741" y="829"/>
                        </a:lnTo>
                        <a:lnTo>
                          <a:pt x="738" y="828"/>
                        </a:lnTo>
                        <a:lnTo>
                          <a:pt x="738" y="828"/>
                        </a:lnTo>
                        <a:close/>
                        <a:moveTo>
                          <a:pt x="724" y="823"/>
                        </a:moveTo>
                        <a:lnTo>
                          <a:pt x="721" y="819"/>
                        </a:lnTo>
                        <a:lnTo>
                          <a:pt x="724" y="814"/>
                        </a:lnTo>
                        <a:lnTo>
                          <a:pt x="723" y="813"/>
                        </a:lnTo>
                        <a:lnTo>
                          <a:pt x="723" y="809"/>
                        </a:lnTo>
                        <a:lnTo>
                          <a:pt x="724" y="806"/>
                        </a:lnTo>
                        <a:lnTo>
                          <a:pt x="729" y="808"/>
                        </a:lnTo>
                        <a:lnTo>
                          <a:pt x="729" y="803"/>
                        </a:lnTo>
                        <a:lnTo>
                          <a:pt x="731" y="803"/>
                        </a:lnTo>
                        <a:lnTo>
                          <a:pt x="734" y="808"/>
                        </a:lnTo>
                        <a:lnTo>
                          <a:pt x="733" y="811"/>
                        </a:lnTo>
                        <a:lnTo>
                          <a:pt x="734" y="814"/>
                        </a:lnTo>
                        <a:lnTo>
                          <a:pt x="736" y="813"/>
                        </a:lnTo>
                        <a:lnTo>
                          <a:pt x="738" y="814"/>
                        </a:lnTo>
                        <a:lnTo>
                          <a:pt x="734" y="823"/>
                        </a:lnTo>
                        <a:lnTo>
                          <a:pt x="728" y="829"/>
                        </a:lnTo>
                        <a:lnTo>
                          <a:pt x="728" y="833"/>
                        </a:lnTo>
                        <a:lnTo>
                          <a:pt x="724" y="836"/>
                        </a:lnTo>
                        <a:lnTo>
                          <a:pt x="719" y="838"/>
                        </a:lnTo>
                        <a:lnTo>
                          <a:pt x="721" y="834"/>
                        </a:lnTo>
                        <a:lnTo>
                          <a:pt x="719" y="831"/>
                        </a:lnTo>
                        <a:lnTo>
                          <a:pt x="718" y="839"/>
                        </a:lnTo>
                        <a:lnTo>
                          <a:pt x="716" y="838"/>
                        </a:lnTo>
                        <a:lnTo>
                          <a:pt x="716" y="834"/>
                        </a:lnTo>
                        <a:lnTo>
                          <a:pt x="718" y="831"/>
                        </a:lnTo>
                        <a:lnTo>
                          <a:pt x="718" y="828"/>
                        </a:lnTo>
                        <a:lnTo>
                          <a:pt x="719" y="824"/>
                        </a:lnTo>
                        <a:lnTo>
                          <a:pt x="723" y="828"/>
                        </a:lnTo>
                        <a:lnTo>
                          <a:pt x="724" y="824"/>
                        </a:lnTo>
                        <a:lnTo>
                          <a:pt x="724" y="823"/>
                        </a:lnTo>
                        <a:lnTo>
                          <a:pt x="724" y="823"/>
                        </a:lnTo>
                        <a:close/>
                        <a:moveTo>
                          <a:pt x="721" y="784"/>
                        </a:moveTo>
                        <a:lnTo>
                          <a:pt x="726" y="784"/>
                        </a:lnTo>
                        <a:lnTo>
                          <a:pt x="724" y="788"/>
                        </a:lnTo>
                        <a:lnTo>
                          <a:pt x="721" y="784"/>
                        </a:lnTo>
                        <a:lnTo>
                          <a:pt x="721" y="784"/>
                        </a:lnTo>
                        <a:close/>
                        <a:moveTo>
                          <a:pt x="709" y="784"/>
                        </a:moveTo>
                        <a:lnTo>
                          <a:pt x="714" y="783"/>
                        </a:lnTo>
                        <a:lnTo>
                          <a:pt x="716" y="781"/>
                        </a:lnTo>
                        <a:lnTo>
                          <a:pt x="719" y="783"/>
                        </a:lnTo>
                        <a:lnTo>
                          <a:pt x="721" y="788"/>
                        </a:lnTo>
                        <a:lnTo>
                          <a:pt x="721" y="796"/>
                        </a:lnTo>
                        <a:lnTo>
                          <a:pt x="721" y="803"/>
                        </a:lnTo>
                        <a:lnTo>
                          <a:pt x="718" y="804"/>
                        </a:lnTo>
                        <a:lnTo>
                          <a:pt x="716" y="813"/>
                        </a:lnTo>
                        <a:lnTo>
                          <a:pt x="714" y="814"/>
                        </a:lnTo>
                        <a:lnTo>
                          <a:pt x="713" y="821"/>
                        </a:lnTo>
                        <a:lnTo>
                          <a:pt x="711" y="826"/>
                        </a:lnTo>
                        <a:lnTo>
                          <a:pt x="709" y="829"/>
                        </a:lnTo>
                        <a:lnTo>
                          <a:pt x="708" y="831"/>
                        </a:lnTo>
                        <a:lnTo>
                          <a:pt x="708" y="828"/>
                        </a:lnTo>
                        <a:lnTo>
                          <a:pt x="708" y="824"/>
                        </a:lnTo>
                        <a:lnTo>
                          <a:pt x="706" y="823"/>
                        </a:lnTo>
                        <a:lnTo>
                          <a:pt x="704" y="816"/>
                        </a:lnTo>
                        <a:lnTo>
                          <a:pt x="706" y="813"/>
                        </a:lnTo>
                        <a:lnTo>
                          <a:pt x="709" y="813"/>
                        </a:lnTo>
                        <a:lnTo>
                          <a:pt x="713" y="811"/>
                        </a:lnTo>
                        <a:lnTo>
                          <a:pt x="711" y="809"/>
                        </a:lnTo>
                        <a:lnTo>
                          <a:pt x="709" y="811"/>
                        </a:lnTo>
                        <a:lnTo>
                          <a:pt x="706" y="811"/>
                        </a:lnTo>
                        <a:lnTo>
                          <a:pt x="706" y="808"/>
                        </a:lnTo>
                        <a:lnTo>
                          <a:pt x="708" y="806"/>
                        </a:lnTo>
                        <a:lnTo>
                          <a:pt x="709" y="804"/>
                        </a:lnTo>
                        <a:lnTo>
                          <a:pt x="704" y="803"/>
                        </a:lnTo>
                        <a:lnTo>
                          <a:pt x="704" y="801"/>
                        </a:lnTo>
                        <a:lnTo>
                          <a:pt x="709" y="801"/>
                        </a:lnTo>
                        <a:lnTo>
                          <a:pt x="711" y="798"/>
                        </a:lnTo>
                        <a:lnTo>
                          <a:pt x="711" y="793"/>
                        </a:lnTo>
                        <a:lnTo>
                          <a:pt x="714" y="791"/>
                        </a:lnTo>
                        <a:lnTo>
                          <a:pt x="711" y="788"/>
                        </a:lnTo>
                        <a:lnTo>
                          <a:pt x="709" y="784"/>
                        </a:lnTo>
                        <a:lnTo>
                          <a:pt x="709" y="784"/>
                        </a:lnTo>
                        <a:close/>
                        <a:moveTo>
                          <a:pt x="701" y="786"/>
                        </a:moveTo>
                        <a:lnTo>
                          <a:pt x="704" y="784"/>
                        </a:lnTo>
                        <a:lnTo>
                          <a:pt x="706" y="786"/>
                        </a:lnTo>
                        <a:lnTo>
                          <a:pt x="704" y="789"/>
                        </a:lnTo>
                        <a:lnTo>
                          <a:pt x="704" y="794"/>
                        </a:lnTo>
                        <a:lnTo>
                          <a:pt x="699" y="796"/>
                        </a:lnTo>
                        <a:lnTo>
                          <a:pt x="699" y="793"/>
                        </a:lnTo>
                        <a:lnTo>
                          <a:pt x="701" y="791"/>
                        </a:lnTo>
                        <a:lnTo>
                          <a:pt x="701" y="789"/>
                        </a:lnTo>
                        <a:lnTo>
                          <a:pt x="701" y="786"/>
                        </a:lnTo>
                        <a:lnTo>
                          <a:pt x="701" y="786"/>
                        </a:lnTo>
                        <a:close/>
                        <a:moveTo>
                          <a:pt x="724" y="796"/>
                        </a:moveTo>
                        <a:lnTo>
                          <a:pt x="728" y="791"/>
                        </a:lnTo>
                        <a:lnTo>
                          <a:pt x="728" y="786"/>
                        </a:lnTo>
                        <a:lnTo>
                          <a:pt x="731" y="784"/>
                        </a:lnTo>
                        <a:lnTo>
                          <a:pt x="736" y="784"/>
                        </a:lnTo>
                        <a:lnTo>
                          <a:pt x="734" y="781"/>
                        </a:lnTo>
                        <a:lnTo>
                          <a:pt x="736" y="780"/>
                        </a:lnTo>
                        <a:lnTo>
                          <a:pt x="733" y="776"/>
                        </a:lnTo>
                        <a:lnTo>
                          <a:pt x="733" y="770"/>
                        </a:lnTo>
                        <a:lnTo>
                          <a:pt x="738" y="765"/>
                        </a:lnTo>
                        <a:lnTo>
                          <a:pt x="739" y="750"/>
                        </a:lnTo>
                        <a:lnTo>
                          <a:pt x="743" y="745"/>
                        </a:lnTo>
                        <a:lnTo>
                          <a:pt x="744" y="746"/>
                        </a:lnTo>
                        <a:lnTo>
                          <a:pt x="744" y="751"/>
                        </a:lnTo>
                        <a:lnTo>
                          <a:pt x="751" y="755"/>
                        </a:lnTo>
                        <a:lnTo>
                          <a:pt x="752" y="758"/>
                        </a:lnTo>
                        <a:lnTo>
                          <a:pt x="754" y="775"/>
                        </a:lnTo>
                        <a:lnTo>
                          <a:pt x="751" y="780"/>
                        </a:lnTo>
                        <a:lnTo>
                          <a:pt x="749" y="780"/>
                        </a:lnTo>
                        <a:lnTo>
                          <a:pt x="751" y="770"/>
                        </a:lnTo>
                        <a:lnTo>
                          <a:pt x="749" y="760"/>
                        </a:lnTo>
                        <a:lnTo>
                          <a:pt x="747" y="765"/>
                        </a:lnTo>
                        <a:lnTo>
                          <a:pt x="747" y="780"/>
                        </a:lnTo>
                        <a:lnTo>
                          <a:pt x="746" y="781"/>
                        </a:lnTo>
                        <a:lnTo>
                          <a:pt x="744" y="786"/>
                        </a:lnTo>
                        <a:lnTo>
                          <a:pt x="743" y="788"/>
                        </a:lnTo>
                        <a:lnTo>
                          <a:pt x="739" y="786"/>
                        </a:lnTo>
                        <a:lnTo>
                          <a:pt x="738" y="793"/>
                        </a:lnTo>
                        <a:lnTo>
                          <a:pt x="731" y="796"/>
                        </a:lnTo>
                        <a:lnTo>
                          <a:pt x="726" y="799"/>
                        </a:lnTo>
                        <a:lnTo>
                          <a:pt x="724" y="796"/>
                        </a:lnTo>
                        <a:lnTo>
                          <a:pt x="724" y="796"/>
                        </a:lnTo>
                        <a:close/>
                        <a:moveTo>
                          <a:pt x="713" y="746"/>
                        </a:moveTo>
                        <a:lnTo>
                          <a:pt x="719" y="745"/>
                        </a:lnTo>
                        <a:lnTo>
                          <a:pt x="724" y="748"/>
                        </a:lnTo>
                        <a:lnTo>
                          <a:pt x="724" y="751"/>
                        </a:lnTo>
                        <a:lnTo>
                          <a:pt x="721" y="753"/>
                        </a:lnTo>
                        <a:lnTo>
                          <a:pt x="723" y="756"/>
                        </a:lnTo>
                        <a:lnTo>
                          <a:pt x="724" y="755"/>
                        </a:lnTo>
                        <a:lnTo>
                          <a:pt x="729" y="753"/>
                        </a:lnTo>
                        <a:lnTo>
                          <a:pt x="734" y="756"/>
                        </a:lnTo>
                        <a:lnTo>
                          <a:pt x="734" y="760"/>
                        </a:lnTo>
                        <a:lnTo>
                          <a:pt x="729" y="761"/>
                        </a:lnTo>
                        <a:lnTo>
                          <a:pt x="731" y="763"/>
                        </a:lnTo>
                        <a:lnTo>
                          <a:pt x="728" y="766"/>
                        </a:lnTo>
                        <a:lnTo>
                          <a:pt x="724" y="765"/>
                        </a:lnTo>
                        <a:lnTo>
                          <a:pt x="721" y="760"/>
                        </a:lnTo>
                        <a:lnTo>
                          <a:pt x="716" y="755"/>
                        </a:lnTo>
                        <a:lnTo>
                          <a:pt x="716" y="756"/>
                        </a:lnTo>
                        <a:lnTo>
                          <a:pt x="721" y="765"/>
                        </a:lnTo>
                        <a:lnTo>
                          <a:pt x="721" y="768"/>
                        </a:lnTo>
                        <a:lnTo>
                          <a:pt x="726" y="770"/>
                        </a:lnTo>
                        <a:lnTo>
                          <a:pt x="729" y="773"/>
                        </a:lnTo>
                        <a:lnTo>
                          <a:pt x="726" y="775"/>
                        </a:lnTo>
                        <a:lnTo>
                          <a:pt x="726" y="781"/>
                        </a:lnTo>
                        <a:lnTo>
                          <a:pt x="723" y="781"/>
                        </a:lnTo>
                        <a:lnTo>
                          <a:pt x="718" y="776"/>
                        </a:lnTo>
                        <a:lnTo>
                          <a:pt x="718" y="773"/>
                        </a:lnTo>
                        <a:lnTo>
                          <a:pt x="713" y="763"/>
                        </a:lnTo>
                        <a:lnTo>
                          <a:pt x="711" y="768"/>
                        </a:lnTo>
                        <a:lnTo>
                          <a:pt x="714" y="773"/>
                        </a:lnTo>
                        <a:lnTo>
                          <a:pt x="714" y="778"/>
                        </a:lnTo>
                        <a:lnTo>
                          <a:pt x="711" y="781"/>
                        </a:lnTo>
                        <a:lnTo>
                          <a:pt x="708" y="781"/>
                        </a:lnTo>
                        <a:lnTo>
                          <a:pt x="703" y="776"/>
                        </a:lnTo>
                        <a:lnTo>
                          <a:pt x="706" y="773"/>
                        </a:lnTo>
                        <a:lnTo>
                          <a:pt x="703" y="771"/>
                        </a:lnTo>
                        <a:lnTo>
                          <a:pt x="704" y="766"/>
                        </a:lnTo>
                        <a:lnTo>
                          <a:pt x="701" y="761"/>
                        </a:lnTo>
                        <a:lnTo>
                          <a:pt x="704" y="758"/>
                        </a:lnTo>
                        <a:lnTo>
                          <a:pt x="706" y="760"/>
                        </a:lnTo>
                        <a:lnTo>
                          <a:pt x="708" y="756"/>
                        </a:lnTo>
                        <a:lnTo>
                          <a:pt x="706" y="755"/>
                        </a:lnTo>
                        <a:lnTo>
                          <a:pt x="704" y="750"/>
                        </a:lnTo>
                        <a:lnTo>
                          <a:pt x="708" y="745"/>
                        </a:lnTo>
                        <a:lnTo>
                          <a:pt x="709" y="750"/>
                        </a:lnTo>
                        <a:lnTo>
                          <a:pt x="711" y="748"/>
                        </a:lnTo>
                        <a:lnTo>
                          <a:pt x="713" y="746"/>
                        </a:lnTo>
                        <a:lnTo>
                          <a:pt x="713" y="746"/>
                        </a:lnTo>
                        <a:close/>
                        <a:moveTo>
                          <a:pt x="713" y="741"/>
                        </a:moveTo>
                        <a:lnTo>
                          <a:pt x="718" y="738"/>
                        </a:lnTo>
                        <a:lnTo>
                          <a:pt x="719" y="741"/>
                        </a:lnTo>
                        <a:lnTo>
                          <a:pt x="716" y="743"/>
                        </a:lnTo>
                        <a:lnTo>
                          <a:pt x="713" y="741"/>
                        </a:lnTo>
                        <a:lnTo>
                          <a:pt x="713" y="741"/>
                        </a:lnTo>
                        <a:close/>
                        <a:moveTo>
                          <a:pt x="239" y="401"/>
                        </a:moveTo>
                        <a:lnTo>
                          <a:pt x="238" y="406"/>
                        </a:lnTo>
                        <a:lnTo>
                          <a:pt x="236" y="414"/>
                        </a:lnTo>
                        <a:lnTo>
                          <a:pt x="233" y="412"/>
                        </a:lnTo>
                        <a:lnTo>
                          <a:pt x="233" y="411"/>
                        </a:lnTo>
                        <a:lnTo>
                          <a:pt x="229" y="407"/>
                        </a:lnTo>
                        <a:lnTo>
                          <a:pt x="224" y="409"/>
                        </a:lnTo>
                        <a:lnTo>
                          <a:pt x="219" y="407"/>
                        </a:lnTo>
                        <a:lnTo>
                          <a:pt x="219" y="404"/>
                        </a:lnTo>
                        <a:lnTo>
                          <a:pt x="233" y="392"/>
                        </a:lnTo>
                        <a:lnTo>
                          <a:pt x="238" y="389"/>
                        </a:lnTo>
                        <a:lnTo>
                          <a:pt x="239" y="391"/>
                        </a:lnTo>
                        <a:lnTo>
                          <a:pt x="239" y="401"/>
                        </a:lnTo>
                        <a:lnTo>
                          <a:pt x="239" y="401"/>
                        </a:lnTo>
                        <a:close/>
                        <a:moveTo>
                          <a:pt x="244" y="401"/>
                        </a:moveTo>
                        <a:lnTo>
                          <a:pt x="244" y="401"/>
                        </a:lnTo>
                        <a:lnTo>
                          <a:pt x="246" y="397"/>
                        </a:lnTo>
                        <a:lnTo>
                          <a:pt x="246" y="396"/>
                        </a:lnTo>
                        <a:lnTo>
                          <a:pt x="244" y="392"/>
                        </a:lnTo>
                        <a:lnTo>
                          <a:pt x="244" y="389"/>
                        </a:lnTo>
                        <a:lnTo>
                          <a:pt x="241" y="386"/>
                        </a:lnTo>
                        <a:lnTo>
                          <a:pt x="244" y="384"/>
                        </a:lnTo>
                        <a:lnTo>
                          <a:pt x="252" y="383"/>
                        </a:lnTo>
                        <a:lnTo>
                          <a:pt x="261" y="387"/>
                        </a:lnTo>
                        <a:lnTo>
                          <a:pt x="262" y="391"/>
                        </a:lnTo>
                        <a:lnTo>
                          <a:pt x="257" y="392"/>
                        </a:lnTo>
                        <a:lnTo>
                          <a:pt x="248" y="401"/>
                        </a:lnTo>
                        <a:lnTo>
                          <a:pt x="244" y="401"/>
                        </a:lnTo>
                        <a:lnTo>
                          <a:pt x="244" y="401"/>
                        </a:lnTo>
                        <a:close/>
                        <a:moveTo>
                          <a:pt x="291" y="373"/>
                        </a:moveTo>
                        <a:lnTo>
                          <a:pt x="292" y="371"/>
                        </a:lnTo>
                        <a:lnTo>
                          <a:pt x="297" y="371"/>
                        </a:lnTo>
                        <a:lnTo>
                          <a:pt x="301" y="374"/>
                        </a:lnTo>
                        <a:lnTo>
                          <a:pt x="299" y="378"/>
                        </a:lnTo>
                        <a:lnTo>
                          <a:pt x="296" y="378"/>
                        </a:lnTo>
                        <a:lnTo>
                          <a:pt x="291" y="373"/>
                        </a:lnTo>
                        <a:lnTo>
                          <a:pt x="291" y="373"/>
                        </a:lnTo>
                        <a:close/>
                        <a:moveTo>
                          <a:pt x="537" y="583"/>
                        </a:moveTo>
                        <a:lnTo>
                          <a:pt x="540" y="582"/>
                        </a:lnTo>
                        <a:lnTo>
                          <a:pt x="543" y="582"/>
                        </a:lnTo>
                        <a:lnTo>
                          <a:pt x="542" y="585"/>
                        </a:lnTo>
                        <a:lnTo>
                          <a:pt x="537" y="583"/>
                        </a:lnTo>
                        <a:lnTo>
                          <a:pt x="537" y="583"/>
                        </a:lnTo>
                        <a:close/>
                        <a:moveTo>
                          <a:pt x="513" y="648"/>
                        </a:moveTo>
                        <a:lnTo>
                          <a:pt x="518" y="647"/>
                        </a:lnTo>
                        <a:lnTo>
                          <a:pt x="522" y="648"/>
                        </a:lnTo>
                        <a:lnTo>
                          <a:pt x="513" y="648"/>
                        </a:lnTo>
                        <a:lnTo>
                          <a:pt x="513" y="648"/>
                        </a:lnTo>
                        <a:close/>
                        <a:moveTo>
                          <a:pt x="566" y="637"/>
                        </a:moveTo>
                        <a:lnTo>
                          <a:pt x="573" y="635"/>
                        </a:lnTo>
                        <a:lnTo>
                          <a:pt x="576" y="635"/>
                        </a:lnTo>
                        <a:lnTo>
                          <a:pt x="571" y="640"/>
                        </a:lnTo>
                        <a:lnTo>
                          <a:pt x="566" y="642"/>
                        </a:lnTo>
                        <a:lnTo>
                          <a:pt x="566" y="637"/>
                        </a:lnTo>
                        <a:lnTo>
                          <a:pt x="566" y="637"/>
                        </a:lnTo>
                        <a:close/>
                        <a:moveTo>
                          <a:pt x="528" y="592"/>
                        </a:moveTo>
                        <a:lnTo>
                          <a:pt x="528" y="590"/>
                        </a:lnTo>
                        <a:lnTo>
                          <a:pt x="532" y="590"/>
                        </a:lnTo>
                        <a:lnTo>
                          <a:pt x="533" y="593"/>
                        </a:lnTo>
                        <a:lnTo>
                          <a:pt x="528" y="592"/>
                        </a:lnTo>
                        <a:lnTo>
                          <a:pt x="528" y="592"/>
                        </a:lnTo>
                        <a:close/>
                        <a:moveTo>
                          <a:pt x="535" y="610"/>
                        </a:moveTo>
                        <a:lnTo>
                          <a:pt x="535" y="603"/>
                        </a:lnTo>
                        <a:lnTo>
                          <a:pt x="538" y="602"/>
                        </a:lnTo>
                        <a:lnTo>
                          <a:pt x="540" y="602"/>
                        </a:lnTo>
                        <a:lnTo>
                          <a:pt x="542" y="607"/>
                        </a:lnTo>
                        <a:lnTo>
                          <a:pt x="543" y="607"/>
                        </a:lnTo>
                        <a:lnTo>
                          <a:pt x="545" y="608"/>
                        </a:lnTo>
                        <a:lnTo>
                          <a:pt x="542" y="612"/>
                        </a:lnTo>
                        <a:lnTo>
                          <a:pt x="535" y="610"/>
                        </a:lnTo>
                        <a:lnTo>
                          <a:pt x="535" y="610"/>
                        </a:lnTo>
                        <a:close/>
                        <a:moveTo>
                          <a:pt x="495" y="628"/>
                        </a:moveTo>
                        <a:lnTo>
                          <a:pt x="500" y="627"/>
                        </a:lnTo>
                        <a:lnTo>
                          <a:pt x="502" y="625"/>
                        </a:lnTo>
                        <a:lnTo>
                          <a:pt x="502" y="623"/>
                        </a:lnTo>
                        <a:lnTo>
                          <a:pt x="510" y="617"/>
                        </a:lnTo>
                        <a:lnTo>
                          <a:pt x="515" y="615"/>
                        </a:lnTo>
                        <a:lnTo>
                          <a:pt x="520" y="610"/>
                        </a:lnTo>
                        <a:lnTo>
                          <a:pt x="522" y="610"/>
                        </a:lnTo>
                        <a:lnTo>
                          <a:pt x="527" y="605"/>
                        </a:lnTo>
                        <a:lnTo>
                          <a:pt x="528" y="607"/>
                        </a:lnTo>
                        <a:lnTo>
                          <a:pt x="527" y="610"/>
                        </a:lnTo>
                        <a:lnTo>
                          <a:pt x="528" y="612"/>
                        </a:lnTo>
                        <a:lnTo>
                          <a:pt x="527" y="613"/>
                        </a:lnTo>
                        <a:lnTo>
                          <a:pt x="520" y="615"/>
                        </a:lnTo>
                        <a:lnTo>
                          <a:pt x="513" y="623"/>
                        </a:lnTo>
                        <a:lnTo>
                          <a:pt x="508" y="623"/>
                        </a:lnTo>
                        <a:lnTo>
                          <a:pt x="510" y="627"/>
                        </a:lnTo>
                        <a:lnTo>
                          <a:pt x="508" y="628"/>
                        </a:lnTo>
                        <a:lnTo>
                          <a:pt x="503" y="628"/>
                        </a:lnTo>
                        <a:lnTo>
                          <a:pt x="500" y="630"/>
                        </a:lnTo>
                        <a:lnTo>
                          <a:pt x="495" y="630"/>
                        </a:lnTo>
                        <a:lnTo>
                          <a:pt x="495" y="628"/>
                        </a:lnTo>
                        <a:lnTo>
                          <a:pt x="495" y="628"/>
                        </a:lnTo>
                        <a:close/>
                        <a:moveTo>
                          <a:pt x="495" y="620"/>
                        </a:moveTo>
                        <a:lnTo>
                          <a:pt x="502" y="615"/>
                        </a:lnTo>
                        <a:lnTo>
                          <a:pt x="502" y="618"/>
                        </a:lnTo>
                        <a:lnTo>
                          <a:pt x="497" y="620"/>
                        </a:lnTo>
                        <a:lnTo>
                          <a:pt x="497" y="620"/>
                        </a:lnTo>
                        <a:lnTo>
                          <a:pt x="495" y="620"/>
                        </a:lnTo>
                        <a:lnTo>
                          <a:pt x="495" y="620"/>
                        </a:lnTo>
                        <a:close/>
                        <a:moveTo>
                          <a:pt x="507" y="608"/>
                        </a:moveTo>
                        <a:lnTo>
                          <a:pt x="513" y="603"/>
                        </a:lnTo>
                        <a:lnTo>
                          <a:pt x="513" y="600"/>
                        </a:lnTo>
                        <a:lnTo>
                          <a:pt x="517" y="597"/>
                        </a:lnTo>
                        <a:lnTo>
                          <a:pt x="520" y="597"/>
                        </a:lnTo>
                        <a:lnTo>
                          <a:pt x="522" y="598"/>
                        </a:lnTo>
                        <a:lnTo>
                          <a:pt x="518" y="602"/>
                        </a:lnTo>
                        <a:lnTo>
                          <a:pt x="515" y="605"/>
                        </a:lnTo>
                        <a:lnTo>
                          <a:pt x="512" y="608"/>
                        </a:lnTo>
                        <a:lnTo>
                          <a:pt x="510" y="612"/>
                        </a:lnTo>
                        <a:lnTo>
                          <a:pt x="508" y="612"/>
                        </a:lnTo>
                        <a:lnTo>
                          <a:pt x="507" y="608"/>
                        </a:lnTo>
                        <a:lnTo>
                          <a:pt x="507" y="608"/>
                        </a:lnTo>
                        <a:close/>
                        <a:moveTo>
                          <a:pt x="513" y="580"/>
                        </a:moveTo>
                        <a:lnTo>
                          <a:pt x="517" y="577"/>
                        </a:lnTo>
                        <a:lnTo>
                          <a:pt x="520" y="579"/>
                        </a:lnTo>
                        <a:lnTo>
                          <a:pt x="518" y="582"/>
                        </a:lnTo>
                        <a:lnTo>
                          <a:pt x="520" y="583"/>
                        </a:lnTo>
                        <a:lnTo>
                          <a:pt x="518" y="585"/>
                        </a:lnTo>
                        <a:lnTo>
                          <a:pt x="513" y="580"/>
                        </a:lnTo>
                        <a:lnTo>
                          <a:pt x="513" y="580"/>
                        </a:lnTo>
                        <a:close/>
                        <a:moveTo>
                          <a:pt x="417" y="583"/>
                        </a:moveTo>
                        <a:lnTo>
                          <a:pt x="424" y="577"/>
                        </a:lnTo>
                        <a:lnTo>
                          <a:pt x="427" y="577"/>
                        </a:lnTo>
                        <a:lnTo>
                          <a:pt x="429" y="580"/>
                        </a:lnTo>
                        <a:lnTo>
                          <a:pt x="422" y="583"/>
                        </a:lnTo>
                        <a:lnTo>
                          <a:pt x="417" y="583"/>
                        </a:lnTo>
                        <a:lnTo>
                          <a:pt x="417" y="583"/>
                        </a:lnTo>
                        <a:close/>
                        <a:moveTo>
                          <a:pt x="367" y="615"/>
                        </a:moveTo>
                        <a:lnTo>
                          <a:pt x="370" y="613"/>
                        </a:lnTo>
                        <a:lnTo>
                          <a:pt x="374" y="615"/>
                        </a:lnTo>
                        <a:lnTo>
                          <a:pt x="370" y="617"/>
                        </a:lnTo>
                        <a:lnTo>
                          <a:pt x="367" y="615"/>
                        </a:lnTo>
                        <a:lnTo>
                          <a:pt x="367" y="615"/>
                        </a:lnTo>
                        <a:close/>
                        <a:moveTo>
                          <a:pt x="367" y="652"/>
                        </a:moveTo>
                        <a:lnTo>
                          <a:pt x="369" y="652"/>
                        </a:lnTo>
                        <a:lnTo>
                          <a:pt x="372" y="652"/>
                        </a:lnTo>
                        <a:lnTo>
                          <a:pt x="372" y="655"/>
                        </a:lnTo>
                        <a:lnTo>
                          <a:pt x="369" y="658"/>
                        </a:lnTo>
                        <a:lnTo>
                          <a:pt x="365" y="655"/>
                        </a:lnTo>
                        <a:lnTo>
                          <a:pt x="367" y="652"/>
                        </a:lnTo>
                        <a:lnTo>
                          <a:pt x="367" y="652"/>
                        </a:lnTo>
                        <a:close/>
                        <a:moveTo>
                          <a:pt x="347" y="673"/>
                        </a:moveTo>
                        <a:lnTo>
                          <a:pt x="346" y="672"/>
                        </a:lnTo>
                        <a:lnTo>
                          <a:pt x="349" y="670"/>
                        </a:lnTo>
                        <a:lnTo>
                          <a:pt x="350" y="670"/>
                        </a:lnTo>
                        <a:lnTo>
                          <a:pt x="354" y="668"/>
                        </a:lnTo>
                        <a:lnTo>
                          <a:pt x="355" y="670"/>
                        </a:lnTo>
                        <a:lnTo>
                          <a:pt x="359" y="667"/>
                        </a:lnTo>
                        <a:lnTo>
                          <a:pt x="357" y="663"/>
                        </a:lnTo>
                        <a:lnTo>
                          <a:pt x="359" y="662"/>
                        </a:lnTo>
                        <a:lnTo>
                          <a:pt x="364" y="660"/>
                        </a:lnTo>
                        <a:lnTo>
                          <a:pt x="365" y="662"/>
                        </a:lnTo>
                        <a:lnTo>
                          <a:pt x="365" y="665"/>
                        </a:lnTo>
                        <a:lnTo>
                          <a:pt x="367" y="665"/>
                        </a:lnTo>
                        <a:lnTo>
                          <a:pt x="369" y="663"/>
                        </a:lnTo>
                        <a:lnTo>
                          <a:pt x="372" y="662"/>
                        </a:lnTo>
                        <a:lnTo>
                          <a:pt x="374" y="665"/>
                        </a:lnTo>
                        <a:lnTo>
                          <a:pt x="370" y="668"/>
                        </a:lnTo>
                        <a:lnTo>
                          <a:pt x="369" y="672"/>
                        </a:lnTo>
                        <a:lnTo>
                          <a:pt x="372" y="672"/>
                        </a:lnTo>
                        <a:lnTo>
                          <a:pt x="374" y="675"/>
                        </a:lnTo>
                        <a:lnTo>
                          <a:pt x="370" y="675"/>
                        </a:lnTo>
                        <a:lnTo>
                          <a:pt x="367" y="673"/>
                        </a:lnTo>
                        <a:lnTo>
                          <a:pt x="364" y="677"/>
                        </a:lnTo>
                        <a:lnTo>
                          <a:pt x="362" y="677"/>
                        </a:lnTo>
                        <a:lnTo>
                          <a:pt x="360" y="675"/>
                        </a:lnTo>
                        <a:lnTo>
                          <a:pt x="355" y="678"/>
                        </a:lnTo>
                        <a:lnTo>
                          <a:pt x="352" y="678"/>
                        </a:lnTo>
                        <a:lnTo>
                          <a:pt x="347" y="673"/>
                        </a:lnTo>
                        <a:lnTo>
                          <a:pt x="347" y="673"/>
                        </a:lnTo>
                        <a:close/>
                        <a:moveTo>
                          <a:pt x="296" y="718"/>
                        </a:moveTo>
                        <a:lnTo>
                          <a:pt x="296" y="721"/>
                        </a:lnTo>
                        <a:lnTo>
                          <a:pt x="292" y="721"/>
                        </a:lnTo>
                        <a:lnTo>
                          <a:pt x="289" y="720"/>
                        </a:lnTo>
                        <a:lnTo>
                          <a:pt x="289" y="716"/>
                        </a:lnTo>
                        <a:lnTo>
                          <a:pt x="291" y="713"/>
                        </a:lnTo>
                        <a:lnTo>
                          <a:pt x="292" y="708"/>
                        </a:lnTo>
                        <a:lnTo>
                          <a:pt x="292" y="703"/>
                        </a:lnTo>
                        <a:lnTo>
                          <a:pt x="291" y="701"/>
                        </a:lnTo>
                        <a:lnTo>
                          <a:pt x="292" y="698"/>
                        </a:lnTo>
                        <a:lnTo>
                          <a:pt x="297" y="695"/>
                        </a:lnTo>
                        <a:lnTo>
                          <a:pt x="309" y="690"/>
                        </a:lnTo>
                        <a:lnTo>
                          <a:pt x="316" y="688"/>
                        </a:lnTo>
                        <a:lnTo>
                          <a:pt x="317" y="690"/>
                        </a:lnTo>
                        <a:lnTo>
                          <a:pt x="317" y="698"/>
                        </a:lnTo>
                        <a:lnTo>
                          <a:pt x="319" y="700"/>
                        </a:lnTo>
                        <a:lnTo>
                          <a:pt x="322" y="695"/>
                        </a:lnTo>
                        <a:lnTo>
                          <a:pt x="321" y="690"/>
                        </a:lnTo>
                        <a:lnTo>
                          <a:pt x="322" y="690"/>
                        </a:lnTo>
                        <a:lnTo>
                          <a:pt x="326" y="691"/>
                        </a:lnTo>
                        <a:lnTo>
                          <a:pt x="327" y="688"/>
                        </a:lnTo>
                        <a:lnTo>
                          <a:pt x="322" y="685"/>
                        </a:lnTo>
                        <a:lnTo>
                          <a:pt x="322" y="683"/>
                        </a:lnTo>
                        <a:lnTo>
                          <a:pt x="326" y="680"/>
                        </a:lnTo>
                        <a:lnTo>
                          <a:pt x="329" y="678"/>
                        </a:lnTo>
                        <a:lnTo>
                          <a:pt x="332" y="681"/>
                        </a:lnTo>
                        <a:lnTo>
                          <a:pt x="332" y="685"/>
                        </a:lnTo>
                        <a:lnTo>
                          <a:pt x="331" y="688"/>
                        </a:lnTo>
                        <a:lnTo>
                          <a:pt x="331" y="690"/>
                        </a:lnTo>
                        <a:lnTo>
                          <a:pt x="334" y="690"/>
                        </a:lnTo>
                        <a:lnTo>
                          <a:pt x="336" y="686"/>
                        </a:lnTo>
                        <a:lnTo>
                          <a:pt x="337" y="685"/>
                        </a:lnTo>
                        <a:lnTo>
                          <a:pt x="341" y="686"/>
                        </a:lnTo>
                        <a:lnTo>
                          <a:pt x="341" y="683"/>
                        </a:lnTo>
                        <a:lnTo>
                          <a:pt x="339" y="680"/>
                        </a:lnTo>
                        <a:lnTo>
                          <a:pt x="342" y="678"/>
                        </a:lnTo>
                        <a:lnTo>
                          <a:pt x="346" y="681"/>
                        </a:lnTo>
                        <a:lnTo>
                          <a:pt x="346" y="685"/>
                        </a:lnTo>
                        <a:lnTo>
                          <a:pt x="344" y="686"/>
                        </a:lnTo>
                        <a:lnTo>
                          <a:pt x="344" y="688"/>
                        </a:lnTo>
                        <a:lnTo>
                          <a:pt x="347" y="688"/>
                        </a:lnTo>
                        <a:lnTo>
                          <a:pt x="350" y="683"/>
                        </a:lnTo>
                        <a:lnTo>
                          <a:pt x="355" y="683"/>
                        </a:lnTo>
                        <a:lnTo>
                          <a:pt x="359" y="683"/>
                        </a:lnTo>
                        <a:lnTo>
                          <a:pt x="360" y="688"/>
                        </a:lnTo>
                        <a:lnTo>
                          <a:pt x="355" y="690"/>
                        </a:lnTo>
                        <a:lnTo>
                          <a:pt x="352" y="690"/>
                        </a:lnTo>
                        <a:lnTo>
                          <a:pt x="352" y="691"/>
                        </a:lnTo>
                        <a:lnTo>
                          <a:pt x="354" y="693"/>
                        </a:lnTo>
                        <a:lnTo>
                          <a:pt x="355" y="696"/>
                        </a:lnTo>
                        <a:lnTo>
                          <a:pt x="352" y="701"/>
                        </a:lnTo>
                        <a:lnTo>
                          <a:pt x="349" y="700"/>
                        </a:lnTo>
                        <a:lnTo>
                          <a:pt x="347" y="698"/>
                        </a:lnTo>
                        <a:lnTo>
                          <a:pt x="344" y="700"/>
                        </a:lnTo>
                        <a:lnTo>
                          <a:pt x="341" y="698"/>
                        </a:lnTo>
                        <a:lnTo>
                          <a:pt x="337" y="698"/>
                        </a:lnTo>
                        <a:lnTo>
                          <a:pt x="336" y="700"/>
                        </a:lnTo>
                        <a:lnTo>
                          <a:pt x="341" y="701"/>
                        </a:lnTo>
                        <a:lnTo>
                          <a:pt x="342" y="706"/>
                        </a:lnTo>
                        <a:lnTo>
                          <a:pt x="339" y="710"/>
                        </a:lnTo>
                        <a:lnTo>
                          <a:pt x="336" y="710"/>
                        </a:lnTo>
                        <a:lnTo>
                          <a:pt x="332" y="705"/>
                        </a:lnTo>
                        <a:lnTo>
                          <a:pt x="327" y="705"/>
                        </a:lnTo>
                        <a:lnTo>
                          <a:pt x="322" y="706"/>
                        </a:lnTo>
                        <a:lnTo>
                          <a:pt x="327" y="708"/>
                        </a:lnTo>
                        <a:lnTo>
                          <a:pt x="329" y="710"/>
                        </a:lnTo>
                        <a:lnTo>
                          <a:pt x="327" y="713"/>
                        </a:lnTo>
                        <a:lnTo>
                          <a:pt x="322" y="711"/>
                        </a:lnTo>
                        <a:lnTo>
                          <a:pt x="319" y="713"/>
                        </a:lnTo>
                        <a:lnTo>
                          <a:pt x="316" y="711"/>
                        </a:lnTo>
                        <a:lnTo>
                          <a:pt x="314" y="716"/>
                        </a:lnTo>
                        <a:lnTo>
                          <a:pt x="311" y="716"/>
                        </a:lnTo>
                        <a:lnTo>
                          <a:pt x="309" y="718"/>
                        </a:lnTo>
                        <a:lnTo>
                          <a:pt x="311" y="721"/>
                        </a:lnTo>
                        <a:lnTo>
                          <a:pt x="304" y="723"/>
                        </a:lnTo>
                        <a:lnTo>
                          <a:pt x="304" y="726"/>
                        </a:lnTo>
                        <a:lnTo>
                          <a:pt x="301" y="728"/>
                        </a:lnTo>
                        <a:lnTo>
                          <a:pt x="299" y="731"/>
                        </a:lnTo>
                        <a:lnTo>
                          <a:pt x="294" y="730"/>
                        </a:lnTo>
                        <a:lnTo>
                          <a:pt x="296" y="728"/>
                        </a:lnTo>
                        <a:lnTo>
                          <a:pt x="304" y="721"/>
                        </a:lnTo>
                        <a:lnTo>
                          <a:pt x="304" y="720"/>
                        </a:lnTo>
                        <a:lnTo>
                          <a:pt x="307" y="716"/>
                        </a:lnTo>
                        <a:lnTo>
                          <a:pt x="304" y="716"/>
                        </a:lnTo>
                        <a:lnTo>
                          <a:pt x="301" y="718"/>
                        </a:lnTo>
                        <a:lnTo>
                          <a:pt x="299" y="716"/>
                        </a:lnTo>
                        <a:lnTo>
                          <a:pt x="301" y="715"/>
                        </a:lnTo>
                        <a:lnTo>
                          <a:pt x="296" y="715"/>
                        </a:lnTo>
                        <a:lnTo>
                          <a:pt x="292" y="716"/>
                        </a:lnTo>
                        <a:lnTo>
                          <a:pt x="296" y="716"/>
                        </a:lnTo>
                        <a:lnTo>
                          <a:pt x="296" y="718"/>
                        </a:lnTo>
                        <a:lnTo>
                          <a:pt x="296" y="718"/>
                        </a:lnTo>
                        <a:close/>
                        <a:moveTo>
                          <a:pt x="287" y="736"/>
                        </a:moveTo>
                        <a:lnTo>
                          <a:pt x="291" y="735"/>
                        </a:lnTo>
                        <a:lnTo>
                          <a:pt x="289" y="738"/>
                        </a:lnTo>
                        <a:lnTo>
                          <a:pt x="287" y="736"/>
                        </a:lnTo>
                        <a:lnTo>
                          <a:pt x="287" y="736"/>
                        </a:lnTo>
                        <a:close/>
                        <a:moveTo>
                          <a:pt x="272" y="741"/>
                        </a:moveTo>
                        <a:lnTo>
                          <a:pt x="277" y="735"/>
                        </a:lnTo>
                        <a:lnTo>
                          <a:pt x="287" y="731"/>
                        </a:lnTo>
                        <a:lnTo>
                          <a:pt x="277" y="740"/>
                        </a:lnTo>
                        <a:lnTo>
                          <a:pt x="272" y="741"/>
                        </a:lnTo>
                        <a:lnTo>
                          <a:pt x="272" y="741"/>
                        </a:lnTo>
                        <a:close/>
                        <a:moveTo>
                          <a:pt x="241" y="765"/>
                        </a:moveTo>
                        <a:lnTo>
                          <a:pt x="238" y="765"/>
                        </a:lnTo>
                        <a:lnTo>
                          <a:pt x="239" y="763"/>
                        </a:lnTo>
                        <a:lnTo>
                          <a:pt x="244" y="761"/>
                        </a:lnTo>
                        <a:lnTo>
                          <a:pt x="243" y="765"/>
                        </a:lnTo>
                        <a:lnTo>
                          <a:pt x="241" y="765"/>
                        </a:lnTo>
                        <a:lnTo>
                          <a:pt x="241" y="765"/>
                        </a:lnTo>
                        <a:close/>
                        <a:moveTo>
                          <a:pt x="223" y="726"/>
                        </a:moveTo>
                        <a:lnTo>
                          <a:pt x="228" y="726"/>
                        </a:lnTo>
                        <a:lnTo>
                          <a:pt x="229" y="728"/>
                        </a:lnTo>
                        <a:lnTo>
                          <a:pt x="226" y="730"/>
                        </a:lnTo>
                        <a:lnTo>
                          <a:pt x="223" y="726"/>
                        </a:lnTo>
                        <a:lnTo>
                          <a:pt x="223" y="726"/>
                        </a:lnTo>
                        <a:close/>
                        <a:moveTo>
                          <a:pt x="128" y="765"/>
                        </a:moveTo>
                        <a:lnTo>
                          <a:pt x="128" y="765"/>
                        </a:lnTo>
                        <a:lnTo>
                          <a:pt x="130" y="763"/>
                        </a:lnTo>
                        <a:lnTo>
                          <a:pt x="131" y="766"/>
                        </a:lnTo>
                        <a:lnTo>
                          <a:pt x="128" y="765"/>
                        </a:lnTo>
                        <a:lnTo>
                          <a:pt x="128" y="765"/>
                        </a:lnTo>
                        <a:close/>
                        <a:moveTo>
                          <a:pt x="123" y="766"/>
                        </a:moveTo>
                        <a:lnTo>
                          <a:pt x="126" y="768"/>
                        </a:lnTo>
                        <a:lnTo>
                          <a:pt x="123" y="770"/>
                        </a:lnTo>
                        <a:lnTo>
                          <a:pt x="123" y="766"/>
                        </a:lnTo>
                        <a:lnTo>
                          <a:pt x="123" y="766"/>
                        </a:lnTo>
                        <a:close/>
                        <a:moveTo>
                          <a:pt x="145" y="783"/>
                        </a:moveTo>
                        <a:lnTo>
                          <a:pt x="145" y="786"/>
                        </a:lnTo>
                        <a:lnTo>
                          <a:pt x="143" y="788"/>
                        </a:lnTo>
                        <a:lnTo>
                          <a:pt x="141" y="784"/>
                        </a:lnTo>
                        <a:lnTo>
                          <a:pt x="145" y="783"/>
                        </a:lnTo>
                        <a:lnTo>
                          <a:pt x="145" y="783"/>
                        </a:lnTo>
                        <a:close/>
                        <a:moveTo>
                          <a:pt x="140" y="781"/>
                        </a:moveTo>
                        <a:lnTo>
                          <a:pt x="143" y="776"/>
                        </a:lnTo>
                        <a:lnTo>
                          <a:pt x="143" y="780"/>
                        </a:lnTo>
                        <a:lnTo>
                          <a:pt x="143" y="780"/>
                        </a:lnTo>
                        <a:lnTo>
                          <a:pt x="140" y="781"/>
                        </a:lnTo>
                        <a:lnTo>
                          <a:pt x="140" y="781"/>
                        </a:lnTo>
                        <a:close/>
                        <a:moveTo>
                          <a:pt x="120" y="786"/>
                        </a:moveTo>
                        <a:lnTo>
                          <a:pt x="123" y="781"/>
                        </a:lnTo>
                        <a:lnTo>
                          <a:pt x="128" y="776"/>
                        </a:lnTo>
                        <a:lnTo>
                          <a:pt x="128" y="775"/>
                        </a:lnTo>
                        <a:lnTo>
                          <a:pt x="135" y="775"/>
                        </a:lnTo>
                        <a:lnTo>
                          <a:pt x="131" y="778"/>
                        </a:lnTo>
                        <a:lnTo>
                          <a:pt x="130" y="780"/>
                        </a:lnTo>
                        <a:lnTo>
                          <a:pt x="123" y="783"/>
                        </a:lnTo>
                        <a:lnTo>
                          <a:pt x="120" y="786"/>
                        </a:lnTo>
                        <a:lnTo>
                          <a:pt x="120" y="786"/>
                        </a:lnTo>
                        <a:close/>
                        <a:moveTo>
                          <a:pt x="115" y="773"/>
                        </a:moveTo>
                        <a:lnTo>
                          <a:pt x="111" y="770"/>
                        </a:lnTo>
                        <a:lnTo>
                          <a:pt x="113" y="766"/>
                        </a:lnTo>
                        <a:lnTo>
                          <a:pt x="116" y="765"/>
                        </a:lnTo>
                        <a:lnTo>
                          <a:pt x="120" y="766"/>
                        </a:lnTo>
                        <a:lnTo>
                          <a:pt x="118" y="770"/>
                        </a:lnTo>
                        <a:lnTo>
                          <a:pt x="116" y="773"/>
                        </a:lnTo>
                        <a:lnTo>
                          <a:pt x="115" y="773"/>
                        </a:lnTo>
                        <a:lnTo>
                          <a:pt x="115" y="773"/>
                        </a:lnTo>
                        <a:close/>
                        <a:moveTo>
                          <a:pt x="90" y="770"/>
                        </a:moveTo>
                        <a:lnTo>
                          <a:pt x="93" y="770"/>
                        </a:lnTo>
                        <a:lnTo>
                          <a:pt x="95" y="773"/>
                        </a:lnTo>
                        <a:lnTo>
                          <a:pt x="91" y="775"/>
                        </a:lnTo>
                        <a:lnTo>
                          <a:pt x="90" y="770"/>
                        </a:lnTo>
                        <a:lnTo>
                          <a:pt x="90" y="770"/>
                        </a:lnTo>
                        <a:close/>
                        <a:moveTo>
                          <a:pt x="75" y="781"/>
                        </a:moveTo>
                        <a:lnTo>
                          <a:pt x="71" y="778"/>
                        </a:lnTo>
                        <a:lnTo>
                          <a:pt x="76" y="775"/>
                        </a:lnTo>
                        <a:lnTo>
                          <a:pt x="78" y="778"/>
                        </a:lnTo>
                        <a:lnTo>
                          <a:pt x="75" y="781"/>
                        </a:lnTo>
                        <a:lnTo>
                          <a:pt x="75" y="781"/>
                        </a:lnTo>
                        <a:close/>
                        <a:moveTo>
                          <a:pt x="56" y="791"/>
                        </a:moveTo>
                        <a:lnTo>
                          <a:pt x="61" y="796"/>
                        </a:lnTo>
                        <a:lnTo>
                          <a:pt x="58" y="798"/>
                        </a:lnTo>
                        <a:lnTo>
                          <a:pt x="55" y="794"/>
                        </a:lnTo>
                        <a:lnTo>
                          <a:pt x="56" y="791"/>
                        </a:lnTo>
                        <a:lnTo>
                          <a:pt x="56" y="791"/>
                        </a:lnTo>
                        <a:close/>
                        <a:moveTo>
                          <a:pt x="0" y="801"/>
                        </a:moveTo>
                        <a:lnTo>
                          <a:pt x="0" y="799"/>
                        </a:lnTo>
                        <a:lnTo>
                          <a:pt x="3" y="799"/>
                        </a:lnTo>
                        <a:lnTo>
                          <a:pt x="5" y="801"/>
                        </a:lnTo>
                        <a:lnTo>
                          <a:pt x="0" y="803"/>
                        </a:lnTo>
                        <a:lnTo>
                          <a:pt x="0" y="801"/>
                        </a:lnTo>
                        <a:lnTo>
                          <a:pt x="0" y="801"/>
                        </a:lnTo>
                        <a:close/>
                        <a:moveTo>
                          <a:pt x="204" y="617"/>
                        </a:moveTo>
                        <a:lnTo>
                          <a:pt x="203" y="615"/>
                        </a:lnTo>
                        <a:lnTo>
                          <a:pt x="208" y="613"/>
                        </a:lnTo>
                        <a:lnTo>
                          <a:pt x="206" y="615"/>
                        </a:lnTo>
                        <a:lnTo>
                          <a:pt x="204" y="617"/>
                        </a:lnTo>
                        <a:lnTo>
                          <a:pt x="204" y="617"/>
                        </a:lnTo>
                        <a:close/>
                        <a:moveTo>
                          <a:pt x="194" y="618"/>
                        </a:moveTo>
                        <a:lnTo>
                          <a:pt x="193" y="617"/>
                        </a:lnTo>
                        <a:lnTo>
                          <a:pt x="193" y="613"/>
                        </a:lnTo>
                        <a:lnTo>
                          <a:pt x="199" y="610"/>
                        </a:lnTo>
                        <a:lnTo>
                          <a:pt x="203" y="608"/>
                        </a:lnTo>
                        <a:lnTo>
                          <a:pt x="203" y="610"/>
                        </a:lnTo>
                        <a:lnTo>
                          <a:pt x="198" y="617"/>
                        </a:lnTo>
                        <a:lnTo>
                          <a:pt x="194" y="618"/>
                        </a:lnTo>
                        <a:lnTo>
                          <a:pt x="194" y="618"/>
                        </a:lnTo>
                        <a:close/>
                        <a:moveTo>
                          <a:pt x="10" y="784"/>
                        </a:moveTo>
                        <a:lnTo>
                          <a:pt x="10" y="780"/>
                        </a:lnTo>
                        <a:lnTo>
                          <a:pt x="13" y="778"/>
                        </a:lnTo>
                        <a:lnTo>
                          <a:pt x="15" y="780"/>
                        </a:lnTo>
                        <a:lnTo>
                          <a:pt x="20" y="776"/>
                        </a:lnTo>
                        <a:lnTo>
                          <a:pt x="22" y="775"/>
                        </a:lnTo>
                        <a:lnTo>
                          <a:pt x="25" y="768"/>
                        </a:lnTo>
                        <a:lnTo>
                          <a:pt x="27" y="768"/>
                        </a:lnTo>
                        <a:lnTo>
                          <a:pt x="32" y="771"/>
                        </a:lnTo>
                        <a:lnTo>
                          <a:pt x="33" y="770"/>
                        </a:lnTo>
                        <a:lnTo>
                          <a:pt x="38" y="770"/>
                        </a:lnTo>
                        <a:lnTo>
                          <a:pt x="42" y="768"/>
                        </a:lnTo>
                        <a:lnTo>
                          <a:pt x="43" y="766"/>
                        </a:lnTo>
                        <a:lnTo>
                          <a:pt x="50" y="768"/>
                        </a:lnTo>
                        <a:lnTo>
                          <a:pt x="53" y="771"/>
                        </a:lnTo>
                        <a:lnTo>
                          <a:pt x="50" y="775"/>
                        </a:lnTo>
                        <a:lnTo>
                          <a:pt x="56" y="781"/>
                        </a:lnTo>
                        <a:lnTo>
                          <a:pt x="56" y="783"/>
                        </a:lnTo>
                        <a:lnTo>
                          <a:pt x="50" y="781"/>
                        </a:lnTo>
                        <a:lnTo>
                          <a:pt x="47" y="784"/>
                        </a:lnTo>
                        <a:lnTo>
                          <a:pt x="40" y="784"/>
                        </a:lnTo>
                        <a:lnTo>
                          <a:pt x="35" y="784"/>
                        </a:lnTo>
                        <a:lnTo>
                          <a:pt x="27" y="784"/>
                        </a:lnTo>
                        <a:lnTo>
                          <a:pt x="20" y="789"/>
                        </a:lnTo>
                        <a:lnTo>
                          <a:pt x="18" y="788"/>
                        </a:lnTo>
                        <a:lnTo>
                          <a:pt x="15" y="789"/>
                        </a:lnTo>
                        <a:lnTo>
                          <a:pt x="10" y="788"/>
                        </a:lnTo>
                        <a:lnTo>
                          <a:pt x="10" y="784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06" name="Google Shape;3111;p98">
                    <a:extLst>
                      <a:ext uri="{FF2B5EF4-FFF2-40B4-BE49-F238E27FC236}">
                        <a16:creationId xmlns:a16="http://schemas.microsoft.com/office/drawing/2014/main" id="{645329CB-784D-C9A2-3250-DD24254156A6}"/>
                      </a:ext>
                    </a:extLst>
                  </p:cNvPr>
                  <p:cNvSpPr/>
                  <p:nvPr/>
                </p:nvSpPr>
                <p:spPr>
                  <a:xfrm>
                    <a:off x="5376873" y="3043520"/>
                    <a:ext cx="3210" cy="207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" h="4" extrusionOk="0">
                        <a:moveTo>
                          <a:pt x="5" y="0"/>
                        </a:moveTo>
                        <a:lnTo>
                          <a:pt x="2" y="0"/>
                        </a:lnTo>
                        <a:lnTo>
                          <a:pt x="0" y="4"/>
                        </a:lnTo>
                        <a:lnTo>
                          <a:pt x="5" y="4"/>
                        </a:lnTo>
                        <a:lnTo>
                          <a:pt x="5" y="0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07" name="Google Shape;3112;p98">
                    <a:extLst>
                      <a:ext uri="{FF2B5EF4-FFF2-40B4-BE49-F238E27FC236}">
                        <a16:creationId xmlns:a16="http://schemas.microsoft.com/office/drawing/2014/main" id="{2C8C8091-FF63-1563-FEB7-9146651D1799}"/>
                      </a:ext>
                    </a:extLst>
                  </p:cNvPr>
                  <p:cNvSpPr/>
                  <p:nvPr/>
                </p:nvSpPr>
                <p:spPr>
                  <a:xfrm>
                    <a:off x="5415402" y="3053896"/>
                    <a:ext cx="28896" cy="1037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5" h="20" extrusionOk="0">
                        <a:moveTo>
                          <a:pt x="7" y="0"/>
                        </a:moveTo>
                        <a:lnTo>
                          <a:pt x="14" y="2"/>
                        </a:lnTo>
                        <a:lnTo>
                          <a:pt x="22" y="0"/>
                        </a:lnTo>
                        <a:lnTo>
                          <a:pt x="40" y="0"/>
                        </a:lnTo>
                        <a:lnTo>
                          <a:pt x="45" y="7"/>
                        </a:lnTo>
                        <a:lnTo>
                          <a:pt x="52" y="9"/>
                        </a:lnTo>
                        <a:lnTo>
                          <a:pt x="55" y="12"/>
                        </a:lnTo>
                        <a:lnTo>
                          <a:pt x="55" y="14"/>
                        </a:lnTo>
                        <a:lnTo>
                          <a:pt x="47" y="14"/>
                        </a:lnTo>
                        <a:lnTo>
                          <a:pt x="44" y="14"/>
                        </a:lnTo>
                        <a:lnTo>
                          <a:pt x="42" y="17"/>
                        </a:lnTo>
                        <a:lnTo>
                          <a:pt x="39" y="17"/>
                        </a:lnTo>
                        <a:lnTo>
                          <a:pt x="37" y="15"/>
                        </a:lnTo>
                        <a:lnTo>
                          <a:pt x="34" y="15"/>
                        </a:lnTo>
                        <a:lnTo>
                          <a:pt x="34" y="20"/>
                        </a:lnTo>
                        <a:lnTo>
                          <a:pt x="27" y="20"/>
                        </a:lnTo>
                        <a:lnTo>
                          <a:pt x="24" y="17"/>
                        </a:lnTo>
                        <a:lnTo>
                          <a:pt x="17" y="17"/>
                        </a:lnTo>
                        <a:lnTo>
                          <a:pt x="14" y="15"/>
                        </a:lnTo>
                        <a:lnTo>
                          <a:pt x="12" y="9"/>
                        </a:lnTo>
                        <a:lnTo>
                          <a:pt x="9" y="7"/>
                        </a:lnTo>
                        <a:lnTo>
                          <a:pt x="5" y="9"/>
                        </a:lnTo>
                        <a:lnTo>
                          <a:pt x="0" y="5"/>
                        </a:lnTo>
                        <a:lnTo>
                          <a:pt x="4" y="2"/>
                        </a:lnTo>
                        <a:lnTo>
                          <a:pt x="7" y="0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08" name="Google Shape;3113;p98">
                    <a:extLst>
                      <a:ext uri="{FF2B5EF4-FFF2-40B4-BE49-F238E27FC236}">
                        <a16:creationId xmlns:a16="http://schemas.microsoft.com/office/drawing/2014/main" id="{2CCA8642-E2A0-F3B8-BEC5-80A94B4B86F0}"/>
                      </a:ext>
                    </a:extLst>
                  </p:cNvPr>
                  <p:cNvSpPr/>
                  <p:nvPr/>
                </p:nvSpPr>
                <p:spPr>
                  <a:xfrm>
                    <a:off x="5466774" y="3033144"/>
                    <a:ext cx="36388" cy="2697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8" h="52" extrusionOk="0">
                        <a:moveTo>
                          <a:pt x="58" y="49"/>
                        </a:moveTo>
                        <a:lnTo>
                          <a:pt x="56" y="47"/>
                        </a:lnTo>
                        <a:lnTo>
                          <a:pt x="63" y="42"/>
                        </a:lnTo>
                        <a:lnTo>
                          <a:pt x="63" y="39"/>
                        </a:lnTo>
                        <a:lnTo>
                          <a:pt x="63" y="35"/>
                        </a:lnTo>
                        <a:lnTo>
                          <a:pt x="61" y="30"/>
                        </a:lnTo>
                        <a:lnTo>
                          <a:pt x="61" y="29"/>
                        </a:lnTo>
                        <a:lnTo>
                          <a:pt x="66" y="27"/>
                        </a:lnTo>
                        <a:lnTo>
                          <a:pt x="66" y="22"/>
                        </a:lnTo>
                        <a:lnTo>
                          <a:pt x="65" y="19"/>
                        </a:lnTo>
                        <a:lnTo>
                          <a:pt x="68" y="14"/>
                        </a:lnTo>
                        <a:lnTo>
                          <a:pt x="66" y="12"/>
                        </a:lnTo>
                        <a:lnTo>
                          <a:pt x="66" y="12"/>
                        </a:lnTo>
                        <a:lnTo>
                          <a:pt x="63" y="12"/>
                        </a:lnTo>
                        <a:lnTo>
                          <a:pt x="58" y="12"/>
                        </a:lnTo>
                        <a:lnTo>
                          <a:pt x="55" y="9"/>
                        </a:lnTo>
                        <a:lnTo>
                          <a:pt x="43" y="7"/>
                        </a:lnTo>
                        <a:lnTo>
                          <a:pt x="41" y="9"/>
                        </a:lnTo>
                        <a:lnTo>
                          <a:pt x="36" y="7"/>
                        </a:lnTo>
                        <a:lnTo>
                          <a:pt x="28" y="7"/>
                        </a:lnTo>
                        <a:lnTo>
                          <a:pt x="26" y="10"/>
                        </a:lnTo>
                        <a:lnTo>
                          <a:pt x="26" y="10"/>
                        </a:lnTo>
                        <a:lnTo>
                          <a:pt x="31" y="12"/>
                        </a:lnTo>
                        <a:lnTo>
                          <a:pt x="45" y="17"/>
                        </a:lnTo>
                        <a:lnTo>
                          <a:pt x="43" y="19"/>
                        </a:lnTo>
                        <a:lnTo>
                          <a:pt x="45" y="22"/>
                        </a:lnTo>
                        <a:lnTo>
                          <a:pt x="43" y="27"/>
                        </a:lnTo>
                        <a:lnTo>
                          <a:pt x="45" y="32"/>
                        </a:lnTo>
                        <a:lnTo>
                          <a:pt x="50" y="32"/>
                        </a:lnTo>
                        <a:lnTo>
                          <a:pt x="55" y="37"/>
                        </a:lnTo>
                        <a:lnTo>
                          <a:pt x="53" y="40"/>
                        </a:lnTo>
                        <a:lnTo>
                          <a:pt x="43" y="39"/>
                        </a:lnTo>
                        <a:lnTo>
                          <a:pt x="41" y="40"/>
                        </a:lnTo>
                        <a:lnTo>
                          <a:pt x="38" y="39"/>
                        </a:lnTo>
                        <a:lnTo>
                          <a:pt x="31" y="40"/>
                        </a:lnTo>
                        <a:lnTo>
                          <a:pt x="26" y="39"/>
                        </a:lnTo>
                        <a:lnTo>
                          <a:pt x="21" y="40"/>
                        </a:lnTo>
                        <a:lnTo>
                          <a:pt x="20" y="39"/>
                        </a:lnTo>
                        <a:lnTo>
                          <a:pt x="18" y="37"/>
                        </a:lnTo>
                        <a:lnTo>
                          <a:pt x="11" y="39"/>
                        </a:lnTo>
                        <a:lnTo>
                          <a:pt x="6" y="35"/>
                        </a:lnTo>
                        <a:lnTo>
                          <a:pt x="1" y="39"/>
                        </a:lnTo>
                        <a:lnTo>
                          <a:pt x="0" y="40"/>
                        </a:lnTo>
                        <a:lnTo>
                          <a:pt x="1" y="44"/>
                        </a:lnTo>
                        <a:lnTo>
                          <a:pt x="6" y="45"/>
                        </a:lnTo>
                        <a:lnTo>
                          <a:pt x="13" y="50"/>
                        </a:lnTo>
                        <a:lnTo>
                          <a:pt x="16" y="52"/>
                        </a:lnTo>
                        <a:lnTo>
                          <a:pt x="16" y="49"/>
                        </a:lnTo>
                        <a:lnTo>
                          <a:pt x="18" y="45"/>
                        </a:lnTo>
                        <a:lnTo>
                          <a:pt x="30" y="45"/>
                        </a:lnTo>
                        <a:lnTo>
                          <a:pt x="35" y="49"/>
                        </a:lnTo>
                        <a:lnTo>
                          <a:pt x="48" y="49"/>
                        </a:lnTo>
                        <a:lnTo>
                          <a:pt x="50" y="47"/>
                        </a:lnTo>
                        <a:lnTo>
                          <a:pt x="53" y="49"/>
                        </a:lnTo>
                        <a:lnTo>
                          <a:pt x="58" y="49"/>
                        </a:lnTo>
                        <a:lnTo>
                          <a:pt x="58" y="49"/>
                        </a:lnTo>
                        <a:close/>
                        <a:moveTo>
                          <a:pt x="38" y="2"/>
                        </a:moveTo>
                        <a:lnTo>
                          <a:pt x="43" y="0"/>
                        </a:lnTo>
                        <a:lnTo>
                          <a:pt x="51" y="5"/>
                        </a:lnTo>
                        <a:lnTo>
                          <a:pt x="43" y="5"/>
                        </a:lnTo>
                        <a:lnTo>
                          <a:pt x="38" y="2"/>
                        </a:lnTo>
                        <a:lnTo>
                          <a:pt x="38" y="2"/>
                        </a:lnTo>
                        <a:close/>
                        <a:moveTo>
                          <a:pt x="30" y="30"/>
                        </a:moveTo>
                        <a:lnTo>
                          <a:pt x="33" y="29"/>
                        </a:lnTo>
                        <a:lnTo>
                          <a:pt x="38" y="30"/>
                        </a:lnTo>
                        <a:lnTo>
                          <a:pt x="40" y="34"/>
                        </a:lnTo>
                        <a:lnTo>
                          <a:pt x="33" y="32"/>
                        </a:lnTo>
                        <a:lnTo>
                          <a:pt x="30" y="30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09" name="Google Shape;3114;p98">
                    <a:extLst>
                      <a:ext uri="{FF2B5EF4-FFF2-40B4-BE49-F238E27FC236}">
                        <a16:creationId xmlns:a16="http://schemas.microsoft.com/office/drawing/2014/main" id="{CAC1B34B-4C6D-8B00-17BD-77A6A3B7A093}"/>
                      </a:ext>
                    </a:extLst>
                  </p:cNvPr>
                  <p:cNvSpPr/>
                  <p:nvPr/>
                </p:nvSpPr>
                <p:spPr>
                  <a:xfrm>
                    <a:off x="5332993" y="2995791"/>
                    <a:ext cx="138062" cy="4254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57" h="83" extrusionOk="0">
                        <a:moveTo>
                          <a:pt x="48" y="34"/>
                        </a:moveTo>
                        <a:lnTo>
                          <a:pt x="49" y="32"/>
                        </a:lnTo>
                        <a:lnTo>
                          <a:pt x="54" y="32"/>
                        </a:lnTo>
                        <a:lnTo>
                          <a:pt x="59" y="37"/>
                        </a:lnTo>
                        <a:lnTo>
                          <a:pt x="58" y="40"/>
                        </a:lnTo>
                        <a:lnTo>
                          <a:pt x="51" y="42"/>
                        </a:lnTo>
                        <a:lnTo>
                          <a:pt x="46" y="40"/>
                        </a:lnTo>
                        <a:lnTo>
                          <a:pt x="44" y="39"/>
                        </a:lnTo>
                        <a:lnTo>
                          <a:pt x="48" y="40"/>
                        </a:lnTo>
                        <a:lnTo>
                          <a:pt x="49" y="40"/>
                        </a:lnTo>
                        <a:lnTo>
                          <a:pt x="53" y="39"/>
                        </a:lnTo>
                        <a:lnTo>
                          <a:pt x="49" y="37"/>
                        </a:lnTo>
                        <a:lnTo>
                          <a:pt x="48" y="34"/>
                        </a:lnTo>
                        <a:lnTo>
                          <a:pt x="48" y="34"/>
                        </a:lnTo>
                        <a:close/>
                        <a:moveTo>
                          <a:pt x="15" y="24"/>
                        </a:moveTo>
                        <a:lnTo>
                          <a:pt x="18" y="27"/>
                        </a:lnTo>
                        <a:lnTo>
                          <a:pt x="16" y="29"/>
                        </a:lnTo>
                        <a:lnTo>
                          <a:pt x="11" y="27"/>
                        </a:lnTo>
                        <a:lnTo>
                          <a:pt x="3" y="32"/>
                        </a:lnTo>
                        <a:lnTo>
                          <a:pt x="0" y="30"/>
                        </a:lnTo>
                        <a:lnTo>
                          <a:pt x="0" y="34"/>
                        </a:lnTo>
                        <a:lnTo>
                          <a:pt x="5" y="35"/>
                        </a:lnTo>
                        <a:lnTo>
                          <a:pt x="10" y="30"/>
                        </a:lnTo>
                        <a:lnTo>
                          <a:pt x="11" y="32"/>
                        </a:lnTo>
                        <a:lnTo>
                          <a:pt x="11" y="35"/>
                        </a:lnTo>
                        <a:lnTo>
                          <a:pt x="16" y="32"/>
                        </a:lnTo>
                        <a:lnTo>
                          <a:pt x="21" y="32"/>
                        </a:lnTo>
                        <a:lnTo>
                          <a:pt x="26" y="25"/>
                        </a:lnTo>
                        <a:lnTo>
                          <a:pt x="33" y="25"/>
                        </a:lnTo>
                        <a:lnTo>
                          <a:pt x="35" y="24"/>
                        </a:lnTo>
                        <a:lnTo>
                          <a:pt x="38" y="25"/>
                        </a:lnTo>
                        <a:lnTo>
                          <a:pt x="43" y="25"/>
                        </a:lnTo>
                        <a:lnTo>
                          <a:pt x="49" y="17"/>
                        </a:lnTo>
                        <a:lnTo>
                          <a:pt x="54" y="17"/>
                        </a:lnTo>
                        <a:lnTo>
                          <a:pt x="58" y="14"/>
                        </a:lnTo>
                        <a:lnTo>
                          <a:pt x="64" y="14"/>
                        </a:lnTo>
                        <a:lnTo>
                          <a:pt x="68" y="14"/>
                        </a:lnTo>
                        <a:lnTo>
                          <a:pt x="79" y="15"/>
                        </a:lnTo>
                        <a:lnTo>
                          <a:pt x="83" y="17"/>
                        </a:lnTo>
                        <a:lnTo>
                          <a:pt x="79" y="20"/>
                        </a:lnTo>
                        <a:lnTo>
                          <a:pt x="74" y="19"/>
                        </a:lnTo>
                        <a:lnTo>
                          <a:pt x="69" y="22"/>
                        </a:lnTo>
                        <a:lnTo>
                          <a:pt x="74" y="24"/>
                        </a:lnTo>
                        <a:lnTo>
                          <a:pt x="88" y="27"/>
                        </a:lnTo>
                        <a:lnTo>
                          <a:pt x="91" y="25"/>
                        </a:lnTo>
                        <a:lnTo>
                          <a:pt x="96" y="25"/>
                        </a:lnTo>
                        <a:lnTo>
                          <a:pt x="99" y="29"/>
                        </a:lnTo>
                        <a:lnTo>
                          <a:pt x="106" y="29"/>
                        </a:lnTo>
                        <a:lnTo>
                          <a:pt x="109" y="29"/>
                        </a:lnTo>
                        <a:lnTo>
                          <a:pt x="111" y="27"/>
                        </a:lnTo>
                        <a:lnTo>
                          <a:pt x="114" y="29"/>
                        </a:lnTo>
                        <a:lnTo>
                          <a:pt x="114" y="32"/>
                        </a:lnTo>
                        <a:lnTo>
                          <a:pt x="123" y="37"/>
                        </a:lnTo>
                        <a:lnTo>
                          <a:pt x="129" y="37"/>
                        </a:lnTo>
                        <a:lnTo>
                          <a:pt x="131" y="35"/>
                        </a:lnTo>
                        <a:lnTo>
                          <a:pt x="136" y="39"/>
                        </a:lnTo>
                        <a:lnTo>
                          <a:pt x="141" y="39"/>
                        </a:lnTo>
                        <a:lnTo>
                          <a:pt x="144" y="40"/>
                        </a:lnTo>
                        <a:lnTo>
                          <a:pt x="151" y="39"/>
                        </a:lnTo>
                        <a:lnTo>
                          <a:pt x="154" y="39"/>
                        </a:lnTo>
                        <a:lnTo>
                          <a:pt x="157" y="52"/>
                        </a:lnTo>
                        <a:lnTo>
                          <a:pt x="166" y="60"/>
                        </a:lnTo>
                        <a:lnTo>
                          <a:pt x="169" y="60"/>
                        </a:lnTo>
                        <a:lnTo>
                          <a:pt x="171" y="58"/>
                        </a:lnTo>
                        <a:lnTo>
                          <a:pt x="176" y="62"/>
                        </a:lnTo>
                        <a:lnTo>
                          <a:pt x="186" y="62"/>
                        </a:lnTo>
                        <a:lnTo>
                          <a:pt x="186" y="65"/>
                        </a:lnTo>
                        <a:lnTo>
                          <a:pt x="191" y="65"/>
                        </a:lnTo>
                        <a:lnTo>
                          <a:pt x="189" y="70"/>
                        </a:lnTo>
                        <a:lnTo>
                          <a:pt x="184" y="72"/>
                        </a:lnTo>
                        <a:lnTo>
                          <a:pt x="176" y="78"/>
                        </a:lnTo>
                        <a:lnTo>
                          <a:pt x="176" y="82"/>
                        </a:lnTo>
                        <a:lnTo>
                          <a:pt x="184" y="83"/>
                        </a:lnTo>
                        <a:lnTo>
                          <a:pt x="189" y="80"/>
                        </a:lnTo>
                        <a:lnTo>
                          <a:pt x="194" y="82"/>
                        </a:lnTo>
                        <a:lnTo>
                          <a:pt x="206" y="80"/>
                        </a:lnTo>
                        <a:lnTo>
                          <a:pt x="212" y="80"/>
                        </a:lnTo>
                        <a:lnTo>
                          <a:pt x="221" y="83"/>
                        </a:lnTo>
                        <a:lnTo>
                          <a:pt x="232" y="82"/>
                        </a:lnTo>
                        <a:lnTo>
                          <a:pt x="234" y="78"/>
                        </a:lnTo>
                        <a:lnTo>
                          <a:pt x="237" y="78"/>
                        </a:lnTo>
                        <a:lnTo>
                          <a:pt x="241" y="77"/>
                        </a:lnTo>
                        <a:lnTo>
                          <a:pt x="249" y="77"/>
                        </a:lnTo>
                        <a:lnTo>
                          <a:pt x="255" y="77"/>
                        </a:lnTo>
                        <a:lnTo>
                          <a:pt x="257" y="72"/>
                        </a:lnTo>
                        <a:lnTo>
                          <a:pt x="255" y="70"/>
                        </a:lnTo>
                        <a:lnTo>
                          <a:pt x="250" y="68"/>
                        </a:lnTo>
                        <a:lnTo>
                          <a:pt x="249" y="63"/>
                        </a:lnTo>
                        <a:lnTo>
                          <a:pt x="237" y="58"/>
                        </a:lnTo>
                        <a:lnTo>
                          <a:pt x="226" y="58"/>
                        </a:lnTo>
                        <a:lnTo>
                          <a:pt x="222" y="58"/>
                        </a:lnTo>
                        <a:lnTo>
                          <a:pt x="224" y="55"/>
                        </a:lnTo>
                        <a:lnTo>
                          <a:pt x="226" y="50"/>
                        </a:lnTo>
                        <a:lnTo>
                          <a:pt x="224" y="50"/>
                        </a:lnTo>
                        <a:lnTo>
                          <a:pt x="219" y="52"/>
                        </a:lnTo>
                        <a:lnTo>
                          <a:pt x="214" y="50"/>
                        </a:lnTo>
                        <a:lnTo>
                          <a:pt x="206" y="45"/>
                        </a:lnTo>
                        <a:lnTo>
                          <a:pt x="204" y="47"/>
                        </a:lnTo>
                        <a:lnTo>
                          <a:pt x="199" y="44"/>
                        </a:lnTo>
                        <a:lnTo>
                          <a:pt x="192" y="39"/>
                        </a:lnTo>
                        <a:lnTo>
                          <a:pt x="189" y="44"/>
                        </a:lnTo>
                        <a:lnTo>
                          <a:pt x="187" y="40"/>
                        </a:lnTo>
                        <a:lnTo>
                          <a:pt x="189" y="39"/>
                        </a:lnTo>
                        <a:lnTo>
                          <a:pt x="186" y="37"/>
                        </a:lnTo>
                        <a:lnTo>
                          <a:pt x="184" y="40"/>
                        </a:lnTo>
                        <a:lnTo>
                          <a:pt x="181" y="37"/>
                        </a:lnTo>
                        <a:lnTo>
                          <a:pt x="172" y="35"/>
                        </a:lnTo>
                        <a:lnTo>
                          <a:pt x="166" y="30"/>
                        </a:lnTo>
                        <a:lnTo>
                          <a:pt x="161" y="27"/>
                        </a:lnTo>
                        <a:lnTo>
                          <a:pt x="154" y="24"/>
                        </a:lnTo>
                        <a:lnTo>
                          <a:pt x="141" y="22"/>
                        </a:lnTo>
                        <a:lnTo>
                          <a:pt x="136" y="20"/>
                        </a:lnTo>
                        <a:lnTo>
                          <a:pt x="134" y="15"/>
                        </a:lnTo>
                        <a:lnTo>
                          <a:pt x="129" y="10"/>
                        </a:lnTo>
                        <a:lnTo>
                          <a:pt x="124" y="10"/>
                        </a:lnTo>
                        <a:lnTo>
                          <a:pt x="123" y="9"/>
                        </a:lnTo>
                        <a:lnTo>
                          <a:pt x="104" y="5"/>
                        </a:lnTo>
                        <a:lnTo>
                          <a:pt x="98" y="9"/>
                        </a:lnTo>
                        <a:lnTo>
                          <a:pt x="91" y="7"/>
                        </a:lnTo>
                        <a:lnTo>
                          <a:pt x="86" y="2"/>
                        </a:lnTo>
                        <a:lnTo>
                          <a:pt x="74" y="0"/>
                        </a:lnTo>
                        <a:lnTo>
                          <a:pt x="64" y="0"/>
                        </a:lnTo>
                        <a:lnTo>
                          <a:pt x="61" y="4"/>
                        </a:lnTo>
                        <a:lnTo>
                          <a:pt x="48" y="5"/>
                        </a:lnTo>
                        <a:lnTo>
                          <a:pt x="36" y="7"/>
                        </a:lnTo>
                        <a:lnTo>
                          <a:pt x="33" y="10"/>
                        </a:lnTo>
                        <a:lnTo>
                          <a:pt x="23" y="12"/>
                        </a:lnTo>
                        <a:lnTo>
                          <a:pt x="20" y="17"/>
                        </a:lnTo>
                        <a:lnTo>
                          <a:pt x="15" y="19"/>
                        </a:lnTo>
                        <a:lnTo>
                          <a:pt x="15" y="24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10" name="Google Shape;3115;p98">
                    <a:extLst>
                      <a:ext uri="{FF2B5EF4-FFF2-40B4-BE49-F238E27FC236}">
                        <a16:creationId xmlns:a16="http://schemas.microsoft.com/office/drawing/2014/main" id="{6EED00F9-3567-EE73-E3C9-46DAC36F085C}"/>
                      </a:ext>
                    </a:extLst>
                  </p:cNvPr>
                  <p:cNvSpPr/>
                  <p:nvPr/>
                </p:nvSpPr>
                <p:spPr>
                  <a:xfrm>
                    <a:off x="4878137" y="2592169"/>
                    <a:ext cx="734190" cy="37872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72" h="731" extrusionOk="0">
                        <a:moveTo>
                          <a:pt x="120" y="0"/>
                        </a:moveTo>
                        <a:lnTo>
                          <a:pt x="749" y="56"/>
                        </a:lnTo>
                        <a:lnTo>
                          <a:pt x="754" y="56"/>
                        </a:lnTo>
                        <a:lnTo>
                          <a:pt x="759" y="56"/>
                        </a:lnTo>
                        <a:lnTo>
                          <a:pt x="764" y="61"/>
                        </a:lnTo>
                        <a:lnTo>
                          <a:pt x="764" y="63"/>
                        </a:lnTo>
                        <a:lnTo>
                          <a:pt x="768" y="65"/>
                        </a:lnTo>
                        <a:lnTo>
                          <a:pt x="769" y="66"/>
                        </a:lnTo>
                        <a:lnTo>
                          <a:pt x="774" y="68"/>
                        </a:lnTo>
                        <a:lnTo>
                          <a:pt x="774" y="68"/>
                        </a:lnTo>
                        <a:lnTo>
                          <a:pt x="779" y="70"/>
                        </a:lnTo>
                        <a:lnTo>
                          <a:pt x="783" y="73"/>
                        </a:lnTo>
                        <a:lnTo>
                          <a:pt x="784" y="73"/>
                        </a:lnTo>
                        <a:lnTo>
                          <a:pt x="789" y="71"/>
                        </a:lnTo>
                        <a:lnTo>
                          <a:pt x="793" y="73"/>
                        </a:lnTo>
                        <a:lnTo>
                          <a:pt x="797" y="71"/>
                        </a:lnTo>
                        <a:lnTo>
                          <a:pt x="802" y="76"/>
                        </a:lnTo>
                        <a:lnTo>
                          <a:pt x="806" y="76"/>
                        </a:lnTo>
                        <a:lnTo>
                          <a:pt x="807" y="81"/>
                        </a:lnTo>
                        <a:lnTo>
                          <a:pt x="816" y="83"/>
                        </a:lnTo>
                        <a:lnTo>
                          <a:pt x="821" y="85"/>
                        </a:lnTo>
                        <a:lnTo>
                          <a:pt x="824" y="88"/>
                        </a:lnTo>
                        <a:lnTo>
                          <a:pt x="827" y="90"/>
                        </a:lnTo>
                        <a:lnTo>
                          <a:pt x="836" y="90"/>
                        </a:lnTo>
                        <a:lnTo>
                          <a:pt x="841" y="86"/>
                        </a:lnTo>
                        <a:lnTo>
                          <a:pt x="842" y="90"/>
                        </a:lnTo>
                        <a:lnTo>
                          <a:pt x="844" y="93"/>
                        </a:lnTo>
                        <a:lnTo>
                          <a:pt x="856" y="93"/>
                        </a:lnTo>
                        <a:lnTo>
                          <a:pt x="859" y="95"/>
                        </a:lnTo>
                        <a:lnTo>
                          <a:pt x="864" y="96"/>
                        </a:lnTo>
                        <a:lnTo>
                          <a:pt x="867" y="98"/>
                        </a:lnTo>
                        <a:lnTo>
                          <a:pt x="965" y="140"/>
                        </a:lnTo>
                        <a:lnTo>
                          <a:pt x="970" y="146"/>
                        </a:lnTo>
                        <a:lnTo>
                          <a:pt x="985" y="158"/>
                        </a:lnTo>
                        <a:lnTo>
                          <a:pt x="1002" y="224"/>
                        </a:lnTo>
                        <a:lnTo>
                          <a:pt x="1000" y="254"/>
                        </a:lnTo>
                        <a:lnTo>
                          <a:pt x="997" y="259"/>
                        </a:lnTo>
                        <a:lnTo>
                          <a:pt x="993" y="264"/>
                        </a:lnTo>
                        <a:lnTo>
                          <a:pt x="990" y="269"/>
                        </a:lnTo>
                        <a:lnTo>
                          <a:pt x="982" y="272"/>
                        </a:lnTo>
                        <a:lnTo>
                          <a:pt x="977" y="277"/>
                        </a:lnTo>
                        <a:lnTo>
                          <a:pt x="980" y="284"/>
                        </a:lnTo>
                        <a:lnTo>
                          <a:pt x="1063" y="264"/>
                        </a:lnTo>
                        <a:lnTo>
                          <a:pt x="1075" y="261"/>
                        </a:lnTo>
                        <a:lnTo>
                          <a:pt x="1077" y="251"/>
                        </a:lnTo>
                        <a:lnTo>
                          <a:pt x="1121" y="239"/>
                        </a:lnTo>
                        <a:lnTo>
                          <a:pt x="1143" y="224"/>
                        </a:lnTo>
                        <a:lnTo>
                          <a:pt x="1146" y="223"/>
                        </a:lnTo>
                        <a:lnTo>
                          <a:pt x="1153" y="221"/>
                        </a:lnTo>
                        <a:lnTo>
                          <a:pt x="1165" y="211"/>
                        </a:lnTo>
                        <a:lnTo>
                          <a:pt x="1170" y="208"/>
                        </a:lnTo>
                        <a:lnTo>
                          <a:pt x="1175" y="206"/>
                        </a:lnTo>
                        <a:lnTo>
                          <a:pt x="1180" y="203"/>
                        </a:lnTo>
                        <a:lnTo>
                          <a:pt x="1188" y="201"/>
                        </a:lnTo>
                        <a:lnTo>
                          <a:pt x="1258" y="203"/>
                        </a:lnTo>
                        <a:lnTo>
                          <a:pt x="1264" y="198"/>
                        </a:lnTo>
                        <a:lnTo>
                          <a:pt x="1266" y="198"/>
                        </a:lnTo>
                        <a:lnTo>
                          <a:pt x="1268" y="196"/>
                        </a:lnTo>
                        <a:lnTo>
                          <a:pt x="1271" y="196"/>
                        </a:lnTo>
                        <a:lnTo>
                          <a:pt x="1276" y="196"/>
                        </a:lnTo>
                        <a:lnTo>
                          <a:pt x="1278" y="194"/>
                        </a:lnTo>
                        <a:lnTo>
                          <a:pt x="1279" y="191"/>
                        </a:lnTo>
                        <a:lnTo>
                          <a:pt x="1288" y="184"/>
                        </a:lnTo>
                        <a:lnTo>
                          <a:pt x="1291" y="183"/>
                        </a:lnTo>
                        <a:lnTo>
                          <a:pt x="1296" y="176"/>
                        </a:lnTo>
                        <a:lnTo>
                          <a:pt x="1299" y="171"/>
                        </a:lnTo>
                        <a:lnTo>
                          <a:pt x="1299" y="166"/>
                        </a:lnTo>
                        <a:lnTo>
                          <a:pt x="1306" y="163"/>
                        </a:lnTo>
                        <a:lnTo>
                          <a:pt x="1306" y="159"/>
                        </a:lnTo>
                        <a:lnTo>
                          <a:pt x="1309" y="154"/>
                        </a:lnTo>
                        <a:lnTo>
                          <a:pt x="1317" y="146"/>
                        </a:lnTo>
                        <a:lnTo>
                          <a:pt x="1321" y="143"/>
                        </a:lnTo>
                        <a:lnTo>
                          <a:pt x="1324" y="138"/>
                        </a:lnTo>
                        <a:lnTo>
                          <a:pt x="1326" y="138"/>
                        </a:lnTo>
                        <a:lnTo>
                          <a:pt x="1329" y="140"/>
                        </a:lnTo>
                        <a:lnTo>
                          <a:pt x="1332" y="143"/>
                        </a:lnTo>
                        <a:lnTo>
                          <a:pt x="1337" y="141"/>
                        </a:lnTo>
                        <a:lnTo>
                          <a:pt x="1344" y="143"/>
                        </a:lnTo>
                        <a:lnTo>
                          <a:pt x="1346" y="141"/>
                        </a:lnTo>
                        <a:lnTo>
                          <a:pt x="1356" y="149"/>
                        </a:lnTo>
                        <a:lnTo>
                          <a:pt x="1356" y="156"/>
                        </a:lnTo>
                        <a:lnTo>
                          <a:pt x="1351" y="184"/>
                        </a:lnTo>
                        <a:lnTo>
                          <a:pt x="1349" y="188"/>
                        </a:lnTo>
                        <a:lnTo>
                          <a:pt x="1351" y="188"/>
                        </a:lnTo>
                        <a:lnTo>
                          <a:pt x="1352" y="191"/>
                        </a:lnTo>
                        <a:lnTo>
                          <a:pt x="1354" y="193"/>
                        </a:lnTo>
                        <a:lnTo>
                          <a:pt x="1354" y="196"/>
                        </a:lnTo>
                        <a:lnTo>
                          <a:pt x="1354" y="199"/>
                        </a:lnTo>
                        <a:lnTo>
                          <a:pt x="1354" y="201"/>
                        </a:lnTo>
                        <a:lnTo>
                          <a:pt x="1354" y="203"/>
                        </a:lnTo>
                        <a:lnTo>
                          <a:pt x="1354" y="204"/>
                        </a:lnTo>
                        <a:lnTo>
                          <a:pt x="1354" y="204"/>
                        </a:lnTo>
                        <a:lnTo>
                          <a:pt x="1354" y="204"/>
                        </a:lnTo>
                        <a:lnTo>
                          <a:pt x="1364" y="209"/>
                        </a:lnTo>
                        <a:lnTo>
                          <a:pt x="1362" y="214"/>
                        </a:lnTo>
                        <a:lnTo>
                          <a:pt x="1366" y="218"/>
                        </a:lnTo>
                        <a:lnTo>
                          <a:pt x="1367" y="214"/>
                        </a:lnTo>
                        <a:lnTo>
                          <a:pt x="1372" y="216"/>
                        </a:lnTo>
                        <a:lnTo>
                          <a:pt x="1369" y="221"/>
                        </a:lnTo>
                        <a:lnTo>
                          <a:pt x="1364" y="221"/>
                        </a:lnTo>
                        <a:lnTo>
                          <a:pt x="1362" y="218"/>
                        </a:lnTo>
                        <a:lnTo>
                          <a:pt x="1357" y="221"/>
                        </a:lnTo>
                        <a:lnTo>
                          <a:pt x="1354" y="221"/>
                        </a:lnTo>
                        <a:lnTo>
                          <a:pt x="1349" y="224"/>
                        </a:lnTo>
                        <a:lnTo>
                          <a:pt x="1346" y="224"/>
                        </a:lnTo>
                        <a:lnTo>
                          <a:pt x="1342" y="224"/>
                        </a:lnTo>
                        <a:lnTo>
                          <a:pt x="1339" y="228"/>
                        </a:lnTo>
                        <a:lnTo>
                          <a:pt x="1336" y="228"/>
                        </a:lnTo>
                        <a:lnTo>
                          <a:pt x="1334" y="224"/>
                        </a:lnTo>
                        <a:lnTo>
                          <a:pt x="1329" y="224"/>
                        </a:lnTo>
                        <a:lnTo>
                          <a:pt x="1324" y="228"/>
                        </a:lnTo>
                        <a:lnTo>
                          <a:pt x="1319" y="228"/>
                        </a:lnTo>
                        <a:lnTo>
                          <a:pt x="1319" y="224"/>
                        </a:lnTo>
                        <a:lnTo>
                          <a:pt x="1321" y="221"/>
                        </a:lnTo>
                        <a:lnTo>
                          <a:pt x="1314" y="228"/>
                        </a:lnTo>
                        <a:lnTo>
                          <a:pt x="1309" y="234"/>
                        </a:lnTo>
                        <a:lnTo>
                          <a:pt x="1306" y="236"/>
                        </a:lnTo>
                        <a:lnTo>
                          <a:pt x="1306" y="234"/>
                        </a:lnTo>
                        <a:lnTo>
                          <a:pt x="1302" y="239"/>
                        </a:lnTo>
                        <a:lnTo>
                          <a:pt x="1299" y="239"/>
                        </a:lnTo>
                        <a:lnTo>
                          <a:pt x="1299" y="234"/>
                        </a:lnTo>
                        <a:lnTo>
                          <a:pt x="1296" y="239"/>
                        </a:lnTo>
                        <a:lnTo>
                          <a:pt x="1294" y="241"/>
                        </a:lnTo>
                        <a:lnTo>
                          <a:pt x="1291" y="241"/>
                        </a:lnTo>
                        <a:lnTo>
                          <a:pt x="1291" y="238"/>
                        </a:lnTo>
                        <a:lnTo>
                          <a:pt x="1288" y="241"/>
                        </a:lnTo>
                        <a:lnTo>
                          <a:pt x="1284" y="241"/>
                        </a:lnTo>
                        <a:lnTo>
                          <a:pt x="1283" y="247"/>
                        </a:lnTo>
                        <a:lnTo>
                          <a:pt x="1273" y="254"/>
                        </a:lnTo>
                        <a:lnTo>
                          <a:pt x="1269" y="261"/>
                        </a:lnTo>
                        <a:lnTo>
                          <a:pt x="1268" y="264"/>
                        </a:lnTo>
                        <a:lnTo>
                          <a:pt x="1266" y="267"/>
                        </a:lnTo>
                        <a:lnTo>
                          <a:pt x="1263" y="269"/>
                        </a:lnTo>
                        <a:lnTo>
                          <a:pt x="1263" y="272"/>
                        </a:lnTo>
                        <a:lnTo>
                          <a:pt x="1266" y="272"/>
                        </a:lnTo>
                        <a:lnTo>
                          <a:pt x="1266" y="276"/>
                        </a:lnTo>
                        <a:lnTo>
                          <a:pt x="1258" y="282"/>
                        </a:lnTo>
                        <a:lnTo>
                          <a:pt x="1258" y="284"/>
                        </a:lnTo>
                        <a:lnTo>
                          <a:pt x="1264" y="287"/>
                        </a:lnTo>
                        <a:lnTo>
                          <a:pt x="1266" y="296"/>
                        </a:lnTo>
                        <a:lnTo>
                          <a:pt x="1268" y="299"/>
                        </a:lnTo>
                        <a:lnTo>
                          <a:pt x="1274" y="299"/>
                        </a:lnTo>
                        <a:lnTo>
                          <a:pt x="1276" y="294"/>
                        </a:lnTo>
                        <a:lnTo>
                          <a:pt x="1276" y="289"/>
                        </a:lnTo>
                        <a:lnTo>
                          <a:pt x="1278" y="289"/>
                        </a:lnTo>
                        <a:lnTo>
                          <a:pt x="1281" y="296"/>
                        </a:lnTo>
                        <a:lnTo>
                          <a:pt x="1278" y="301"/>
                        </a:lnTo>
                        <a:lnTo>
                          <a:pt x="1266" y="306"/>
                        </a:lnTo>
                        <a:lnTo>
                          <a:pt x="1263" y="306"/>
                        </a:lnTo>
                        <a:lnTo>
                          <a:pt x="1263" y="302"/>
                        </a:lnTo>
                        <a:lnTo>
                          <a:pt x="1261" y="297"/>
                        </a:lnTo>
                        <a:lnTo>
                          <a:pt x="1256" y="306"/>
                        </a:lnTo>
                        <a:lnTo>
                          <a:pt x="1251" y="309"/>
                        </a:lnTo>
                        <a:lnTo>
                          <a:pt x="1249" y="309"/>
                        </a:lnTo>
                        <a:lnTo>
                          <a:pt x="1249" y="306"/>
                        </a:lnTo>
                        <a:lnTo>
                          <a:pt x="1249" y="302"/>
                        </a:lnTo>
                        <a:lnTo>
                          <a:pt x="1244" y="297"/>
                        </a:lnTo>
                        <a:lnTo>
                          <a:pt x="1244" y="302"/>
                        </a:lnTo>
                        <a:lnTo>
                          <a:pt x="1244" y="309"/>
                        </a:lnTo>
                        <a:lnTo>
                          <a:pt x="1246" y="311"/>
                        </a:lnTo>
                        <a:lnTo>
                          <a:pt x="1243" y="311"/>
                        </a:lnTo>
                        <a:lnTo>
                          <a:pt x="1233" y="312"/>
                        </a:lnTo>
                        <a:lnTo>
                          <a:pt x="1226" y="312"/>
                        </a:lnTo>
                        <a:lnTo>
                          <a:pt x="1223" y="312"/>
                        </a:lnTo>
                        <a:lnTo>
                          <a:pt x="1213" y="312"/>
                        </a:lnTo>
                        <a:lnTo>
                          <a:pt x="1211" y="311"/>
                        </a:lnTo>
                        <a:lnTo>
                          <a:pt x="1208" y="311"/>
                        </a:lnTo>
                        <a:lnTo>
                          <a:pt x="1199" y="316"/>
                        </a:lnTo>
                        <a:lnTo>
                          <a:pt x="1194" y="316"/>
                        </a:lnTo>
                        <a:lnTo>
                          <a:pt x="1188" y="321"/>
                        </a:lnTo>
                        <a:lnTo>
                          <a:pt x="1183" y="321"/>
                        </a:lnTo>
                        <a:lnTo>
                          <a:pt x="1180" y="324"/>
                        </a:lnTo>
                        <a:lnTo>
                          <a:pt x="1180" y="327"/>
                        </a:lnTo>
                        <a:lnTo>
                          <a:pt x="1173" y="331"/>
                        </a:lnTo>
                        <a:lnTo>
                          <a:pt x="1175" y="334"/>
                        </a:lnTo>
                        <a:lnTo>
                          <a:pt x="1178" y="336"/>
                        </a:lnTo>
                        <a:lnTo>
                          <a:pt x="1178" y="339"/>
                        </a:lnTo>
                        <a:lnTo>
                          <a:pt x="1176" y="342"/>
                        </a:lnTo>
                        <a:lnTo>
                          <a:pt x="1176" y="344"/>
                        </a:lnTo>
                        <a:lnTo>
                          <a:pt x="1173" y="347"/>
                        </a:lnTo>
                        <a:lnTo>
                          <a:pt x="1175" y="349"/>
                        </a:lnTo>
                        <a:lnTo>
                          <a:pt x="1173" y="352"/>
                        </a:lnTo>
                        <a:lnTo>
                          <a:pt x="1171" y="357"/>
                        </a:lnTo>
                        <a:lnTo>
                          <a:pt x="1168" y="357"/>
                        </a:lnTo>
                        <a:lnTo>
                          <a:pt x="1166" y="359"/>
                        </a:lnTo>
                        <a:lnTo>
                          <a:pt x="1165" y="365"/>
                        </a:lnTo>
                        <a:lnTo>
                          <a:pt x="1161" y="367"/>
                        </a:lnTo>
                        <a:lnTo>
                          <a:pt x="1158" y="369"/>
                        </a:lnTo>
                        <a:lnTo>
                          <a:pt x="1156" y="369"/>
                        </a:lnTo>
                        <a:lnTo>
                          <a:pt x="1156" y="372"/>
                        </a:lnTo>
                        <a:lnTo>
                          <a:pt x="1153" y="375"/>
                        </a:lnTo>
                        <a:lnTo>
                          <a:pt x="1151" y="375"/>
                        </a:lnTo>
                        <a:lnTo>
                          <a:pt x="1148" y="377"/>
                        </a:lnTo>
                        <a:lnTo>
                          <a:pt x="1151" y="372"/>
                        </a:lnTo>
                        <a:lnTo>
                          <a:pt x="1150" y="369"/>
                        </a:lnTo>
                        <a:lnTo>
                          <a:pt x="1145" y="370"/>
                        </a:lnTo>
                        <a:lnTo>
                          <a:pt x="1140" y="365"/>
                        </a:lnTo>
                        <a:lnTo>
                          <a:pt x="1138" y="362"/>
                        </a:lnTo>
                        <a:lnTo>
                          <a:pt x="1140" y="359"/>
                        </a:lnTo>
                        <a:lnTo>
                          <a:pt x="1146" y="350"/>
                        </a:lnTo>
                        <a:lnTo>
                          <a:pt x="1141" y="354"/>
                        </a:lnTo>
                        <a:lnTo>
                          <a:pt x="1138" y="357"/>
                        </a:lnTo>
                        <a:lnTo>
                          <a:pt x="1135" y="360"/>
                        </a:lnTo>
                        <a:lnTo>
                          <a:pt x="1136" y="365"/>
                        </a:lnTo>
                        <a:lnTo>
                          <a:pt x="1138" y="367"/>
                        </a:lnTo>
                        <a:lnTo>
                          <a:pt x="1138" y="374"/>
                        </a:lnTo>
                        <a:lnTo>
                          <a:pt x="1141" y="375"/>
                        </a:lnTo>
                        <a:lnTo>
                          <a:pt x="1145" y="384"/>
                        </a:lnTo>
                        <a:lnTo>
                          <a:pt x="1145" y="389"/>
                        </a:lnTo>
                        <a:lnTo>
                          <a:pt x="1140" y="397"/>
                        </a:lnTo>
                        <a:lnTo>
                          <a:pt x="1135" y="400"/>
                        </a:lnTo>
                        <a:lnTo>
                          <a:pt x="1131" y="409"/>
                        </a:lnTo>
                        <a:lnTo>
                          <a:pt x="1128" y="414"/>
                        </a:lnTo>
                        <a:lnTo>
                          <a:pt x="1128" y="415"/>
                        </a:lnTo>
                        <a:lnTo>
                          <a:pt x="1126" y="417"/>
                        </a:lnTo>
                        <a:lnTo>
                          <a:pt x="1126" y="415"/>
                        </a:lnTo>
                        <a:lnTo>
                          <a:pt x="1126" y="414"/>
                        </a:lnTo>
                        <a:lnTo>
                          <a:pt x="1121" y="422"/>
                        </a:lnTo>
                        <a:lnTo>
                          <a:pt x="1120" y="424"/>
                        </a:lnTo>
                        <a:lnTo>
                          <a:pt x="1120" y="425"/>
                        </a:lnTo>
                        <a:lnTo>
                          <a:pt x="1118" y="422"/>
                        </a:lnTo>
                        <a:lnTo>
                          <a:pt x="1120" y="417"/>
                        </a:lnTo>
                        <a:lnTo>
                          <a:pt x="1123" y="412"/>
                        </a:lnTo>
                        <a:lnTo>
                          <a:pt x="1121" y="410"/>
                        </a:lnTo>
                        <a:lnTo>
                          <a:pt x="1125" y="407"/>
                        </a:lnTo>
                        <a:lnTo>
                          <a:pt x="1125" y="405"/>
                        </a:lnTo>
                        <a:lnTo>
                          <a:pt x="1128" y="404"/>
                        </a:lnTo>
                        <a:lnTo>
                          <a:pt x="1123" y="404"/>
                        </a:lnTo>
                        <a:lnTo>
                          <a:pt x="1121" y="400"/>
                        </a:lnTo>
                        <a:lnTo>
                          <a:pt x="1121" y="399"/>
                        </a:lnTo>
                        <a:lnTo>
                          <a:pt x="1121" y="397"/>
                        </a:lnTo>
                        <a:lnTo>
                          <a:pt x="1120" y="397"/>
                        </a:lnTo>
                        <a:lnTo>
                          <a:pt x="1120" y="395"/>
                        </a:lnTo>
                        <a:lnTo>
                          <a:pt x="1118" y="397"/>
                        </a:lnTo>
                        <a:lnTo>
                          <a:pt x="1113" y="392"/>
                        </a:lnTo>
                        <a:lnTo>
                          <a:pt x="1113" y="389"/>
                        </a:lnTo>
                        <a:lnTo>
                          <a:pt x="1116" y="384"/>
                        </a:lnTo>
                        <a:lnTo>
                          <a:pt x="1118" y="377"/>
                        </a:lnTo>
                        <a:lnTo>
                          <a:pt x="1115" y="372"/>
                        </a:lnTo>
                        <a:lnTo>
                          <a:pt x="1116" y="367"/>
                        </a:lnTo>
                        <a:lnTo>
                          <a:pt x="1121" y="365"/>
                        </a:lnTo>
                        <a:lnTo>
                          <a:pt x="1120" y="364"/>
                        </a:lnTo>
                        <a:lnTo>
                          <a:pt x="1121" y="359"/>
                        </a:lnTo>
                        <a:lnTo>
                          <a:pt x="1120" y="357"/>
                        </a:lnTo>
                        <a:lnTo>
                          <a:pt x="1120" y="359"/>
                        </a:lnTo>
                        <a:lnTo>
                          <a:pt x="1118" y="364"/>
                        </a:lnTo>
                        <a:lnTo>
                          <a:pt x="1113" y="367"/>
                        </a:lnTo>
                        <a:lnTo>
                          <a:pt x="1110" y="369"/>
                        </a:lnTo>
                        <a:lnTo>
                          <a:pt x="1108" y="369"/>
                        </a:lnTo>
                        <a:lnTo>
                          <a:pt x="1111" y="372"/>
                        </a:lnTo>
                        <a:lnTo>
                          <a:pt x="1110" y="374"/>
                        </a:lnTo>
                        <a:lnTo>
                          <a:pt x="1110" y="380"/>
                        </a:lnTo>
                        <a:lnTo>
                          <a:pt x="1110" y="384"/>
                        </a:lnTo>
                        <a:lnTo>
                          <a:pt x="1110" y="385"/>
                        </a:lnTo>
                        <a:lnTo>
                          <a:pt x="1110" y="390"/>
                        </a:lnTo>
                        <a:lnTo>
                          <a:pt x="1110" y="399"/>
                        </a:lnTo>
                        <a:lnTo>
                          <a:pt x="1108" y="399"/>
                        </a:lnTo>
                        <a:lnTo>
                          <a:pt x="1101" y="394"/>
                        </a:lnTo>
                        <a:lnTo>
                          <a:pt x="1098" y="392"/>
                        </a:lnTo>
                        <a:lnTo>
                          <a:pt x="1095" y="387"/>
                        </a:lnTo>
                        <a:lnTo>
                          <a:pt x="1092" y="387"/>
                        </a:lnTo>
                        <a:lnTo>
                          <a:pt x="1092" y="385"/>
                        </a:lnTo>
                        <a:lnTo>
                          <a:pt x="1093" y="380"/>
                        </a:lnTo>
                        <a:lnTo>
                          <a:pt x="1090" y="385"/>
                        </a:lnTo>
                        <a:lnTo>
                          <a:pt x="1090" y="389"/>
                        </a:lnTo>
                        <a:lnTo>
                          <a:pt x="1093" y="390"/>
                        </a:lnTo>
                        <a:lnTo>
                          <a:pt x="1096" y="394"/>
                        </a:lnTo>
                        <a:lnTo>
                          <a:pt x="1101" y="395"/>
                        </a:lnTo>
                        <a:lnTo>
                          <a:pt x="1106" y="402"/>
                        </a:lnTo>
                        <a:lnTo>
                          <a:pt x="1111" y="404"/>
                        </a:lnTo>
                        <a:lnTo>
                          <a:pt x="1111" y="407"/>
                        </a:lnTo>
                        <a:lnTo>
                          <a:pt x="1110" y="412"/>
                        </a:lnTo>
                        <a:lnTo>
                          <a:pt x="1106" y="412"/>
                        </a:lnTo>
                        <a:lnTo>
                          <a:pt x="1105" y="409"/>
                        </a:lnTo>
                        <a:lnTo>
                          <a:pt x="1103" y="407"/>
                        </a:lnTo>
                        <a:lnTo>
                          <a:pt x="1105" y="412"/>
                        </a:lnTo>
                        <a:lnTo>
                          <a:pt x="1110" y="415"/>
                        </a:lnTo>
                        <a:lnTo>
                          <a:pt x="1111" y="419"/>
                        </a:lnTo>
                        <a:lnTo>
                          <a:pt x="1110" y="420"/>
                        </a:lnTo>
                        <a:lnTo>
                          <a:pt x="1110" y="422"/>
                        </a:lnTo>
                        <a:lnTo>
                          <a:pt x="1105" y="420"/>
                        </a:lnTo>
                        <a:lnTo>
                          <a:pt x="1110" y="425"/>
                        </a:lnTo>
                        <a:lnTo>
                          <a:pt x="1108" y="429"/>
                        </a:lnTo>
                        <a:lnTo>
                          <a:pt x="1105" y="427"/>
                        </a:lnTo>
                        <a:lnTo>
                          <a:pt x="1103" y="424"/>
                        </a:lnTo>
                        <a:lnTo>
                          <a:pt x="1096" y="424"/>
                        </a:lnTo>
                        <a:lnTo>
                          <a:pt x="1093" y="422"/>
                        </a:lnTo>
                        <a:lnTo>
                          <a:pt x="1096" y="425"/>
                        </a:lnTo>
                        <a:lnTo>
                          <a:pt x="1100" y="427"/>
                        </a:lnTo>
                        <a:lnTo>
                          <a:pt x="1103" y="427"/>
                        </a:lnTo>
                        <a:lnTo>
                          <a:pt x="1105" y="432"/>
                        </a:lnTo>
                        <a:lnTo>
                          <a:pt x="1110" y="434"/>
                        </a:lnTo>
                        <a:lnTo>
                          <a:pt x="1113" y="432"/>
                        </a:lnTo>
                        <a:lnTo>
                          <a:pt x="1115" y="434"/>
                        </a:lnTo>
                        <a:lnTo>
                          <a:pt x="1116" y="438"/>
                        </a:lnTo>
                        <a:lnTo>
                          <a:pt x="1115" y="442"/>
                        </a:lnTo>
                        <a:lnTo>
                          <a:pt x="1111" y="440"/>
                        </a:lnTo>
                        <a:lnTo>
                          <a:pt x="1111" y="443"/>
                        </a:lnTo>
                        <a:lnTo>
                          <a:pt x="1113" y="445"/>
                        </a:lnTo>
                        <a:lnTo>
                          <a:pt x="1115" y="450"/>
                        </a:lnTo>
                        <a:lnTo>
                          <a:pt x="1113" y="452"/>
                        </a:lnTo>
                        <a:lnTo>
                          <a:pt x="1110" y="452"/>
                        </a:lnTo>
                        <a:lnTo>
                          <a:pt x="1108" y="453"/>
                        </a:lnTo>
                        <a:lnTo>
                          <a:pt x="1101" y="455"/>
                        </a:lnTo>
                        <a:lnTo>
                          <a:pt x="1100" y="457"/>
                        </a:lnTo>
                        <a:lnTo>
                          <a:pt x="1096" y="455"/>
                        </a:lnTo>
                        <a:lnTo>
                          <a:pt x="1095" y="452"/>
                        </a:lnTo>
                        <a:lnTo>
                          <a:pt x="1093" y="452"/>
                        </a:lnTo>
                        <a:lnTo>
                          <a:pt x="1093" y="458"/>
                        </a:lnTo>
                        <a:lnTo>
                          <a:pt x="1092" y="462"/>
                        </a:lnTo>
                        <a:lnTo>
                          <a:pt x="1096" y="460"/>
                        </a:lnTo>
                        <a:lnTo>
                          <a:pt x="1106" y="458"/>
                        </a:lnTo>
                        <a:lnTo>
                          <a:pt x="1108" y="460"/>
                        </a:lnTo>
                        <a:lnTo>
                          <a:pt x="1108" y="465"/>
                        </a:lnTo>
                        <a:lnTo>
                          <a:pt x="1111" y="467"/>
                        </a:lnTo>
                        <a:lnTo>
                          <a:pt x="1111" y="463"/>
                        </a:lnTo>
                        <a:lnTo>
                          <a:pt x="1115" y="460"/>
                        </a:lnTo>
                        <a:lnTo>
                          <a:pt x="1115" y="460"/>
                        </a:lnTo>
                        <a:lnTo>
                          <a:pt x="1116" y="463"/>
                        </a:lnTo>
                        <a:lnTo>
                          <a:pt x="1116" y="468"/>
                        </a:lnTo>
                        <a:lnTo>
                          <a:pt x="1115" y="468"/>
                        </a:lnTo>
                        <a:lnTo>
                          <a:pt x="1110" y="472"/>
                        </a:lnTo>
                        <a:lnTo>
                          <a:pt x="1108" y="475"/>
                        </a:lnTo>
                        <a:lnTo>
                          <a:pt x="1105" y="477"/>
                        </a:lnTo>
                        <a:lnTo>
                          <a:pt x="1101" y="475"/>
                        </a:lnTo>
                        <a:lnTo>
                          <a:pt x="1098" y="475"/>
                        </a:lnTo>
                        <a:lnTo>
                          <a:pt x="1096" y="470"/>
                        </a:lnTo>
                        <a:lnTo>
                          <a:pt x="1096" y="473"/>
                        </a:lnTo>
                        <a:lnTo>
                          <a:pt x="1093" y="475"/>
                        </a:lnTo>
                        <a:lnTo>
                          <a:pt x="1090" y="473"/>
                        </a:lnTo>
                        <a:lnTo>
                          <a:pt x="1087" y="473"/>
                        </a:lnTo>
                        <a:lnTo>
                          <a:pt x="1090" y="475"/>
                        </a:lnTo>
                        <a:lnTo>
                          <a:pt x="1095" y="477"/>
                        </a:lnTo>
                        <a:lnTo>
                          <a:pt x="1096" y="478"/>
                        </a:lnTo>
                        <a:lnTo>
                          <a:pt x="1095" y="482"/>
                        </a:lnTo>
                        <a:lnTo>
                          <a:pt x="1095" y="482"/>
                        </a:lnTo>
                        <a:lnTo>
                          <a:pt x="1088" y="485"/>
                        </a:lnTo>
                        <a:lnTo>
                          <a:pt x="1085" y="483"/>
                        </a:lnTo>
                        <a:lnTo>
                          <a:pt x="1088" y="487"/>
                        </a:lnTo>
                        <a:lnTo>
                          <a:pt x="1095" y="487"/>
                        </a:lnTo>
                        <a:lnTo>
                          <a:pt x="1098" y="483"/>
                        </a:lnTo>
                        <a:lnTo>
                          <a:pt x="1100" y="485"/>
                        </a:lnTo>
                        <a:lnTo>
                          <a:pt x="1101" y="485"/>
                        </a:lnTo>
                        <a:lnTo>
                          <a:pt x="1096" y="490"/>
                        </a:lnTo>
                        <a:lnTo>
                          <a:pt x="1093" y="490"/>
                        </a:lnTo>
                        <a:lnTo>
                          <a:pt x="1092" y="488"/>
                        </a:lnTo>
                        <a:lnTo>
                          <a:pt x="1088" y="490"/>
                        </a:lnTo>
                        <a:lnTo>
                          <a:pt x="1088" y="490"/>
                        </a:lnTo>
                        <a:lnTo>
                          <a:pt x="1082" y="492"/>
                        </a:lnTo>
                        <a:lnTo>
                          <a:pt x="1070" y="497"/>
                        </a:lnTo>
                        <a:lnTo>
                          <a:pt x="1058" y="507"/>
                        </a:lnTo>
                        <a:lnTo>
                          <a:pt x="1053" y="513"/>
                        </a:lnTo>
                        <a:lnTo>
                          <a:pt x="1052" y="513"/>
                        </a:lnTo>
                        <a:lnTo>
                          <a:pt x="1050" y="512"/>
                        </a:lnTo>
                        <a:lnTo>
                          <a:pt x="1042" y="513"/>
                        </a:lnTo>
                        <a:lnTo>
                          <a:pt x="1038" y="517"/>
                        </a:lnTo>
                        <a:lnTo>
                          <a:pt x="1028" y="527"/>
                        </a:lnTo>
                        <a:lnTo>
                          <a:pt x="1028" y="530"/>
                        </a:lnTo>
                        <a:lnTo>
                          <a:pt x="1025" y="533"/>
                        </a:lnTo>
                        <a:lnTo>
                          <a:pt x="1022" y="533"/>
                        </a:lnTo>
                        <a:lnTo>
                          <a:pt x="1022" y="535"/>
                        </a:lnTo>
                        <a:lnTo>
                          <a:pt x="1018" y="540"/>
                        </a:lnTo>
                        <a:lnTo>
                          <a:pt x="1015" y="538"/>
                        </a:lnTo>
                        <a:lnTo>
                          <a:pt x="1012" y="540"/>
                        </a:lnTo>
                        <a:lnTo>
                          <a:pt x="1012" y="541"/>
                        </a:lnTo>
                        <a:lnTo>
                          <a:pt x="1007" y="541"/>
                        </a:lnTo>
                        <a:lnTo>
                          <a:pt x="1003" y="545"/>
                        </a:lnTo>
                        <a:lnTo>
                          <a:pt x="997" y="545"/>
                        </a:lnTo>
                        <a:lnTo>
                          <a:pt x="995" y="546"/>
                        </a:lnTo>
                        <a:lnTo>
                          <a:pt x="990" y="546"/>
                        </a:lnTo>
                        <a:lnTo>
                          <a:pt x="989" y="550"/>
                        </a:lnTo>
                        <a:lnTo>
                          <a:pt x="984" y="550"/>
                        </a:lnTo>
                        <a:lnTo>
                          <a:pt x="982" y="550"/>
                        </a:lnTo>
                        <a:lnTo>
                          <a:pt x="984" y="551"/>
                        </a:lnTo>
                        <a:lnTo>
                          <a:pt x="984" y="555"/>
                        </a:lnTo>
                        <a:lnTo>
                          <a:pt x="980" y="560"/>
                        </a:lnTo>
                        <a:lnTo>
                          <a:pt x="979" y="560"/>
                        </a:lnTo>
                        <a:lnTo>
                          <a:pt x="975" y="563"/>
                        </a:lnTo>
                        <a:lnTo>
                          <a:pt x="972" y="563"/>
                        </a:lnTo>
                        <a:lnTo>
                          <a:pt x="967" y="570"/>
                        </a:lnTo>
                        <a:lnTo>
                          <a:pt x="964" y="576"/>
                        </a:lnTo>
                        <a:lnTo>
                          <a:pt x="964" y="583"/>
                        </a:lnTo>
                        <a:lnTo>
                          <a:pt x="964" y="596"/>
                        </a:lnTo>
                        <a:lnTo>
                          <a:pt x="964" y="603"/>
                        </a:lnTo>
                        <a:lnTo>
                          <a:pt x="962" y="613"/>
                        </a:lnTo>
                        <a:lnTo>
                          <a:pt x="965" y="618"/>
                        </a:lnTo>
                        <a:lnTo>
                          <a:pt x="965" y="628"/>
                        </a:lnTo>
                        <a:lnTo>
                          <a:pt x="969" y="633"/>
                        </a:lnTo>
                        <a:lnTo>
                          <a:pt x="970" y="643"/>
                        </a:lnTo>
                        <a:lnTo>
                          <a:pt x="974" y="646"/>
                        </a:lnTo>
                        <a:lnTo>
                          <a:pt x="975" y="651"/>
                        </a:lnTo>
                        <a:lnTo>
                          <a:pt x="974" y="656"/>
                        </a:lnTo>
                        <a:lnTo>
                          <a:pt x="972" y="663"/>
                        </a:lnTo>
                        <a:lnTo>
                          <a:pt x="974" y="664"/>
                        </a:lnTo>
                        <a:lnTo>
                          <a:pt x="977" y="678"/>
                        </a:lnTo>
                        <a:lnTo>
                          <a:pt x="982" y="681"/>
                        </a:lnTo>
                        <a:lnTo>
                          <a:pt x="984" y="688"/>
                        </a:lnTo>
                        <a:lnTo>
                          <a:pt x="980" y="689"/>
                        </a:lnTo>
                        <a:lnTo>
                          <a:pt x="982" y="691"/>
                        </a:lnTo>
                        <a:lnTo>
                          <a:pt x="980" y="699"/>
                        </a:lnTo>
                        <a:lnTo>
                          <a:pt x="980" y="701"/>
                        </a:lnTo>
                        <a:lnTo>
                          <a:pt x="980" y="706"/>
                        </a:lnTo>
                        <a:lnTo>
                          <a:pt x="975" y="713"/>
                        </a:lnTo>
                        <a:lnTo>
                          <a:pt x="974" y="718"/>
                        </a:lnTo>
                        <a:lnTo>
                          <a:pt x="970" y="723"/>
                        </a:lnTo>
                        <a:lnTo>
                          <a:pt x="970" y="728"/>
                        </a:lnTo>
                        <a:lnTo>
                          <a:pt x="967" y="729"/>
                        </a:lnTo>
                        <a:lnTo>
                          <a:pt x="962" y="731"/>
                        </a:lnTo>
                        <a:lnTo>
                          <a:pt x="957" y="729"/>
                        </a:lnTo>
                        <a:lnTo>
                          <a:pt x="955" y="726"/>
                        </a:lnTo>
                        <a:lnTo>
                          <a:pt x="950" y="726"/>
                        </a:lnTo>
                        <a:lnTo>
                          <a:pt x="952" y="724"/>
                        </a:lnTo>
                        <a:lnTo>
                          <a:pt x="947" y="719"/>
                        </a:lnTo>
                        <a:lnTo>
                          <a:pt x="947" y="716"/>
                        </a:lnTo>
                        <a:lnTo>
                          <a:pt x="945" y="713"/>
                        </a:lnTo>
                        <a:lnTo>
                          <a:pt x="942" y="713"/>
                        </a:lnTo>
                        <a:lnTo>
                          <a:pt x="940" y="711"/>
                        </a:lnTo>
                        <a:lnTo>
                          <a:pt x="940" y="706"/>
                        </a:lnTo>
                        <a:lnTo>
                          <a:pt x="939" y="701"/>
                        </a:lnTo>
                        <a:lnTo>
                          <a:pt x="934" y="698"/>
                        </a:lnTo>
                        <a:lnTo>
                          <a:pt x="932" y="694"/>
                        </a:lnTo>
                        <a:lnTo>
                          <a:pt x="935" y="693"/>
                        </a:lnTo>
                        <a:lnTo>
                          <a:pt x="935" y="689"/>
                        </a:lnTo>
                        <a:lnTo>
                          <a:pt x="939" y="686"/>
                        </a:lnTo>
                        <a:lnTo>
                          <a:pt x="935" y="688"/>
                        </a:lnTo>
                        <a:lnTo>
                          <a:pt x="932" y="686"/>
                        </a:lnTo>
                        <a:lnTo>
                          <a:pt x="932" y="688"/>
                        </a:lnTo>
                        <a:lnTo>
                          <a:pt x="930" y="689"/>
                        </a:lnTo>
                        <a:lnTo>
                          <a:pt x="930" y="686"/>
                        </a:lnTo>
                        <a:lnTo>
                          <a:pt x="929" y="686"/>
                        </a:lnTo>
                        <a:lnTo>
                          <a:pt x="927" y="684"/>
                        </a:lnTo>
                        <a:lnTo>
                          <a:pt x="924" y="681"/>
                        </a:lnTo>
                        <a:lnTo>
                          <a:pt x="924" y="676"/>
                        </a:lnTo>
                        <a:lnTo>
                          <a:pt x="922" y="674"/>
                        </a:lnTo>
                        <a:lnTo>
                          <a:pt x="929" y="666"/>
                        </a:lnTo>
                        <a:lnTo>
                          <a:pt x="929" y="663"/>
                        </a:lnTo>
                        <a:lnTo>
                          <a:pt x="925" y="661"/>
                        </a:lnTo>
                        <a:lnTo>
                          <a:pt x="922" y="663"/>
                        </a:lnTo>
                        <a:lnTo>
                          <a:pt x="924" y="664"/>
                        </a:lnTo>
                        <a:lnTo>
                          <a:pt x="920" y="668"/>
                        </a:lnTo>
                        <a:lnTo>
                          <a:pt x="919" y="668"/>
                        </a:lnTo>
                        <a:lnTo>
                          <a:pt x="917" y="664"/>
                        </a:lnTo>
                        <a:lnTo>
                          <a:pt x="917" y="661"/>
                        </a:lnTo>
                        <a:lnTo>
                          <a:pt x="922" y="653"/>
                        </a:lnTo>
                        <a:lnTo>
                          <a:pt x="925" y="643"/>
                        </a:lnTo>
                        <a:lnTo>
                          <a:pt x="925" y="638"/>
                        </a:lnTo>
                        <a:lnTo>
                          <a:pt x="922" y="633"/>
                        </a:lnTo>
                        <a:lnTo>
                          <a:pt x="919" y="631"/>
                        </a:lnTo>
                        <a:lnTo>
                          <a:pt x="915" y="628"/>
                        </a:lnTo>
                        <a:lnTo>
                          <a:pt x="917" y="626"/>
                        </a:lnTo>
                        <a:lnTo>
                          <a:pt x="914" y="626"/>
                        </a:lnTo>
                        <a:lnTo>
                          <a:pt x="910" y="625"/>
                        </a:lnTo>
                        <a:lnTo>
                          <a:pt x="910" y="620"/>
                        </a:lnTo>
                        <a:lnTo>
                          <a:pt x="909" y="620"/>
                        </a:lnTo>
                        <a:lnTo>
                          <a:pt x="905" y="618"/>
                        </a:lnTo>
                        <a:lnTo>
                          <a:pt x="904" y="610"/>
                        </a:lnTo>
                        <a:lnTo>
                          <a:pt x="899" y="608"/>
                        </a:lnTo>
                        <a:lnTo>
                          <a:pt x="895" y="606"/>
                        </a:lnTo>
                        <a:lnTo>
                          <a:pt x="891" y="606"/>
                        </a:lnTo>
                        <a:lnTo>
                          <a:pt x="887" y="610"/>
                        </a:lnTo>
                        <a:lnTo>
                          <a:pt x="887" y="610"/>
                        </a:lnTo>
                        <a:lnTo>
                          <a:pt x="886" y="611"/>
                        </a:lnTo>
                        <a:lnTo>
                          <a:pt x="884" y="610"/>
                        </a:lnTo>
                        <a:lnTo>
                          <a:pt x="877" y="616"/>
                        </a:lnTo>
                        <a:lnTo>
                          <a:pt x="874" y="616"/>
                        </a:lnTo>
                        <a:lnTo>
                          <a:pt x="866" y="618"/>
                        </a:lnTo>
                        <a:lnTo>
                          <a:pt x="866" y="616"/>
                        </a:lnTo>
                        <a:lnTo>
                          <a:pt x="866" y="615"/>
                        </a:lnTo>
                        <a:lnTo>
                          <a:pt x="867" y="615"/>
                        </a:lnTo>
                        <a:lnTo>
                          <a:pt x="867" y="615"/>
                        </a:lnTo>
                        <a:lnTo>
                          <a:pt x="867" y="613"/>
                        </a:lnTo>
                        <a:lnTo>
                          <a:pt x="864" y="610"/>
                        </a:lnTo>
                        <a:lnTo>
                          <a:pt x="859" y="606"/>
                        </a:lnTo>
                        <a:lnTo>
                          <a:pt x="859" y="606"/>
                        </a:lnTo>
                        <a:lnTo>
                          <a:pt x="862" y="608"/>
                        </a:lnTo>
                        <a:lnTo>
                          <a:pt x="862" y="606"/>
                        </a:lnTo>
                        <a:lnTo>
                          <a:pt x="859" y="603"/>
                        </a:lnTo>
                        <a:lnTo>
                          <a:pt x="857" y="601"/>
                        </a:lnTo>
                        <a:lnTo>
                          <a:pt x="856" y="600"/>
                        </a:lnTo>
                        <a:lnTo>
                          <a:pt x="854" y="603"/>
                        </a:lnTo>
                        <a:lnTo>
                          <a:pt x="857" y="605"/>
                        </a:lnTo>
                        <a:lnTo>
                          <a:pt x="854" y="603"/>
                        </a:lnTo>
                        <a:lnTo>
                          <a:pt x="849" y="600"/>
                        </a:lnTo>
                        <a:lnTo>
                          <a:pt x="844" y="600"/>
                        </a:lnTo>
                        <a:lnTo>
                          <a:pt x="837" y="600"/>
                        </a:lnTo>
                        <a:lnTo>
                          <a:pt x="837" y="598"/>
                        </a:lnTo>
                        <a:lnTo>
                          <a:pt x="844" y="598"/>
                        </a:lnTo>
                        <a:lnTo>
                          <a:pt x="847" y="598"/>
                        </a:lnTo>
                        <a:lnTo>
                          <a:pt x="846" y="596"/>
                        </a:lnTo>
                        <a:lnTo>
                          <a:pt x="841" y="596"/>
                        </a:lnTo>
                        <a:lnTo>
                          <a:pt x="836" y="600"/>
                        </a:lnTo>
                        <a:lnTo>
                          <a:pt x="832" y="598"/>
                        </a:lnTo>
                        <a:lnTo>
                          <a:pt x="826" y="600"/>
                        </a:lnTo>
                        <a:lnTo>
                          <a:pt x="822" y="598"/>
                        </a:lnTo>
                        <a:lnTo>
                          <a:pt x="819" y="600"/>
                        </a:lnTo>
                        <a:lnTo>
                          <a:pt x="812" y="598"/>
                        </a:lnTo>
                        <a:lnTo>
                          <a:pt x="809" y="600"/>
                        </a:lnTo>
                        <a:lnTo>
                          <a:pt x="804" y="596"/>
                        </a:lnTo>
                        <a:lnTo>
                          <a:pt x="804" y="595"/>
                        </a:lnTo>
                        <a:lnTo>
                          <a:pt x="804" y="591"/>
                        </a:lnTo>
                        <a:lnTo>
                          <a:pt x="801" y="591"/>
                        </a:lnTo>
                        <a:lnTo>
                          <a:pt x="799" y="595"/>
                        </a:lnTo>
                        <a:lnTo>
                          <a:pt x="797" y="598"/>
                        </a:lnTo>
                        <a:lnTo>
                          <a:pt x="794" y="598"/>
                        </a:lnTo>
                        <a:lnTo>
                          <a:pt x="791" y="598"/>
                        </a:lnTo>
                        <a:lnTo>
                          <a:pt x="786" y="598"/>
                        </a:lnTo>
                        <a:lnTo>
                          <a:pt x="771" y="600"/>
                        </a:lnTo>
                        <a:lnTo>
                          <a:pt x="768" y="603"/>
                        </a:lnTo>
                        <a:lnTo>
                          <a:pt x="759" y="606"/>
                        </a:lnTo>
                        <a:lnTo>
                          <a:pt x="754" y="610"/>
                        </a:lnTo>
                        <a:lnTo>
                          <a:pt x="754" y="613"/>
                        </a:lnTo>
                        <a:lnTo>
                          <a:pt x="758" y="611"/>
                        </a:lnTo>
                        <a:lnTo>
                          <a:pt x="761" y="610"/>
                        </a:lnTo>
                        <a:lnTo>
                          <a:pt x="763" y="610"/>
                        </a:lnTo>
                        <a:lnTo>
                          <a:pt x="764" y="611"/>
                        </a:lnTo>
                        <a:lnTo>
                          <a:pt x="768" y="613"/>
                        </a:lnTo>
                        <a:lnTo>
                          <a:pt x="766" y="615"/>
                        </a:lnTo>
                        <a:lnTo>
                          <a:pt x="759" y="618"/>
                        </a:lnTo>
                        <a:lnTo>
                          <a:pt x="759" y="621"/>
                        </a:lnTo>
                        <a:lnTo>
                          <a:pt x="761" y="625"/>
                        </a:lnTo>
                        <a:lnTo>
                          <a:pt x="768" y="626"/>
                        </a:lnTo>
                        <a:lnTo>
                          <a:pt x="774" y="631"/>
                        </a:lnTo>
                        <a:lnTo>
                          <a:pt x="773" y="633"/>
                        </a:lnTo>
                        <a:lnTo>
                          <a:pt x="769" y="633"/>
                        </a:lnTo>
                        <a:lnTo>
                          <a:pt x="768" y="636"/>
                        </a:lnTo>
                        <a:lnTo>
                          <a:pt x="768" y="631"/>
                        </a:lnTo>
                        <a:lnTo>
                          <a:pt x="766" y="630"/>
                        </a:lnTo>
                        <a:lnTo>
                          <a:pt x="763" y="631"/>
                        </a:lnTo>
                        <a:lnTo>
                          <a:pt x="761" y="628"/>
                        </a:lnTo>
                        <a:lnTo>
                          <a:pt x="756" y="626"/>
                        </a:lnTo>
                        <a:lnTo>
                          <a:pt x="753" y="621"/>
                        </a:lnTo>
                        <a:lnTo>
                          <a:pt x="749" y="621"/>
                        </a:lnTo>
                        <a:lnTo>
                          <a:pt x="751" y="626"/>
                        </a:lnTo>
                        <a:lnTo>
                          <a:pt x="751" y="631"/>
                        </a:lnTo>
                        <a:lnTo>
                          <a:pt x="748" y="633"/>
                        </a:lnTo>
                        <a:lnTo>
                          <a:pt x="746" y="630"/>
                        </a:lnTo>
                        <a:lnTo>
                          <a:pt x="741" y="628"/>
                        </a:lnTo>
                        <a:lnTo>
                          <a:pt x="738" y="630"/>
                        </a:lnTo>
                        <a:lnTo>
                          <a:pt x="734" y="633"/>
                        </a:lnTo>
                        <a:lnTo>
                          <a:pt x="729" y="631"/>
                        </a:lnTo>
                        <a:lnTo>
                          <a:pt x="726" y="630"/>
                        </a:lnTo>
                        <a:lnTo>
                          <a:pt x="721" y="630"/>
                        </a:lnTo>
                        <a:lnTo>
                          <a:pt x="719" y="628"/>
                        </a:lnTo>
                        <a:lnTo>
                          <a:pt x="721" y="626"/>
                        </a:lnTo>
                        <a:lnTo>
                          <a:pt x="724" y="625"/>
                        </a:lnTo>
                        <a:lnTo>
                          <a:pt x="723" y="621"/>
                        </a:lnTo>
                        <a:lnTo>
                          <a:pt x="718" y="623"/>
                        </a:lnTo>
                        <a:lnTo>
                          <a:pt x="716" y="621"/>
                        </a:lnTo>
                        <a:lnTo>
                          <a:pt x="716" y="618"/>
                        </a:lnTo>
                        <a:lnTo>
                          <a:pt x="714" y="616"/>
                        </a:lnTo>
                        <a:lnTo>
                          <a:pt x="711" y="616"/>
                        </a:lnTo>
                        <a:lnTo>
                          <a:pt x="709" y="616"/>
                        </a:lnTo>
                        <a:lnTo>
                          <a:pt x="711" y="613"/>
                        </a:lnTo>
                        <a:lnTo>
                          <a:pt x="708" y="613"/>
                        </a:lnTo>
                        <a:lnTo>
                          <a:pt x="703" y="615"/>
                        </a:lnTo>
                        <a:lnTo>
                          <a:pt x="703" y="616"/>
                        </a:lnTo>
                        <a:lnTo>
                          <a:pt x="703" y="620"/>
                        </a:lnTo>
                        <a:lnTo>
                          <a:pt x="699" y="620"/>
                        </a:lnTo>
                        <a:lnTo>
                          <a:pt x="685" y="618"/>
                        </a:lnTo>
                        <a:lnTo>
                          <a:pt x="683" y="616"/>
                        </a:lnTo>
                        <a:lnTo>
                          <a:pt x="671" y="613"/>
                        </a:lnTo>
                        <a:lnTo>
                          <a:pt x="666" y="613"/>
                        </a:lnTo>
                        <a:lnTo>
                          <a:pt x="658" y="615"/>
                        </a:lnTo>
                        <a:lnTo>
                          <a:pt x="655" y="618"/>
                        </a:lnTo>
                        <a:lnTo>
                          <a:pt x="651" y="618"/>
                        </a:lnTo>
                        <a:lnTo>
                          <a:pt x="646" y="623"/>
                        </a:lnTo>
                        <a:lnTo>
                          <a:pt x="641" y="623"/>
                        </a:lnTo>
                        <a:lnTo>
                          <a:pt x="643" y="620"/>
                        </a:lnTo>
                        <a:lnTo>
                          <a:pt x="641" y="616"/>
                        </a:lnTo>
                        <a:lnTo>
                          <a:pt x="643" y="613"/>
                        </a:lnTo>
                        <a:lnTo>
                          <a:pt x="641" y="608"/>
                        </a:lnTo>
                        <a:lnTo>
                          <a:pt x="641" y="611"/>
                        </a:lnTo>
                        <a:lnTo>
                          <a:pt x="636" y="615"/>
                        </a:lnTo>
                        <a:lnTo>
                          <a:pt x="635" y="615"/>
                        </a:lnTo>
                        <a:lnTo>
                          <a:pt x="631" y="611"/>
                        </a:lnTo>
                        <a:lnTo>
                          <a:pt x="635" y="618"/>
                        </a:lnTo>
                        <a:lnTo>
                          <a:pt x="635" y="623"/>
                        </a:lnTo>
                        <a:lnTo>
                          <a:pt x="636" y="626"/>
                        </a:lnTo>
                        <a:lnTo>
                          <a:pt x="633" y="630"/>
                        </a:lnTo>
                        <a:lnTo>
                          <a:pt x="630" y="630"/>
                        </a:lnTo>
                        <a:lnTo>
                          <a:pt x="621" y="634"/>
                        </a:lnTo>
                        <a:lnTo>
                          <a:pt x="611" y="639"/>
                        </a:lnTo>
                        <a:lnTo>
                          <a:pt x="608" y="639"/>
                        </a:lnTo>
                        <a:lnTo>
                          <a:pt x="603" y="643"/>
                        </a:lnTo>
                        <a:lnTo>
                          <a:pt x="600" y="643"/>
                        </a:lnTo>
                        <a:lnTo>
                          <a:pt x="605" y="639"/>
                        </a:lnTo>
                        <a:lnTo>
                          <a:pt x="601" y="638"/>
                        </a:lnTo>
                        <a:lnTo>
                          <a:pt x="598" y="639"/>
                        </a:lnTo>
                        <a:lnTo>
                          <a:pt x="596" y="638"/>
                        </a:lnTo>
                        <a:lnTo>
                          <a:pt x="592" y="639"/>
                        </a:lnTo>
                        <a:lnTo>
                          <a:pt x="595" y="643"/>
                        </a:lnTo>
                        <a:lnTo>
                          <a:pt x="590" y="644"/>
                        </a:lnTo>
                        <a:lnTo>
                          <a:pt x="587" y="643"/>
                        </a:lnTo>
                        <a:lnTo>
                          <a:pt x="588" y="648"/>
                        </a:lnTo>
                        <a:lnTo>
                          <a:pt x="583" y="649"/>
                        </a:lnTo>
                        <a:lnTo>
                          <a:pt x="582" y="648"/>
                        </a:lnTo>
                        <a:lnTo>
                          <a:pt x="577" y="653"/>
                        </a:lnTo>
                        <a:lnTo>
                          <a:pt x="580" y="656"/>
                        </a:lnTo>
                        <a:lnTo>
                          <a:pt x="575" y="659"/>
                        </a:lnTo>
                        <a:lnTo>
                          <a:pt x="572" y="661"/>
                        </a:lnTo>
                        <a:lnTo>
                          <a:pt x="573" y="669"/>
                        </a:lnTo>
                        <a:lnTo>
                          <a:pt x="570" y="673"/>
                        </a:lnTo>
                        <a:lnTo>
                          <a:pt x="567" y="679"/>
                        </a:lnTo>
                        <a:lnTo>
                          <a:pt x="565" y="684"/>
                        </a:lnTo>
                        <a:lnTo>
                          <a:pt x="567" y="688"/>
                        </a:lnTo>
                        <a:lnTo>
                          <a:pt x="567" y="698"/>
                        </a:lnTo>
                        <a:lnTo>
                          <a:pt x="567" y="701"/>
                        </a:lnTo>
                        <a:lnTo>
                          <a:pt x="565" y="706"/>
                        </a:lnTo>
                        <a:lnTo>
                          <a:pt x="563" y="713"/>
                        </a:lnTo>
                        <a:lnTo>
                          <a:pt x="562" y="711"/>
                        </a:lnTo>
                        <a:lnTo>
                          <a:pt x="560" y="708"/>
                        </a:lnTo>
                        <a:lnTo>
                          <a:pt x="555" y="708"/>
                        </a:lnTo>
                        <a:lnTo>
                          <a:pt x="550" y="706"/>
                        </a:lnTo>
                        <a:lnTo>
                          <a:pt x="542" y="703"/>
                        </a:lnTo>
                        <a:lnTo>
                          <a:pt x="538" y="699"/>
                        </a:lnTo>
                        <a:lnTo>
                          <a:pt x="535" y="698"/>
                        </a:lnTo>
                        <a:lnTo>
                          <a:pt x="532" y="698"/>
                        </a:lnTo>
                        <a:lnTo>
                          <a:pt x="530" y="698"/>
                        </a:lnTo>
                        <a:lnTo>
                          <a:pt x="528" y="696"/>
                        </a:lnTo>
                        <a:lnTo>
                          <a:pt x="527" y="694"/>
                        </a:lnTo>
                        <a:lnTo>
                          <a:pt x="527" y="689"/>
                        </a:lnTo>
                        <a:lnTo>
                          <a:pt x="522" y="676"/>
                        </a:lnTo>
                        <a:lnTo>
                          <a:pt x="522" y="674"/>
                        </a:lnTo>
                        <a:lnTo>
                          <a:pt x="522" y="674"/>
                        </a:lnTo>
                        <a:lnTo>
                          <a:pt x="522" y="669"/>
                        </a:lnTo>
                        <a:lnTo>
                          <a:pt x="523" y="666"/>
                        </a:lnTo>
                        <a:lnTo>
                          <a:pt x="518" y="661"/>
                        </a:lnTo>
                        <a:lnTo>
                          <a:pt x="517" y="658"/>
                        </a:lnTo>
                        <a:lnTo>
                          <a:pt x="515" y="654"/>
                        </a:lnTo>
                        <a:lnTo>
                          <a:pt x="512" y="653"/>
                        </a:lnTo>
                        <a:lnTo>
                          <a:pt x="510" y="649"/>
                        </a:lnTo>
                        <a:lnTo>
                          <a:pt x="508" y="648"/>
                        </a:lnTo>
                        <a:lnTo>
                          <a:pt x="505" y="639"/>
                        </a:lnTo>
                        <a:lnTo>
                          <a:pt x="503" y="638"/>
                        </a:lnTo>
                        <a:lnTo>
                          <a:pt x="502" y="636"/>
                        </a:lnTo>
                        <a:lnTo>
                          <a:pt x="502" y="631"/>
                        </a:lnTo>
                        <a:lnTo>
                          <a:pt x="500" y="628"/>
                        </a:lnTo>
                        <a:lnTo>
                          <a:pt x="500" y="626"/>
                        </a:lnTo>
                        <a:lnTo>
                          <a:pt x="497" y="621"/>
                        </a:lnTo>
                        <a:lnTo>
                          <a:pt x="494" y="616"/>
                        </a:lnTo>
                        <a:lnTo>
                          <a:pt x="489" y="613"/>
                        </a:lnTo>
                        <a:lnTo>
                          <a:pt x="487" y="610"/>
                        </a:lnTo>
                        <a:lnTo>
                          <a:pt x="484" y="608"/>
                        </a:lnTo>
                        <a:lnTo>
                          <a:pt x="480" y="608"/>
                        </a:lnTo>
                        <a:lnTo>
                          <a:pt x="480" y="606"/>
                        </a:lnTo>
                        <a:lnTo>
                          <a:pt x="477" y="606"/>
                        </a:lnTo>
                        <a:lnTo>
                          <a:pt x="474" y="606"/>
                        </a:lnTo>
                        <a:lnTo>
                          <a:pt x="469" y="606"/>
                        </a:lnTo>
                        <a:lnTo>
                          <a:pt x="465" y="606"/>
                        </a:lnTo>
                        <a:lnTo>
                          <a:pt x="464" y="608"/>
                        </a:lnTo>
                        <a:lnTo>
                          <a:pt x="462" y="608"/>
                        </a:lnTo>
                        <a:lnTo>
                          <a:pt x="460" y="608"/>
                        </a:lnTo>
                        <a:lnTo>
                          <a:pt x="459" y="608"/>
                        </a:lnTo>
                        <a:lnTo>
                          <a:pt x="457" y="608"/>
                        </a:lnTo>
                        <a:lnTo>
                          <a:pt x="454" y="611"/>
                        </a:lnTo>
                        <a:lnTo>
                          <a:pt x="450" y="616"/>
                        </a:lnTo>
                        <a:lnTo>
                          <a:pt x="449" y="620"/>
                        </a:lnTo>
                        <a:lnTo>
                          <a:pt x="449" y="620"/>
                        </a:lnTo>
                        <a:lnTo>
                          <a:pt x="449" y="623"/>
                        </a:lnTo>
                        <a:lnTo>
                          <a:pt x="445" y="623"/>
                        </a:lnTo>
                        <a:lnTo>
                          <a:pt x="442" y="625"/>
                        </a:lnTo>
                        <a:lnTo>
                          <a:pt x="442" y="626"/>
                        </a:lnTo>
                        <a:lnTo>
                          <a:pt x="439" y="628"/>
                        </a:lnTo>
                        <a:lnTo>
                          <a:pt x="437" y="626"/>
                        </a:lnTo>
                        <a:lnTo>
                          <a:pt x="435" y="626"/>
                        </a:lnTo>
                        <a:lnTo>
                          <a:pt x="430" y="623"/>
                        </a:lnTo>
                        <a:lnTo>
                          <a:pt x="427" y="623"/>
                        </a:lnTo>
                        <a:lnTo>
                          <a:pt x="427" y="621"/>
                        </a:lnTo>
                        <a:lnTo>
                          <a:pt x="422" y="618"/>
                        </a:lnTo>
                        <a:lnTo>
                          <a:pt x="419" y="618"/>
                        </a:lnTo>
                        <a:lnTo>
                          <a:pt x="417" y="616"/>
                        </a:lnTo>
                        <a:lnTo>
                          <a:pt x="417" y="615"/>
                        </a:lnTo>
                        <a:lnTo>
                          <a:pt x="415" y="615"/>
                        </a:lnTo>
                        <a:lnTo>
                          <a:pt x="414" y="613"/>
                        </a:lnTo>
                        <a:lnTo>
                          <a:pt x="412" y="613"/>
                        </a:lnTo>
                        <a:lnTo>
                          <a:pt x="410" y="611"/>
                        </a:lnTo>
                        <a:lnTo>
                          <a:pt x="409" y="611"/>
                        </a:lnTo>
                        <a:lnTo>
                          <a:pt x="409" y="610"/>
                        </a:lnTo>
                        <a:lnTo>
                          <a:pt x="407" y="606"/>
                        </a:lnTo>
                        <a:lnTo>
                          <a:pt x="404" y="603"/>
                        </a:lnTo>
                        <a:lnTo>
                          <a:pt x="400" y="600"/>
                        </a:lnTo>
                        <a:lnTo>
                          <a:pt x="400" y="598"/>
                        </a:lnTo>
                        <a:lnTo>
                          <a:pt x="402" y="596"/>
                        </a:lnTo>
                        <a:lnTo>
                          <a:pt x="404" y="596"/>
                        </a:lnTo>
                        <a:lnTo>
                          <a:pt x="404" y="593"/>
                        </a:lnTo>
                        <a:lnTo>
                          <a:pt x="400" y="590"/>
                        </a:lnTo>
                        <a:lnTo>
                          <a:pt x="400" y="588"/>
                        </a:lnTo>
                        <a:lnTo>
                          <a:pt x="399" y="588"/>
                        </a:lnTo>
                        <a:lnTo>
                          <a:pt x="397" y="586"/>
                        </a:lnTo>
                        <a:lnTo>
                          <a:pt x="397" y="581"/>
                        </a:lnTo>
                        <a:lnTo>
                          <a:pt x="396" y="578"/>
                        </a:lnTo>
                        <a:lnTo>
                          <a:pt x="392" y="576"/>
                        </a:lnTo>
                        <a:lnTo>
                          <a:pt x="389" y="576"/>
                        </a:lnTo>
                        <a:lnTo>
                          <a:pt x="389" y="573"/>
                        </a:lnTo>
                        <a:lnTo>
                          <a:pt x="391" y="571"/>
                        </a:lnTo>
                        <a:lnTo>
                          <a:pt x="386" y="570"/>
                        </a:lnTo>
                        <a:lnTo>
                          <a:pt x="382" y="568"/>
                        </a:lnTo>
                        <a:lnTo>
                          <a:pt x="384" y="566"/>
                        </a:lnTo>
                        <a:lnTo>
                          <a:pt x="381" y="563"/>
                        </a:lnTo>
                        <a:lnTo>
                          <a:pt x="379" y="563"/>
                        </a:lnTo>
                        <a:lnTo>
                          <a:pt x="379" y="561"/>
                        </a:lnTo>
                        <a:lnTo>
                          <a:pt x="376" y="558"/>
                        </a:lnTo>
                        <a:lnTo>
                          <a:pt x="372" y="553"/>
                        </a:lnTo>
                        <a:lnTo>
                          <a:pt x="367" y="551"/>
                        </a:lnTo>
                        <a:lnTo>
                          <a:pt x="329" y="550"/>
                        </a:lnTo>
                        <a:lnTo>
                          <a:pt x="327" y="558"/>
                        </a:lnTo>
                        <a:lnTo>
                          <a:pt x="259" y="556"/>
                        </a:lnTo>
                        <a:lnTo>
                          <a:pt x="176" y="522"/>
                        </a:lnTo>
                        <a:lnTo>
                          <a:pt x="178" y="520"/>
                        </a:lnTo>
                        <a:lnTo>
                          <a:pt x="176" y="518"/>
                        </a:lnTo>
                        <a:lnTo>
                          <a:pt x="118" y="520"/>
                        </a:lnTo>
                        <a:lnTo>
                          <a:pt x="118" y="515"/>
                        </a:lnTo>
                        <a:lnTo>
                          <a:pt x="118" y="510"/>
                        </a:lnTo>
                        <a:lnTo>
                          <a:pt x="118" y="503"/>
                        </a:lnTo>
                        <a:lnTo>
                          <a:pt x="110" y="492"/>
                        </a:lnTo>
                        <a:lnTo>
                          <a:pt x="103" y="487"/>
                        </a:lnTo>
                        <a:lnTo>
                          <a:pt x="101" y="488"/>
                        </a:lnTo>
                        <a:lnTo>
                          <a:pt x="98" y="488"/>
                        </a:lnTo>
                        <a:lnTo>
                          <a:pt x="97" y="487"/>
                        </a:lnTo>
                        <a:lnTo>
                          <a:pt x="97" y="483"/>
                        </a:lnTo>
                        <a:lnTo>
                          <a:pt x="97" y="482"/>
                        </a:lnTo>
                        <a:lnTo>
                          <a:pt x="90" y="480"/>
                        </a:lnTo>
                        <a:lnTo>
                          <a:pt x="87" y="478"/>
                        </a:lnTo>
                        <a:lnTo>
                          <a:pt x="80" y="477"/>
                        </a:lnTo>
                        <a:lnTo>
                          <a:pt x="80" y="472"/>
                        </a:lnTo>
                        <a:lnTo>
                          <a:pt x="77" y="470"/>
                        </a:lnTo>
                        <a:lnTo>
                          <a:pt x="70" y="470"/>
                        </a:lnTo>
                        <a:lnTo>
                          <a:pt x="67" y="468"/>
                        </a:lnTo>
                        <a:lnTo>
                          <a:pt x="63" y="467"/>
                        </a:lnTo>
                        <a:lnTo>
                          <a:pt x="58" y="465"/>
                        </a:lnTo>
                        <a:lnTo>
                          <a:pt x="50" y="465"/>
                        </a:lnTo>
                        <a:lnTo>
                          <a:pt x="47" y="463"/>
                        </a:lnTo>
                        <a:lnTo>
                          <a:pt x="45" y="460"/>
                        </a:lnTo>
                        <a:lnTo>
                          <a:pt x="47" y="460"/>
                        </a:lnTo>
                        <a:lnTo>
                          <a:pt x="48" y="455"/>
                        </a:lnTo>
                        <a:lnTo>
                          <a:pt x="50" y="448"/>
                        </a:lnTo>
                        <a:lnTo>
                          <a:pt x="48" y="445"/>
                        </a:lnTo>
                        <a:lnTo>
                          <a:pt x="45" y="440"/>
                        </a:lnTo>
                        <a:lnTo>
                          <a:pt x="43" y="440"/>
                        </a:lnTo>
                        <a:lnTo>
                          <a:pt x="45" y="438"/>
                        </a:lnTo>
                        <a:lnTo>
                          <a:pt x="43" y="437"/>
                        </a:lnTo>
                        <a:lnTo>
                          <a:pt x="38" y="432"/>
                        </a:lnTo>
                        <a:lnTo>
                          <a:pt x="33" y="422"/>
                        </a:lnTo>
                        <a:lnTo>
                          <a:pt x="33" y="415"/>
                        </a:lnTo>
                        <a:lnTo>
                          <a:pt x="28" y="412"/>
                        </a:lnTo>
                        <a:lnTo>
                          <a:pt x="28" y="410"/>
                        </a:lnTo>
                        <a:lnTo>
                          <a:pt x="28" y="405"/>
                        </a:lnTo>
                        <a:lnTo>
                          <a:pt x="28" y="400"/>
                        </a:lnTo>
                        <a:lnTo>
                          <a:pt x="28" y="399"/>
                        </a:lnTo>
                        <a:lnTo>
                          <a:pt x="30" y="399"/>
                        </a:lnTo>
                        <a:lnTo>
                          <a:pt x="33" y="395"/>
                        </a:lnTo>
                        <a:lnTo>
                          <a:pt x="33" y="392"/>
                        </a:lnTo>
                        <a:lnTo>
                          <a:pt x="30" y="390"/>
                        </a:lnTo>
                        <a:lnTo>
                          <a:pt x="27" y="389"/>
                        </a:lnTo>
                        <a:lnTo>
                          <a:pt x="25" y="384"/>
                        </a:lnTo>
                        <a:lnTo>
                          <a:pt x="23" y="382"/>
                        </a:lnTo>
                        <a:lnTo>
                          <a:pt x="23" y="379"/>
                        </a:lnTo>
                        <a:lnTo>
                          <a:pt x="23" y="375"/>
                        </a:lnTo>
                        <a:lnTo>
                          <a:pt x="23" y="374"/>
                        </a:lnTo>
                        <a:lnTo>
                          <a:pt x="25" y="372"/>
                        </a:lnTo>
                        <a:lnTo>
                          <a:pt x="25" y="369"/>
                        </a:lnTo>
                        <a:lnTo>
                          <a:pt x="27" y="367"/>
                        </a:lnTo>
                        <a:lnTo>
                          <a:pt x="28" y="367"/>
                        </a:lnTo>
                        <a:lnTo>
                          <a:pt x="32" y="372"/>
                        </a:lnTo>
                        <a:lnTo>
                          <a:pt x="35" y="374"/>
                        </a:lnTo>
                        <a:lnTo>
                          <a:pt x="33" y="372"/>
                        </a:lnTo>
                        <a:lnTo>
                          <a:pt x="32" y="369"/>
                        </a:lnTo>
                        <a:lnTo>
                          <a:pt x="32" y="362"/>
                        </a:lnTo>
                        <a:lnTo>
                          <a:pt x="30" y="362"/>
                        </a:lnTo>
                        <a:lnTo>
                          <a:pt x="30" y="359"/>
                        </a:lnTo>
                        <a:lnTo>
                          <a:pt x="32" y="359"/>
                        </a:lnTo>
                        <a:lnTo>
                          <a:pt x="33" y="360"/>
                        </a:lnTo>
                        <a:lnTo>
                          <a:pt x="38" y="359"/>
                        </a:lnTo>
                        <a:lnTo>
                          <a:pt x="42" y="357"/>
                        </a:lnTo>
                        <a:lnTo>
                          <a:pt x="37" y="357"/>
                        </a:lnTo>
                        <a:lnTo>
                          <a:pt x="35" y="355"/>
                        </a:lnTo>
                        <a:lnTo>
                          <a:pt x="32" y="355"/>
                        </a:lnTo>
                        <a:lnTo>
                          <a:pt x="30" y="354"/>
                        </a:lnTo>
                        <a:lnTo>
                          <a:pt x="28" y="354"/>
                        </a:lnTo>
                        <a:lnTo>
                          <a:pt x="27" y="352"/>
                        </a:lnTo>
                        <a:lnTo>
                          <a:pt x="25" y="357"/>
                        </a:lnTo>
                        <a:lnTo>
                          <a:pt x="25" y="362"/>
                        </a:lnTo>
                        <a:lnTo>
                          <a:pt x="25" y="362"/>
                        </a:lnTo>
                        <a:lnTo>
                          <a:pt x="23" y="362"/>
                        </a:lnTo>
                        <a:lnTo>
                          <a:pt x="22" y="360"/>
                        </a:lnTo>
                        <a:lnTo>
                          <a:pt x="17" y="355"/>
                        </a:lnTo>
                        <a:lnTo>
                          <a:pt x="15" y="352"/>
                        </a:lnTo>
                        <a:lnTo>
                          <a:pt x="17" y="349"/>
                        </a:lnTo>
                        <a:lnTo>
                          <a:pt x="15" y="345"/>
                        </a:lnTo>
                        <a:lnTo>
                          <a:pt x="5" y="331"/>
                        </a:lnTo>
                        <a:lnTo>
                          <a:pt x="5" y="329"/>
                        </a:lnTo>
                        <a:lnTo>
                          <a:pt x="5" y="326"/>
                        </a:lnTo>
                        <a:lnTo>
                          <a:pt x="7" y="322"/>
                        </a:lnTo>
                        <a:lnTo>
                          <a:pt x="7" y="317"/>
                        </a:lnTo>
                        <a:lnTo>
                          <a:pt x="5" y="314"/>
                        </a:lnTo>
                        <a:lnTo>
                          <a:pt x="5" y="312"/>
                        </a:lnTo>
                        <a:lnTo>
                          <a:pt x="8" y="307"/>
                        </a:lnTo>
                        <a:lnTo>
                          <a:pt x="8" y="302"/>
                        </a:lnTo>
                        <a:lnTo>
                          <a:pt x="8" y="294"/>
                        </a:lnTo>
                        <a:lnTo>
                          <a:pt x="5" y="286"/>
                        </a:lnTo>
                        <a:lnTo>
                          <a:pt x="0" y="281"/>
                        </a:lnTo>
                        <a:lnTo>
                          <a:pt x="0" y="276"/>
                        </a:lnTo>
                        <a:lnTo>
                          <a:pt x="3" y="271"/>
                        </a:lnTo>
                        <a:lnTo>
                          <a:pt x="10" y="267"/>
                        </a:lnTo>
                        <a:lnTo>
                          <a:pt x="12" y="261"/>
                        </a:lnTo>
                        <a:lnTo>
                          <a:pt x="10" y="259"/>
                        </a:lnTo>
                        <a:lnTo>
                          <a:pt x="10" y="257"/>
                        </a:lnTo>
                        <a:lnTo>
                          <a:pt x="13" y="254"/>
                        </a:lnTo>
                        <a:lnTo>
                          <a:pt x="15" y="249"/>
                        </a:lnTo>
                        <a:lnTo>
                          <a:pt x="17" y="241"/>
                        </a:lnTo>
                        <a:lnTo>
                          <a:pt x="15" y="236"/>
                        </a:lnTo>
                        <a:lnTo>
                          <a:pt x="15" y="233"/>
                        </a:lnTo>
                        <a:lnTo>
                          <a:pt x="17" y="229"/>
                        </a:lnTo>
                        <a:lnTo>
                          <a:pt x="13" y="224"/>
                        </a:lnTo>
                        <a:lnTo>
                          <a:pt x="13" y="219"/>
                        </a:lnTo>
                        <a:lnTo>
                          <a:pt x="17" y="211"/>
                        </a:lnTo>
                        <a:lnTo>
                          <a:pt x="15" y="203"/>
                        </a:lnTo>
                        <a:lnTo>
                          <a:pt x="17" y="198"/>
                        </a:lnTo>
                        <a:lnTo>
                          <a:pt x="23" y="191"/>
                        </a:lnTo>
                        <a:lnTo>
                          <a:pt x="25" y="186"/>
                        </a:lnTo>
                        <a:lnTo>
                          <a:pt x="28" y="184"/>
                        </a:lnTo>
                        <a:lnTo>
                          <a:pt x="30" y="178"/>
                        </a:lnTo>
                        <a:lnTo>
                          <a:pt x="35" y="173"/>
                        </a:lnTo>
                        <a:lnTo>
                          <a:pt x="38" y="166"/>
                        </a:lnTo>
                        <a:lnTo>
                          <a:pt x="40" y="154"/>
                        </a:lnTo>
                        <a:lnTo>
                          <a:pt x="45" y="144"/>
                        </a:lnTo>
                        <a:lnTo>
                          <a:pt x="47" y="135"/>
                        </a:lnTo>
                        <a:lnTo>
                          <a:pt x="53" y="121"/>
                        </a:lnTo>
                        <a:lnTo>
                          <a:pt x="57" y="116"/>
                        </a:lnTo>
                        <a:lnTo>
                          <a:pt x="60" y="111"/>
                        </a:lnTo>
                        <a:lnTo>
                          <a:pt x="60" y="108"/>
                        </a:lnTo>
                        <a:lnTo>
                          <a:pt x="60" y="105"/>
                        </a:lnTo>
                        <a:lnTo>
                          <a:pt x="63" y="98"/>
                        </a:lnTo>
                        <a:lnTo>
                          <a:pt x="63" y="95"/>
                        </a:lnTo>
                        <a:lnTo>
                          <a:pt x="65" y="95"/>
                        </a:lnTo>
                        <a:lnTo>
                          <a:pt x="68" y="96"/>
                        </a:lnTo>
                        <a:lnTo>
                          <a:pt x="77" y="96"/>
                        </a:lnTo>
                        <a:lnTo>
                          <a:pt x="80" y="98"/>
                        </a:lnTo>
                        <a:lnTo>
                          <a:pt x="83" y="98"/>
                        </a:lnTo>
                        <a:lnTo>
                          <a:pt x="87" y="101"/>
                        </a:lnTo>
                        <a:lnTo>
                          <a:pt x="90" y="105"/>
                        </a:lnTo>
                        <a:lnTo>
                          <a:pt x="88" y="100"/>
                        </a:lnTo>
                        <a:lnTo>
                          <a:pt x="87" y="98"/>
                        </a:lnTo>
                        <a:lnTo>
                          <a:pt x="82" y="96"/>
                        </a:lnTo>
                        <a:lnTo>
                          <a:pt x="77" y="93"/>
                        </a:lnTo>
                        <a:lnTo>
                          <a:pt x="70" y="93"/>
                        </a:lnTo>
                        <a:lnTo>
                          <a:pt x="63" y="91"/>
                        </a:lnTo>
                        <a:lnTo>
                          <a:pt x="63" y="90"/>
                        </a:lnTo>
                        <a:lnTo>
                          <a:pt x="65" y="88"/>
                        </a:lnTo>
                        <a:lnTo>
                          <a:pt x="67" y="88"/>
                        </a:lnTo>
                        <a:lnTo>
                          <a:pt x="70" y="85"/>
                        </a:lnTo>
                        <a:lnTo>
                          <a:pt x="70" y="81"/>
                        </a:lnTo>
                        <a:lnTo>
                          <a:pt x="72" y="78"/>
                        </a:lnTo>
                        <a:lnTo>
                          <a:pt x="67" y="76"/>
                        </a:lnTo>
                        <a:lnTo>
                          <a:pt x="65" y="75"/>
                        </a:lnTo>
                        <a:lnTo>
                          <a:pt x="67" y="70"/>
                        </a:lnTo>
                        <a:lnTo>
                          <a:pt x="70" y="70"/>
                        </a:lnTo>
                        <a:lnTo>
                          <a:pt x="72" y="68"/>
                        </a:lnTo>
                        <a:lnTo>
                          <a:pt x="70" y="66"/>
                        </a:lnTo>
                        <a:lnTo>
                          <a:pt x="68" y="66"/>
                        </a:lnTo>
                        <a:lnTo>
                          <a:pt x="67" y="63"/>
                        </a:lnTo>
                        <a:lnTo>
                          <a:pt x="68" y="58"/>
                        </a:lnTo>
                        <a:lnTo>
                          <a:pt x="67" y="51"/>
                        </a:lnTo>
                        <a:lnTo>
                          <a:pt x="70" y="40"/>
                        </a:lnTo>
                        <a:lnTo>
                          <a:pt x="67" y="32"/>
                        </a:lnTo>
                        <a:lnTo>
                          <a:pt x="67" y="28"/>
                        </a:lnTo>
                        <a:lnTo>
                          <a:pt x="70" y="20"/>
                        </a:lnTo>
                        <a:lnTo>
                          <a:pt x="72" y="17"/>
                        </a:lnTo>
                        <a:lnTo>
                          <a:pt x="73" y="15"/>
                        </a:lnTo>
                        <a:lnTo>
                          <a:pt x="85" y="25"/>
                        </a:lnTo>
                        <a:lnTo>
                          <a:pt x="90" y="28"/>
                        </a:lnTo>
                        <a:lnTo>
                          <a:pt x="101" y="28"/>
                        </a:lnTo>
                        <a:lnTo>
                          <a:pt x="105" y="30"/>
                        </a:lnTo>
                        <a:lnTo>
                          <a:pt x="106" y="35"/>
                        </a:lnTo>
                        <a:lnTo>
                          <a:pt x="110" y="33"/>
                        </a:lnTo>
                        <a:lnTo>
                          <a:pt x="111" y="33"/>
                        </a:lnTo>
                        <a:lnTo>
                          <a:pt x="113" y="37"/>
                        </a:lnTo>
                        <a:lnTo>
                          <a:pt x="111" y="38"/>
                        </a:lnTo>
                        <a:lnTo>
                          <a:pt x="106" y="40"/>
                        </a:lnTo>
                        <a:lnTo>
                          <a:pt x="101" y="45"/>
                        </a:lnTo>
                        <a:lnTo>
                          <a:pt x="101" y="46"/>
                        </a:lnTo>
                        <a:lnTo>
                          <a:pt x="106" y="46"/>
                        </a:lnTo>
                        <a:lnTo>
                          <a:pt x="108" y="43"/>
                        </a:lnTo>
                        <a:lnTo>
                          <a:pt x="113" y="40"/>
                        </a:lnTo>
                        <a:lnTo>
                          <a:pt x="115" y="40"/>
                        </a:lnTo>
                        <a:lnTo>
                          <a:pt x="115" y="43"/>
                        </a:lnTo>
                        <a:lnTo>
                          <a:pt x="111" y="46"/>
                        </a:lnTo>
                        <a:lnTo>
                          <a:pt x="110" y="51"/>
                        </a:lnTo>
                        <a:lnTo>
                          <a:pt x="108" y="56"/>
                        </a:lnTo>
                        <a:lnTo>
                          <a:pt x="108" y="58"/>
                        </a:lnTo>
                        <a:lnTo>
                          <a:pt x="106" y="55"/>
                        </a:lnTo>
                        <a:lnTo>
                          <a:pt x="103" y="56"/>
                        </a:lnTo>
                        <a:lnTo>
                          <a:pt x="103" y="55"/>
                        </a:lnTo>
                        <a:lnTo>
                          <a:pt x="98" y="60"/>
                        </a:lnTo>
                        <a:lnTo>
                          <a:pt x="100" y="61"/>
                        </a:lnTo>
                        <a:lnTo>
                          <a:pt x="105" y="63"/>
                        </a:lnTo>
                        <a:lnTo>
                          <a:pt x="110" y="60"/>
                        </a:lnTo>
                        <a:lnTo>
                          <a:pt x="111" y="56"/>
                        </a:lnTo>
                        <a:lnTo>
                          <a:pt x="113" y="53"/>
                        </a:lnTo>
                        <a:lnTo>
                          <a:pt x="115" y="48"/>
                        </a:lnTo>
                        <a:lnTo>
                          <a:pt x="116" y="46"/>
                        </a:lnTo>
                        <a:lnTo>
                          <a:pt x="118" y="42"/>
                        </a:lnTo>
                        <a:lnTo>
                          <a:pt x="121" y="38"/>
                        </a:lnTo>
                        <a:lnTo>
                          <a:pt x="126" y="35"/>
                        </a:lnTo>
                        <a:lnTo>
                          <a:pt x="125" y="32"/>
                        </a:lnTo>
                        <a:lnTo>
                          <a:pt x="123" y="28"/>
                        </a:lnTo>
                        <a:lnTo>
                          <a:pt x="121" y="28"/>
                        </a:lnTo>
                        <a:lnTo>
                          <a:pt x="125" y="25"/>
                        </a:lnTo>
                        <a:lnTo>
                          <a:pt x="126" y="23"/>
                        </a:lnTo>
                        <a:lnTo>
                          <a:pt x="123" y="20"/>
                        </a:lnTo>
                        <a:lnTo>
                          <a:pt x="121" y="17"/>
                        </a:lnTo>
                        <a:lnTo>
                          <a:pt x="126" y="13"/>
                        </a:lnTo>
                        <a:lnTo>
                          <a:pt x="126" y="10"/>
                        </a:lnTo>
                        <a:lnTo>
                          <a:pt x="121" y="7"/>
                        </a:lnTo>
                        <a:lnTo>
                          <a:pt x="120" y="0"/>
                        </a:lnTo>
                        <a:lnTo>
                          <a:pt x="120" y="0"/>
                        </a:lnTo>
                        <a:close/>
                        <a:moveTo>
                          <a:pt x="1259" y="311"/>
                        </a:moveTo>
                        <a:lnTo>
                          <a:pt x="1259" y="312"/>
                        </a:lnTo>
                        <a:lnTo>
                          <a:pt x="1263" y="312"/>
                        </a:lnTo>
                        <a:lnTo>
                          <a:pt x="1264" y="311"/>
                        </a:lnTo>
                        <a:lnTo>
                          <a:pt x="1268" y="311"/>
                        </a:lnTo>
                        <a:lnTo>
                          <a:pt x="1266" y="309"/>
                        </a:lnTo>
                        <a:lnTo>
                          <a:pt x="1261" y="309"/>
                        </a:lnTo>
                        <a:lnTo>
                          <a:pt x="1261" y="309"/>
                        </a:lnTo>
                        <a:lnTo>
                          <a:pt x="1259" y="311"/>
                        </a:lnTo>
                        <a:lnTo>
                          <a:pt x="1259" y="311"/>
                        </a:lnTo>
                        <a:close/>
                        <a:moveTo>
                          <a:pt x="1185" y="329"/>
                        </a:moveTo>
                        <a:lnTo>
                          <a:pt x="1183" y="331"/>
                        </a:lnTo>
                        <a:lnTo>
                          <a:pt x="1186" y="329"/>
                        </a:lnTo>
                        <a:lnTo>
                          <a:pt x="1188" y="329"/>
                        </a:lnTo>
                        <a:lnTo>
                          <a:pt x="1193" y="327"/>
                        </a:lnTo>
                        <a:lnTo>
                          <a:pt x="1198" y="327"/>
                        </a:lnTo>
                        <a:lnTo>
                          <a:pt x="1206" y="326"/>
                        </a:lnTo>
                        <a:lnTo>
                          <a:pt x="1209" y="324"/>
                        </a:lnTo>
                        <a:lnTo>
                          <a:pt x="1218" y="324"/>
                        </a:lnTo>
                        <a:lnTo>
                          <a:pt x="1219" y="324"/>
                        </a:lnTo>
                        <a:lnTo>
                          <a:pt x="1221" y="324"/>
                        </a:lnTo>
                        <a:lnTo>
                          <a:pt x="1228" y="322"/>
                        </a:lnTo>
                        <a:lnTo>
                          <a:pt x="1229" y="319"/>
                        </a:lnTo>
                        <a:lnTo>
                          <a:pt x="1226" y="321"/>
                        </a:lnTo>
                        <a:lnTo>
                          <a:pt x="1223" y="319"/>
                        </a:lnTo>
                        <a:lnTo>
                          <a:pt x="1218" y="322"/>
                        </a:lnTo>
                        <a:lnTo>
                          <a:pt x="1221" y="319"/>
                        </a:lnTo>
                        <a:lnTo>
                          <a:pt x="1223" y="317"/>
                        </a:lnTo>
                        <a:lnTo>
                          <a:pt x="1223" y="316"/>
                        </a:lnTo>
                        <a:lnTo>
                          <a:pt x="1214" y="319"/>
                        </a:lnTo>
                        <a:lnTo>
                          <a:pt x="1208" y="319"/>
                        </a:lnTo>
                        <a:lnTo>
                          <a:pt x="1201" y="322"/>
                        </a:lnTo>
                        <a:lnTo>
                          <a:pt x="1196" y="321"/>
                        </a:lnTo>
                        <a:lnTo>
                          <a:pt x="1190" y="322"/>
                        </a:lnTo>
                        <a:lnTo>
                          <a:pt x="1185" y="324"/>
                        </a:lnTo>
                        <a:lnTo>
                          <a:pt x="1181" y="327"/>
                        </a:lnTo>
                        <a:lnTo>
                          <a:pt x="1181" y="329"/>
                        </a:lnTo>
                        <a:lnTo>
                          <a:pt x="1185" y="329"/>
                        </a:lnTo>
                        <a:lnTo>
                          <a:pt x="1185" y="329"/>
                        </a:lnTo>
                        <a:close/>
                        <a:moveTo>
                          <a:pt x="120" y="22"/>
                        </a:moveTo>
                        <a:lnTo>
                          <a:pt x="115" y="25"/>
                        </a:lnTo>
                        <a:lnTo>
                          <a:pt x="115" y="32"/>
                        </a:lnTo>
                        <a:lnTo>
                          <a:pt x="118" y="38"/>
                        </a:lnTo>
                        <a:lnTo>
                          <a:pt x="120" y="37"/>
                        </a:lnTo>
                        <a:lnTo>
                          <a:pt x="118" y="28"/>
                        </a:lnTo>
                        <a:lnTo>
                          <a:pt x="118" y="25"/>
                        </a:lnTo>
                        <a:lnTo>
                          <a:pt x="121" y="23"/>
                        </a:lnTo>
                        <a:lnTo>
                          <a:pt x="120" y="22"/>
                        </a:lnTo>
                        <a:lnTo>
                          <a:pt x="120" y="22"/>
                        </a:lnTo>
                        <a:close/>
                        <a:moveTo>
                          <a:pt x="580" y="661"/>
                        </a:moveTo>
                        <a:lnTo>
                          <a:pt x="582" y="659"/>
                        </a:lnTo>
                        <a:lnTo>
                          <a:pt x="587" y="653"/>
                        </a:lnTo>
                        <a:lnTo>
                          <a:pt x="590" y="649"/>
                        </a:lnTo>
                        <a:lnTo>
                          <a:pt x="585" y="653"/>
                        </a:lnTo>
                        <a:lnTo>
                          <a:pt x="580" y="661"/>
                        </a:lnTo>
                        <a:lnTo>
                          <a:pt x="580" y="661"/>
                        </a:lnTo>
                        <a:close/>
                        <a:moveTo>
                          <a:pt x="573" y="671"/>
                        </a:moveTo>
                        <a:lnTo>
                          <a:pt x="575" y="671"/>
                        </a:lnTo>
                        <a:lnTo>
                          <a:pt x="578" y="666"/>
                        </a:lnTo>
                        <a:lnTo>
                          <a:pt x="578" y="663"/>
                        </a:lnTo>
                        <a:lnTo>
                          <a:pt x="573" y="671"/>
                        </a:lnTo>
                        <a:lnTo>
                          <a:pt x="573" y="671"/>
                        </a:lnTo>
                        <a:close/>
                        <a:moveTo>
                          <a:pt x="572" y="701"/>
                        </a:moveTo>
                        <a:lnTo>
                          <a:pt x="570" y="694"/>
                        </a:lnTo>
                        <a:lnTo>
                          <a:pt x="570" y="684"/>
                        </a:lnTo>
                        <a:lnTo>
                          <a:pt x="573" y="674"/>
                        </a:lnTo>
                        <a:lnTo>
                          <a:pt x="568" y="684"/>
                        </a:lnTo>
                        <a:lnTo>
                          <a:pt x="568" y="694"/>
                        </a:lnTo>
                        <a:lnTo>
                          <a:pt x="568" y="694"/>
                        </a:lnTo>
                        <a:lnTo>
                          <a:pt x="572" y="701"/>
                        </a:lnTo>
                        <a:lnTo>
                          <a:pt x="572" y="701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11" name="Google Shape;3116;p98">
                    <a:extLst>
                      <a:ext uri="{FF2B5EF4-FFF2-40B4-BE49-F238E27FC236}">
                        <a16:creationId xmlns:a16="http://schemas.microsoft.com/office/drawing/2014/main" id="{DD743F66-EC42-F8CA-6156-3D1C2D040DD7}"/>
                      </a:ext>
                    </a:extLst>
                  </p:cNvPr>
                  <p:cNvSpPr/>
                  <p:nvPr/>
                </p:nvSpPr>
                <p:spPr>
                  <a:xfrm>
                    <a:off x="5266637" y="3082949"/>
                    <a:ext cx="86690" cy="3631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63" h="72" extrusionOk="0">
                        <a:moveTo>
                          <a:pt x="57" y="72"/>
                        </a:moveTo>
                        <a:lnTo>
                          <a:pt x="60" y="70"/>
                        </a:lnTo>
                        <a:lnTo>
                          <a:pt x="67" y="70"/>
                        </a:lnTo>
                        <a:lnTo>
                          <a:pt x="68" y="67"/>
                        </a:lnTo>
                        <a:lnTo>
                          <a:pt x="68" y="62"/>
                        </a:lnTo>
                        <a:lnTo>
                          <a:pt x="68" y="58"/>
                        </a:lnTo>
                        <a:lnTo>
                          <a:pt x="68" y="53"/>
                        </a:lnTo>
                        <a:lnTo>
                          <a:pt x="76" y="53"/>
                        </a:lnTo>
                        <a:lnTo>
                          <a:pt x="85" y="48"/>
                        </a:lnTo>
                        <a:lnTo>
                          <a:pt x="90" y="50"/>
                        </a:lnTo>
                        <a:lnTo>
                          <a:pt x="93" y="52"/>
                        </a:lnTo>
                        <a:lnTo>
                          <a:pt x="95" y="52"/>
                        </a:lnTo>
                        <a:lnTo>
                          <a:pt x="98" y="53"/>
                        </a:lnTo>
                        <a:lnTo>
                          <a:pt x="100" y="50"/>
                        </a:lnTo>
                        <a:lnTo>
                          <a:pt x="105" y="48"/>
                        </a:lnTo>
                        <a:lnTo>
                          <a:pt x="110" y="45"/>
                        </a:lnTo>
                        <a:lnTo>
                          <a:pt x="111" y="43"/>
                        </a:lnTo>
                        <a:lnTo>
                          <a:pt x="113" y="42"/>
                        </a:lnTo>
                        <a:lnTo>
                          <a:pt x="116" y="35"/>
                        </a:lnTo>
                        <a:lnTo>
                          <a:pt x="121" y="35"/>
                        </a:lnTo>
                        <a:lnTo>
                          <a:pt x="121" y="32"/>
                        </a:lnTo>
                        <a:lnTo>
                          <a:pt x="123" y="32"/>
                        </a:lnTo>
                        <a:lnTo>
                          <a:pt x="126" y="33"/>
                        </a:lnTo>
                        <a:lnTo>
                          <a:pt x="128" y="35"/>
                        </a:lnTo>
                        <a:lnTo>
                          <a:pt x="133" y="35"/>
                        </a:lnTo>
                        <a:lnTo>
                          <a:pt x="135" y="37"/>
                        </a:lnTo>
                        <a:lnTo>
                          <a:pt x="136" y="33"/>
                        </a:lnTo>
                        <a:lnTo>
                          <a:pt x="140" y="33"/>
                        </a:lnTo>
                        <a:lnTo>
                          <a:pt x="145" y="30"/>
                        </a:lnTo>
                        <a:lnTo>
                          <a:pt x="148" y="28"/>
                        </a:lnTo>
                        <a:lnTo>
                          <a:pt x="150" y="25"/>
                        </a:lnTo>
                        <a:lnTo>
                          <a:pt x="151" y="25"/>
                        </a:lnTo>
                        <a:lnTo>
                          <a:pt x="153" y="25"/>
                        </a:lnTo>
                        <a:lnTo>
                          <a:pt x="155" y="27"/>
                        </a:lnTo>
                        <a:lnTo>
                          <a:pt x="158" y="27"/>
                        </a:lnTo>
                        <a:lnTo>
                          <a:pt x="161" y="25"/>
                        </a:lnTo>
                        <a:lnTo>
                          <a:pt x="163" y="25"/>
                        </a:lnTo>
                        <a:lnTo>
                          <a:pt x="161" y="22"/>
                        </a:lnTo>
                        <a:lnTo>
                          <a:pt x="155" y="18"/>
                        </a:lnTo>
                        <a:lnTo>
                          <a:pt x="150" y="17"/>
                        </a:lnTo>
                        <a:lnTo>
                          <a:pt x="150" y="17"/>
                        </a:lnTo>
                        <a:lnTo>
                          <a:pt x="151" y="20"/>
                        </a:lnTo>
                        <a:lnTo>
                          <a:pt x="146" y="20"/>
                        </a:lnTo>
                        <a:lnTo>
                          <a:pt x="140" y="20"/>
                        </a:lnTo>
                        <a:lnTo>
                          <a:pt x="138" y="18"/>
                        </a:lnTo>
                        <a:lnTo>
                          <a:pt x="133" y="17"/>
                        </a:lnTo>
                        <a:lnTo>
                          <a:pt x="130" y="17"/>
                        </a:lnTo>
                        <a:lnTo>
                          <a:pt x="130" y="15"/>
                        </a:lnTo>
                        <a:lnTo>
                          <a:pt x="133" y="15"/>
                        </a:lnTo>
                        <a:lnTo>
                          <a:pt x="133" y="13"/>
                        </a:lnTo>
                        <a:lnTo>
                          <a:pt x="135" y="12"/>
                        </a:lnTo>
                        <a:lnTo>
                          <a:pt x="140" y="13"/>
                        </a:lnTo>
                        <a:lnTo>
                          <a:pt x="146" y="15"/>
                        </a:lnTo>
                        <a:lnTo>
                          <a:pt x="146" y="15"/>
                        </a:lnTo>
                        <a:lnTo>
                          <a:pt x="141" y="12"/>
                        </a:lnTo>
                        <a:lnTo>
                          <a:pt x="136" y="8"/>
                        </a:lnTo>
                        <a:lnTo>
                          <a:pt x="131" y="8"/>
                        </a:lnTo>
                        <a:lnTo>
                          <a:pt x="128" y="8"/>
                        </a:lnTo>
                        <a:lnTo>
                          <a:pt x="125" y="7"/>
                        </a:lnTo>
                        <a:lnTo>
                          <a:pt x="125" y="10"/>
                        </a:lnTo>
                        <a:lnTo>
                          <a:pt x="121" y="8"/>
                        </a:lnTo>
                        <a:lnTo>
                          <a:pt x="110" y="7"/>
                        </a:lnTo>
                        <a:lnTo>
                          <a:pt x="100" y="7"/>
                        </a:lnTo>
                        <a:lnTo>
                          <a:pt x="95" y="2"/>
                        </a:lnTo>
                        <a:lnTo>
                          <a:pt x="90" y="0"/>
                        </a:lnTo>
                        <a:lnTo>
                          <a:pt x="88" y="3"/>
                        </a:lnTo>
                        <a:lnTo>
                          <a:pt x="90" y="3"/>
                        </a:lnTo>
                        <a:lnTo>
                          <a:pt x="86" y="5"/>
                        </a:lnTo>
                        <a:lnTo>
                          <a:pt x="85" y="7"/>
                        </a:lnTo>
                        <a:lnTo>
                          <a:pt x="80" y="5"/>
                        </a:lnTo>
                        <a:lnTo>
                          <a:pt x="71" y="8"/>
                        </a:lnTo>
                        <a:lnTo>
                          <a:pt x="62" y="7"/>
                        </a:lnTo>
                        <a:lnTo>
                          <a:pt x="48" y="7"/>
                        </a:lnTo>
                        <a:lnTo>
                          <a:pt x="42" y="10"/>
                        </a:lnTo>
                        <a:lnTo>
                          <a:pt x="38" y="8"/>
                        </a:lnTo>
                        <a:lnTo>
                          <a:pt x="37" y="10"/>
                        </a:lnTo>
                        <a:lnTo>
                          <a:pt x="35" y="12"/>
                        </a:lnTo>
                        <a:lnTo>
                          <a:pt x="33" y="17"/>
                        </a:lnTo>
                        <a:lnTo>
                          <a:pt x="27" y="20"/>
                        </a:lnTo>
                        <a:lnTo>
                          <a:pt x="22" y="20"/>
                        </a:lnTo>
                        <a:lnTo>
                          <a:pt x="17" y="25"/>
                        </a:lnTo>
                        <a:lnTo>
                          <a:pt x="12" y="28"/>
                        </a:lnTo>
                        <a:lnTo>
                          <a:pt x="13" y="33"/>
                        </a:lnTo>
                        <a:lnTo>
                          <a:pt x="10" y="38"/>
                        </a:lnTo>
                        <a:lnTo>
                          <a:pt x="3" y="43"/>
                        </a:lnTo>
                        <a:lnTo>
                          <a:pt x="3" y="43"/>
                        </a:lnTo>
                        <a:lnTo>
                          <a:pt x="3" y="45"/>
                        </a:lnTo>
                        <a:lnTo>
                          <a:pt x="3" y="45"/>
                        </a:lnTo>
                        <a:lnTo>
                          <a:pt x="0" y="57"/>
                        </a:lnTo>
                        <a:lnTo>
                          <a:pt x="5" y="62"/>
                        </a:lnTo>
                        <a:lnTo>
                          <a:pt x="7" y="62"/>
                        </a:lnTo>
                        <a:lnTo>
                          <a:pt x="15" y="65"/>
                        </a:lnTo>
                        <a:lnTo>
                          <a:pt x="22" y="68"/>
                        </a:lnTo>
                        <a:lnTo>
                          <a:pt x="23" y="67"/>
                        </a:lnTo>
                        <a:lnTo>
                          <a:pt x="20" y="65"/>
                        </a:lnTo>
                        <a:lnTo>
                          <a:pt x="22" y="65"/>
                        </a:lnTo>
                        <a:lnTo>
                          <a:pt x="27" y="65"/>
                        </a:lnTo>
                        <a:lnTo>
                          <a:pt x="30" y="68"/>
                        </a:lnTo>
                        <a:lnTo>
                          <a:pt x="32" y="72"/>
                        </a:lnTo>
                        <a:lnTo>
                          <a:pt x="43" y="72"/>
                        </a:lnTo>
                        <a:lnTo>
                          <a:pt x="47" y="67"/>
                        </a:lnTo>
                        <a:lnTo>
                          <a:pt x="45" y="65"/>
                        </a:lnTo>
                        <a:lnTo>
                          <a:pt x="47" y="63"/>
                        </a:lnTo>
                        <a:lnTo>
                          <a:pt x="50" y="65"/>
                        </a:lnTo>
                        <a:lnTo>
                          <a:pt x="50" y="67"/>
                        </a:lnTo>
                        <a:lnTo>
                          <a:pt x="53" y="67"/>
                        </a:lnTo>
                        <a:lnTo>
                          <a:pt x="53" y="65"/>
                        </a:lnTo>
                        <a:lnTo>
                          <a:pt x="55" y="67"/>
                        </a:lnTo>
                        <a:lnTo>
                          <a:pt x="55" y="68"/>
                        </a:lnTo>
                        <a:lnTo>
                          <a:pt x="57" y="72"/>
                        </a:lnTo>
                        <a:lnTo>
                          <a:pt x="57" y="72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12" name="Google Shape;3117;p98">
                    <a:extLst>
                      <a:ext uri="{FF2B5EF4-FFF2-40B4-BE49-F238E27FC236}">
                        <a16:creationId xmlns:a16="http://schemas.microsoft.com/office/drawing/2014/main" id="{8014447C-2D96-215D-2EC5-15261FA26F32}"/>
                      </a:ext>
                    </a:extLst>
                  </p:cNvPr>
                  <p:cNvSpPr/>
                  <p:nvPr/>
                </p:nvSpPr>
                <p:spPr>
                  <a:xfrm>
                    <a:off x="5275199" y="3055971"/>
                    <a:ext cx="14983" cy="2905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" h="56" extrusionOk="0">
                        <a:moveTo>
                          <a:pt x="0" y="13"/>
                        </a:moveTo>
                        <a:lnTo>
                          <a:pt x="0" y="13"/>
                        </a:lnTo>
                        <a:lnTo>
                          <a:pt x="0" y="11"/>
                        </a:lnTo>
                        <a:lnTo>
                          <a:pt x="3" y="10"/>
                        </a:lnTo>
                        <a:lnTo>
                          <a:pt x="7" y="10"/>
                        </a:lnTo>
                        <a:lnTo>
                          <a:pt x="7" y="11"/>
                        </a:lnTo>
                        <a:lnTo>
                          <a:pt x="8" y="11"/>
                        </a:lnTo>
                        <a:lnTo>
                          <a:pt x="8" y="10"/>
                        </a:lnTo>
                        <a:lnTo>
                          <a:pt x="10" y="10"/>
                        </a:lnTo>
                        <a:lnTo>
                          <a:pt x="10" y="10"/>
                        </a:lnTo>
                        <a:lnTo>
                          <a:pt x="13" y="5"/>
                        </a:lnTo>
                        <a:lnTo>
                          <a:pt x="15" y="1"/>
                        </a:lnTo>
                        <a:lnTo>
                          <a:pt x="15" y="0"/>
                        </a:lnTo>
                        <a:lnTo>
                          <a:pt x="18" y="0"/>
                        </a:lnTo>
                        <a:lnTo>
                          <a:pt x="20" y="0"/>
                        </a:lnTo>
                        <a:lnTo>
                          <a:pt x="22" y="1"/>
                        </a:lnTo>
                        <a:lnTo>
                          <a:pt x="23" y="0"/>
                        </a:lnTo>
                        <a:lnTo>
                          <a:pt x="27" y="0"/>
                        </a:lnTo>
                        <a:lnTo>
                          <a:pt x="28" y="1"/>
                        </a:lnTo>
                        <a:lnTo>
                          <a:pt x="27" y="5"/>
                        </a:lnTo>
                        <a:lnTo>
                          <a:pt x="27" y="15"/>
                        </a:lnTo>
                        <a:lnTo>
                          <a:pt x="23" y="18"/>
                        </a:lnTo>
                        <a:lnTo>
                          <a:pt x="23" y="25"/>
                        </a:lnTo>
                        <a:lnTo>
                          <a:pt x="25" y="28"/>
                        </a:lnTo>
                        <a:lnTo>
                          <a:pt x="25" y="34"/>
                        </a:lnTo>
                        <a:lnTo>
                          <a:pt x="23" y="41"/>
                        </a:lnTo>
                        <a:lnTo>
                          <a:pt x="17" y="49"/>
                        </a:lnTo>
                        <a:lnTo>
                          <a:pt x="13" y="48"/>
                        </a:lnTo>
                        <a:lnTo>
                          <a:pt x="8" y="51"/>
                        </a:lnTo>
                        <a:lnTo>
                          <a:pt x="7" y="54"/>
                        </a:lnTo>
                        <a:lnTo>
                          <a:pt x="7" y="54"/>
                        </a:lnTo>
                        <a:lnTo>
                          <a:pt x="5" y="56"/>
                        </a:lnTo>
                        <a:lnTo>
                          <a:pt x="3" y="54"/>
                        </a:lnTo>
                        <a:lnTo>
                          <a:pt x="0" y="54"/>
                        </a:lnTo>
                        <a:lnTo>
                          <a:pt x="0" y="15"/>
                        </a:lnTo>
                        <a:lnTo>
                          <a:pt x="0" y="13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13" name="Google Shape;3118;p98">
                    <a:extLst>
                      <a:ext uri="{FF2B5EF4-FFF2-40B4-BE49-F238E27FC236}">
                        <a16:creationId xmlns:a16="http://schemas.microsoft.com/office/drawing/2014/main" id="{BBDDAA7B-6EE1-1CE2-1672-CE698BDE5239}"/>
                      </a:ext>
                    </a:extLst>
                  </p:cNvPr>
                  <p:cNvSpPr/>
                  <p:nvPr/>
                </p:nvSpPr>
                <p:spPr>
                  <a:xfrm>
                    <a:off x="5233460" y="3062197"/>
                    <a:ext cx="53512" cy="4980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9" h="95" extrusionOk="0">
                        <a:moveTo>
                          <a:pt x="48" y="95"/>
                        </a:moveTo>
                        <a:lnTo>
                          <a:pt x="49" y="93"/>
                        </a:lnTo>
                        <a:lnTo>
                          <a:pt x="49" y="90"/>
                        </a:lnTo>
                        <a:lnTo>
                          <a:pt x="54" y="86"/>
                        </a:lnTo>
                        <a:lnTo>
                          <a:pt x="61" y="85"/>
                        </a:lnTo>
                        <a:lnTo>
                          <a:pt x="64" y="83"/>
                        </a:lnTo>
                        <a:lnTo>
                          <a:pt x="64" y="81"/>
                        </a:lnTo>
                        <a:lnTo>
                          <a:pt x="71" y="76"/>
                        </a:lnTo>
                        <a:lnTo>
                          <a:pt x="74" y="71"/>
                        </a:lnTo>
                        <a:lnTo>
                          <a:pt x="73" y="66"/>
                        </a:lnTo>
                        <a:lnTo>
                          <a:pt x="78" y="63"/>
                        </a:lnTo>
                        <a:lnTo>
                          <a:pt x="83" y="58"/>
                        </a:lnTo>
                        <a:lnTo>
                          <a:pt x="88" y="58"/>
                        </a:lnTo>
                        <a:lnTo>
                          <a:pt x="94" y="55"/>
                        </a:lnTo>
                        <a:lnTo>
                          <a:pt x="96" y="50"/>
                        </a:lnTo>
                        <a:lnTo>
                          <a:pt x="98" y="48"/>
                        </a:lnTo>
                        <a:lnTo>
                          <a:pt x="99" y="46"/>
                        </a:lnTo>
                        <a:lnTo>
                          <a:pt x="98" y="45"/>
                        </a:lnTo>
                        <a:lnTo>
                          <a:pt x="93" y="45"/>
                        </a:lnTo>
                        <a:lnTo>
                          <a:pt x="91" y="46"/>
                        </a:lnTo>
                        <a:lnTo>
                          <a:pt x="88" y="45"/>
                        </a:lnTo>
                        <a:lnTo>
                          <a:pt x="84" y="45"/>
                        </a:lnTo>
                        <a:lnTo>
                          <a:pt x="83" y="41"/>
                        </a:lnTo>
                        <a:lnTo>
                          <a:pt x="81" y="43"/>
                        </a:lnTo>
                        <a:lnTo>
                          <a:pt x="79" y="41"/>
                        </a:lnTo>
                        <a:lnTo>
                          <a:pt x="76" y="41"/>
                        </a:lnTo>
                        <a:lnTo>
                          <a:pt x="76" y="2"/>
                        </a:lnTo>
                        <a:lnTo>
                          <a:pt x="76" y="0"/>
                        </a:lnTo>
                        <a:lnTo>
                          <a:pt x="34" y="0"/>
                        </a:lnTo>
                        <a:lnTo>
                          <a:pt x="33" y="12"/>
                        </a:lnTo>
                        <a:lnTo>
                          <a:pt x="23" y="13"/>
                        </a:lnTo>
                        <a:lnTo>
                          <a:pt x="26" y="15"/>
                        </a:lnTo>
                        <a:lnTo>
                          <a:pt x="28" y="17"/>
                        </a:lnTo>
                        <a:lnTo>
                          <a:pt x="31" y="21"/>
                        </a:lnTo>
                        <a:lnTo>
                          <a:pt x="36" y="25"/>
                        </a:lnTo>
                        <a:lnTo>
                          <a:pt x="38" y="25"/>
                        </a:lnTo>
                        <a:lnTo>
                          <a:pt x="39" y="26"/>
                        </a:lnTo>
                        <a:lnTo>
                          <a:pt x="41" y="30"/>
                        </a:lnTo>
                        <a:lnTo>
                          <a:pt x="43" y="31"/>
                        </a:lnTo>
                        <a:lnTo>
                          <a:pt x="46" y="31"/>
                        </a:lnTo>
                        <a:lnTo>
                          <a:pt x="49" y="33"/>
                        </a:lnTo>
                        <a:lnTo>
                          <a:pt x="49" y="36"/>
                        </a:lnTo>
                        <a:lnTo>
                          <a:pt x="46" y="38"/>
                        </a:lnTo>
                        <a:lnTo>
                          <a:pt x="16" y="38"/>
                        </a:lnTo>
                        <a:lnTo>
                          <a:pt x="1" y="60"/>
                        </a:lnTo>
                        <a:lnTo>
                          <a:pt x="1" y="63"/>
                        </a:lnTo>
                        <a:lnTo>
                          <a:pt x="1" y="65"/>
                        </a:lnTo>
                        <a:lnTo>
                          <a:pt x="1" y="66"/>
                        </a:lnTo>
                        <a:lnTo>
                          <a:pt x="3" y="68"/>
                        </a:lnTo>
                        <a:lnTo>
                          <a:pt x="3" y="68"/>
                        </a:lnTo>
                        <a:lnTo>
                          <a:pt x="3" y="71"/>
                        </a:lnTo>
                        <a:lnTo>
                          <a:pt x="1" y="73"/>
                        </a:lnTo>
                        <a:lnTo>
                          <a:pt x="0" y="75"/>
                        </a:lnTo>
                        <a:lnTo>
                          <a:pt x="0" y="75"/>
                        </a:lnTo>
                        <a:lnTo>
                          <a:pt x="3" y="80"/>
                        </a:lnTo>
                        <a:lnTo>
                          <a:pt x="6" y="85"/>
                        </a:lnTo>
                        <a:lnTo>
                          <a:pt x="10" y="85"/>
                        </a:lnTo>
                        <a:lnTo>
                          <a:pt x="13" y="88"/>
                        </a:lnTo>
                        <a:lnTo>
                          <a:pt x="26" y="93"/>
                        </a:lnTo>
                        <a:lnTo>
                          <a:pt x="33" y="93"/>
                        </a:lnTo>
                        <a:lnTo>
                          <a:pt x="39" y="91"/>
                        </a:lnTo>
                        <a:lnTo>
                          <a:pt x="48" y="95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614" name="Google Shape;3119;p98">
                    <a:extLst>
                      <a:ext uri="{FF2B5EF4-FFF2-40B4-BE49-F238E27FC236}">
                        <a16:creationId xmlns:a16="http://schemas.microsoft.com/office/drawing/2014/main" id="{8CCABDF3-8D11-F295-2E69-30867FF08F8E}"/>
                      </a:ext>
                    </a:extLst>
                  </p:cNvPr>
                  <p:cNvSpPr/>
                  <p:nvPr/>
                </p:nvSpPr>
                <p:spPr>
                  <a:xfrm>
                    <a:off x="4941282" y="2860905"/>
                    <a:ext cx="370306" cy="24072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93" h="464" extrusionOk="0">
                        <a:moveTo>
                          <a:pt x="0" y="2"/>
                        </a:moveTo>
                        <a:lnTo>
                          <a:pt x="58" y="0"/>
                        </a:lnTo>
                        <a:lnTo>
                          <a:pt x="60" y="2"/>
                        </a:lnTo>
                        <a:lnTo>
                          <a:pt x="58" y="4"/>
                        </a:lnTo>
                        <a:lnTo>
                          <a:pt x="141" y="38"/>
                        </a:lnTo>
                        <a:lnTo>
                          <a:pt x="209" y="40"/>
                        </a:lnTo>
                        <a:lnTo>
                          <a:pt x="211" y="32"/>
                        </a:lnTo>
                        <a:lnTo>
                          <a:pt x="249" y="33"/>
                        </a:lnTo>
                        <a:lnTo>
                          <a:pt x="254" y="35"/>
                        </a:lnTo>
                        <a:lnTo>
                          <a:pt x="258" y="40"/>
                        </a:lnTo>
                        <a:lnTo>
                          <a:pt x="261" y="43"/>
                        </a:lnTo>
                        <a:lnTo>
                          <a:pt x="261" y="45"/>
                        </a:lnTo>
                        <a:lnTo>
                          <a:pt x="263" y="45"/>
                        </a:lnTo>
                        <a:lnTo>
                          <a:pt x="266" y="48"/>
                        </a:lnTo>
                        <a:lnTo>
                          <a:pt x="264" y="50"/>
                        </a:lnTo>
                        <a:lnTo>
                          <a:pt x="268" y="52"/>
                        </a:lnTo>
                        <a:lnTo>
                          <a:pt x="273" y="53"/>
                        </a:lnTo>
                        <a:lnTo>
                          <a:pt x="271" y="55"/>
                        </a:lnTo>
                        <a:lnTo>
                          <a:pt x="271" y="58"/>
                        </a:lnTo>
                        <a:lnTo>
                          <a:pt x="274" y="58"/>
                        </a:lnTo>
                        <a:lnTo>
                          <a:pt x="278" y="60"/>
                        </a:lnTo>
                        <a:lnTo>
                          <a:pt x="279" y="63"/>
                        </a:lnTo>
                        <a:lnTo>
                          <a:pt x="279" y="68"/>
                        </a:lnTo>
                        <a:lnTo>
                          <a:pt x="281" y="70"/>
                        </a:lnTo>
                        <a:lnTo>
                          <a:pt x="282" y="70"/>
                        </a:lnTo>
                        <a:lnTo>
                          <a:pt x="282" y="72"/>
                        </a:lnTo>
                        <a:lnTo>
                          <a:pt x="286" y="75"/>
                        </a:lnTo>
                        <a:lnTo>
                          <a:pt x="286" y="78"/>
                        </a:lnTo>
                        <a:lnTo>
                          <a:pt x="284" y="78"/>
                        </a:lnTo>
                        <a:lnTo>
                          <a:pt x="282" y="80"/>
                        </a:lnTo>
                        <a:lnTo>
                          <a:pt x="282" y="82"/>
                        </a:lnTo>
                        <a:lnTo>
                          <a:pt x="286" y="85"/>
                        </a:lnTo>
                        <a:lnTo>
                          <a:pt x="289" y="88"/>
                        </a:lnTo>
                        <a:lnTo>
                          <a:pt x="291" y="92"/>
                        </a:lnTo>
                        <a:lnTo>
                          <a:pt x="291" y="93"/>
                        </a:lnTo>
                        <a:lnTo>
                          <a:pt x="292" y="93"/>
                        </a:lnTo>
                        <a:lnTo>
                          <a:pt x="294" y="95"/>
                        </a:lnTo>
                        <a:lnTo>
                          <a:pt x="296" y="95"/>
                        </a:lnTo>
                        <a:lnTo>
                          <a:pt x="297" y="97"/>
                        </a:lnTo>
                        <a:lnTo>
                          <a:pt x="299" y="97"/>
                        </a:lnTo>
                        <a:lnTo>
                          <a:pt x="299" y="98"/>
                        </a:lnTo>
                        <a:lnTo>
                          <a:pt x="301" y="100"/>
                        </a:lnTo>
                        <a:lnTo>
                          <a:pt x="304" y="100"/>
                        </a:lnTo>
                        <a:lnTo>
                          <a:pt x="309" y="103"/>
                        </a:lnTo>
                        <a:lnTo>
                          <a:pt x="309" y="105"/>
                        </a:lnTo>
                        <a:lnTo>
                          <a:pt x="312" y="105"/>
                        </a:lnTo>
                        <a:lnTo>
                          <a:pt x="317" y="108"/>
                        </a:lnTo>
                        <a:lnTo>
                          <a:pt x="319" y="108"/>
                        </a:lnTo>
                        <a:lnTo>
                          <a:pt x="321" y="110"/>
                        </a:lnTo>
                        <a:lnTo>
                          <a:pt x="324" y="108"/>
                        </a:lnTo>
                        <a:lnTo>
                          <a:pt x="324" y="107"/>
                        </a:lnTo>
                        <a:lnTo>
                          <a:pt x="327" y="105"/>
                        </a:lnTo>
                        <a:lnTo>
                          <a:pt x="331" y="105"/>
                        </a:lnTo>
                        <a:lnTo>
                          <a:pt x="331" y="102"/>
                        </a:lnTo>
                        <a:lnTo>
                          <a:pt x="331" y="102"/>
                        </a:lnTo>
                        <a:lnTo>
                          <a:pt x="332" y="98"/>
                        </a:lnTo>
                        <a:lnTo>
                          <a:pt x="336" y="93"/>
                        </a:lnTo>
                        <a:lnTo>
                          <a:pt x="339" y="90"/>
                        </a:lnTo>
                        <a:lnTo>
                          <a:pt x="341" y="90"/>
                        </a:lnTo>
                        <a:lnTo>
                          <a:pt x="342" y="90"/>
                        </a:lnTo>
                        <a:lnTo>
                          <a:pt x="344" y="90"/>
                        </a:lnTo>
                        <a:lnTo>
                          <a:pt x="346" y="90"/>
                        </a:lnTo>
                        <a:lnTo>
                          <a:pt x="347" y="88"/>
                        </a:lnTo>
                        <a:lnTo>
                          <a:pt x="351" y="88"/>
                        </a:lnTo>
                        <a:lnTo>
                          <a:pt x="356" y="88"/>
                        </a:lnTo>
                        <a:lnTo>
                          <a:pt x="359" y="88"/>
                        </a:lnTo>
                        <a:lnTo>
                          <a:pt x="362" y="88"/>
                        </a:lnTo>
                        <a:lnTo>
                          <a:pt x="362" y="90"/>
                        </a:lnTo>
                        <a:lnTo>
                          <a:pt x="366" y="90"/>
                        </a:lnTo>
                        <a:lnTo>
                          <a:pt x="369" y="92"/>
                        </a:lnTo>
                        <a:lnTo>
                          <a:pt x="371" y="95"/>
                        </a:lnTo>
                        <a:lnTo>
                          <a:pt x="376" y="98"/>
                        </a:lnTo>
                        <a:lnTo>
                          <a:pt x="379" y="103"/>
                        </a:lnTo>
                        <a:lnTo>
                          <a:pt x="382" y="108"/>
                        </a:lnTo>
                        <a:lnTo>
                          <a:pt x="382" y="110"/>
                        </a:lnTo>
                        <a:lnTo>
                          <a:pt x="384" y="113"/>
                        </a:lnTo>
                        <a:lnTo>
                          <a:pt x="384" y="118"/>
                        </a:lnTo>
                        <a:lnTo>
                          <a:pt x="385" y="120"/>
                        </a:lnTo>
                        <a:lnTo>
                          <a:pt x="387" y="121"/>
                        </a:lnTo>
                        <a:lnTo>
                          <a:pt x="390" y="130"/>
                        </a:lnTo>
                        <a:lnTo>
                          <a:pt x="392" y="131"/>
                        </a:lnTo>
                        <a:lnTo>
                          <a:pt x="394" y="135"/>
                        </a:lnTo>
                        <a:lnTo>
                          <a:pt x="397" y="136"/>
                        </a:lnTo>
                        <a:lnTo>
                          <a:pt x="399" y="140"/>
                        </a:lnTo>
                        <a:lnTo>
                          <a:pt x="400" y="143"/>
                        </a:lnTo>
                        <a:lnTo>
                          <a:pt x="405" y="148"/>
                        </a:lnTo>
                        <a:lnTo>
                          <a:pt x="404" y="151"/>
                        </a:lnTo>
                        <a:lnTo>
                          <a:pt x="404" y="156"/>
                        </a:lnTo>
                        <a:lnTo>
                          <a:pt x="404" y="156"/>
                        </a:lnTo>
                        <a:lnTo>
                          <a:pt x="404" y="158"/>
                        </a:lnTo>
                        <a:lnTo>
                          <a:pt x="409" y="171"/>
                        </a:lnTo>
                        <a:lnTo>
                          <a:pt x="409" y="176"/>
                        </a:lnTo>
                        <a:lnTo>
                          <a:pt x="410" y="178"/>
                        </a:lnTo>
                        <a:lnTo>
                          <a:pt x="412" y="180"/>
                        </a:lnTo>
                        <a:lnTo>
                          <a:pt x="414" y="180"/>
                        </a:lnTo>
                        <a:lnTo>
                          <a:pt x="417" y="180"/>
                        </a:lnTo>
                        <a:lnTo>
                          <a:pt x="420" y="181"/>
                        </a:lnTo>
                        <a:lnTo>
                          <a:pt x="424" y="185"/>
                        </a:lnTo>
                        <a:lnTo>
                          <a:pt x="432" y="188"/>
                        </a:lnTo>
                        <a:lnTo>
                          <a:pt x="437" y="190"/>
                        </a:lnTo>
                        <a:lnTo>
                          <a:pt x="442" y="190"/>
                        </a:lnTo>
                        <a:lnTo>
                          <a:pt x="444" y="193"/>
                        </a:lnTo>
                        <a:lnTo>
                          <a:pt x="445" y="195"/>
                        </a:lnTo>
                        <a:lnTo>
                          <a:pt x="444" y="198"/>
                        </a:lnTo>
                        <a:lnTo>
                          <a:pt x="449" y="195"/>
                        </a:lnTo>
                        <a:lnTo>
                          <a:pt x="449" y="188"/>
                        </a:lnTo>
                        <a:lnTo>
                          <a:pt x="452" y="186"/>
                        </a:lnTo>
                        <a:lnTo>
                          <a:pt x="452" y="188"/>
                        </a:lnTo>
                        <a:lnTo>
                          <a:pt x="452" y="193"/>
                        </a:lnTo>
                        <a:lnTo>
                          <a:pt x="449" y="196"/>
                        </a:lnTo>
                        <a:lnTo>
                          <a:pt x="449" y="201"/>
                        </a:lnTo>
                        <a:lnTo>
                          <a:pt x="444" y="205"/>
                        </a:lnTo>
                        <a:lnTo>
                          <a:pt x="444" y="210"/>
                        </a:lnTo>
                        <a:lnTo>
                          <a:pt x="440" y="210"/>
                        </a:lnTo>
                        <a:lnTo>
                          <a:pt x="442" y="208"/>
                        </a:lnTo>
                        <a:lnTo>
                          <a:pt x="442" y="203"/>
                        </a:lnTo>
                        <a:lnTo>
                          <a:pt x="439" y="203"/>
                        </a:lnTo>
                        <a:lnTo>
                          <a:pt x="439" y="210"/>
                        </a:lnTo>
                        <a:lnTo>
                          <a:pt x="435" y="213"/>
                        </a:lnTo>
                        <a:lnTo>
                          <a:pt x="439" y="214"/>
                        </a:lnTo>
                        <a:lnTo>
                          <a:pt x="437" y="216"/>
                        </a:lnTo>
                        <a:lnTo>
                          <a:pt x="435" y="223"/>
                        </a:lnTo>
                        <a:lnTo>
                          <a:pt x="434" y="224"/>
                        </a:lnTo>
                        <a:lnTo>
                          <a:pt x="434" y="229"/>
                        </a:lnTo>
                        <a:lnTo>
                          <a:pt x="435" y="233"/>
                        </a:lnTo>
                        <a:lnTo>
                          <a:pt x="434" y="234"/>
                        </a:lnTo>
                        <a:lnTo>
                          <a:pt x="434" y="238"/>
                        </a:lnTo>
                        <a:lnTo>
                          <a:pt x="430" y="249"/>
                        </a:lnTo>
                        <a:lnTo>
                          <a:pt x="432" y="256"/>
                        </a:lnTo>
                        <a:lnTo>
                          <a:pt x="430" y="266"/>
                        </a:lnTo>
                        <a:lnTo>
                          <a:pt x="427" y="271"/>
                        </a:lnTo>
                        <a:lnTo>
                          <a:pt x="429" y="274"/>
                        </a:lnTo>
                        <a:lnTo>
                          <a:pt x="430" y="283"/>
                        </a:lnTo>
                        <a:lnTo>
                          <a:pt x="429" y="288"/>
                        </a:lnTo>
                        <a:lnTo>
                          <a:pt x="435" y="296"/>
                        </a:lnTo>
                        <a:lnTo>
                          <a:pt x="435" y="303"/>
                        </a:lnTo>
                        <a:lnTo>
                          <a:pt x="434" y="304"/>
                        </a:lnTo>
                        <a:lnTo>
                          <a:pt x="434" y="296"/>
                        </a:lnTo>
                        <a:lnTo>
                          <a:pt x="429" y="289"/>
                        </a:lnTo>
                        <a:lnTo>
                          <a:pt x="427" y="294"/>
                        </a:lnTo>
                        <a:lnTo>
                          <a:pt x="430" y="298"/>
                        </a:lnTo>
                        <a:lnTo>
                          <a:pt x="434" y="308"/>
                        </a:lnTo>
                        <a:lnTo>
                          <a:pt x="435" y="309"/>
                        </a:lnTo>
                        <a:lnTo>
                          <a:pt x="434" y="312"/>
                        </a:lnTo>
                        <a:lnTo>
                          <a:pt x="435" y="316"/>
                        </a:lnTo>
                        <a:lnTo>
                          <a:pt x="437" y="321"/>
                        </a:lnTo>
                        <a:lnTo>
                          <a:pt x="450" y="334"/>
                        </a:lnTo>
                        <a:lnTo>
                          <a:pt x="452" y="339"/>
                        </a:lnTo>
                        <a:lnTo>
                          <a:pt x="457" y="344"/>
                        </a:lnTo>
                        <a:lnTo>
                          <a:pt x="457" y="347"/>
                        </a:lnTo>
                        <a:lnTo>
                          <a:pt x="459" y="351"/>
                        </a:lnTo>
                        <a:lnTo>
                          <a:pt x="469" y="362"/>
                        </a:lnTo>
                        <a:lnTo>
                          <a:pt x="472" y="366"/>
                        </a:lnTo>
                        <a:lnTo>
                          <a:pt x="474" y="366"/>
                        </a:lnTo>
                        <a:lnTo>
                          <a:pt x="480" y="366"/>
                        </a:lnTo>
                        <a:lnTo>
                          <a:pt x="482" y="367"/>
                        </a:lnTo>
                        <a:lnTo>
                          <a:pt x="488" y="369"/>
                        </a:lnTo>
                        <a:lnTo>
                          <a:pt x="493" y="376"/>
                        </a:lnTo>
                        <a:lnTo>
                          <a:pt x="497" y="382"/>
                        </a:lnTo>
                        <a:lnTo>
                          <a:pt x="502" y="379"/>
                        </a:lnTo>
                        <a:lnTo>
                          <a:pt x="510" y="377"/>
                        </a:lnTo>
                        <a:lnTo>
                          <a:pt x="512" y="381"/>
                        </a:lnTo>
                        <a:lnTo>
                          <a:pt x="515" y="381"/>
                        </a:lnTo>
                        <a:lnTo>
                          <a:pt x="525" y="376"/>
                        </a:lnTo>
                        <a:lnTo>
                          <a:pt x="527" y="372"/>
                        </a:lnTo>
                        <a:lnTo>
                          <a:pt x="535" y="372"/>
                        </a:lnTo>
                        <a:lnTo>
                          <a:pt x="540" y="372"/>
                        </a:lnTo>
                        <a:lnTo>
                          <a:pt x="545" y="369"/>
                        </a:lnTo>
                        <a:lnTo>
                          <a:pt x="552" y="369"/>
                        </a:lnTo>
                        <a:lnTo>
                          <a:pt x="557" y="371"/>
                        </a:lnTo>
                        <a:lnTo>
                          <a:pt x="558" y="367"/>
                        </a:lnTo>
                        <a:lnTo>
                          <a:pt x="565" y="369"/>
                        </a:lnTo>
                        <a:lnTo>
                          <a:pt x="562" y="372"/>
                        </a:lnTo>
                        <a:lnTo>
                          <a:pt x="560" y="374"/>
                        </a:lnTo>
                        <a:lnTo>
                          <a:pt x="565" y="376"/>
                        </a:lnTo>
                        <a:lnTo>
                          <a:pt x="568" y="379"/>
                        </a:lnTo>
                        <a:lnTo>
                          <a:pt x="570" y="377"/>
                        </a:lnTo>
                        <a:lnTo>
                          <a:pt x="572" y="376"/>
                        </a:lnTo>
                        <a:lnTo>
                          <a:pt x="577" y="371"/>
                        </a:lnTo>
                        <a:lnTo>
                          <a:pt x="577" y="366"/>
                        </a:lnTo>
                        <a:lnTo>
                          <a:pt x="578" y="361"/>
                        </a:lnTo>
                        <a:lnTo>
                          <a:pt x="573" y="364"/>
                        </a:lnTo>
                        <a:lnTo>
                          <a:pt x="573" y="364"/>
                        </a:lnTo>
                        <a:lnTo>
                          <a:pt x="583" y="357"/>
                        </a:lnTo>
                        <a:lnTo>
                          <a:pt x="586" y="357"/>
                        </a:lnTo>
                        <a:lnTo>
                          <a:pt x="591" y="352"/>
                        </a:lnTo>
                        <a:lnTo>
                          <a:pt x="591" y="344"/>
                        </a:lnTo>
                        <a:lnTo>
                          <a:pt x="600" y="336"/>
                        </a:lnTo>
                        <a:lnTo>
                          <a:pt x="600" y="334"/>
                        </a:lnTo>
                        <a:lnTo>
                          <a:pt x="600" y="321"/>
                        </a:lnTo>
                        <a:lnTo>
                          <a:pt x="610" y="312"/>
                        </a:lnTo>
                        <a:lnTo>
                          <a:pt x="605" y="311"/>
                        </a:lnTo>
                        <a:lnTo>
                          <a:pt x="605" y="308"/>
                        </a:lnTo>
                        <a:lnTo>
                          <a:pt x="621" y="304"/>
                        </a:lnTo>
                        <a:lnTo>
                          <a:pt x="641" y="306"/>
                        </a:lnTo>
                        <a:lnTo>
                          <a:pt x="645" y="301"/>
                        </a:lnTo>
                        <a:lnTo>
                          <a:pt x="651" y="301"/>
                        </a:lnTo>
                        <a:lnTo>
                          <a:pt x="653" y="303"/>
                        </a:lnTo>
                        <a:lnTo>
                          <a:pt x="660" y="299"/>
                        </a:lnTo>
                        <a:lnTo>
                          <a:pt x="660" y="298"/>
                        </a:lnTo>
                        <a:lnTo>
                          <a:pt x="668" y="298"/>
                        </a:lnTo>
                        <a:lnTo>
                          <a:pt x="679" y="299"/>
                        </a:lnTo>
                        <a:lnTo>
                          <a:pt x="683" y="299"/>
                        </a:lnTo>
                        <a:lnTo>
                          <a:pt x="681" y="296"/>
                        </a:lnTo>
                        <a:lnTo>
                          <a:pt x="686" y="296"/>
                        </a:lnTo>
                        <a:lnTo>
                          <a:pt x="693" y="304"/>
                        </a:lnTo>
                        <a:lnTo>
                          <a:pt x="693" y="309"/>
                        </a:lnTo>
                        <a:lnTo>
                          <a:pt x="689" y="314"/>
                        </a:lnTo>
                        <a:lnTo>
                          <a:pt x="684" y="322"/>
                        </a:lnTo>
                        <a:lnTo>
                          <a:pt x="673" y="331"/>
                        </a:lnTo>
                        <a:lnTo>
                          <a:pt x="671" y="334"/>
                        </a:lnTo>
                        <a:lnTo>
                          <a:pt x="671" y="341"/>
                        </a:lnTo>
                        <a:lnTo>
                          <a:pt x="666" y="342"/>
                        </a:lnTo>
                        <a:lnTo>
                          <a:pt x="665" y="344"/>
                        </a:lnTo>
                        <a:lnTo>
                          <a:pt x="668" y="347"/>
                        </a:lnTo>
                        <a:lnTo>
                          <a:pt x="671" y="347"/>
                        </a:lnTo>
                        <a:lnTo>
                          <a:pt x="671" y="349"/>
                        </a:lnTo>
                        <a:lnTo>
                          <a:pt x="666" y="356"/>
                        </a:lnTo>
                        <a:lnTo>
                          <a:pt x="666" y="357"/>
                        </a:lnTo>
                        <a:lnTo>
                          <a:pt x="668" y="357"/>
                        </a:lnTo>
                        <a:lnTo>
                          <a:pt x="670" y="356"/>
                        </a:lnTo>
                        <a:lnTo>
                          <a:pt x="673" y="356"/>
                        </a:lnTo>
                        <a:lnTo>
                          <a:pt x="670" y="359"/>
                        </a:lnTo>
                        <a:lnTo>
                          <a:pt x="666" y="372"/>
                        </a:lnTo>
                        <a:lnTo>
                          <a:pt x="661" y="379"/>
                        </a:lnTo>
                        <a:lnTo>
                          <a:pt x="660" y="381"/>
                        </a:lnTo>
                        <a:lnTo>
                          <a:pt x="658" y="376"/>
                        </a:lnTo>
                        <a:lnTo>
                          <a:pt x="653" y="374"/>
                        </a:lnTo>
                        <a:lnTo>
                          <a:pt x="653" y="372"/>
                        </a:lnTo>
                        <a:lnTo>
                          <a:pt x="655" y="371"/>
                        </a:lnTo>
                        <a:lnTo>
                          <a:pt x="656" y="366"/>
                        </a:lnTo>
                        <a:lnTo>
                          <a:pt x="653" y="366"/>
                        </a:lnTo>
                        <a:lnTo>
                          <a:pt x="648" y="372"/>
                        </a:lnTo>
                        <a:lnTo>
                          <a:pt x="643" y="376"/>
                        </a:lnTo>
                        <a:lnTo>
                          <a:pt x="643" y="376"/>
                        </a:lnTo>
                        <a:lnTo>
                          <a:pt x="641" y="376"/>
                        </a:lnTo>
                        <a:lnTo>
                          <a:pt x="638" y="376"/>
                        </a:lnTo>
                        <a:lnTo>
                          <a:pt x="638" y="377"/>
                        </a:lnTo>
                        <a:lnTo>
                          <a:pt x="636" y="381"/>
                        </a:lnTo>
                        <a:lnTo>
                          <a:pt x="633" y="386"/>
                        </a:lnTo>
                        <a:lnTo>
                          <a:pt x="633" y="386"/>
                        </a:lnTo>
                        <a:lnTo>
                          <a:pt x="631" y="386"/>
                        </a:lnTo>
                        <a:lnTo>
                          <a:pt x="631" y="387"/>
                        </a:lnTo>
                        <a:lnTo>
                          <a:pt x="630" y="387"/>
                        </a:lnTo>
                        <a:lnTo>
                          <a:pt x="630" y="386"/>
                        </a:lnTo>
                        <a:lnTo>
                          <a:pt x="626" y="386"/>
                        </a:lnTo>
                        <a:lnTo>
                          <a:pt x="623" y="387"/>
                        </a:lnTo>
                        <a:lnTo>
                          <a:pt x="623" y="389"/>
                        </a:lnTo>
                        <a:lnTo>
                          <a:pt x="581" y="389"/>
                        </a:lnTo>
                        <a:lnTo>
                          <a:pt x="580" y="401"/>
                        </a:lnTo>
                        <a:lnTo>
                          <a:pt x="570" y="402"/>
                        </a:lnTo>
                        <a:lnTo>
                          <a:pt x="573" y="404"/>
                        </a:lnTo>
                        <a:lnTo>
                          <a:pt x="575" y="406"/>
                        </a:lnTo>
                        <a:lnTo>
                          <a:pt x="578" y="410"/>
                        </a:lnTo>
                        <a:lnTo>
                          <a:pt x="583" y="414"/>
                        </a:lnTo>
                        <a:lnTo>
                          <a:pt x="585" y="414"/>
                        </a:lnTo>
                        <a:lnTo>
                          <a:pt x="586" y="415"/>
                        </a:lnTo>
                        <a:lnTo>
                          <a:pt x="588" y="419"/>
                        </a:lnTo>
                        <a:lnTo>
                          <a:pt x="590" y="420"/>
                        </a:lnTo>
                        <a:lnTo>
                          <a:pt x="593" y="420"/>
                        </a:lnTo>
                        <a:lnTo>
                          <a:pt x="596" y="422"/>
                        </a:lnTo>
                        <a:lnTo>
                          <a:pt x="596" y="425"/>
                        </a:lnTo>
                        <a:lnTo>
                          <a:pt x="593" y="427"/>
                        </a:lnTo>
                        <a:lnTo>
                          <a:pt x="563" y="427"/>
                        </a:lnTo>
                        <a:lnTo>
                          <a:pt x="548" y="449"/>
                        </a:lnTo>
                        <a:lnTo>
                          <a:pt x="548" y="452"/>
                        </a:lnTo>
                        <a:lnTo>
                          <a:pt x="548" y="454"/>
                        </a:lnTo>
                        <a:lnTo>
                          <a:pt x="548" y="455"/>
                        </a:lnTo>
                        <a:lnTo>
                          <a:pt x="550" y="457"/>
                        </a:lnTo>
                        <a:lnTo>
                          <a:pt x="550" y="457"/>
                        </a:lnTo>
                        <a:lnTo>
                          <a:pt x="550" y="460"/>
                        </a:lnTo>
                        <a:lnTo>
                          <a:pt x="548" y="462"/>
                        </a:lnTo>
                        <a:lnTo>
                          <a:pt x="547" y="464"/>
                        </a:lnTo>
                        <a:lnTo>
                          <a:pt x="547" y="464"/>
                        </a:lnTo>
                        <a:lnTo>
                          <a:pt x="542" y="460"/>
                        </a:lnTo>
                        <a:lnTo>
                          <a:pt x="535" y="455"/>
                        </a:lnTo>
                        <a:lnTo>
                          <a:pt x="535" y="452"/>
                        </a:lnTo>
                        <a:lnTo>
                          <a:pt x="530" y="452"/>
                        </a:lnTo>
                        <a:lnTo>
                          <a:pt x="513" y="439"/>
                        </a:lnTo>
                        <a:lnTo>
                          <a:pt x="510" y="435"/>
                        </a:lnTo>
                        <a:lnTo>
                          <a:pt x="510" y="434"/>
                        </a:lnTo>
                        <a:lnTo>
                          <a:pt x="507" y="429"/>
                        </a:lnTo>
                        <a:lnTo>
                          <a:pt x="502" y="425"/>
                        </a:lnTo>
                        <a:lnTo>
                          <a:pt x="497" y="425"/>
                        </a:lnTo>
                        <a:lnTo>
                          <a:pt x="497" y="425"/>
                        </a:lnTo>
                        <a:lnTo>
                          <a:pt x="495" y="425"/>
                        </a:lnTo>
                        <a:lnTo>
                          <a:pt x="495" y="425"/>
                        </a:lnTo>
                        <a:lnTo>
                          <a:pt x="503" y="429"/>
                        </a:lnTo>
                        <a:lnTo>
                          <a:pt x="508" y="434"/>
                        </a:lnTo>
                        <a:lnTo>
                          <a:pt x="508" y="435"/>
                        </a:lnTo>
                        <a:lnTo>
                          <a:pt x="505" y="432"/>
                        </a:lnTo>
                        <a:lnTo>
                          <a:pt x="498" y="429"/>
                        </a:lnTo>
                        <a:lnTo>
                          <a:pt x="493" y="427"/>
                        </a:lnTo>
                        <a:lnTo>
                          <a:pt x="490" y="427"/>
                        </a:lnTo>
                        <a:lnTo>
                          <a:pt x="488" y="427"/>
                        </a:lnTo>
                        <a:lnTo>
                          <a:pt x="490" y="425"/>
                        </a:lnTo>
                        <a:lnTo>
                          <a:pt x="492" y="425"/>
                        </a:lnTo>
                        <a:lnTo>
                          <a:pt x="492" y="424"/>
                        </a:lnTo>
                        <a:lnTo>
                          <a:pt x="488" y="424"/>
                        </a:lnTo>
                        <a:lnTo>
                          <a:pt x="485" y="425"/>
                        </a:lnTo>
                        <a:lnTo>
                          <a:pt x="485" y="422"/>
                        </a:lnTo>
                        <a:lnTo>
                          <a:pt x="483" y="422"/>
                        </a:lnTo>
                        <a:lnTo>
                          <a:pt x="478" y="425"/>
                        </a:lnTo>
                        <a:lnTo>
                          <a:pt x="478" y="427"/>
                        </a:lnTo>
                        <a:lnTo>
                          <a:pt x="482" y="427"/>
                        </a:lnTo>
                        <a:lnTo>
                          <a:pt x="487" y="427"/>
                        </a:lnTo>
                        <a:lnTo>
                          <a:pt x="487" y="429"/>
                        </a:lnTo>
                        <a:lnTo>
                          <a:pt x="485" y="429"/>
                        </a:lnTo>
                        <a:lnTo>
                          <a:pt x="478" y="429"/>
                        </a:lnTo>
                        <a:lnTo>
                          <a:pt x="474" y="429"/>
                        </a:lnTo>
                        <a:lnTo>
                          <a:pt x="467" y="434"/>
                        </a:lnTo>
                        <a:lnTo>
                          <a:pt x="462" y="434"/>
                        </a:lnTo>
                        <a:lnTo>
                          <a:pt x="450" y="439"/>
                        </a:lnTo>
                        <a:lnTo>
                          <a:pt x="445" y="439"/>
                        </a:lnTo>
                        <a:lnTo>
                          <a:pt x="432" y="435"/>
                        </a:lnTo>
                        <a:lnTo>
                          <a:pt x="425" y="432"/>
                        </a:lnTo>
                        <a:lnTo>
                          <a:pt x="417" y="432"/>
                        </a:lnTo>
                        <a:lnTo>
                          <a:pt x="409" y="429"/>
                        </a:lnTo>
                        <a:lnTo>
                          <a:pt x="404" y="425"/>
                        </a:lnTo>
                        <a:lnTo>
                          <a:pt x="402" y="427"/>
                        </a:lnTo>
                        <a:lnTo>
                          <a:pt x="399" y="425"/>
                        </a:lnTo>
                        <a:lnTo>
                          <a:pt x="392" y="424"/>
                        </a:lnTo>
                        <a:lnTo>
                          <a:pt x="389" y="419"/>
                        </a:lnTo>
                        <a:lnTo>
                          <a:pt x="387" y="417"/>
                        </a:lnTo>
                        <a:lnTo>
                          <a:pt x="384" y="419"/>
                        </a:lnTo>
                        <a:lnTo>
                          <a:pt x="377" y="417"/>
                        </a:lnTo>
                        <a:lnTo>
                          <a:pt x="371" y="415"/>
                        </a:lnTo>
                        <a:lnTo>
                          <a:pt x="367" y="412"/>
                        </a:lnTo>
                        <a:lnTo>
                          <a:pt x="362" y="409"/>
                        </a:lnTo>
                        <a:lnTo>
                          <a:pt x="351" y="407"/>
                        </a:lnTo>
                        <a:lnTo>
                          <a:pt x="341" y="404"/>
                        </a:lnTo>
                        <a:lnTo>
                          <a:pt x="332" y="397"/>
                        </a:lnTo>
                        <a:lnTo>
                          <a:pt x="329" y="397"/>
                        </a:lnTo>
                        <a:lnTo>
                          <a:pt x="317" y="386"/>
                        </a:lnTo>
                        <a:lnTo>
                          <a:pt x="316" y="384"/>
                        </a:lnTo>
                        <a:lnTo>
                          <a:pt x="312" y="384"/>
                        </a:lnTo>
                        <a:lnTo>
                          <a:pt x="312" y="386"/>
                        </a:lnTo>
                        <a:lnTo>
                          <a:pt x="307" y="386"/>
                        </a:lnTo>
                        <a:lnTo>
                          <a:pt x="299" y="382"/>
                        </a:lnTo>
                        <a:lnTo>
                          <a:pt x="296" y="382"/>
                        </a:lnTo>
                        <a:lnTo>
                          <a:pt x="291" y="381"/>
                        </a:lnTo>
                        <a:lnTo>
                          <a:pt x="289" y="381"/>
                        </a:lnTo>
                        <a:lnTo>
                          <a:pt x="284" y="379"/>
                        </a:lnTo>
                        <a:lnTo>
                          <a:pt x="281" y="374"/>
                        </a:lnTo>
                        <a:lnTo>
                          <a:pt x="276" y="367"/>
                        </a:lnTo>
                        <a:lnTo>
                          <a:pt x="271" y="362"/>
                        </a:lnTo>
                        <a:lnTo>
                          <a:pt x="264" y="361"/>
                        </a:lnTo>
                        <a:lnTo>
                          <a:pt x="264" y="359"/>
                        </a:lnTo>
                        <a:lnTo>
                          <a:pt x="266" y="356"/>
                        </a:lnTo>
                        <a:lnTo>
                          <a:pt x="264" y="356"/>
                        </a:lnTo>
                        <a:lnTo>
                          <a:pt x="258" y="357"/>
                        </a:lnTo>
                        <a:lnTo>
                          <a:pt x="251" y="356"/>
                        </a:lnTo>
                        <a:lnTo>
                          <a:pt x="249" y="352"/>
                        </a:lnTo>
                        <a:lnTo>
                          <a:pt x="246" y="352"/>
                        </a:lnTo>
                        <a:lnTo>
                          <a:pt x="243" y="351"/>
                        </a:lnTo>
                        <a:lnTo>
                          <a:pt x="241" y="346"/>
                        </a:lnTo>
                        <a:lnTo>
                          <a:pt x="238" y="341"/>
                        </a:lnTo>
                        <a:lnTo>
                          <a:pt x="238" y="337"/>
                        </a:lnTo>
                        <a:lnTo>
                          <a:pt x="234" y="334"/>
                        </a:lnTo>
                        <a:lnTo>
                          <a:pt x="231" y="326"/>
                        </a:lnTo>
                        <a:lnTo>
                          <a:pt x="231" y="324"/>
                        </a:lnTo>
                        <a:lnTo>
                          <a:pt x="234" y="322"/>
                        </a:lnTo>
                        <a:lnTo>
                          <a:pt x="239" y="322"/>
                        </a:lnTo>
                        <a:lnTo>
                          <a:pt x="241" y="321"/>
                        </a:lnTo>
                        <a:lnTo>
                          <a:pt x="238" y="319"/>
                        </a:lnTo>
                        <a:lnTo>
                          <a:pt x="236" y="317"/>
                        </a:lnTo>
                        <a:lnTo>
                          <a:pt x="236" y="316"/>
                        </a:lnTo>
                        <a:lnTo>
                          <a:pt x="243" y="311"/>
                        </a:lnTo>
                        <a:lnTo>
                          <a:pt x="244" y="308"/>
                        </a:lnTo>
                        <a:lnTo>
                          <a:pt x="244" y="303"/>
                        </a:lnTo>
                        <a:lnTo>
                          <a:pt x="239" y="291"/>
                        </a:lnTo>
                        <a:lnTo>
                          <a:pt x="236" y="284"/>
                        </a:lnTo>
                        <a:lnTo>
                          <a:pt x="234" y="281"/>
                        </a:lnTo>
                        <a:lnTo>
                          <a:pt x="236" y="278"/>
                        </a:lnTo>
                        <a:lnTo>
                          <a:pt x="236" y="273"/>
                        </a:lnTo>
                        <a:lnTo>
                          <a:pt x="228" y="263"/>
                        </a:lnTo>
                        <a:lnTo>
                          <a:pt x="226" y="258"/>
                        </a:lnTo>
                        <a:lnTo>
                          <a:pt x="219" y="251"/>
                        </a:lnTo>
                        <a:lnTo>
                          <a:pt x="213" y="241"/>
                        </a:lnTo>
                        <a:lnTo>
                          <a:pt x="206" y="233"/>
                        </a:lnTo>
                        <a:lnTo>
                          <a:pt x="199" y="228"/>
                        </a:lnTo>
                        <a:lnTo>
                          <a:pt x="198" y="226"/>
                        </a:lnTo>
                        <a:lnTo>
                          <a:pt x="198" y="224"/>
                        </a:lnTo>
                        <a:lnTo>
                          <a:pt x="189" y="221"/>
                        </a:lnTo>
                        <a:lnTo>
                          <a:pt x="186" y="219"/>
                        </a:lnTo>
                        <a:lnTo>
                          <a:pt x="186" y="218"/>
                        </a:lnTo>
                        <a:lnTo>
                          <a:pt x="188" y="216"/>
                        </a:lnTo>
                        <a:lnTo>
                          <a:pt x="191" y="213"/>
                        </a:lnTo>
                        <a:lnTo>
                          <a:pt x="188" y="210"/>
                        </a:lnTo>
                        <a:lnTo>
                          <a:pt x="186" y="206"/>
                        </a:lnTo>
                        <a:lnTo>
                          <a:pt x="186" y="203"/>
                        </a:lnTo>
                        <a:lnTo>
                          <a:pt x="183" y="203"/>
                        </a:lnTo>
                        <a:lnTo>
                          <a:pt x="176" y="203"/>
                        </a:lnTo>
                        <a:lnTo>
                          <a:pt x="168" y="196"/>
                        </a:lnTo>
                        <a:lnTo>
                          <a:pt x="165" y="193"/>
                        </a:lnTo>
                        <a:lnTo>
                          <a:pt x="160" y="193"/>
                        </a:lnTo>
                        <a:lnTo>
                          <a:pt x="156" y="190"/>
                        </a:lnTo>
                        <a:lnTo>
                          <a:pt x="156" y="186"/>
                        </a:lnTo>
                        <a:lnTo>
                          <a:pt x="158" y="180"/>
                        </a:lnTo>
                        <a:lnTo>
                          <a:pt x="163" y="176"/>
                        </a:lnTo>
                        <a:lnTo>
                          <a:pt x="165" y="175"/>
                        </a:lnTo>
                        <a:lnTo>
                          <a:pt x="168" y="178"/>
                        </a:lnTo>
                        <a:lnTo>
                          <a:pt x="170" y="175"/>
                        </a:lnTo>
                        <a:lnTo>
                          <a:pt x="170" y="173"/>
                        </a:lnTo>
                        <a:lnTo>
                          <a:pt x="168" y="171"/>
                        </a:lnTo>
                        <a:lnTo>
                          <a:pt x="166" y="173"/>
                        </a:lnTo>
                        <a:lnTo>
                          <a:pt x="163" y="171"/>
                        </a:lnTo>
                        <a:lnTo>
                          <a:pt x="163" y="168"/>
                        </a:lnTo>
                        <a:lnTo>
                          <a:pt x="158" y="163"/>
                        </a:lnTo>
                        <a:lnTo>
                          <a:pt x="155" y="163"/>
                        </a:lnTo>
                        <a:lnTo>
                          <a:pt x="150" y="161"/>
                        </a:lnTo>
                        <a:lnTo>
                          <a:pt x="148" y="158"/>
                        </a:lnTo>
                        <a:lnTo>
                          <a:pt x="150" y="155"/>
                        </a:lnTo>
                        <a:lnTo>
                          <a:pt x="146" y="153"/>
                        </a:lnTo>
                        <a:lnTo>
                          <a:pt x="143" y="155"/>
                        </a:lnTo>
                        <a:lnTo>
                          <a:pt x="135" y="146"/>
                        </a:lnTo>
                        <a:lnTo>
                          <a:pt x="133" y="141"/>
                        </a:lnTo>
                        <a:lnTo>
                          <a:pt x="136" y="138"/>
                        </a:lnTo>
                        <a:lnTo>
                          <a:pt x="136" y="133"/>
                        </a:lnTo>
                        <a:lnTo>
                          <a:pt x="133" y="131"/>
                        </a:lnTo>
                        <a:lnTo>
                          <a:pt x="130" y="133"/>
                        </a:lnTo>
                        <a:lnTo>
                          <a:pt x="128" y="131"/>
                        </a:lnTo>
                        <a:lnTo>
                          <a:pt x="125" y="131"/>
                        </a:lnTo>
                        <a:lnTo>
                          <a:pt x="125" y="130"/>
                        </a:lnTo>
                        <a:lnTo>
                          <a:pt x="121" y="126"/>
                        </a:lnTo>
                        <a:lnTo>
                          <a:pt x="120" y="123"/>
                        </a:lnTo>
                        <a:lnTo>
                          <a:pt x="116" y="118"/>
                        </a:lnTo>
                        <a:lnTo>
                          <a:pt x="113" y="116"/>
                        </a:lnTo>
                        <a:lnTo>
                          <a:pt x="111" y="115"/>
                        </a:lnTo>
                        <a:lnTo>
                          <a:pt x="111" y="110"/>
                        </a:lnTo>
                        <a:lnTo>
                          <a:pt x="110" y="107"/>
                        </a:lnTo>
                        <a:lnTo>
                          <a:pt x="106" y="105"/>
                        </a:lnTo>
                        <a:lnTo>
                          <a:pt x="103" y="98"/>
                        </a:lnTo>
                        <a:lnTo>
                          <a:pt x="101" y="97"/>
                        </a:lnTo>
                        <a:lnTo>
                          <a:pt x="100" y="97"/>
                        </a:lnTo>
                        <a:lnTo>
                          <a:pt x="98" y="93"/>
                        </a:lnTo>
                        <a:lnTo>
                          <a:pt x="100" y="92"/>
                        </a:lnTo>
                        <a:lnTo>
                          <a:pt x="100" y="88"/>
                        </a:lnTo>
                        <a:lnTo>
                          <a:pt x="95" y="82"/>
                        </a:lnTo>
                        <a:lnTo>
                          <a:pt x="93" y="77"/>
                        </a:lnTo>
                        <a:lnTo>
                          <a:pt x="93" y="75"/>
                        </a:lnTo>
                        <a:lnTo>
                          <a:pt x="93" y="70"/>
                        </a:lnTo>
                        <a:lnTo>
                          <a:pt x="91" y="67"/>
                        </a:lnTo>
                        <a:lnTo>
                          <a:pt x="90" y="58"/>
                        </a:lnTo>
                        <a:lnTo>
                          <a:pt x="86" y="53"/>
                        </a:lnTo>
                        <a:lnTo>
                          <a:pt x="86" y="50"/>
                        </a:lnTo>
                        <a:lnTo>
                          <a:pt x="90" y="45"/>
                        </a:lnTo>
                        <a:lnTo>
                          <a:pt x="90" y="43"/>
                        </a:lnTo>
                        <a:lnTo>
                          <a:pt x="85" y="42"/>
                        </a:lnTo>
                        <a:lnTo>
                          <a:pt x="80" y="42"/>
                        </a:lnTo>
                        <a:lnTo>
                          <a:pt x="80" y="38"/>
                        </a:lnTo>
                        <a:lnTo>
                          <a:pt x="75" y="35"/>
                        </a:lnTo>
                        <a:lnTo>
                          <a:pt x="73" y="37"/>
                        </a:lnTo>
                        <a:lnTo>
                          <a:pt x="68" y="37"/>
                        </a:lnTo>
                        <a:lnTo>
                          <a:pt x="67" y="35"/>
                        </a:lnTo>
                        <a:lnTo>
                          <a:pt x="62" y="28"/>
                        </a:lnTo>
                        <a:lnTo>
                          <a:pt x="55" y="27"/>
                        </a:lnTo>
                        <a:lnTo>
                          <a:pt x="52" y="22"/>
                        </a:lnTo>
                        <a:lnTo>
                          <a:pt x="53" y="27"/>
                        </a:lnTo>
                        <a:lnTo>
                          <a:pt x="55" y="30"/>
                        </a:lnTo>
                        <a:lnTo>
                          <a:pt x="52" y="38"/>
                        </a:lnTo>
                        <a:lnTo>
                          <a:pt x="50" y="43"/>
                        </a:lnTo>
                        <a:lnTo>
                          <a:pt x="52" y="52"/>
                        </a:lnTo>
                        <a:lnTo>
                          <a:pt x="52" y="67"/>
                        </a:lnTo>
                        <a:lnTo>
                          <a:pt x="50" y="72"/>
                        </a:lnTo>
                        <a:lnTo>
                          <a:pt x="53" y="73"/>
                        </a:lnTo>
                        <a:lnTo>
                          <a:pt x="57" y="80"/>
                        </a:lnTo>
                        <a:lnTo>
                          <a:pt x="57" y="83"/>
                        </a:lnTo>
                        <a:lnTo>
                          <a:pt x="58" y="85"/>
                        </a:lnTo>
                        <a:lnTo>
                          <a:pt x="60" y="87"/>
                        </a:lnTo>
                        <a:lnTo>
                          <a:pt x="67" y="92"/>
                        </a:lnTo>
                        <a:lnTo>
                          <a:pt x="68" y="97"/>
                        </a:lnTo>
                        <a:lnTo>
                          <a:pt x="68" y="100"/>
                        </a:lnTo>
                        <a:lnTo>
                          <a:pt x="70" y="105"/>
                        </a:lnTo>
                        <a:lnTo>
                          <a:pt x="73" y="107"/>
                        </a:lnTo>
                        <a:lnTo>
                          <a:pt x="77" y="108"/>
                        </a:lnTo>
                        <a:lnTo>
                          <a:pt x="77" y="113"/>
                        </a:lnTo>
                        <a:lnTo>
                          <a:pt x="78" y="115"/>
                        </a:lnTo>
                        <a:lnTo>
                          <a:pt x="81" y="116"/>
                        </a:lnTo>
                        <a:lnTo>
                          <a:pt x="86" y="121"/>
                        </a:lnTo>
                        <a:lnTo>
                          <a:pt x="85" y="126"/>
                        </a:lnTo>
                        <a:lnTo>
                          <a:pt x="85" y="131"/>
                        </a:lnTo>
                        <a:lnTo>
                          <a:pt x="90" y="135"/>
                        </a:lnTo>
                        <a:lnTo>
                          <a:pt x="91" y="136"/>
                        </a:lnTo>
                        <a:lnTo>
                          <a:pt x="96" y="141"/>
                        </a:lnTo>
                        <a:lnTo>
                          <a:pt x="98" y="151"/>
                        </a:lnTo>
                        <a:lnTo>
                          <a:pt x="100" y="151"/>
                        </a:lnTo>
                        <a:lnTo>
                          <a:pt x="101" y="153"/>
                        </a:lnTo>
                        <a:lnTo>
                          <a:pt x="100" y="156"/>
                        </a:lnTo>
                        <a:lnTo>
                          <a:pt x="100" y="160"/>
                        </a:lnTo>
                        <a:lnTo>
                          <a:pt x="105" y="165"/>
                        </a:lnTo>
                        <a:lnTo>
                          <a:pt x="106" y="163"/>
                        </a:lnTo>
                        <a:lnTo>
                          <a:pt x="106" y="161"/>
                        </a:lnTo>
                        <a:lnTo>
                          <a:pt x="106" y="160"/>
                        </a:lnTo>
                        <a:lnTo>
                          <a:pt x="108" y="160"/>
                        </a:lnTo>
                        <a:lnTo>
                          <a:pt x="110" y="163"/>
                        </a:lnTo>
                        <a:lnTo>
                          <a:pt x="111" y="166"/>
                        </a:lnTo>
                        <a:lnTo>
                          <a:pt x="113" y="175"/>
                        </a:lnTo>
                        <a:lnTo>
                          <a:pt x="113" y="178"/>
                        </a:lnTo>
                        <a:lnTo>
                          <a:pt x="113" y="185"/>
                        </a:lnTo>
                        <a:lnTo>
                          <a:pt x="115" y="186"/>
                        </a:lnTo>
                        <a:lnTo>
                          <a:pt x="115" y="190"/>
                        </a:lnTo>
                        <a:lnTo>
                          <a:pt x="116" y="193"/>
                        </a:lnTo>
                        <a:lnTo>
                          <a:pt x="116" y="196"/>
                        </a:lnTo>
                        <a:lnTo>
                          <a:pt x="120" y="198"/>
                        </a:lnTo>
                        <a:lnTo>
                          <a:pt x="120" y="201"/>
                        </a:lnTo>
                        <a:lnTo>
                          <a:pt x="118" y="205"/>
                        </a:lnTo>
                        <a:lnTo>
                          <a:pt x="121" y="210"/>
                        </a:lnTo>
                        <a:lnTo>
                          <a:pt x="121" y="213"/>
                        </a:lnTo>
                        <a:lnTo>
                          <a:pt x="120" y="218"/>
                        </a:lnTo>
                        <a:lnTo>
                          <a:pt x="120" y="221"/>
                        </a:lnTo>
                        <a:lnTo>
                          <a:pt x="125" y="224"/>
                        </a:lnTo>
                        <a:lnTo>
                          <a:pt x="128" y="228"/>
                        </a:lnTo>
                        <a:lnTo>
                          <a:pt x="128" y="231"/>
                        </a:lnTo>
                        <a:lnTo>
                          <a:pt x="131" y="229"/>
                        </a:lnTo>
                        <a:lnTo>
                          <a:pt x="131" y="226"/>
                        </a:lnTo>
                        <a:lnTo>
                          <a:pt x="131" y="226"/>
                        </a:lnTo>
                        <a:lnTo>
                          <a:pt x="135" y="226"/>
                        </a:lnTo>
                        <a:lnTo>
                          <a:pt x="136" y="229"/>
                        </a:lnTo>
                        <a:lnTo>
                          <a:pt x="138" y="233"/>
                        </a:lnTo>
                        <a:lnTo>
                          <a:pt x="141" y="234"/>
                        </a:lnTo>
                        <a:lnTo>
                          <a:pt x="143" y="238"/>
                        </a:lnTo>
                        <a:lnTo>
                          <a:pt x="146" y="241"/>
                        </a:lnTo>
                        <a:lnTo>
                          <a:pt x="146" y="244"/>
                        </a:lnTo>
                        <a:lnTo>
                          <a:pt x="150" y="246"/>
                        </a:lnTo>
                        <a:lnTo>
                          <a:pt x="150" y="251"/>
                        </a:lnTo>
                        <a:lnTo>
                          <a:pt x="145" y="258"/>
                        </a:lnTo>
                        <a:lnTo>
                          <a:pt x="138" y="261"/>
                        </a:lnTo>
                        <a:lnTo>
                          <a:pt x="135" y="259"/>
                        </a:lnTo>
                        <a:lnTo>
                          <a:pt x="133" y="256"/>
                        </a:lnTo>
                        <a:lnTo>
                          <a:pt x="133" y="253"/>
                        </a:lnTo>
                        <a:lnTo>
                          <a:pt x="130" y="249"/>
                        </a:lnTo>
                        <a:lnTo>
                          <a:pt x="130" y="244"/>
                        </a:lnTo>
                        <a:lnTo>
                          <a:pt x="126" y="241"/>
                        </a:lnTo>
                        <a:lnTo>
                          <a:pt x="121" y="241"/>
                        </a:lnTo>
                        <a:lnTo>
                          <a:pt x="118" y="236"/>
                        </a:lnTo>
                        <a:lnTo>
                          <a:pt x="116" y="234"/>
                        </a:lnTo>
                        <a:lnTo>
                          <a:pt x="113" y="233"/>
                        </a:lnTo>
                        <a:lnTo>
                          <a:pt x="103" y="223"/>
                        </a:lnTo>
                        <a:lnTo>
                          <a:pt x="100" y="218"/>
                        </a:lnTo>
                        <a:lnTo>
                          <a:pt x="95" y="218"/>
                        </a:lnTo>
                        <a:lnTo>
                          <a:pt x="95" y="214"/>
                        </a:lnTo>
                        <a:lnTo>
                          <a:pt x="91" y="214"/>
                        </a:lnTo>
                        <a:lnTo>
                          <a:pt x="88" y="211"/>
                        </a:lnTo>
                        <a:lnTo>
                          <a:pt x="86" y="208"/>
                        </a:lnTo>
                        <a:lnTo>
                          <a:pt x="91" y="201"/>
                        </a:lnTo>
                        <a:lnTo>
                          <a:pt x="93" y="195"/>
                        </a:lnTo>
                        <a:lnTo>
                          <a:pt x="91" y="186"/>
                        </a:lnTo>
                        <a:lnTo>
                          <a:pt x="88" y="178"/>
                        </a:lnTo>
                        <a:lnTo>
                          <a:pt x="86" y="175"/>
                        </a:lnTo>
                        <a:lnTo>
                          <a:pt x="83" y="175"/>
                        </a:lnTo>
                        <a:lnTo>
                          <a:pt x="80" y="173"/>
                        </a:lnTo>
                        <a:lnTo>
                          <a:pt x="72" y="166"/>
                        </a:lnTo>
                        <a:lnTo>
                          <a:pt x="70" y="158"/>
                        </a:lnTo>
                        <a:lnTo>
                          <a:pt x="72" y="155"/>
                        </a:lnTo>
                        <a:lnTo>
                          <a:pt x="70" y="155"/>
                        </a:lnTo>
                        <a:lnTo>
                          <a:pt x="67" y="160"/>
                        </a:lnTo>
                        <a:lnTo>
                          <a:pt x="63" y="160"/>
                        </a:lnTo>
                        <a:lnTo>
                          <a:pt x="60" y="161"/>
                        </a:lnTo>
                        <a:lnTo>
                          <a:pt x="58" y="158"/>
                        </a:lnTo>
                        <a:lnTo>
                          <a:pt x="58" y="156"/>
                        </a:lnTo>
                        <a:lnTo>
                          <a:pt x="55" y="155"/>
                        </a:lnTo>
                        <a:lnTo>
                          <a:pt x="53" y="155"/>
                        </a:lnTo>
                        <a:lnTo>
                          <a:pt x="53" y="153"/>
                        </a:lnTo>
                        <a:lnTo>
                          <a:pt x="47" y="150"/>
                        </a:lnTo>
                        <a:lnTo>
                          <a:pt x="43" y="150"/>
                        </a:lnTo>
                        <a:lnTo>
                          <a:pt x="40" y="145"/>
                        </a:lnTo>
                        <a:lnTo>
                          <a:pt x="40" y="141"/>
                        </a:lnTo>
                        <a:lnTo>
                          <a:pt x="35" y="140"/>
                        </a:lnTo>
                        <a:lnTo>
                          <a:pt x="30" y="133"/>
                        </a:lnTo>
                        <a:lnTo>
                          <a:pt x="32" y="131"/>
                        </a:lnTo>
                        <a:lnTo>
                          <a:pt x="38" y="131"/>
                        </a:lnTo>
                        <a:lnTo>
                          <a:pt x="42" y="133"/>
                        </a:lnTo>
                        <a:lnTo>
                          <a:pt x="48" y="133"/>
                        </a:lnTo>
                        <a:lnTo>
                          <a:pt x="52" y="136"/>
                        </a:lnTo>
                        <a:lnTo>
                          <a:pt x="53" y="133"/>
                        </a:lnTo>
                        <a:lnTo>
                          <a:pt x="53" y="131"/>
                        </a:lnTo>
                        <a:lnTo>
                          <a:pt x="50" y="130"/>
                        </a:lnTo>
                        <a:lnTo>
                          <a:pt x="48" y="130"/>
                        </a:lnTo>
                        <a:lnTo>
                          <a:pt x="52" y="126"/>
                        </a:lnTo>
                        <a:lnTo>
                          <a:pt x="55" y="128"/>
                        </a:lnTo>
                        <a:lnTo>
                          <a:pt x="55" y="125"/>
                        </a:lnTo>
                        <a:lnTo>
                          <a:pt x="53" y="121"/>
                        </a:lnTo>
                        <a:lnTo>
                          <a:pt x="53" y="120"/>
                        </a:lnTo>
                        <a:lnTo>
                          <a:pt x="57" y="116"/>
                        </a:lnTo>
                        <a:lnTo>
                          <a:pt x="53" y="112"/>
                        </a:lnTo>
                        <a:lnTo>
                          <a:pt x="52" y="110"/>
                        </a:lnTo>
                        <a:lnTo>
                          <a:pt x="48" y="103"/>
                        </a:lnTo>
                        <a:lnTo>
                          <a:pt x="43" y="98"/>
                        </a:lnTo>
                        <a:lnTo>
                          <a:pt x="42" y="95"/>
                        </a:lnTo>
                        <a:lnTo>
                          <a:pt x="38" y="90"/>
                        </a:lnTo>
                        <a:lnTo>
                          <a:pt x="32" y="85"/>
                        </a:lnTo>
                        <a:lnTo>
                          <a:pt x="28" y="85"/>
                        </a:lnTo>
                        <a:lnTo>
                          <a:pt x="25" y="82"/>
                        </a:lnTo>
                        <a:lnTo>
                          <a:pt x="22" y="75"/>
                        </a:lnTo>
                        <a:lnTo>
                          <a:pt x="22" y="68"/>
                        </a:lnTo>
                        <a:lnTo>
                          <a:pt x="22" y="65"/>
                        </a:lnTo>
                        <a:lnTo>
                          <a:pt x="18" y="63"/>
                        </a:lnTo>
                        <a:lnTo>
                          <a:pt x="18" y="58"/>
                        </a:lnTo>
                        <a:lnTo>
                          <a:pt x="20" y="57"/>
                        </a:lnTo>
                        <a:lnTo>
                          <a:pt x="18" y="52"/>
                        </a:lnTo>
                        <a:lnTo>
                          <a:pt x="13" y="48"/>
                        </a:lnTo>
                        <a:lnTo>
                          <a:pt x="13" y="45"/>
                        </a:lnTo>
                        <a:lnTo>
                          <a:pt x="15" y="43"/>
                        </a:lnTo>
                        <a:lnTo>
                          <a:pt x="15" y="42"/>
                        </a:lnTo>
                        <a:lnTo>
                          <a:pt x="8" y="35"/>
                        </a:lnTo>
                        <a:lnTo>
                          <a:pt x="7" y="30"/>
                        </a:lnTo>
                        <a:lnTo>
                          <a:pt x="7" y="27"/>
                        </a:lnTo>
                        <a:lnTo>
                          <a:pt x="10" y="25"/>
                        </a:lnTo>
                        <a:lnTo>
                          <a:pt x="7" y="22"/>
                        </a:lnTo>
                        <a:lnTo>
                          <a:pt x="3" y="17"/>
                        </a:lnTo>
                        <a:lnTo>
                          <a:pt x="0" y="7"/>
                        </a:lnTo>
                        <a:lnTo>
                          <a:pt x="0" y="2"/>
                        </a:lnTo>
                        <a:lnTo>
                          <a:pt x="0" y="2"/>
                        </a:lnTo>
                        <a:close/>
                        <a:moveTo>
                          <a:pt x="125" y="211"/>
                        </a:moveTo>
                        <a:lnTo>
                          <a:pt x="128" y="210"/>
                        </a:lnTo>
                        <a:lnTo>
                          <a:pt x="128" y="206"/>
                        </a:lnTo>
                        <a:lnTo>
                          <a:pt x="125" y="203"/>
                        </a:lnTo>
                        <a:lnTo>
                          <a:pt x="123" y="205"/>
                        </a:lnTo>
                        <a:lnTo>
                          <a:pt x="125" y="206"/>
                        </a:lnTo>
                        <a:lnTo>
                          <a:pt x="125" y="211"/>
                        </a:lnTo>
                        <a:lnTo>
                          <a:pt x="125" y="211"/>
                        </a:lnTo>
                        <a:close/>
                        <a:moveTo>
                          <a:pt x="130" y="221"/>
                        </a:moveTo>
                        <a:lnTo>
                          <a:pt x="130" y="224"/>
                        </a:lnTo>
                        <a:lnTo>
                          <a:pt x="131" y="224"/>
                        </a:lnTo>
                        <a:lnTo>
                          <a:pt x="133" y="221"/>
                        </a:lnTo>
                        <a:lnTo>
                          <a:pt x="130" y="221"/>
                        </a:lnTo>
                        <a:lnTo>
                          <a:pt x="130" y="221"/>
                        </a:lnTo>
                        <a:close/>
                        <a:moveTo>
                          <a:pt x="440" y="214"/>
                        </a:moveTo>
                        <a:lnTo>
                          <a:pt x="442" y="214"/>
                        </a:lnTo>
                        <a:lnTo>
                          <a:pt x="442" y="211"/>
                        </a:lnTo>
                        <a:lnTo>
                          <a:pt x="440" y="211"/>
                        </a:lnTo>
                        <a:lnTo>
                          <a:pt x="440" y="214"/>
                        </a:lnTo>
                        <a:lnTo>
                          <a:pt x="440" y="214"/>
                        </a:lnTo>
                        <a:close/>
                        <a:moveTo>
                          <a:pt x="439" y="219"/>
                        </a:moveTo>
                        <a:lnTo>
                          <a:pt x="439" y="221"/>
                        </a:lnTo>
                        <a:lnTo>
                          <a:pt x="440" y="216"/>
                        </a:lnTo>
                        <a:lnTo>
                          <a:pt x="439" y="216"/>
                        </a:lnTo>
                        <a:lnTo>
                          <a:pt x="439" y="219"/>
                        </a:lnTo>
                        <a:lnTo>
                          <a:pt x="439" y="219"/>
                        </a:lnTo>
                        <a:close/>
                        <a:moveTo>
                          <a:pt x="435" y="229"/>
                        </a:moveTo>
                        <a:lnTo>
                          <a:pt x="439" y="226"/>
                        </a:lnTo>
                        <a:lnTo>
                          <a:pt x="439" y="223"/>
                        </a:lnTo>
                        <a:lnTo>
                          <a:pt x="435" y="229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</p:grpSp>
            <p:grpSp>
              <p:nvGrpSpPr>
                <p:cNvPr id="518" name="Google Shape;3120;p98">
                  <a:extLst>
                    <a:ext uri="{FF2B5EF4-FFF2-40B4-BE49-F238E27FC236}">
                      <a16:creationId xmlns:a16="http://schemas.microsoft.com/office/drawing/2014/main" id="{B9B2E229-8782-9337-8DF1-05598F612252}"/>
                    </a:ext>
                  </a:extLst>
                </p:cNvPr>
                <p:cNvGrpSpPr/>
                <p:nvPr/>
              </p:nvGrpSpPr>
              <p:grpSpPr>
                <a:xfrm>
                  <a:off x="5259857" y="3094505"/>
                  <a:ext cx="717164" cy="920074"/>
                  <a:chOff x="5259146" y="3095400"/>
                  <a:chExt cx="717067" cy="920340"/>
                </a:xfrm>
                <a:grpFill/>
              </p:grpSpPr>
              <p:sp>
                <p:nvSpPr>
                  <p:cNvPr id="583" name="Google Shape;3121;p98">
                    <a:extLst>
                      <a:ext uri="{FF2B5EF4-FFF2-40B4-BE49-F238E27FC236}">
                        <a16:creationId xmlns:a16="http://schemas.microsoft.com/office/drawing/2014/main" id="{40948968-7980-A7A1-D6A8-D0E43CA87315}"/>
                      </a:ext>
                    </a:extLst>
                  </p:cNvPr>
                  <p:cNvSpPr/>
                  <p:nvPr/>
                </p:nvSpPr>
                <p:spPr>
                  <a:xfrm>
                    <a:off x="5352257" y="3158692"/>
                    <a:ext cx="71706" cy="2905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4" h="57" extrusionOk="0">
                        <a:moveTo>
                          <a:pt x="121" y="53"/>
                        </a:moveTo>
                        <a:lnTo>
                          <a:pt x="116" y="50"/>
                        </a:lnTo>
                        <a:lnTo>
                          <a:pt x="111" y="43"/>
                        </a:lnTo>
                        <a:lnTo>
                          <a:pt x="107" y="37"/>
                        </a:lnTo>
                        <a:lnTo>
                          <a:pt x="111" y="35"/>
                        </a:lnTo>
                        <a:lnTo>
                          <a:pt x="114" y="30"/>
                        </a:lnTo>
                        <a:lnTo>
                          <a:pt x="116" y="30"/>
                        </a:lnTo>
                        <a:lnTo>
                          <a:pt x="119" y="29"/>
                        </a:lnTo>
                        <a:lnTo>
                          <a:pt x="117" y="25"/>
                        </a:lnTo>
                        <a:lnTo>
                          <a:pt x="114" y="25"/>
                        </a:lnTo>
                        <a:lnTo>
                          <a:pt x="112" y="29"/>
                        </a:lnTo>
                        <a:lnTo>
                          <a:pt x="111" y="30"/>
                        </a:lnTo>
                        <a:lnTo>
                          <a:pt x="107" y="29"/>
                        </a:lnTo>
                        <a:lnTo>
                          <a:pt x="106" y="24"/>
                        </a:lnTo>
                        <a:lnTo>
                          <a:pt x="103" y="19"/>
                        </a:lnTo>
                        <a:lnTo>
                          <a:pt x="99" y="19"/>
                        </a:lnTo>
                        <a:lnTo>
                          <a:pt x="94" y="14"/>
                        </a:lnTo>
                        <a:lnTo>
                          <a:pt x="91" y="12"/>
                        </a:lnTo>
                        <a:lnTo>
                          <a:pt x="86" y="14"/>
                        </a:lnTo>
                        <a:lnTo>
                          <a:pt x="78" y="17"/>
                        </a:lnTo>
                        <a:lnTo>
                          <a:pt x="78" y="20"/>
                        </a:lnTo>
                        <a:lnTo>
                          <a:pt x="79" y="22"/>
                        </a:lnTo>
                        <a:lnTo>
                          <a:pt x="79" y="24"/>
                        </a:lnTo>
                        <a:lnTo>
                          <a:pt x="73" y="30"/>
                        </a:lnTo>
                        <a:lnTo>
                          <a:pt x="64" y="32"/>
                        </a:lnTo>
                        <a:lnTo>
                          <a:pt x="61" y="33"/>
                        </a:lnTo>
                        <a:lnTo>
                          <a:pt x="59" y="35"/>
                        </a:lnTo>
                        <a:lnTo>
                          <a:pt x="61" y="38"/>
                        </a:lnTo>
                        <a:lnTo>
                          <a:pt x="66" y="42"/>
                        </a:lnTo>
                        <a:lnTo>
                          <a:pt x="69" y="45"/>
                        </a:lnTo>
                        <a:lnTo>
                          <a:pt x="69" y="48"/>
                        </a:lnTo>
                        <a:lnTo>
                          <a:pt x="66" y="50"/>
                        </a:lnTo>
                        <a:lnTo>
                          <a:pt x="63" y="48"/>
                        </a:lnTo>
                        <a:lnTo>
                          <a:pt x="59" y="52"/>
                        </a:lnTo>
                        <a:lnTo>
                          <a:pt x="56" y="57"/>
                        </a:lnTo>
                        <a:lnTo>
                          <a:pt x="49" y="55"/>
                        </a:lnTo>
                        <a:lnTo>
                          <a:pt x="48" y="53"/>
                        </a:lnTo>
                        <a:lnTo>
                          <a:pt x="49" y="50"/>
                        </a:lnTo>
                        <a:lnTo>
                          <a:pt x="48" y="45"/>
                        </a:lnTo>
                        <a:lnTo>
                          <a:pt x="48" y="43"/>
                        </a:lnTo>
                        <a:lnTo>
                          <a:pt x="46" y="42"/>
                        </a:lnTo>
                        <a:lnTo>
                          <a:pt x="44" y="40"/>
                        </a:lnTo>
                        <a:lnTo>
                          <a:pt x="43" y="43"/>
                        </a:lnTo>
                        <a:lnTo>
                          <a:pt x="44" y="45"/>
                        </a:lnTo>
                        <a:lnTo>
                          <a:pt x="43" y="47"/>
                        </a:lnTo>
                        <a:lnTo>
                          <a:pt x="38" y="47"/>
                        </a:lnTo>
                        <a:lnTo>
                          <a:pt x="34" y="45"/>
                        </a:lnTo>
                        <a:lnTo>
                          <a:pt x="31" y="40"/>
                        </a:lnTo>
                        <a:lnTo>
                          <a:pt x="29" y="33"/>
                        </a:lnTo>
                        <a:lnTo>
                          <a:pt x="21" y="33"/>
                        </a:lnTo>
                        <a:lnTo>
                          <a:pt x="18" y="32"/>
                        </a:lnTo>
                        <a:lnTo>
                          <a:pt x="19" y="30"/>
                        </a:lnTo>
                        <a:lnTo>
                          <a:pt x="16" y="29"/>
                        </a:lnTo>
                        <a:lnTo>
                          <a:pt x="14" y="30"/>
                        </a:lnTo>
                        <a:lnTo>
                          <a:pt x="9" y="30"/>
                        </a:lnTo>
                        <a:lnTo>
                          <a:pt x="6" y="30"/>
                        </a:lnTo>
                        <a:lnTo>
                          <a:pt x="3" y="30"/>
                        </a:lnTo>
                        <a:lnTo>
                          <a:pt x="1" y="29"/>
                        </a:lnTo>
                        <a:lnTo>
                          <a:pt x="1" y="27"/>
                        </a:lnTo>
                        <a:lnTo>
                          <a:pt x="1" y="22"/>
                        </a:lnTo>
                        <a:lnTo>
                          <a:pt x="6" y="20"/>
                        </a:lnTo>
                        <a:lnTo>
                          <a:pt x="3" y="17"/>
                        </a:lnTo>
                        <a:lnTo>
                          <a:pt x="0" y="15"/>
                        </a:lnTo>
                        <a:lnTo>
                          <a:pt x="1" y="12"/>
                        </a:lnTo>
                        <a:lnTo>
                          <a:pt x="3" y="9"/>
                        </a:lnTo>
                        <a:lnTo>
                          <a:pt x="3" y="5"/>
                        </a:lnTo>
                        <a:lnTo>
                          <a:pt x="6" y="4"/>
                        </a:lnTo>
                        <a:lnTo>
                          <a:pt x="9" y="4"/>
                        </a:lnTo>
                        <a:lnTo>
                          <a:pt x="11" y="7"/>
                        </a:lnTo>
                        <a:lnTo>
                          <a:pt x="13" y="9"/>
                        </a:lnTo>
                        <a:lnTo>
                          <a:pt x="16" y="10"/>
                        </a:lnTo>
                        <a:lnTo>
                          <a:pt x="18" y="10"/>
                        </a:lnTo>
                        <a:lnTo>
                          <a:pt x="19" y="10"/>
                        </a:lnTo>
                        <a:lnTo>
                          <a:pt x="18" y="12"/>
                        </a:lnTo>
                        <a:lnTo>
                          <a:pt x="18" y="12"/>
                        </a:lnTo>
                        <a:lnTo>
                          <a:pt x="18" y="14"/>
                        </a:lnTo>
                        <a:lnTo>
                          <a:pt x="23" y="15"/>
                        </a:lnTo>
                        <a:lnTo>
                          <a:pt x="26" y="15"/>
                        </a:lnTo>
                        <a:lnTo>
                          <a:pt x="26" y="14"/>
                        </a:lnTo>
                        <a:lnTo>
                          <a:pt x="23" y="12"/>
                        </a:lnTo>
                        <a:lnTo>
                          <a:pt x="24" y="10"/>
                        </a:lnTo>
                        <a:lnTo>
                          <a:pt x="31" y="12"/>
                        </a:lnTo>
                        <a:lnTo>
                          <a:pt x="39" y="19"/>
                        </a:lnTo>
                        <a:lnTo>
                          <a:pt x="46" y="19"/>
                        </a:lnTo>
                        <a:lnTo>
                          <a:pt x="51" y="19"/>
                        </a:lnTo>
                        <a:lnTo>
                          <a:pt x="54" y="14"/>
                        </a:lnTo>
                        <a:lnTo>
                          <a:pt x="69" y="7"/>
                        </a:lnTo>
                        <a:lnTo>
                          <a:pt x="78" y="5"/>
                        </a:lnTo>
                        <a:lnTo>
                          <a:pt x="84" y="2"/>
                        </a:lnTo>
                        <a:lnTo>
                          <a:pt x="86" y="0"/>
                        </a:lnTo>
                        <a:lnTo>
                          <a:pt x="91" y="2"/>
                        </a:lnTo>
                        <a:lnTo>
                          <a:pt x="91" y="4"/>
                        </a:lnTo>
                        <a:lnTo>
                          <a:pt x="96" y="5"/>
                        </a:lnTo>
                        <a:lnTo>
                          <a:pt x="106" y="5"/>
                        </a:lnTo>
                        <a:lnTo>
                          <a:pt x="112" y="7"/>
                        </a:lnTo>
                        <a:lnTo>
                          <a:pt x="122" y="12"/>
                        </a:lnTo>
                        <a:lnTo>
                          <a:pt x="126" y="17"/>
                        </a:lnTo>
                        <a:lnTo>
                          <a:pt x="127" y="19"/>
                        </a:lnTo>
                        <a:lnTo>
                          <a:pt x="131" y="20"/>
                        </a:lnTo>
                        <a:lnTo>
                          <a:pt x="132" y="22"/>
                        </a:lnTo>
                        <a:lnTo>
                          <a:pt x="131" y="25"/>
                        </a:lnTo>
                        <a:lnTo>
                          <a:pt x="132" y="29"/>
                        </a:lnTo>
                        <a:lnTo>
                          <a:pt x="134" y="33"/>
                        </a:lnTo>
                        <a:lnTo>
                          <a:pt x="131" y="40"/>
                        </a:lnTo>
                        <a:lnTo>
                          <a:pt x="129" y="45"/>
                        </a:lnTo>
                        <a:lnTo>
                          <a:pt x="126" y="47"/>
                        </a:lnTo>
                        <a:lnTo>
                          <a:pt x="124" y="47"/>
                        </a:lnTo>
                        <a:lnTo>
                          <a:pt x="121" y="53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584" name="Google Shape;3122;p98">
                    <a:extLst>
                      <a:ext uri="{FF2B5EF4-FFF2-40B4-BE49-F238E27FC236}">
                        <a16:creationId xmlns:a16="http://schemas.microsoft.com/office/drawing/2014/main" id="{44832946-4025-4BF1-0301-3FEE19FB095F}"/>
                      </a:ext>
                    </a:extLst>
                  </p:cNvPr>
                  <p:cNvSpPr/>
                  <p:nvPr/>
                </p:nvSpPr>
                <p:spPr>
                  <a:xfrm>
                    <a:off x="5313728" y="3140016"/>
                    <a:ext cx="43880" cy="3631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1" h="70" extrusionOk="0">
                        <a:moveTo>
                          <a:pt x="73" y="64"/>
                        </a:moveTo>
                        <a:lnTo>
                          <a:pt x="73" y="64"/>
                        </a:lnTo>
                        <a:lnTo>
                          <a:pt x="75" y="65"/>
                        </a:lnTo>
                        <a:lnTo>
                          <a:pt x="73" y="65"/>
                        </a:lnTo>
                        <a:lnTo>
                          <a:pt x="75" y="68"/>
                        </a:lnTo>
                        <a:lnTo>
                          <a:pt x="73" y="70"/>
                        </a:lnTo>
                        <a:lnTo>
                          <a:pt x="70" y="70"/>
                        </a:lnTo>
                        <a:lnTo>
                          <a:pt x="68" y="68"/>
                        </a:lnTo>
                        <a:lnTo>
                          <a:pt x="67" y="68"/>
                        </a:lnTo>
                        <a:lnTo>
                          <a:pt x="65" y="67"/>
                        </a:lnTo>
                        <a:lnTo>
                          <a:pt x="65" y="64"/>
                        </a:lnTo>
                        <a:lnTo>
                          <a:pt x="62" y="59"/>
                        </a:lnTo>
                        <a:lnTo>
                          <a:pt x="58" y="57"/>
                        </a:lnTo>
                        <a:lnTo>
                          <a:pt x="57" y="57"/>
                        </a:lnTo>
                        <a:lnTo>
                          <a:pt x="57" y="59"/>
                        </a:lnTo>
                        <a:lnTo>
                          <a:pt x="62" y="60"/>
                        </a:lnTo>
                        <a:lnTo>
                          <a:pt x="63" y="64"/>
                        </a:lnTo>
                        <a:lnTo>
                          <a:pt x="63" y="67"/>
                        </a:lnTo>
                        <a:lnTo>
                          <a:pt x="62" y="67"/>
                        </a:lnTo>
                        <a:lnTo>
                          <a:pt x="57" y="65"/>
                        </a:lnTo>
                        <a:lnTo>
                          <a:pt x="52" y="64"/>
                        </a:lnTo>
                        <a:lnTo>
                          <a:pt x="50" y="60"/>
                        </a:lnTo>
                        <a:lnTo>
                          <a:pt x="50" y="57"/>
                        </a:lnTo>
                        <a:lnTo>
                          <a:pt x="53" y="54"/>
                        </a:lnTo>
                        <a:lnTo>
                          <a:pt x="52" y="52"/>
                        </a:lnTo>
                        <a:lnTo>
                          <a:pt x="47" y="47"/>
                        </a:lnTo>
                        <a:lnTo>
                          <a:pt x="43" y="45"/>
                        </a:lnTo>
                        <a:lnTo>
                          <a:pt x="40" y="40"/>
                        </a:lnTo>
                        <a:lnTo>
                          <a:pt x="33" y="39"/>
                        </a:lnTo>
                        <a:lnTo>
                          <a:pt x="32" y="34"/>
                        </a:lnTo>
                        <a:lnTo>
                          <a:pt x="27" y="30"/>
                        </a:lnTo>
                        <a:lnTo>
                          <a:pt x="27" y="27"/>
                        </a:lnTo>
                        <a:lnTo>
                          <a:pt x="22" y="25"/>
                        </a:lnTo>
                        <a:lnTo>
                          <a:pt x="18" y="22"/>
                        </a:lnTo>
                        <a:lnTo>
                          <a:pt x="17" y="24"/>
                        </a:lnTo>
                        <a:lnTo>
                          <a:pt x="18" y="25"/>
                        </a:lnTo>
                        <a:lnTo>
                          <a:pt x="25" y="30"/>
                        </a:lnTo>
                        <a:lnTo>
                          <a:pt x="25" y="34"/>
                        </a:lnTo>
                        <a:lnTo>
                          <a:pt x="23" y="39"/>
                        </a:lnTo>
                        <a:lnTo>
                          <a:pt x="20" y="39"/>
                        </a:lnTo>
                        <a:lnTo>
                          <a:pt x="18" y="35"/>
                        </a:lnTo>
                        <a:lnTo>
                          <a:pt x="15" y="32"/>
                        </a:lnTo>
                        <a:lnTo>
                          <a:pt x="8" y="32"/>
                        </a:lnTo>
                        <a:lnTo>
                          <a:pt x="2" y="27"/>
                        </a:lnTo>
                        <a:lnTo>
                          <a:pt x="0" y="24"/>
                        </a:lnTo>
                        <a:lnTo>
                          <a:pt x="2" y="19"/>
                        </a:lnTo>
                        <a:lnTo>
                          <a:pt x="7" y="15"/>
                        </a:lnTo>
                        <a:lnTo>
                          <a:pt x="5" y="12"/>
                        </a:lnTo>
                        <a:lnTo>
                          <a:pt x="2" y="10"/>
                        </a:lnTo>
                        <a:lnTo>
                          <a:pt x="0" y="10"/>
                        </a:lnTo>
                        <a:lnTo>
                          <a:pt x="2" y="9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lnTo>
                          <a:pt x="5" y="2"/>
                        </a:lnTo>
                        <a:lnTo>
                          <a:pt x="5" y="2"/>
                        </a:lnTo>
                        <a:lnTo>
                          <a:pt x="13" y="0"/>
                        </a:lnTo>
                        <a:lnTo>
                          <a:pt x="27" y="4"/>
                        </a:lnTo>
                        <a:lnTo>
                          <a:pt x="30" y="4"/>
                        </a:lnTo>
                        <a:lnTo>
                          <a:pt x="37" y="2"/>
                        </a:lnTo>
                        <a:lnTo>
                          <a:pt x="40" y="5"/>
                        </a:lnTo>
                        <a:lnTo>
                          <a:pt x="43" y="7"/>
                        </a:lnTo>
                        <a:lnTo>
                          <a:pt x="43" y="9"/>
                        </a:lnTo>
                        <a:lnTo>
                          <a:pt x="48" y="12"/>
                        </a:lnTo>
                        <a:lnTo>
                          <a:pt x="50" y="12"/>
                        </a:lnTo>
                        <a:lnTo>
                          <a:pt x="53" y="12"/>
                        </a:lnTo>
                        <a:lnTo>
                          <a:pt x="52" y="14"/>
                        </a:lnTo>
                        <a:lnTo>
                          <a:pt x="57" y="14"/>
                        </a:lnTo>
                        <a:lnTo>
                          <a:pt x="58" y="10"/>
                        </a:lnTo>
                        <a:lnTo>
                          <a:pt x="60" y="10"/>
                        </a:lnTo>
                        <a:lnTo>
                          <a:pt x="62" y="15"/>
                        </a:lnTo>
                        <a:lnTo>
                          <a:pt x="62" y="19"/>
                        </a:lnTo>
                        <a:lnTo>
                          <a:pt x="65" y="24"/>
                        </a:lnTo>
                        <a:lnTo>
                          <a:pt x="70" y="29"/>
                        </a:lnTo>
                        <a:lnTo>
                          <a:pt x="72" y="32"/>
                        </a:lnTo>
                        <a:lnTo>
                          <a:pt x="75" y="35"/>
                        </a:lnTo>
                        <a:lnTo>
                          <a:pt x="78" y="35"/>
                        </a:lnTo>
                        <a:lnTo>
                          <a:pt x="81" y="39"/>
                        </a:lnTo>
                        <a:lnTo>
                          <a:pt x="81" y="39"/>
                        </a:lnTo>
                        <a:lnTo>
                          <a:pt x="78" y="39"/>
                        </a:lnTo>
                        <a:lnTo>
                          <a:pt x="75" y="40"/>
                        </a:lnTo>
                        <a:lnTo>
                          <a:pt x="75" y="44"/>
                        </a:lnTo>
                        <a:lnTo>
                          <a:pt x="73" y="47"/>
                        </a:lnTo>
                        <a:lnTo>
                          <a:pt x="72" y="50"/>
                        </a:lnTo>
                        <a:lnTo>
                          <a:pt x="75" y="52"/>
                        </a:lnTo>
                        <a:lnTo>
                          <a:pt x="78" y="55"/>
                        </a:lnTo>
                        <a:lnTo>
                          <a:pt x="73" y="57"/>
                        </a:lnTo>
                        <a:lnTo>
                          <a:pt x="73" y="62"/>
                        </a:lnTo>
                        <a:lnTo>
                          <a:pt x="73" y="64"/>
                        </a:lnTo>
                        <a:lnTo>
                          <a:pt x="73" y="64"/>
                        </a:lnTo>
                        <a:lnTo>
                          <a:pt x="73" y="64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585" name="Google Shape;3123;p98">
                    <a:extLst>
                      <a:ext uri="{FF2B5EF4-FFF2-40B4-BE49-F238E27FC236}">
                        <a16:creationId xmlns:a16="http://schemas.microsoft.com/office/drawing/2014/main" id="{3121F51C-C6AF-726E-DE22-623B0BEBD30D}"/>
                      </a:ext>
                    </a:extLst>
                  </p:cNvPr>
                  <p:cNvSpPr/>
                  <p:nvPr/>
                </p:nvSpPr>
                <p:spPr>
                  <a:xfrm>
                    <a:off x="5293394" y="3095400"/>
                    <a:ext cx="59934" cy="5084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1" h="98" extrusionOk="0">
                        <a:moveTo>
                          <a:pt x="41" y="90"/>
                        </a:moveTo>
                        <a:lnTo>
                          <a:pt x="43" y="88"/>
                        </a:lnTo>
                        <a:lnTo>
                          <a:pt x="43" y="88"/>
                        </a:lnTo>
                        <a:lnTo>
                          <a:pt x="51" y="86"/>
                        </a:lnTo>
                        <a:lnTo>
                          <a:pt x="65" y="90"/>
                        </a:lnTo>
                        <a:lnTo>
                          <a:pt x="68" y="90"/>
                        </a:lnTo>
                        <a:lnTo>
                          <a:pt x="75" y="88"/>
                        </a:lnTo>
                        <a:lnTo>
                          <a:pt x="78" y="91"/>
                        </a:lnTo>
                        <a:lnTo>
                          <a:pt x="81" y="93"/>
                        </a:lnTo>
                        <a:lnTo>
                          <a:pt x="81" y="95"/>
                        </a:lnTo>
                        <a:lnTo>
                          <a:pt x="86" y="98"/>
                        </a:lnTo>
                        <a:lnTo>
                          <a:pt x="88" y="98"/>
                        </a:lnTo>
                        <a:lnTo>
                          <a:pt x="91" y="98"/>
                        </a:lnTo>
                        <a:lnTo>
                          <a:pt x="91" y="96"/>
                        </a:lnTo>
                        <a:lnTo>
                          <a:pt x="93" y="96"/>
                        </a:lnTo>
                        <a:lnTo>
                          <a:pt x="93" y="93"/>
                        </a:lnTo>
                        <a:lnTo>
                          <a:pt x="90" y="90"/>
                        </a:lnTo>
                        <a:lnTo>
                          <a:pt x="90" y="85"/>
                        </a:lnTo>
                        <a:lnTo>
                          <a:pt x="91" y="80"/>
                        </a:lnTo>
                        <a:lnTo>
                          <a:pt x="93" y="76"/>
                        </a:lnTo>
                        <a:lnTo>
                          <a:pt x="93" y="71"/>
                        </a:lnTo>
                        <a:lnTo>
                          <a:pt x="93" y="75"/>
                        </a:lnTo>
                        <a:lnTo>
                          <a:pt x="91" y="76"/>
                        </a:lnTo>
                        <a:lnTo>
                          <a:pt x="90" y="78"/>
                        </a:lnTo>
                        <a:lnTo>
                          <a:pt x="90" y="75"/>
                        </a:lnTo>
                        <a:lnTo>
                          <a:pt x="90" y="71"/>
                        </a:lnTo>
                        <a:lnTo>
                          <a:pt x="93" y="66"/>
                        </a:lnTo>
                        <a:lnTo>
                          <a:pt x="91" y="63"/>
                        </a:lnTo>
                        <a:lnTo>
                          <a:pt x="91" y="60"/>
                        </a:lnTo>
                        <a:lnTo>
                          <a:pt x="95" y="55"/>
                        </a:lnTo>
                        <a:lnTo>
                          <a:pt x="96" y="55"/>
                        </a:lnTo>
                        <a:lnTo>
                          <a:pt x="96" y="56"/>
                        </a:lnTo>
                        <a:lnTo>
                          <a:pt x="96" y="56"/>
                        </a:lnTo>
                        <a:lnTo>
                          <a:pt x="96" y="60"/>
                        </a:lnTo>
                        <a:lnTo>
                          <a:pt x="96" y="60"/>
                        </a:lnTo>
                        <a:lnTo>
                          <a:pt x="96" y="65"/>
                        </a:lnTo>
                        <a:lnTo>
                          <a:pt x="98" y="65"/>
                        </a:lnTo>
                        <a:lnTo>
                          <a:pt x="100" y="61"/>
                        </a:lnTo>
                        <a:lnTo>
                          <a:pt x="100" y="53"/>
                        </a:lnTo>
                        <a:lnTo>
                          <a:pt x="100" y="43"/>
                        </a:lnTo>
                        <a:lnTo>
                          <a:pt x="101" y="42"/>
                        </a:lnTo>
                        <a:lnTo>
                          <a:pt x="100" y="38"/>
                        </a:lnTo>
                        <a:lnTo>
                          <a:pt x="98" y="38"/>
                        </a:lnTo>
                        <a:lnTo>
                          <a:pt x="98" y="35"/>
                        </a:lnTo>
                        <a:lnTo>
                          <a:pt x="100" y="33"/>
                        </a:lnTo>
                        <a:lnTo>
                          <a:pt x="101" y="33"/>
                        </a:lnTo>
                        <a:lnTo>
                          <a:pt x="101" y="35"/>
                        </a:lnTo>
                        <a:lnTo>
                          <a:pt x="103" y="30"/>
                        </a:lnTo>
                        <a:lnTo>
                          <a:pt x="108" y="25"/>
                        </a:lnTo>
                        <a:lnTo>
                          <a:pt x="110" y="22"/>
                        </a:lnTo>
                        <a:lnTo>
                          <a:pt x="110" y="20"/>
                        </a:lnTo>
                        <a:lnTo>
                          <a:pt x="108" y="18"/>
                        </a:lnTo>
                        <a:lnTo>
                          <a:pt x="106" y="17"/>
                        </a:lnTo>
                        <a:lnTo>
                          <a:pt x="108" y="13"/>
                        </a:lnTo>
                        <a:lnTo>
                          <a:pt x="108" y="10"/>
                        </a:lnTo>
                        <a:lnTo>
                          <a:pt x="108" y="5"/>
                        </a:lnTo>
                        <a:lnTo>
                          <a:pt x="110" y="2"/>
                        </a:lnTo>
                        <a:lnTo>
                          <a:pt x="111" y="0"/>
                        </a:lnTo>
                        <a:lnTo>
                          <a:pt x="108" y="2"/>
                        </a:lnTo>
                        <a:lnTo>
                          <a:pt x="105" y="2"/>
                        </a:lnTo>
                        <a:lnTo>
                          <a:pt x="103" y="0"/>
                        </a:lnTo>
                        <a:lnTo>
                          <a:pt x="101" y="0"/>
                        </a:lnTo>
                        <a:lnTo>
                          <a:pt x="100" y="0"/>
                        </a:lnTo>
                        <a:lnTo>
                          <a:pt x="98" y="3"/>
                        </a:lnTo>
                        <a:lnTo>
                          <a:pt x="95" y="5"/>
                        </a:lnTo>
                        <a:lnTo>
                          <a:pt x="90" y="8"/>
                        </a:lnTo>
                        <a:lnTo>
                          <a:pt x="86" y="8"/>
                        </a:lnTo>
                        <a:lnTo>
                          <a:pt x="85" y="12"/>
                        </a:lnTo>
                        <a:lnTo>
                          <a:pt x="83" y="10"/>
                        </a:lnTo>
                        <a:lnTo>
                          <a:pt x="78" y="10"/>
                        </a:lnTo>
                        <a:lnTo>
                          <a:pt x="76" y="8"/>
                        </a:lnTo>
                        <a:lnTo>
                          <a:pt x="73" y="7"/>
                        </a:lnTo>
                        <a:lnTo>
                          <a:pt x="71" y="7"/>
                        </a:lnTo>
                        <a:lnTo>
                          <a:pt x="71" y="10"/>
                        </a:lnTo>
                        <a:lnTo>
                          <a:pt x="66" y="10"/>
                        </a:lnTo>
                        <a:lnTo>
                          <a:pt x="63" y="17"/>
                        </a:lnTo>
                        <a:lnTo>
                          <a:pt x="61" y="18"/>
                        </a:lnTo>
                        <a:lnTo>
                          <a:pt x="60" y="20"/>
                        </a:lnTo>
                        <a:lnTo>
                          <a:pt x="55" y="23"/>
                        </a:lnTo>
                        <a:lnTo>
                          <a:pt x="50" y="25"/>
                        </a:lnTo>
                        <a:lnTo>
                          <a:pt x="48" y="28"/>
                        </a:lnTo>
                        <a:lnTo>
                          <a:pt x="45" y="27"/>
                        </a:lnTo>
                        <a:lnTo>
                          <a:pt x="43" y="27"/>
                        </a:lnTo>
                        <a:lnTo>
                          <a:pt x="40" y="25"/>
                        </a:lnTo>
                        <a:lnTo>
                          <a:pt x="35" y="23"/>
                        </a:lnTo>
                        <a:lnTo>
                          <a:pt x="26" y="28"/>
                        </a:lnTo>
                        <a:lnTo>
                          <a:pt x="18" y="28"/>
                        </a:lnTo>
                        <a:lnTo>
                          <a:pt x="18" y="33"/>
                        </a:lnTo>
                        <a:lnTo>
                          <a:pt x="18" y="37"/>
                        </a:lnTo>
                        <a:lnTo>
                          <a:pt x="18" y="42"/>
                        </a:lnTo>
                        <a:lnTo>
                          <a:pt x="17" y="45"/>
                        </a:lnTo>
                        <a:lnTo>
                          <a:pt x="10" y="45"/>
                        </a:lnTo>
                        <a:lnTo>
                          <a:pt x="7" y="47"/>
                        </a:lnTo>
                        <a:lnTo>
                          <a:pt x="7" y="48"/>
                        </a:lnTo>
                        <a:lnTo>
                          <a:pt x="5" y="48"/>
                        </a:lnTo>
                        <a:lnTo>
                          <a:pt x="0" y="47"/>
                        </a:lnTo>
                        <a:lnTo>
                          <a:pt x="0" y="48"/>
                        </a:lnTo>
                        <a:lnTo>
                          <a:pt x="8" y="58"/>
                        </a:lnTo>
                        <a:lnTo>
                          <a:pt x="12" y="61"/>
                        </a:lnTo>
                        <a:lnTo>
                          <a:pt x="12" y="63"/>
                        </a:lnTo>
                        <a:lnTo>
                          <a:pt x="20" y="70"/>
                        </a:lnTo>
                        <a:lnTo>
                          <a:pt x="25" y="76"/>
                        </a:lnTo>
                        <a:lnTo>
                          <a:pt x="36" y="88"/>
                        </a:lnTo>
                        <a:lnTo>
                          <a:pt x="40" y="88"/>
                        </a:lnTo>
                        <a:lnTo>
                          <a:pt x="41" y="90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586" name="Google Shape;3124;p98">
                    <a:extLst>
                      <a:ext uri="{FF2B5EF4-FFF2-40B4-BE49-F238E27FC236}">
                        <a16:creationId xmlns:a16="http://schemas.microsoft.com/office/drawing/2014/main" id="{9DC039ED-6709-5857-BB64-5413F42C5C34}"/>
                      </a:ext>
                    </a:extLst>
                  </p:cNvPr>
                  <p:cNvSpPr/>
                  <p:nvPr/>
                </p:nvSpPr>
                <p:spPr>
                  <a:xfrm>
                    <a:off x="5259146" y="3102662"/>
                    <a:ext cx="33177" cy="1660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1" h="34" extrusionOk="0">
                        <a:moveTo>
                          <a:pt x="23" y="0"/>
                        </a:moveTo>
                        <a:lnTo>
                          <a:pt x="26" y="2"/>
                        </a:lnTo>
                        <a:lnTo>
                          <a:pt x="28" y="4"/>
                        </a:lnTo>
                        <a:lnTo>
                          <a:pt x="30" y="4"/>
                        </a:lnTo>
                        <a:lnTo>
                          <a:pt x="33" y="5"/>
                        </a:lnTo>
                        <a:lnTo>
                          <a:pt x="38" y="5"/>
                        </a:lnTo>
                        <a:lnTo>
                          <a:pt x="41" y="7"/>
                        </a:lnTo>
                        <a:lnTo>
                          <a:pt x="45" y="10"/>
                        </a:lnTo>
                        <a:lnTo>
                          <a:pt x="46" y="12"/>
                        </a:lnTo>
                        <a:lnTo>
                          <a:pt x="50" y="14"/>
                        </a:lnTo>
                        <a:lnTo>
                          <a:pt x="50" y="12"/>
                        </a:lnTo>
                        <a:lnTo>
                          <a:pt x="51" y="10"/>
                        </a:lnTo>
                        <a:lnTo>
                          <a:pt x="55" y="9"/>
                        </a:lnTo>
                        <a:lnTo>
                          <a:pt x="58" y="10"/>
                        </a:lnTo>
                        <a:lnTo>
                          <a:pt x="61" y="10"/>
                        </a:lnTo>
                        <a:lnTo>
                          <a:pt x="61" y="15"/>
                        </a:lnTo>
                        <a:lnTo>
                          <a:pt x="60" y="19"/>
                        </a:lnTo>
                        <a:lnTo>
                          <a:pt x="60" y="20"/>
                        </a:lnTo>
                        <a:lnTo>
                          <a:pt x="60" y="24"/>
                        </a:lnTo>
                        <a:lnTo>
                          <a:pt x="60" y="25"/>
                        </a:lnTo>
                        <a:lnTo>
                          <a:pt x="58" y="27"/>
                        </a:lnTo>
                        <a:lnTo>
                          <a:pt x="60" y="29"/>
                        </a:lnTo>
                        <a:lnTo>
                          <a:pt x="56" y="34"/>
                        </a:lnTo>
                        <a:lnTo>
                          <a:pt x="45" y="34"/>
                        </a:lnTo>
                        <a:lnTo>
                          <a:pt x="43" y="30"/>
                        </a:lnTo>
                        <a:lnTo>
                          <a:pt x="40" y="27"/>
                        </a:lnTo>
                        <a:lnTo>
                          <a:pt x="35" y="27"/>
                        </a:lnTo>
                        <a:lnTo>
                          <a:pt x="33" y="27"/>
                        </a:lnTo>
                        <a:lnTo>
                          <a:pt x="36" y="29"/>
                        </a:lnTo>
                        <a:lnTo>
                          <a:pt x="35" y="30"/>
                        </a:lnTo>
                        <a:lnTo>
                          <a:pt x="28" y="27"/>
                        </a:lnTo>
                        <a:lnTo>
                          <a:pt x="20" y="24"/>
                        </a:lnTo>
                        <a:lnTo>
                          <a:pt x="16" y="24"/>
                        </a:lnTo>
                        <a:lnTo>
                          <a:pt x="11" y="24"/>
                        </a:lnTo>
                        <a:lnTo>
                          <a:pt x="6" y="20"/>
                        </a:lnTo>
                        <a:lnTo>
                          <a:pt x="3" y="20"/>
                        </a:lnTo>
                        <a:lnTo>
                          <a:pt x="0" y="19"/>
                        </a:lnTo>
                        <a:lnTo>
                          <a:pt x="1" y="17"/>
                        </a:lnTo>
                        <a:lnTo>
                          <a:pt x="1" y="14"/>
                        </a:lnTo>
                        <a:lnTo>
                          <a:pt x="6" y="10"/>
                        </a:lnTo>
                        <a:lnTo>
                          <a:pt x="13" y="9"/>
                        </a:lnTo>
                        <a:lnTo>
                          <a:pt x="16" y="7"/>
                        </a:lnTo>
                        <a:lnTo>
                          <a:pt x="16" y="5"/>
                        </a:lnTo>
                        <a:lnTo>
                          <a:pt x="23" y="0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587" name="Google Shape;3125;p98">
                    <a:extLst>
                      <a:ext uri="{FF2B5EF4-FFF2-40B4-BE49-F238E27FC236}">
                        <a16:creationId xmlns:a16="http://schemas.microsoft.com/office/drawing/2014/main" id="{18E9E4BA-D3D3-12AF-DAD8-32EBA02A2254}"/>
                      </a:ext>
                    </a:extLst>
                  </p:cNvPr>
                  <p:cNvSpPr/>
                  <p:nvPr/>
                </p:nvSpPr>
                <p:spPr>
                  <a:xfrm>
                    <a:off x="5468915" y="3209534"/>
                    <a:ext cx="507298" cy="46795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49" h="900" extrusionOk="0">
                        <a:moveTo>
                          <a:pt x="555" y="133"/>
                        </a:moveTo>
                        <a:lnTo>
                          <a:pt x="557" y="129"/>
                        </a:lnTo>
                        <a:lnTo>
                          <a:pt x="560" y="128"/>
                        </a:lnTo>
                        <a:lnTo>
                          <a:pt x="562" y="129"/>
                        </a:lnTo>
                        <a:lnTo>
                          <a:pt x="560" y="131"/>
                        </a:lnTo>
                        <a:lnTo>
                          <a:pt x="557" y="133"/>
                        </a:lnTo>
                        <a:lnTo>
                          <a:pt x="555" y="133"/>
                        </a:lnTo>
                        <a:lnTo>
                          <a:pt x="555" y="133"/>
                        </a:lnTo>
                        <a:close/>
                        <a:moveTo>
                          <a:pt x="550" y="131"/>
                        </a:moveTo>
                        <a:lnTo>
                          <a:pt x="552" y="131"/>
                        </a:lnTo>
                        <a:lnTo>
                          <a:pt x="553" y="129"/>
                        </a:lnTo>
                        <a:lnTo>
                          <a:pt x="558" y="125"/>
                        </a:lnTo>
                        <a:lnTo>
                          <a:pt x="560" y="125"/>
                        </a:lnTo>
                        <a:lnTo>
                          <a:pt x="565" y="121"/>
                        </a:lnTo>
                        <a:lnTo>
                          <a:pt x="563" y="120"/>
                        </a:lnTo>
                        <a:lnTo>
                          <a:pt x="562" y="120"/>
                        </a:lnTo>
                        <a:lnTo>
                          <a:pt x="560" y="120"/>
                        </a:lnTo>
                        <a:lnTo>
                          <a:pt x="558" y="121"/>
                        </a:lnTo>
                        <a:lnTo>
                          <a:pt x="553" y="125"/>
                        </a:lnTo>
                        <a:lnTo>
                          <a:pt x="550" y="131"/>
                        </a:lnTo>
                        <a:lnTo>
                          <a:pt x="550" y="131"/>
                        </a:lnTo>
                        <a:close/>
                        <a:moveTo>
                          <a:pt x="572" y="116"/>
                        </a:moveTo>
                        <a:lnTo>
                          <a:pt x="570" y="115"/>
                        </a:lnTo>
                        <a:lnTo>
                          <a:pt x="567" y="113"/>
                        </a:lnTo>
                        <a:lnTo>
                          <a:pt x="567" y="116"/>
                        </a:lnTo>
                        <a:lnTo>
                          <a:pt x="568" y="118"/>
                        </a:lnTo>
                        <a:lnTo>
                          <a:pt x="572" y="118"/>
                        </a:lnTo>
                        <a:lnTo>
                          <a:pt x="572" y="116"/>
                        </a:lnTo>
                        <a:lnTo>
                          <a:pt x="572" y="116"/>
                        </a:lnTo>
                        <a:close/>
                        <a:moveTo>
                          <a:pt x="572" y="111"/>
                        </a:moveTo>
                        <a:lnTo>
                          <a:pt x="570" y="108"/>
                        </a:lnTo>
                        <a:lnTo>
                          <a:pt x="573" y="105"/>
                        </a:lnTo>
                        <a:lnTo>
                          <a:pt x="575" y="105"/>
                        </a:lnTo>
                        <a:lnTo>
                          <a:pt x="578" y="101"/>
                        </a:lnTo>
                        <a:lnTo>
                          <a:pt x="582" y="103"/>
                        </a:lnTo>
                        <a:lnTo>
                          <a:pt x="578" y="105"/>
                        </a:lnTo>
                        <a:lnTo>
                          <a:pt x="577" y="106"/>
                        </a:lnTo>
                        <a:lnTo>
                          <a:pt x="573" y="110"/>
                        </a:lnTo>
                        <a:lnTo>
                          <a:pt x="572" y="111"/>
                        </a:lnTo>
                        <a:lnTo>
                          <a:pt x="572" y="111"/>
                        </a:lnTo>
                        <a:close/>
                        <a:moveTo>
                          <a:pt x="573" y="115"/>
                        </a:moveTo>
                        <a:lnTo>
                          <a:pt x="575" y="116"/>
                        </a:lnTo>
                        <a:lnTo>
                          <a:pt x="582" y="116"/>
                        </a:lnTo>
                        <a:lnTo>
                          <a:pt x="583" y="118"/>
                        </a:lnTo>
                        <a:lnTo>
                          <a:pt x="586" y="116"/>
                        </a:lnTo>
                        <a:lnTo>
                          <a:pt x="586" y="113"/>
                        </a:lnTo>
                        <a:lnTo>
                          <a:pt x="585" y="111"/>
                        </a:lnTo>
                        <a:lnTo>
                          <a:pt x="577" y="113"/>
                        </a:lnTo>
                        <a:lnTo>
                          <a:pt x="573" y="113"/>
                        </a:lnTo>
                        <a:lnTo>
                          <a:pt x="573" y="115"/>
                        </a:lnTo>
                        <a:lnTo>
                          <a:pt x="573" y="115"/>
                        </a:lnTo>
                        <a:close/>
                        <a:moveTo>
                          <a:pt x="586" y="120"/>
                        </a:moveTo>
                        <a:lnTo>
                          <a:pt x="590" y="118"/>
                        </a:lnTo>
                        <a:lnTo>
                          <a:pt x="591" y="116"/>
                        </a:lnTo>
                        <a:lnTo>
                          <a:pt x="595" y="116"/>
                        </a:lnTo>
                        <a:lnTo>
                          <a:pt x="596" y="118"/>
                        </a:lnTo>
                        <a:lnTo>
                          <a:pt x="595" y="121"/>
                        </a:lnTo>
                        <a:lnTo>
                          <a:pt x="590" y="121"/>
                        </a:lnTo>
                        <a:lnTo>
                          <a:pt x="586" y="120"/>
                        </a:lnTo>
                        <a:lnTo>
                          <a:pt x="586" y="120"/>
                        </a:lnTo>
                        <a:close/>
                        <a:moveTo>
                          <a:pt x="572" y="75"/>
                        </a:moveTo>
                        <a:lnTo>
                          <a:pt x="568" y="71"/>
                        </a:lnTo>
                        <a:lnTo>
                          <a:pt x="567" y="66"/>
                        </a:lnTo>
                        <a:lnTo>
                          <a:pt x="568" y="65"/>
                        </a:lnTo>
                        <a:lnTo>
                          <a:pt x="572" y="66"/>
                        </a:lnTo>
                        <a:lnTo>
                          <a:pt x="575" y="71"/>
                        </a:lnTo>
                        <a:lnTo>
                          <a:pt x="573" y="75"/>
                        </a:lnTo>
                        <a:lnTo>
                          <a:pt x="573" y="75"/>
                        </a:lnTo>
                        <a:lnTo>
                          <a:pt x="572" y="75"/>
                        </a:lnTo>
                        <a:lnTo>
                          <a:pt x="572" y="75"/>
                        </a:lnTo>
                        <a:close/>
                        <a:moveTo>
                          <a:pt x="550" y="31"/>
                        </a:moveTo>
                        <a:lnTo>
                          <a:pt x="548" y="30"/>
                        </a:lnTo>
                        <a:lnTo>
                          <a:pt x="547" y="25"/>
                        </a:lnTo>
                        <a:lnTo>
                          <a:pt x="543" y="20"/>
                        </a:lnTo>
                        <a:lnTo>
                          <a:pt x="543" y="20"/>
                        </a:lnTo>
                        <a:lnTo>
                          <a:pt x="543" y="23"/>
                        </a:lnTo>
                        <a:lnTo>
                          <a:pt x="542" y="27"/>
                        </a:lnTo>
                        <a:lnTo>
                          <a:pt x="535" y="30"/>
                        </a:lnTo>
                        <a:lnTo>
                          <a:pt x="535" y="30"/>
                        </a:lnTo>
                        <a:lnTo>
                          <a:pt x="535" y="30"/>
                        </a:lnTo>
                        <a:lnTo>
                          <a:pt x="533" y="33"/>
                        </a:lnTo>
                        <a:lnTo>
                          <a:pt x="528" y="40"/>
                        </a:lnTo>
                        <a:lnTo>
                          <a:pt x="522" y="46"/>
                        </a:lnTo>
                        <a:lnTo>
                          <a:pt x="522" y="51"/>
                        </a:lnTo>
                        <a:lnTo>
                          <a:pt x="517" y="60"/>
                        </a:lnTo>
                        <a:lnTo>
                          <a:pt x="513" y="65"/>
                        </a:lnTo>
                        <a:lnTo>
                          <a:pt x="510" y="71"/>
                        </a:lnTo>
                        <a:lnTo>
                          <a:pt x="505" y="71"/>
                        </a:lnTo>
                        <a:lnTo>
                          <a:pt x="503" y="73"/>
                        </a:lnTo>
                        <a:lnTo>
                          <a:pt x="502" y="76"/>
                        </a:lnTo>
                        <a:lnTo>
                          <a:pt x="498" y="80"/>
                        </a:lnTo>
                        <a:lnTo>
                          <a:pt x="495" y="78"/>
                        </a:lnTo>
                        <a:lnTo>
                          <a:pt x="495" y="73"/>
                        </a:lnTo>
                        <a:lnTo>
                          <a:pt x="493" y="71"/>
                        </a:lnTo>
                        <a:lnTo>
                          <a:pt x="492" y="70"/>
                        </a:lnTo>
                        <a:lnTo>
                          <a:pt x="490" y="70"/>
                        </a:lnTo>
                        <a:lnTo>
                          <a:pt x="487" y="71"/>
                        </a:lnTo>
                        <a:lnTo>
                          <a:pt x="484" y="75"/>
                        </a:lnTo>
                        <a:lnTo>
                          <a:pt x="480" y="73"/>
                        </a:lnTo>
                        <a:lnTo>
                          <a:pt x="477" y="70"/>
                        </a:lnTo>
                        <a:lnTo>
                          <a:pt x="477" y="68"/>
                        </a:lnTo>
                        <a:lnTo>
                          <a:pt x="475" y="66"/>
                        </a:lnTo>
                        <a:lnTo>
                          <a:pt x="474" y="63"/>
                        </a:lnTo>
                        <a:lnTo>
                          <a:pt x="472" y="61"/>
                        </a:lnTo>
                        <a:lnTo>
                          <a:pt x="469" y="60"/>
                        </a:lnTo>
                        <a:lnTo>
                          <a:pt x="465" y="56"/>
                        </a:lnTo>
                        <a:lnTo>
                          <a:pt x="459" y="56"/>
                        </a:lnTo>
                        <a:lnTo>
                          <a:pt x="454" y="58"/>
                        </a:lnTo>
                        <a:lnTo>
                          <a:pt x="444" y="58"/>
                        </a:lnTo>
                        <a:lnTo>
                          <a:pt x="439" y="56"/>
                        </a:lnTo>
                        <a:lnTo>
                          <a:pt x="434" y="60"/>
                        </a:lnTo>
                        <a:lnTo>
                          <a:pt x="432" y="65"/>
                        </a:lnTo>
                        <a:lnTo>
                          <a:pt x="437" y="68"/>
                        </a:lnTo>
                        <a:lnTo>
                          <a:pt x="439" y="70"/>
                        </a:lnTo>
                        <a:lnTo>
                          <a:pt x="440" y="75"/>
                        </a:lnTo>
                        <a:lnTo>
                          <a:pt x="440" y="76"/>
                        </a:lnTo>
                        <a:lnTo>
                          <a:pt x="435" y="76"/>
                        </a:lnTo>
                        <a:lnTo>
                          <a:pt x="429" y="76"/>
                        </a:lnTo>
                        <a:lnTo>
                          <a:pt x="427" y="75"/>
                        </a:lnTo>
                        <a:lnTo>
                          <a:pt x="425" y="75"/>
                        </a:lnTo>
                        <a:lnTo>
                          <a:pt x="425" y="75"/>
                        </a:lnTo>
                        <a:lnTo>
                          <a:pt x="425" y="75"/>
                        </a:lnTo>
                        <a:lnTo>
                          <a:pt x="417" y="75"/>
                        </a:lnTo>
                        <a:lnTo>
                          <a:pt x="414" y="75"/>
                        </a:lnTo>
                        <a:lnTo>
                          <a:pt x="412" y="73"/>
                        </a:lnTo>
                        <a:lnTo>
                          <a:pt x="404" y="73"/>
                        </a:lnTo>
                        <a:lnTo>
                          <a:pt x="399" y="75"/>
                        </a:lnTo>
                        <a:lnTo>
                          <a:pt x="397" y="83"/>
                        </a:lnTo>
                        <a:lnTo>
                          <a:pt x="387" y="81"/>
                        </a:lnTo>
                        <a:lnTo>
                          <a:pt x="381" y="83"/>
                        </a:lnTo>
                        <a:lnTo>
                          <a:pt x="381" y="86"/>
                        </a:lnTo>
                        <a:lnTo>
                          <a:pt x="377" y="90"/>
                        </a:lnTo>
                        <a:lnTo>
                          <a:pt x="372" y="90"/>
                        </a:lnTo>
                        <a:lnTo>
                          <a:pt x="371" y="88"/>
                        </a:lnTo>
                        <a:lnTo>
                          <a:pt x="367" y="90"/>
                        </a:lnTo>
                        <a:lnTo>
                          <a:pt x="366" y="93"/>
                        </a:lnTo>
                        <a:lnTo>
                          <a:pt x="361" y="91"/>
                        </a:lnTo>
                        <a:lnTo>
                          <a:pt x="351" y="83"/>
                        </a:lnTo>
                        <a:lnTo>
                          <a:pt x="347" y="80"/>
                        </a:lnTo>
                        <a:lnTo>
                          <a:pt x="347" y="76"/>
                        </a:lnTo>
                        <a:lnTo>
                          <a:pt x="342" y="71"/>
                        </a:lnTo>
                        <a:lnTo>
                          <a:pt x="337" y="68"/>
                        </a:lnTo>
                        <a:lnTo>
                          <a:pt x="337" y="63"/>
                        </a:lnTo>
                        <a:lnTo>
                          <a:pt x="339" y="60"/>
                        </a:lnTo>
                        <a:lnTo>
                          <a:pt x="337" y="58"/>
                        </a:lnTo>
                        <a:lnTo>
                          <a:pt x="337" y="55"/>
                        </a:lnTo>
                        <a:lnTo>
                          <a:pt x="339" y="51"/>
                        </a:lnTo>
                        <a:lnTo>
                          <a:pt x="339" y="46"/>
                        </a:lnTo>
                        <a:lnTo>
                          <a:pt x="344" y="38"/>
                        </a:lnTo>
                        <a:lnTo>
                          <a:pt x="346" y="33"/>
                        </a:lnTo>
                        <a:lnTo>
                          <a:pt x="351" y="28"/>
                        </a:lnTo>
                        <a:lnTo>
                          <a:pt x="351" y="25"/>
                        </a:lnTo>
                        <a:lnTo>
                          <a:pt x="346" y="27"/>
                        </a:lnTo>
                        <a:lnTo>
                          <a:pt x="342" y="23"/>
                        </a:lnTo>
                        <a:lnTo>
                          <a:pt x="342" y="20"/>
                        </a:lnTo>
                        <a:lnTo>
                          <a:pt x="336" y="20"/>
                        </a:lnTo>
                        <a:lnTo>
                          <a:pt x="332" y="18"/>
                        </a:lnTo>
                        <a:lnTo>
                          <a:pt x="334" y="15"/>
                        </a:lnTo>
                        <a:lnTo>
                          <a:pt x="337" y="12"/>
                        </a:lnTo>
                        <a:lnTo>
                          <a:pt x="337" y="5"/>
                        </a:lnTo>
                        <a:lnTo>
                          <a:pt x="334" y="0"/>
                        </a:lnTo>
                        <a:lnTo>
                          <a:pt x="327" y="0"/>
                        </a:lnTo>
                        <a:lnTo>
                          <a:pt x="326" y="2"/>
                        </a:lnTo>
                        <a:lnTo>
                          <a:pt x="324" y="0"/>
                        </a:lnTo>
                        <a:lnTo>
                          <a:pt x="321" y="0"/>
                        </a:lnTo>
                        <a:lnTo>
                          <a:pt x="321" y="3"/>
                        </a:lnTo>
                        <a:lnTo>
                          <a:pt x="319" y="10"/>
                        </a:lnTo>
                        <a:lnTo>
                          <a:pt x="307" y="17"/>
                        </a:lnTo>
                        <a:lnTo>
                          <a:pt x="299" y="18"/>
                        </a:lnTo>
                        <a:lnTo>
                          <a:pt x="287" y="22"/>
                        </a:lnTo>
                        <a:lnTo>
                          <a:pt x="284" y="20"/>
                        </a:lnTo>
                        <a:lnTo>
                          <a:pt x="278" y="22"/>
                        </a:lnTo>
                        <a:lnTo>
                          <a:pt x="269" y="27"/>
                        </a:lnTo>
                        <a:lnTo>
                          <a:pt x="261" y="30"/>
                        </a:lnTo>
                        <a:lnTo>
                          <a:pt x="259" y="28"/>
                        </a:lnTo>
                        <a:lnTo>
                          <a:pt x="248" y="30"/>
                        </a:lnTo>
                        <a:lnTo>
                          <a:pt x="239" y="30"/>
                        </a:lnTo>
                        <a:lnTo>
                          <a:pt x="233" y="27"/>
                        </a:lnTo>
                        <a:lnTo>
                          <a:pt x="224" y="25"/>
                        </a:lnTo>
                        <a:lnTo>
                          <a:pt x="218" y="23"/>
                        </a:lnTo>
                        <a:lnTo>
                          <a:pt x="221" y="28"/>
                        </a:lnTo>
                        <a:lnTo>
                          <a:pt x="226" y="30"/>
                        </a:lnTo>
                        <a:lnTo>
                          <a:pt x="231" y="35"/>
                        </a:lnTo>
                        <a:lnTo>
                          <a:pt x="233" y="38"/>
                        </a:lnTo>
                        <a:lnTo>
                          <a:pt x="226" y="48"/>
                        </a:lnTo>
                        <a:lnTo>
                          <a:pt x="229" y="53"/>
                        </a:lnTo>
                        <a:lnTo>
                          <a:pt x="228" y="60"/>
                        </a:lnTo>
                        <a:lnTo>
                          <a:pt x="238" y="63"/>
                        </a:lnTo>
                        <a:lnTo>
                          <a:pt x="246" y="63"/>
                        </a:lnTo>
                        <a:lnTo>
                          <a:pt x="254" y="63"/>
                        </a:lnTo>
                        <a:lnTo>
                          <a:pt x="254" y="68"/>
                        </a:lnTo>
                        <a:lnTo>
                          <a:pt x="249" y="70"/>
                        </a:lnTo>
                        <a:lnTo>
                          <a:pt x="238" y="73"/>
                        </a:lnTo>
                        <a:lnTo>
                          <a:pt x="233" y="76"/>
                        </a:lnTo>
                        <a:lnTo>
                          <a:pt x="231" y="81"/>
                        </a:lnTo>
                        <a:lnTo>
                          <a:pt x="218" y="88"/>
                        </a:lnTo>
                        <a:lnTo>
                          <a:pt x="214" y="93"/>
                        </a:lnTo>
                        <a:lnTo>
                          <a:pt x="206" y="98"/>
                        </a:lnTo>
                        <a:lnTo>
                          <a:pt x="201" y="103"/>
                        </a:lnTo>
                        <a:lnTo>
                          <a:pt x="191" y="105"/>
                        </a:lnTo>
                        <a:lnTo>
                          <a:pt x="185" y="103"/>
                        </a:lnTo>
                        <a:lnTo>
                          <a:pt x="176" y="96"/>
                        </a:lnTo>
                        <a:lnTo>
                          <a:pt x="166" y="91"/>
                        </a:lnTo>
                        <a:lnTo>
                          <a:pt x="160" y="91"/>
                        </a:lnTo>
                        <a:lnTo>
                          <a:pt x="160" y="85"/>
                        </a:lnTo>
                        <a:lnTo>
                          <a:pt x="160" y="80"/>
                        </a:lnTo>
                        <a:lnTo>
                          <a:pt x="155" y="76"/>
                        </a:lnTo>
                        <a:lnTo>
                          <a:pt x="153" y="73"/>
                        </a:lnTo>
                        <a:lnTo>
                          <a:pt x="146" y="75"/>
                        </a:lnTo>
                        <a:lnTo>
                          <a:pt x="143" y="80"/>
                        </a:lnTo>
                        <a:lnTo>
                          <a:pt x="140" y="80"/>
                        </a:lnTo>
                        <a:lnTo>
                          <a:pt x="136" y="78"/>
                        </a:lnTo>
                        <a:lnTo>
                          <a:pt x="131" y="78"/>
                        </a:lnTo>
                        <a:lnTo>
                          <a:pt x="128" y="80"/>
                        </a:lnTo>
                        <a:lnTo>
                          <a:pt x="101" y="80"/>
                        </a:lnTo>
                        <a:lnTo>
                          <a:pt x="100" y="88"/>
                        </a:lnTo>
                        <a:lnTo>
                          <a:pt x="101" y="93"/>
                        </a:lnTo>
                        <a:lnTo>
                          <a:pt x="111" y="95"/>
                        </a:lnTo>
                        <a:lnTo>
                          <a:pt x="115" y="101"/>
                        </a:lnTo>
                        <a:lnTo>
                          <a:pt x="111" y="103"/>
                        </a:lnTo>
                        <a:lnTo>
                          <a:pt x="115" y="106"/>
                        </a:lnTo>
                        <a:lnTo>
                          <a:pt x="113" y="110"/>
                        </a:lnTo>
                        <a:lnTo>
                          <a:pt x="108" y="106"/>
                        </a:lnTo>
                        <a:lnTo>
                          <a:pt x="91" y="111"/>
                        </a:lnTo>
                        <a:lnTo>
                          <a:pt x="93" y="123"/>
                        </a:lnTo>
                        <a:lnTo>
                          <a:pt x="96" y="128"/>
                        </a:lnTo>
                        <a:lnTo>
                          <a:pt x="106" y="134"/>
                        </a:lnTo>
                        <a:lnTo>
                          <a:pt x="111" y="144"/>
                        </a:lnTo>
                        <a:lnTo>
                          <a:pt x="111" y="151"/>
                        </a:lnTo>
                        <a:lnTo>
                          <a:pt x="111" y="154"/>
                        </a:lnTo>
                        <a:lnTo>
                          <a:pt x="98" y="201"/>
                        </a:lnTo>
                        <a:lnTo>
                          <a:pt x="93" y="213"/>
                        </a:lnTo>
                        <a:lnTo>
                          <a:pt x="95" y="214"/>
                        </a:lnTo>
                        <a:lnTo>
                          <a:pt x="91" y="218"/>
                        </a:lnTo>
                        <a:lnTo>
                          <a:pt x="87" y="216"/>
                        </a:lnTo>
                        <a:lnTo>
                          <a:pt x="87" y="216"/>
                        </a:lnTo>
                        <a:lnTo>
                          <a:pt x="82" y="213"/>
                        </a:lnTo>
                        <a:lnTo>
                          <a:pt x="80" y="213"/>
                        </a:lnTo>
                        <a:lnTo>
                          <a:pt x="75" y="213"/>
                        </a:lnTo>
                        <a:lnTo>
                          <a:pt x="73" y="211"/>
                        </a:lnTo>
                        <a:lnTo>
                          <a:pt x="72" y="216"/>
                        </a:lnTo>
                        <a:lnTo>
                          <a:pt x="55" y="221"/>
                        </a:lnTo>
                        <a:lnTo>
                          <a:pt x="42" y="223"/>
                        </a:lnTo>
                        <a:lnTo>
                          <a:pt x="40" y="226"/>
                        </a:lnTo>
                        <a:lnTo>
                          <a:pt x="37" y="226"/>
                        </a:lnTo>
                        <a:lnTo>
                          <a:pt x="32" y="231"/>
                        </a:lnTo>
                        <a:lnTo>
                          <a:pt x="25" y="232"/>
                        </a:lnTo>
                        <a:lnTo>
                          <a:pt x="22" y="236"/>
                        </a:lnTo>
                        <a:lnTo>
                          <a:pt x="22" y="241"/>
                        </a:lnTo>
                        <a:lnTo>
                          <a:pt x="20" y="244"/>
                        </a:lnTo>
                        <a:lnTo>
                          <a:pt x="20" y="247"/>
                        </a:lnTo>
                        <a:lnTo>
                          <a:pt x="13" y="254"/>
                        </a:lnTo>
                        <a:lnTo>
                          <a:pt x="17" y="262"/>
                        </a:lnTo>
                        <a:lnTo>
                          <a:pt x="18" y="266"/>
                        </a:lnTo>
                        <a:lnTo>
                          <a:pt x="15" y="269"/>
                        </a:lnTo>
                        <a:lnTo>
                          <a:pt x="12" y="269"/>
                        </a:lnTo>
                        <a:lnTo>
                          <a:pt x="3" y="272"/>
                        </a:lnTo>
                        <a:lnTo>
                          <a:pt x="3" y="277"/>
                        </a:lnTo>
                        <a:lnTo>
                          <a:pt x="2" y="279"/>
                        </a:lnTo>
                        <a:lnTo>
                          <a:pt x="3" y="282"/>
                        </a:lnTo>
                        <a:lnTo>
                          <a:pt x="2" y="287"/>
                        </a:lnTo>
                        <a:lnTo>
                          <a:pt x="0" y="291"/>
                        </a:lnTo>
                        <a:lnTo>
                          <a:pt x="2" y="294"/>
                        </a:lnTo>
                        <a:lnTo>
                          <a:pt x="0" y="297"/>
                        </a:lnTo>
                        <a:lnTo>
                          <a:pt x="7" y="304"/>
                        </a:lnTo>
                        <a:lnTo>
                          <a:pt x="18" y="321"/>
                        </a:lnTo>
                        <a:lnTo>
                          <a:pt x="13" y="329"/>
                        </a:lnTo>
                        <a:lnTo>
                          <a:pt x="28" y="327"/>
                        </a:lnTo>
                        <a:lnTo>
                          <a:pt x="35" y="329"/>
                        </a:lnTo>
                        <a:lnTo>
                          <a:pt x="40" y="335"/>
                        </a:lnTo>
                        <a:lnTo>
                          <a:pt x="42" y="342"/>
                        </a:lnTo>
                        <a:lnTo>
                          <a:pt x="53" y="342"/>
                        </a:lnTo>
                        <a:lnTo>
                          <a:pt x="65" y="342"/>
                        </a:lnTo>
                        <a:lnTo>
                          <a:pt x="75" y="334"/>
                        </a:lnTo>
                        <a:lnTo>
                          <a:pt x="83" y="329"/>
                        </a:lnTo>
                        <a:lnTo>
                          <a:pt x="87" y="332"/>
                        </a:lnTo>
                        <a:lnTo>
                          <a:pt x="85" y="337"/>
                        </a:lnTo>
                        <a:lnTo>
                          <a:pt x="83" y="339"/>
                        </a:lnTo>
                        <a:lnTo>
                          <a:pt x="83" y="345"/>
                        </a:lnTo>
                        <a:lnTo>
                          <a:pt x="85" y="359"/>
                        </a:lnTo>
                        <a:lnTo>
                          <a:pt x="85" y="364"/>
                        </a:lnTo>
                        <a:lnTo>
                          <a:pt x="88" y="367"/>
                        </a:lnTo>
                        <a:lnTo>
                          <a:pt x="93" y="365"/>
                        </a:lnTo>
                        <a:lnTo>
                          <a:pt x="96" y="365"/>
                        </a:lnTo>
                        <a:lnTo>
                          <a:pt x="103" y="365"/>
                        </a:lnTo>
                        <a:lnTo>
                          <a:pt x="105" y="364"/>
                        </a:lnTo>
                        <a:lnTo>
                          <a:pt x="108" y="365"/>
                        </a:lnTo>
                        <a:lnTo>
                          <a:pt x="108" y="365"/>
                        </a:lnTo>
                        <a:lnTo>
                          <a:pt x="108" y="365"/>
                        </a:lnTo>
                        <a:lnTo>
                          <a:pt x="123" y="365"/>
                        </a:lnTo>
                        <a:lnTo>
                          <a:pt x="130" y="365"/>
                        </a:lnTo>
                        <a:lnTo>
                          <a:pt x="138" y="362"/>
                        </a:lnTo>
                        <a:lnTo>
                          <a:pt x="141" y="362"/>
                        </a:lnTo>
                        <a:lnTo>
                          <a:pt x="146" y="359"/>
                        </a:lnTo>
                        <a:lnTo>
                          <a:pt x="153" y="359"/>
                        </a:lnTo>
                        <a:lnTo>
                          <a:pt x="160" y="357"/>
                        </a:lnTo>
                        <a:lnTo>
                          <a:pt x="163" y="347"/>
                        </a:lnTo>
                        <a:lnTo>
                          <a:pt x="175" y="340"/>
                        </a:lnTo>
                        <a:lnTo>
                          <a:pt x="183" y="339"/>
                        </a:lnTo>
                        <a:lnTo>
                          <a:pt x="191" y="335"/>
                        </a:lnTo>
                        <a:lnTo>
                          <a:pt x="196" y="335"/>
                        </a:lnTo>
                        <a:lnTo>
                          <a:pt x="201" y="339"/>
                        </a:lnTo>
                        <a:lnTo>
                          <a:pt x="206" y="335"/>
                        </a:lnTo>
                        <a:lnTo>
                          <a:pt x="209" y="337"/>
                        </a:lnTo>
                        <a:lnTo>
                          <a:pt x="209" y="342"/>
                        </a:lnTo>
                        <a:lnTo>
                          <a:pt x="211" y="350"/>
                        </a:lnTo>
                        <a:lnTo>
                          <a:pt x="208" y="357"/>
                        </a:lnTo>
                        <a:lnTo>
                          <a:pt x="211" y="367"/>
                        </a:lnTo>
                        <a:lnTo>
                          <a:pt x="209" y="372"/>
                        </a:lnTo>
                        <a:lnTo>
                          <a:pt x="213" y="380"/>
                        </a:lnTo>
                        <a:lnTo>
                          <a:pt x="218" y="382"/>
                        </a:lnTo>
                        <a:lnTo>
                          <a:pt x="219" y="389"/>
                        </a:lnTo>
                        <a:lnTo>
                          <a:pt x="226" y="390"/>
                        </a:lnTo>
                        <a:lnTo>
                          <a:pt x="234" y="395"/>
                        </a:lnTo>
                        <a:lnTo>
                          <a:pt x="239" y="400"/>
                        </a:lnTo>
                        <a:lnTo>
                          <a:pt x="241" y="397"/>
                        </a:lnTo>
                        <a:lnTo>
                          <a:pt x="251" y="395"/>
                        </a:lnTo>
                        <a:lnTo>
                          <a:pt x="259" y="404"/>
                        </a:lnTo>
                        <a:lnTo>
                          <a:pt x="266" y="402"/>
                        </a:lnTo>
                        <a:lnTo>
                          <a:pt x="274" y="410"/>
                        </a:lnTo>
                        <a:lnTo>
                          <a:pt x="278" y="410"/>
                        </a:lnTo>
                        <a:lnTo>
                          <a:pt x="289" y="414"/>
                        </a:lnTo>
                        <a:lnTo>
                          <a:pt x="296" y="415"/>
                        </a:lnTo>
                        <a:lnTo>
                          <a:pt x="297" y="422"/>
                        </a:lnTo>
                        <a:lnTo>
                          <a:pt x="302" y="423"/>
                        </a:lnTo>
                        <a:lnTo>
                          <a:pt x="307" y="425"/>
                        </a:lnTo>
                        <a:lnTo>
                          <a:pt x="322" y="425"/>
                        </a:lnTo>
                        <a:lnTo>
                          <a:pt x="332" y="430"/>
                        </a:lnTo>
                        <a:lnTo>
                          <a:pt x="334" y="433"/>
                        </a:lnTo>
                        <a:lnTo>
                          <a:pt x="332" y="443"/>
                        </a:lnTo>
                        <a:lnTo>
                          <a:pt x="334" y="452"/>
                        </a:lnTo>
                        <a:lnTo>
                          <a:pt x="332" y="457"/>
                        </a:lnTo>
                        <a:lnTo>
                          <a:pt x="341" y="470"/>
                        </a:lnTo>
                        <a:lnTo>
                          <a:pt x="341" y="482"/>
                        </a:lnTo>
                        <a:lnTo>
                          <a:pt x="382" y="482"/>
                        </a:lnTo>
                        <a:lnTo>
                          <a:pt x="385" y="495"/>
                        </a:lnTo>
                        <a:lnTo>
                          <a:pt x="384" y="505"/>
                        </a:lnTo>
                        <a:lnTo>
                          <a:pt x="397" y="507"/>
                        </a:lnTo>
                        <a:lnTo>
                          <a:pt x="409" y="526"/>
                        </a:lnTo>
                        <a:lnTo>
                          <a:pt x="410" y="538"/>
                        </a:lnTo>
                        <a:lnTo>
                          <a:pt x="399" y="560"/>
                        </a:lnTo>
                        <a:lnTo>
                          <a:pt x="399" y="563"/>
                        </a:lnTo>
                        <a:lnTo>
                          <a:pt x="395" y="566"/>
                        </a:lnTo>
                        <a:lnTo>
                          <a:pt x="397" y="568"/>
                        </a:lnTo>
                        <a:lnTo>
                          <a:pt x="397" y="573"/>
                        </a:lnTo>
                        <a:lnTo>
                          <a:pt x="402" y="578"/>
                        </a:lnTo>
                        <a:lnTo>
                          <a:pt x="402" y="585"/>
                        </a:lnTo>
                        <a:lnTo>
                          <a:pt x="407" y="591"/>
                        </a:lnTo>
                        <a:lnTo>
                          <a:pt x="405" y="605"/>
                        </a:lnTo>
                        <a:lnTo>
                          <a:pt x="407" y="610"/>
                        </a:lnTo>
                        <a:lnTo>
                          <a:pt x="405" y="615"/>
                        </a:lnTo>
                        <a:lnTo>
                          <a:pt x="407" y="620"/>
                        </a:lnTo>
                        <a:lnTo>
                          <a:pt x="415" y="618"/>
                        </a:lnTo>
                        <a:lnTo>
                          <a:pt x="419" y="620"/>
                        </a:lnTo>
                        <a:lnTo>
                          <a:pt x="430" y="620"/>
                        </a:lnTo>
                        <a:lnTo>
                          <a:pt x="437" y="621"/>
                        </a:lnTo>
                        <a:lnTo>
                          <a:pt x="449" y="618"/>
                        </a:lnTo>
                        <a:lnTo>
                          <a:pt x="455" y="621"/>
                        </a:lnTo>
                        <a:lnTo>
                          <a:pt x="459" y="623"/>
                        </a:lnTo>
                        <a:lnTo>
                          <a:pt x="460" y="628"/>
                        </a:lnTo>
                        <a:lnTo>
                          <a:pt x="467" y="651"/>
                        </a:lnTo>
                        <a:lnTo>
                          <a:pt x="472" y="659"/>
                        </a:lnTo>
                        <a:lnTo>
                          <a:pt x="475" y="661"/>
                        </a:lnTo>
                        <a:lnTo>
                          <a:pt x="485" y="656"/>
                        </a:lnTo>
                        <a:lnTo>
                          <a:pt x="490" y="658"/>
                        </a:lnTo>
                        <a:lnTo>
                          <a:pt x="495" y="661"/>
                        </a:lnTo>
                        <a:lnTo>
                          <a:pt x="498" y="661"/>
                        </a:lnTo>
                        <a:lnTo>
                          <a:pt x="495" y="664"/>
                        </a:lnTo>
                        <a:lnTo>
                          <a:pt x="495" y="686"/>
                        </a:lnTo>
                        <a:lnTo>
                          <a:pt x="493" y="688"/>
                        </a:lnTo>
                        <a:lnTo>
                          <a:pt x="493" y="689"/>
                        </a:lnTo>
                        <a:lnTo>
                          <a:pt x="493" y="691"/>
                        </a:lnTo>
                        <a:lnTo>
                          <a:pt x="493" y="694"/>
                        </a:lnTo>
                        <a:lnTo>
                          <a:pt x="492" y="696"/>
                        </a:lnTo>
                        <a:lnTo>
                          <a:pt x="497" y="694"/>
                        </a:lnTo>
                        <a:lnTo>
                          <a:pt x="508" y="696"/>
                        </a:lnTo>
                        <a:lnTo>
                          <a:pt x="508" y="699"/>
                        </a:lnTo>
                        <a:lnTo>
                          <a:pt x="513" y="709"/>
                        </a:lnTo>
                        <a:lnTo>
                          <a:pt x="512" y="716"/>
                        </a:lnTo>
                        <a:lnTo>
                          <a:pt x="513" y="726"/>
                        </a:lnTo>
                        <a:lnTo>
                          <a:pt x="515" y="732"/>
                        </a:lnTo>
                        <a:lnTo>
                          <a:pt x="513" y="736"/>
                        </a:lnTo>
                        <a:lnTo>
                          <a:pt x="508" y="736"/>
                        </a:lnTo>
                        <a:lnTo>
                          <a:pt x="502" y="739"/>
                        </a:lnTo>
                        <a:lnTo>
                          <a:pt x="502" y="741"/>
                        </a:lnTo>
                        <a:lnTo>
                          <a:pt x="498" y="742"/>
                        </a:lnTo>
                        <a:lnTo>
                          <a:pt x="497" y="742"/>
                        </a:lnTo>
                        <a:lnTo>
                          <a:pt x="487" y="749"/>
                        </a:lnTo>
                        <a:lnTo>
                          <a:pt x="484" y="751"/>
                        </a:lnTo>
                        <a:lnTo>
                          <a:pt x="480" y="752"/>
                        </a:lnTo>
                        <a:lnTo>
                          <a:pt x="472" y="759"/>
                        </a:lnTo>
                        <a:lnTo>
                          <a:pt x="469" y="761"/>
                        </a:lnTo>
                        <a:lnTo>
                          <a:pt x="469" y="766"/>
                        </a:lnTo>
                        <a:lnTo>
                          <a:pt x="465" y="766"/>
                        </a:lnTo>
                        <a:lnTo>
                          <a:pt x="462" y="766"/>
                        </a:lnTo>
                        <a:lnTo>
                          <a:pt x="454" y="774"/>
                        </a:lnTo>
                        <a:lnTo>
                          <a:pt x="452" y="777"/>
                        </a:lnTo>
                        <a:lnTo>
                          <a:pt x="454" y="782"/>
                        </a:lnTo>
                        <a:lnTo>
                          <a:pt x="449" y="784"/>
                        </a:lnTo>
                        <a:lnTo>
                          <a:pt x="447" y="786"/>
                        </a:lnTo>
                        <a:lnTo>
                          <a:pt x="442" y="794"/>
                        </a:lnTo>
                        <a:lnTo>
                          <a:pt x="439" y="797"/>
                        </a:lnTo>
                        <a:lnTo>
                          <a:pt x="435" y="804"/>
                        </a:lnTo>
                        <a:lnTo>
                          <a:pt x="435" y="806"/>
                        </a:lnTo>
                        <a:lnTo>
                          <a:pt x="430" y="809"/>
                        </a:lnTo>
                        <a:lnTo>
                          <a:pt x="430" y="811"/>
                        </a:lnTo>
                        <a:lnTo>
                          <a:pt x="434" y="811"/>
                        </a:lnTo>
                        <a:lnTo>
                          <a:pt x="435" y="812"/>
                        </a:lnTo>
                        <a:lnTo>
                          <a:pt x="449" y="809"/>
                        </a:lnTo>
                        <a:lnTo>
                          <a:pt x="454" y="812"/>
                        </a:lnTo>
                        <a:lnTo>
                          <a:pt x="459" y="819"/>
                        </a:lnTo>
                        <a:lnTo>
                          <a:pt x="464" y="820"/>
                        </a:lnTo>
                        <a:lnTo>
                          <a:pt x="467" y="825"/>
                        </a:lnTo>
                        <a:lnTo>
                          <a:pt x="472" y="835"/>
                        </a:lnTo>
                        <a:lnTo>
                          <a:pt x="475" y="835"/>
                        </a:lnTo>
                        <a:lnTo>
                          <a:pt x="480" y="830"/>
                        </a:lnTo>
                        <a:lnTo>
                          <a:pt x="482" y="830"/>
                        </a:lnTo>
                        <a:lnTo>
                          <a:pt x="488" y="839"/>
                        </a:lnTo>
                        <a:lnTo>
                          <a:pt x="495" y="842"/>
                        </a:lnTo>
                        <a:lnTo>
                          <a:pt x="500" y="842"/>
                        </a:lnTo>
                        <a:lnTo>
                          <a:pt x="507" y="847"/>
                        </a:lnTo>
                        <a:lnTo>
                          <a:pt x="507" y="854"/>
                        </a:lnTo>
                        <a:lnTo>
                          <a:pt x="512" y="852"/>
                        </a:lnTo>
                        <a:lnTo>
                          <a:pt x="520" y="857"/>
                        </a:lnTo>
                        <a:lnTo>
                          <a:pt x="527" y="862"/>
                        </a:lnTo>
                        <a:lnTo>
                          <a:pt x="532" y="870"/>
                        </a:lnTo>
                        <a:lnTo>
                          <a:pt x="538" y="874"/>
                        </a:lnTo>
                        <a:lnTo>
                          <a:pt x="537" y="880"/>
                        </a:lnTo>
                        <a:lnTo>
                          <a:pt x="532" y="885"/>
                        </a:lnTo>
                        <a:lnTo>
                          <a:pt x="535" y="892"/>
                        </a:lnTo>
                        <a:lnTo>
                          <a:pt x="535" y="894"/>
                        </a:lnTo>
                        <a:lnTo>
                          <a:pt x="535" y="895"/>
                        </a:lnTo>
                        <a:lnTo>
                          <a:pt x="538" y="899"/>
                        </a:lnTo>
                        <a:lnTo>
                          <a:pt x="540" y="900"/>
                        </a:lnTo>
                        <a:lnTo>
                          <a:pt x="548" y="894"/>
                        </a:lnTo>
                        <a:lnTo>
                          <a:pt x="552" y="887"/>
                        </a:lnTo>
                        <a:lnTo>
                          <a:pt x="557" y="870"/>
                        </a:lnTo>
                        <a:lnTo>
                          <a:pt x="560" y="860"/>
                        </a:lnTo>
                        <a:lnTo>
                          <a:pt x="562" y="859"/>
                        </a:lnTo>
                        <a:lnTo>
                          <a:pt x="560" y="855"/>
                        </a:lnTo>
                        <a:lnTo>
                          <a:pt x="557" y="850"/>
                        </a:lnTo>
                        <a:lnTo>
                          <a:pt x="558" y="847"/>
                        </a:lnTo>
                        <a:lnTo>
                          <a:pt x="562" y="845"/>
                        </a:lnTo>
                        <a:lnTo>
                          <a:pt x="562" y="842"/>
                        </a:lnTo>
                        <a:lnTo>
                          <a:pt x="565" y="839"/>
                        </a:lnTo>
                        <a:lnTo>
                          <a:pt x="565" y="835"/>
                        </a:lnTo>
                        <a:lnTo>
                          <a:pt x="568" y="837"/>
                        </a:lnTo>
                        <a:lnTo>
                          <a:pt x="572" y="837"/>
                        </a:lnTo>
                        <a:lnTo>
                          <a:pt x="575" y="832"/>
                        </a:lnTo>
                        <a:lnTo>
                          <a:pt x="575" y="829"/>
                        </a:lnTo>
                        <a:lnTo>
                          <a:pt x="577" y="827"/>
                        </a:lnTo>
                        <a:lnTo>
                          <a:pt x="578" y="822"/>
                        </a:lnTo>
                        <a:lnTo>
                          <a:pt x="580" y="820"/>
                        </a:lnTo>
                        <a:lnTo>
                          <a:pt x="582" y="820"/>
                        </a:lnTo>
                        <a:lnTo>
                          <a:pt x="583" y="816"/>
                        </a:lnTo>
                        <a:lnTo>
                          <a:pt x="582" y="812"/>
                        </a:lnTo>
                        <a:lnTo>
                          <a:pt x="580" y="811"/>
                        </a:lnTo>
                        <a:lnTo>
                          <a:pt x="580" y="804"/>
                        </a:lnTo>
                        <a:lnTo>
                          <a:pt x="578" y="802"/>
                        </a:lnTo>
                        <a:lnTo>
                          <a:pt x="580" y="802"/>
                        </a:lnTo>
                        <a:lnTo>
                          <a:pt x="583" y="807"/>
                        </a:lnTo>
                        <a:lnTo>
                          <a:pt x="588" y="814"/>
                        </a:lnTo>
                        <a:lnTo>
                          <a:pt x="591" y="814"/>
                        </a:lnTo>
                        <a:lnTo>
                          <a:pt x="593" y="812"/>
                        </a:lnTo>
                        <a:lnTo>
                          <a:pt x="595" y="814"/>
                        </a:lnTo>
                        <a:lnTo>
                          <a:pt x="596" y="817"/>
                        </a:lnTo>
                        <a:lnTo>
                          <a:pt x="593" y="817"/>
                        </a:lnTo>
                        <a:lnTo>
                          <a:pt x="591" y="825"/>
                        </a:lnTo>
                        <a:lnTo>
                          <a:pt x="586" y="834"/>
                        </a:lnTo>
                        <a:lnTo>
                          <a:pt x="582" y="834"/>
                        </a:lnTo>
                        <a:lnTo>
                          <a:pt x="580" y="839"/>
                        </a:lnTo>
                        <a:lnTo>
                          <a:pt x="578" y="842"/>
                        </a:lnTo>
                        <a:lnTo>
                          <a:pt x="577" y="842"/>
                        </a:lnTo>
                        <a:lnTo>
                          <a:pt x="572" y="844"/>
                        </a:lnTo>
                        <a:lnTo>
                          <a:pt x="568" y="847"/>
                        </a:lnTo>
                        <a:lnTo>
                          <a:pt x="568" y="850"/>
                        </a:lnTo>
                        <a:lnTo>
                          <a:pt x="563" y="850"/>
                        </a:lnTo>
                        <a:lnTo>
                          <a:pt x="562" y="852"/>
                        </a:lnTo>
                        <a:lnTo>
                          <a:pt x="562" y="854"/>
                        </a:lnTo>
                        <a:lnTo>
                          <a:pt x="567" y="855"/>
                        </a:lnTo>
                        <a:lnTo>
                          <a:pt x="582" y="845"/>
                        </a:lnTo>
                        <a:lnTo>
                          <a:pt x="590" y="837"/>
                        </a:lnTo>
                        <a:lnTo>
                          <a:pt x="601" y="819"/>
                        </a:lnTo>
                        <a:lnTo>
                          <a:pt x="606" y="811"/>
                        </a:lnTo>
                        <a:lnTo>
                          <a:pt x="610" y="799"/>
                        </a:lnTo>
                        <a:lnTo>
                          <a:pt x="621" y="781"/>
                        </a:lnTo>
                        <a:lnTo>
                          <a:pt x="631" y="769"/>
                        </a:lnTo>
                        <a:lnTo>
                          <a:pt x="633" y="766"/>
                        </a:lnTo>
                        <a:lnTo>
                          <a:pt x="633" y="764"/>
                        </a:lnTo>
                        <a:lnTo>
                          <a:pt x="633" y="761"/>
                        </a:lnTo>
                        <a:lnTo>
                          <a:pt x="635" y="761"/>
                        </a:lnTo>
                        <a:lnTo>
                          <a:pt x="636" y="756"/>
                        </a:lnTo>
                        <a:lnTo>
                          <a:pt x="640" y="754"/>
                        </a:lnTo>
                        <a:lnTo>
                          <a:pt x="640" y="749"/>
                        </a:lnTo>
                        <a:lnTo>
                          <a:pt x="640" y="747"/>
                        </a:lnTo>
                        <a:lnTo>
                          <a:pt x="640" y="746"/>
                        </a:lnTo>
                        <a:lnTo>
                          <a:pt x="638" y="744"/>
                        </a:lnTo>
                        <a:lnTo>
                          <a:pt x="638" y="739"/>
                        </a:lnTo>
                        <a:lnTo>
                          <a:pt x="633" y="734"/>
                        </a:lnTo>
                        <a:lnTo>
                          <a:pt x="633" y="731"/>
                        </a:lnTo>
                        <a:lnTo>
                          <a:pt x="633" y="727"/>
                        </a:lnTo>
                        <a:lnTo>
                          <a:pt x="633" y="726"/>
                        </a:lnTo>
                        <a:lnTo>
                          <a:pt x="631" y="719"/>
                        </a:lnTo>
                        <a:lnTo>
                          <a:pt x="628" y="713"/>
                        </a:lnTo>
                        <a:lnTo>
                          <a:pt x="631" y="711"/>
                        </a:lnTo>
                        <a:lnTo>
                          <a:pt x="636" y="709"/>
                        </a:lnTo>
                        <a:lnTo>
                          <a:pt x="635" y="706"/>
                        </a:lnTo>
                        <a:lnTo>
                          <a:pt x="633" y="704"/>
                        </a:lnTo>
                        <a:lnTo>
                          <a:pt x="638" y="703"/>
                        </a:lnTo>
                        <a:lnTo>
                          <a:pt x="638" y="699"/>
                        </a:lnTo>
                        <a:lnTo>
                          <a:pt x="633" y="696"/>
                        </a:lnTo>
                        <a:lnTo>
                          <a:pt x="638" y="696"/>
                        </a:lnTo>
                        <a:lnTo>
                          <a:pt x="640" y="691"/>
                        </a:lnTo>
                        <a:lnTo>
                          <a:pt x="643" y="693"/>
                        </a:lnTo>
                        <a:lnTo>
                          <a:pt x="651" y="686"/>
                        </a:lnTo>
                        <a:lnTo>
                          <a:pt x="655" y="684"/>
                        </a:lnTo>
                        <a:lnTo>
                          <a:pt x="655" y="681"/>
                        </a:lnTo>
                        <a:lnTo>
                          <a:pt x="661" y="676"/>
                        </a:lnTo>
                        <a:lnTo>
                          <a:pt x="670" y="673"/>
                        </a:lnTo>
                        <a:lnTo>
                          <a:pt x="680" y="663"/>
                        </a:lnTo>
                        <a:lnTo>
                          <a:pt x="688" y="661"/>
                        </a:lnTo>
                        <a:lnTo>
                          <a:pt x="693" y="658"/>
                        </a:lnTo>
                        <a:lnTo>
                          <a:pt x="698" y="653"/>
                        </a:lnTo>
                        <a:lnTo>
                          <a:pt x="703" y="653"/>
                        </a:lnTo>
                        <a:lnTo>
                          <a:pt x="706" y="656"/>
                        </a:lnTo>
                        <a:lnTo>
                          <a:pt x="709" y="656"/>
                        </a:lnTo>
                        <a:lnTo>
                          <a:pt x="709" y="653"/>
                        </a:lnTo>
                        <a:lnTo>
                          <a:pt x="713" y="648"/>
                        </a:lnTo>
                        <a:lnTo>
                          <a:pt x="723" y="641"/>
                        </a:lnTo>
                        <a:lnTo>
                          <a:pt x="728" y="641"/>
                        </a:lnTo>
                        <a:lnTo>
                          <a:pt x="728" y="638"/>
                        </a:lnTo>
                        <a:lnTo>
                          <a:pt x="724" y="638"/>
                        </a:lnTo>
                        <a:lnTo>
                          <a:pt x="721" y="636"/>
                        </a:lnTo>
                        <a:lnTo>
                          <a:pt x="719" y="634"/>
                        </a:lnTo>
                        <a:lnTo>
                          <a:pt x="724" y="633"/>
                        </a:lnTo>
                        <a:lnTo>
                          <a:pt x="729" y="629"/>
                        </a:lnTo>
                        <a:lnTo>
                          <a:pt x="734" y="631"/>
                        </a:lnTo>
                        <a:lnTo>
                          <a:pt x="738" y="629"/>
                        </a:lnTo>
                        <a:lnTo>
                          <a:pt x="741" y="628"/>
                        </a:lnTo>
                        <a:lnTo>
                          <a:pt x="744" y="628"/>
                        </a:lnTo>
                        <a:lnTo>
                          <a:pt x="744" y="629"/>
                        </a:lnTo>
                        <a:lnTo>
                          <a:pt x="739" y="633"/>
                        </a:lnTo>
                        <a:lnTo>
                          <a:pt x="733" y="634"/>
                        </a:lnTo>
                        <a:lnTo>
                          <a:pt x="731" y="636"/>
                        </a:lnTo>
                        <a:lnTo>
                          <a:pt x="733" y="636"/>
                        </a:lnTo>
                        <a:lnTo>
                          <a:pt x="743" y="634"/>
                        </a:lnTo>
                        <a:lnTo>
                          <a:pt x="754" y="629"/>
                        </a:lnTo>
                        <a:lnTo>
                          <a:pt x="753" y="628"/>
                        </a:lnTo>
                        <a:lnTo>
                          <a:pt x="756" y="626"/>
                        </a:lnTo>
                        <a:lnTo>
                          <a:pt x="759" y="626"/>
                        </a:lnTo>
                        <a:lnTo>
                          <a:pt x="758" y="628"/>
                        </a:lnTo>
                        <a:lnTo>
                          <a:pt x="758" y="628"/>
                        </a:lnTo>
                        <a:lnTo>
                          <a:pt x="759" y="633"/>
                        </a:lnTo>
                        <a:lnTo>
                          <a:pt x="759" y="633"/>
                        </a:lnTo>
                        <a:lnTo>
                          <a:pt x="766" y="633"/>
                        </a:lnTo>
                        <a:lnTo>
                          <a:pt x="769" y="631"/>
                        </a:lnTo>
                        <a:lnTo>
                          <a:pt x="776" y="631"/>
                        </a:lnTo>
                        <a:lnTo>
                          <a:pt x="784" y="633"/>
                        </a:lnTo>
                        <a:lnTo>
                          <a:pt x="789" y="629"/>
                        </a:lnTo>
                        <a:lnTo>
                          <a:pt x="789" y="626"/>
                        </a:lnTo>
                        <a:lnTo>
                          <a:pt x="787" y="626"/>
                        </a:lnTo>
                        <a:lnTo>
                          <a:pt x="789" y="623"/>
                        </a:lnTo>
                        <a:lnTo>
                          <a:pt x="799" y="616"/>
                        </a:lnTo>
                        <a:lnTo>
                          <a:pt x="809" y="615"/>
                        </a:lnTo>
                        <a:lnTo>
                          <a:pt x="814" y="611"/>
                        </a:lnTo>
                        <a:lnTo>
                          <a:pt x="814" y="608"/>
                        </a:lnTo>
                        <a:lnTo>
                          <a:pt x="814" y="606"/>
                        </a:lnTo>
                        <a:lnTo>
                          <a:pt x="809" y="598"/>
                        </a:lnTo>
                        <a:lnTo>
                          <a:pt x="812" y="593"/>
                        </a:lnTo>
                        <a:lnTo>
                          <a:pt x="816" y="590"/>
                        </a:lnTo>
                        <a:lnTo>
                          <a:pt x="816" y="585"/>
                        </a:lnTo>
                        <a:lnTo>
                          <a:pt x="819" y="583"/>
                        </a:lnTo>
                        <a:lnTo>
                          <a:pt x="822" y="581"/>
                        </a:lnTo>
                        <a:lnTo>
                          <a:pt x="824" y="576"/>
                        </a:lnTo>
                        <a:lnTo>
                          <a:pt x="822" y="576"/>
                        </a:lnTo>
                        <a:lnTo>
                          <a:pt x="829" y="566"/>
                        </a:lnTo>
                        <a:lnTo>
                          <a:pt x="837" y="556"/>
                        </a:lnTo>
                        <a:lnTo>
                          <a:pt x="839" y="551"/>
                        </a:lnTo>
                        <a:lnTo>
                          <a:pt x="836" y="538"/>
                        </a:lnTo>
                        <a:lnTo>
                          <a:pt x="834" y="535"/>
                        </a:lnTo>
                        <a:lnTo>
                          <a:pt x="837" y="526"/>
                        </a:lnTo>
                        <a:lnTo>
                          <a:pt x="841" y="523"/>
                        </a:lnTo>
                        <a:lnTo>
                          <a:pt x="841" y="520"/>
                        </a:lnTo>
                        <a:lnTo>
                          <a:pt x="847" y="515"/>
                        </a:lnTo>
                        <a:lnTo>
                          <a:pt x="849" y="513"/>
                        </a:lnTo>
                        <a:lnTo>
                          <a:pt x="847" y="505"/>
                        </a:lnTo>
                        <a:lnTo>
                          <a:pt x="851" y="495"/>
                        </a:lnTo>
                        <a:lnTo>
                          <a:pt x="849" y="487"/>
                        </a:lnTo>
                        <a:lnTo>
                          <a:pt x="851" y="482"/>
                        </a:lnTo>
                        <a:lnTo>
                          <a:pt x="851" y="478"/>
                        </a:lnTo>
                        <a:lnTo>
                          <a:pt x="852" y="470"/>
                        </a:lnTo>
                        <a:lnTo>
                          <a:pt x="851" y="440"/>
                        </a:lnTo>
                        <a:lnTo>
                          <a:pt x="851" y="435"/>
                        </a:lnTo>
                        <a:lnTo>
                          <a:pt x="852" y="430"/>
                        </a:lnTo>
                        <a:lnTo>
                          <a:pt x="852" y="427"/>
                        </a:lnTo>
                        <a:lnTo>
                          <a:pt x="851" y="428"/>
                        </a:lnTo>
                        <a:lnTo>
                          <a:pt x="847" y="427"/>
                        </a:lnTo>
                        <a:lnTo>
                          <a:pt x="847" y="423"/>
                        </a:lnTo>
                        <a:lnTo>
                          <a:pt x="851" y="419"/>
                        </a:lnTo>
                        <a:lnTo>
                          <a:pt x="849" y="414"/>
                        </a:lnTo>
                        <a:lnTo>
                          <a:pt x="851" y="410"/>
                        </a:lnTo>
                        <a:lnTo>
                          <a:pt x="852" y="410"/>
                        </a:lnTo>
                        <a:lnTo>
                          <a:pt x="854" y="405"/>
                        </a:lnTo>
                        <a:lnTo>
                          <a:pt x="851" y="400"/>
                        </a:lnTo>
                        <a:lnTo>
                          <a:pt x="844" y="397"/>
                        </a:lnTo>
                        <a:lnTo>
                          <a:pt x="846" y="397"/>
                        </a:lnTo>
                        <a:lnTo>
                          <a:pt x="847" y="395"/>
                        </a:lnTo>
                        <a:lnTo>
                          <a:pt x="847" y="397"/>
                        </a:lnTo>
                        <a:lnTo>
                          <a:pt x="852" y="399"/>
                        </a:lnTo>
                        <a:lnTo>
                          <a:pt x="856" y="400"/>
                        </a:lnTo>
                        <a:lnTo>
                          <a:pt x="857" y="395"/>
                        </a:lnTo>
                        <a:lnTo>
                          <a:pt x="861" y="395"/>
                        </a:lnTo>
                        <a:lnTo>
                          <a:pt x="861" y="399"/>
                        </a:lnTo>
                        <a:lnTo>
                          <a:pt x="864" y="400"/>
                        </a:lnTo>
                        <a:lnTo>
                          <a:pt x="861" y="402"/>
                        </a:lnTo>
                        <a:lnTo>
                          <a:pt x="857" y="405"/>
                        </a:lnTo>
                        <a:lnTo>
                          <a:pt x="857" y="409"/>
                        </a:lnTo>
                        <a:lnTo>
                          <a:pt x="859" y="409"/>
                        </a:lnTo>
                        <a:lnTo>
                          <a:pt x="864" y="404"/>
                        </a:lnTo>
                        <a:lnTo>
                          <a:pt x="871" y="400"/>
                        </a:lnTo>
                        <a:lnTo>
                          <a:pt x="879" y="390"/>
                        </a:lnTo>
                        <a:lnTo>
                          <a:pt x="882" y="382"/>
                        </a:lnTo>
                        <a:lnTo>
                          <a:pt x="884" y="377"/>
                        </a:lnTo>
                        <a:lnTo>
                          <a:pt x="887" y="374"/>
                        </a:lnTo>
                        <a:lnTo>
                          <a:pt x="890" y="365"/>
                        </a:lnTo>
                        <a:lnTo>
                          <a:pt x="894" y="360"/>
                        </a:lnTo>
                        <a:lnTo>
                          <a:pt x="905" y="352"/>
                        </a:lnTo>
                        <a:lnTo>
                          <a:pt x="907" y="349"/>
                        </a:lnTo>
                        <a:lnTo>
                          <a:pt x="912" y="347"/>
                        </a:lnTo>
                        <a:lnTo>
                          <a:pt x="914" y="342"/>
                        </a:lnTo>
                        <a:lnTo>
                          <a:pt x="925" y="334"/>
                        </a:lnTo>
                        <a:lnTo>
                          <a:pt x="935" y="322"/>
                        </a:lnTo>
                        <a:lnTo>
                          <a:pt x="937" y="319"/>
                        </a:lnTo>
                        <a:lnTo>
                          <a:pt x="944" y="307"/>
                        </a:lnTo>
                        <a:lnTo>
                          <a:pt x="945" y="302"/>
                        </a:lnTo>
                        <a:lnTo>
                          <a:pt x="947" y="299"/>
                        </a:lnTo>
                        <a:lnTo>
                          <a:pt x="947" y="294"/>
                        </a:lnTo>
                        <a:lnTo>
                          <a:pt x="944" y="291"/>
                        </a:lnTo>
                        <a:lnTo>
                          <a:pt x="945" y="286"/>
                        </a:lnTo>
                        <a:lnTo>
                          <a:pt x="949" y="284"/>
                        </a:lnTo>
                        <a:lnTo>
                          <a:pt x="947" y="272"/>
                        </a:lnTo>
                        <a:lnTo>
                          <a:pt x="945" y="271"/>
                        </a:lnTo>
                        <a:lnTo>
                          <a:pt x="944" y="266"/>
                        </a:lnTo>
                        <a:lnTo>
                          <a:pt x="935" y="249"/>
                        </a:lnTo>
                        <a:lnTo>
                          <a:pt x="935" y="242"/>
                        </a:lnTo>
                        <a:lnTo>
                          <a:pt x="934" y="236"/>
                        </a:lnTo>
                        <a:lnTo>
                          <a:pt x="919" y="231"/>
                        </a:lnTo>
                        <a:lnTo>
                          <a:pt x="909" y="231"/>
                        </a:lnTo>
                        <a:lnTo>
                          <a:pt x="902" y="232"/>
                        </a:lnTo>
                        <a:lnTo>
                          <a:pt x="899" y="227"/>
                        </a:lnTo>
                        <a:lnTo>
                          <a:pt x="892" y="226"/>
                        </a:lnTo>
                        <a:lnTo>
                          <a:pt x="887" y="221"/>
                        </a:lnTo>
                        <a:lnTo>
                          <a:pt x="881" y="218"/>
                        </a:lnTo>
                        <a:lnTo>
                          <a:pt x="876" y="218"/>
                        </a:lnTo>
                        <a:lnTo>
                          <a:pt x="866" y="206"/>
                        </a:lnTo>
                        <a:lnTo>
                          <a:pt x="856" y="196"/>
                        </a:lnTo>
                        <a:lnTo>
                          <a:pt x="852" y="194"/>
                        </a:lnTo>
                        <a:lnTo>
                          <a:pt x="846" y="189"/>
                        </a:lnTo>
                        <a:lnTo>
                          <a:pt x="841" y="189"/>
                        </a:lnTo>
                        <a:lnTo>
                          <a:pt x="826" y="181"/>
                        </a:lnTo>
                        <a:lnTo>
                          <a:pt x="819" y="181"/>
                        </a:lnTo>
                        <a:lnTo>
                          <a:pt x="812" y="178"/>
                        </a:lnTo>
                        <a:lnTo>
                          <a:pt x="807" y="179"/>
                        </a:lnTo>
                        <a:lnTo>
                          <a:pt x="801" y="179"/>
                        </a:lnTo>
                        <a:lnTo>
                          <a:pt x="796" y="178"/>
                        </a:lnTo>
                        <a:lnTo>
                          <a:pt x="792" y="179"/>
                        </a:lnTo>
                        <a:lnTo>
                          <a:pt x="789" y="183"/>
                        </a:lnTo>
                        <a:lnTo>
                          <a:pt x="787" y="179"/>
                        </a:lnTo>
                        <a:lnTo>
                          <a:pt x="781" y="176"/>
                        </a:lnTo>
                        <a:lnTo>
                          <a:pt x="779" y="178"/>
                        </a:lnTo>
                        <a:lnTo>
                          <a:pt x="776" y="176"/>
                        </a:lnTo>
                        <a:lnTo>
                          <a:pt x="776" y="178"/>
                        </a:lnTo>
                        <a:lnTo>
                          <a:pt x="776" y="181"/>
                        </a:lnTo>
                        <a:lnTo>
                          <a:pt x="771" y="178"/>
                        </a:lnTo>
                        <a:lnTo>
                          <a:pt x="771" y="176"/>
                        </a:lnTo>
                        <a:lnTo>
                          <a:pt x="768" y="174"/>
                        </a:lnTo>
                        <a:lnTo>
                          <a:pt x="769" y="176"/>
                        </a:lnTo>
                        <a:lnTo>
                          <a:pt x="768" y="178"/>
                        </a:lnTo>
                        <a:lnTo>
                          <a:pt x="761" y="174"/>
                        </a:lnTo>
                        <a:lnTo>
                          <a:pt x="758" y="176"/>
                        </a:lnTo>
                        <a:lnTo>
                          <a:pt x="753" y="174"/>
                        </a:lnTo>
                        <a:lnTo>
                          <a:pt x="739" y="169"/>
                        </a:lnTo>
                        <a:lnTo>
                          <a:pt x="733" y="169"/>
                        </a:lnTo>
                        <a:lnTo>
                          <a:pt x="733" y="171"/>
                        </a:lnTo>
                        <a:lnTo>
                          <a:pt x="734" y="173"/>
                        </a:lnTo>
                        <a:lnTo>
                          <a:pt x="733" y="174"/>
                        </a:lnTo>
                        <a:lnTo>
                          <a:pt x="731" y="173"/>
                        </a:lnTo>
                        <a:lnTo>
                          <a:pt x="729" y="173"/>
                        </a:lnTo>
                        <a:lnTo>
                          <a:pt x="728" y="176"/>
                        </a:lnTo>
                        <a:lnTo>
                          <a:pt x="724" y="178"/>
                        </a:lnTo>
                        <a:lnTo>
                          <a:pt x="723" y="179"/>
                        </a:lnTo>
                        <a:lnTo>
                          <a:pt x="721" y="184"/>
                        </a:lnTo>
                        <a:lnTo>
                          <a:pt x="719" y="181"/>
                        </a:lnTo>
                        <a:lnTo>
                          <a:pt x="718" y="178"/>
                        </a:lnTo>
                        <a:lnTo>
                          <a:pt x="714" y="178"/>
                        </a:lnTo>
                        <a:lnTo>
                          <a:pt x="716" y="183"/>
                        </a:lnTo>
                        <a:lnTo>
                          <a:pt x="711" y="189"/>
                        </a:lnTo>
                        <a:lnTo>
                          <a:pt x="711" y="196"/>
                        </a:lnTo>
                        <a:lnTo>
                          <a:pt x="709" y="189"/>
                        </a:lnTo>
                        <a:lnTo>
                          <a:pt x="711" y="184"/>
                        </a:lnTo>
                        <a:lnTo>
                          <a:pt x="711" y="179"/>
                        </a:lnTo>
                        <a:lnTo>
                          <a:pt x="713" y="173"/>
                        </a:lnTo>
                        <a:lnTo>
                          <a:pt x="714" y="171"/>
                        </a:lnTo>
                        <a:lnTo>
                          <a:pt x="713" y="169"/>
                        </a:lnTo>
                        <a:lnTo>
                          <a:pt x="709" y="169"/>
                        </a:lnTo>
                        <a:lnTo>
                          <a:pt x="714" y="164"/>
                        </a:lnTo>
                        <a:lnTo>
                          <a:pt x="708" y="158"/>
                        </a:lnTo>
                        <a:lnTo>
                          <a:pt x="704" y="151"/>
                        </a:lnTo>
                        <a:lnTo>
                          <a:pt x="701" y="153"/>
                        </a:lnTo>
                        <a:lnTo>
                          <a:pt x="694" y="151"/>
                        </a:lnTo>
                        <a:lnTo>
                          <a:pt x="693" y="154"/>
                        </a:lnTo>
                        <a:lnTo>
                          <a:pt x="689" y="156"/>
                        </a:lnTo>
                        <a:lnTo>
                          <a:pt x="688" y="153"/>
                        </a:lnTo>
                        <a:lnTo>
                          <a:pt x="684" y="151"/>
                        </a:lnTo>
                        <a:lnTo>
                          <a:pt x="684" y="148"/>
                        </a:lnTo>
                        <a:lnTo>
                          <a:pt x="681" y="146"/>
                        </a:lnTo>
                        <a:lnTo>
                          <a:pt x="678" y="146"/>
                        </a:lnTo>
                        <a:lnTo>
                          <a:pt x="676" y="144"/>
                        </a:lnTo>
                        <a:lnTo>
                          <a:pt x="673" y="143"/>
                        </a:lnTo>
                        <a:lnTo>
                          <a:pt x="670" y="146"/>
                        </a:lnTo>
                        <a:lnTo>
                          <a:pt x="670" y="144"/>
                        </a:lnTo>
                        <a:lnTo>
                          <a:pt x="668" y="143"/>
                        </a:lnTo>
                        <a:lnTo>
                          <a:pt x="666" y="139"/>
                        </a:lnTo>
                        <a:lnTo>
                          <a:pt x="663" y="141"/>
                        </a:lnTo>
                        <a:lnTo>
                          <a:pt x="658" y="139"/>
                        </a:lnTo>
                        <a:lnTo>
                          <a:pt x="650" y="134"/>
                        </a:lnTo>
                        <a:lnTo>
                          <a:pt x="648" y="134"/>
                        </a:lnTo>
                        <a:lnTo>
                          <a:pt x="646" y="136"/>
                        </a:lnTo>
                        <a:lnTo>
                          <a:pt x="643" y="134"/>
                        </a:lnTo>
                        <a:lnTo>
                          <a:pt x="640" y="134"/>
                        </a:lnTo>
                        <a:lnTo>
                          <a:pt x="638" y="138"/>
                        </a:lnTo>
                        <a:lnTo>
                          <a:pt x="636" y="138"/>
                        </a:lnTo>
                        <a:lnTo>
                          <a:pt x="635" y="134"/>
                        </a:lnTo>
                        <a:lnTo>
                          <a:pt x="630" y="134"/>
                        </a:lnTo>
                        <a:lnTo>
                          <a:pt x="625" y="136"/>
                        </a:lnTo>
                        <a:lnTo>
                          <a:pt x="623" y="141"/>
                        </a:lnTo>
                        <a:lnTo>
                          <a:pt x="623" y="143"/>
                        </a:lnTo>
                        <a:lnTo>
                          <a:pt x="618" y="148"/>
                        </a:lnTo>
                        <a:lnTo>
                          <a:pt x="611" y="151"/>
                        </a:lnTo>
                        <a:lnTo>
                          <a:pt x="601" y="156"/>
                        </a:lnTo>
                        <a:lnTo>
                          <a:pt x="598" y="161"/>
                        </a:lnTo>
                        <a:lnTo>
                          <a:pt x="595" y="168"/>
                        </a:lnTo>
                        <a:lnTo>
                          <a:pt x="595" y="173"/>
                        </a:lnTo>
                        <a:lnTo>
                          <a:pt x="591" y="176"/>
                        </a:lnTo>
                        <a:lnTo>
                          <a:pt x="588" y="179"/>
                        </a:lnTo>
                        <a:lnTo>
                          <a:pt x="588" y="183"/>
                        </a:lnTo>
                        <a:lnTo>
                          <a:pt x="590" y="188"/>
                        </a:lnTo>
                        <a:lnTo>
                          <a:pt x="588" y="196"/>
                        </a:lnTo>
                        <a:lnTo>
                          <a:pt x="586" y="191"/>
                        </a:lnTo>
                        <a:lnTo>
                          <a:pt x="583" y="186"/>
                        </a:lnTo>
                        <a:lnTo>
                          <a:pt x="583" y="181"/>
                        </a:lnTo>
                        <a:lnTo>
                          <a:pt x="586" y="178"/>
                        </a:lnTo>
                        <a:lnTo>
                          <a:pt x="591" y="174"/>
                        </a:lnTo>
                        <a:lnTo>
                          <a:pt x="590" y="169"/>
                        </a:lnTo>
                        <a:lnTo>
                          <a:pt x="591" y="164"/>
                        </a:lnTo>
                        <a:lnTo>
                          <a:pt x="591" y="161"/>
                        </a:lnTo>
                        <a:lnTo>
                          <a:pt x="588" y="161"/>
                        </a:lnTo>
                        <a:lnTo>
                          <a:pt x="583" y="163"/>
                        </a:lnTo>
                        <a:lnTo>
                          <a:pt x="577" y="161"/>
                        </a:lnTo>
                        <a:lnTo>
                          <a:pt x="572" y="161"/>
                        </a:lnTo>
                        <a:lnTo>
                          <a:pt x="567" y="163"/>
                        </a:lnTo>
                        <a:lnTo>
                          <a:pt x="565" y="161"/>
                        </a:lnTo>
                        <a:lnTo>
                          <a:pt x="568" y="161"/>
                        </a:lnTo>
                        <a:lnTo>
                          <a:pt x="572" y="158"/>
                        </a:lnTo>
                        <a:lnTo>
                          <a:pt x="577" y="158"/>
                        </a:lnTo>
                        <a:lnTo>
                          <a:pt x="583" y="158"/>
                        </a:lnTo>
                        <a:lnTo>
                          <a:pt x="588" y="158"/>
                        </a:lnTo>
                        <a:lnTo>
                          <a:pt x="591" y="153"/>
                        </a:lnTo>
                        <a:lnTo>
                          <a:pt x="593" y="153"/>
                        </a:lnTo>
                        <a:lnTo>
                          <a:pt x="595" y="154"/>
                        </a:lnTo>
                        <a:lnTo>
                          <a:pt x="598" y="154"/>
                        </a:lnTo>
                        <a:lnTo>
                          <a:pt x="601" y="151"/>
                        </a:lnTo>
                        <a:lnTo>
                          <a:pt x="610" y="149"/>
                        </a:lnTo>
                        <a:lnTo>
                          <a:pt x="610" y="144"/>
                        </a:lnTo>
                        <a:lnTo>
                          <a:pt x="615" y="138"/>
                        </a:lnTo>
                        <a:lnTo>
                          <a:pt x="615" y="133"/>
                        </a:lnTo>
                        <a:lnTo>
                          <a:pt x="618" y="129"/>
                        </a:lnTo>
                        <a:lnTo>
                          <a:pt x="618" y="126"/>
                        </a:lnTo>
                        <a:lnTo>
                          <a:pt x="611" y="125"/>
                        </a:lnTo>
                        <a:lnTo>
                          <a:pt x="606" y="121"/>
                        </a:lnTo>
                        <a:lnTo>
                          <a:pt x="601" y="121"/>
                        </a:lnTo>
                        <a:lnTo>
                          <a:pt x="595" y="125"/>
                        </a:lnTo>
                        <a:lnTo>
                          <a:pt x="588" y="125"/>
                        </a:lnTo>
                        <a:lnTo>
                          <a:pt x="580" y="121"/>
                        </a:lnTo>
                        <a:lnTo>
                          <a:pt x="572" y="121"/>
                        </a:lnTo>
                        <a:lnTo>
                          <a:pt x="565" y="128"/>
                        </a:lnTo>
                        <a:lnTo>
                          <a:pt x="565" y="129"/>
                        </a:lnTo>
                        <a:lnTo>
                          <a:pt x="567" y="131"/>
                        </a:lnTo>
                        <a:lnTo>
                          <a:pt x="568" y="134"/>
                        </a:lnTo>
                        <a:lnTo>
                          <a:pt x="565" y="134"/>
                        </a:lnTo>
                        <a:lnTo>
                          <a:pt x="563" y="134"/>
                        </a:lnTo>
                        <a:lnTo>
                          <a:pt x="562" y="139"/>
                        </a:lnTo>
                        <a:lnTo>
                          <a:pt x="560" y="136"/>
                        </a:lnTo>
                        <a:lnTo>
                          <a:pt x="558" y="134"/>
                        </a:lnTo>
                        <a:lnTo>
                          <a:pt x="553" y="136"/>
                        </a:lnTo>
                        <a:lnTo>
                          <a:pt x="547" y="144"/>
                        </a:lnTo>
                        <a:lnTo>
                          <a:pt x="540" y="151"/>
                        </a:lnTo>
                        <a:lnTo>
                          <a:pt x="545" y="144"/>
                        </a:lnTo>
                        <a:lnTo>
                          <a:pt x="545" y="139"/>
                        </a:lnTo>
                        <a:lnTo>
                          <a:pt x="547" y="138"/>
                        </a:lnTo>
                        <a:lnTo>
                          <a:pt x="547" y="134"/>
                        </a:lnTo>
                        <a:lnTo>
                          <a:pt x="545" y="134"/>
                        </a:lnTo>
                        <a:lnTo>
                          <a:pt x="540" y="138"/>
                        </a:lnTo>
                        <a:lnTo>
                          <a:pt x="537" y="143"/>
                        </a:lnTo>
                        <a:lnTo>
                          <a:pt x="535" y="148"/>
                        </a:lnTo>
                        <a:lnTo>
                          <a:pt x="530" y="151"/>
                        </a:lnTo>
                        <a:lnTo>
                          <a:pt x="535" y="144"/>
                        </a:lnTo>
                        <a:lnTo>
                          <a:pt x="535" y="139"/>
                        </a:lnTo>
                        <a:lnTo>
                          <a:pt x="543" y="129"/>
                        </a:lnTo>
                        <a:lnTo>
                          <a:pt x="545" y="123"/>
                        </a:lnTo>
                        <a:lnTo>
                          <a:pt x="548" y="120"/>
                        </a:lnTo>
                        <a:lnTo>
                          <a:pt x="553" y="116"/>
                        </a:lnTo>
                        <a:lnTo>
                          <a:pt x="558" y="113"/>
                        </a:lnTo>
                        <a:lnTo>
                          <a:pt x="562" y="111"/>
                        </a:lnTo>
                        <a:lnTo>
                          <a:pt x="567" y="106"/>
                        </a:lnTo>
                        <a:lnTo>
                          <a:pt x="578" y="95"/>
                        </a:lnTo>
                        <a:lnTo>
                          <a:pt x="578" y="93"/>
                        </a:lnTo>
                        <a:lnTo>
                          <a:pt x="582" y="91"/>
                        </a:lnTo>
                        <a:lnTo>
                          <a:pt x="578" y="88"/>
                        </a:lnTo>
                        <a:lnTo>
                          <a:pt x="580" y="85"/>
                        </a:lnTo>
                        <a:lnTo>
                          <a:pt x="582" y="85"/>
                        </a:lnTo>
                        <a:lnTo>
                          <a:pt x="582" y="80"/>
                        </a:lnTo>
                        <a:lnTo>
                          <a:pt x="577" y="76"/>
                        </a:lnTo>
                        <a:lnTo>
                          <a:pt x="572" y="76"/>
                        </a:lnTo>
                        <a:lnTo>
                          <a:pt x="570" y="78"/>
                        </a:lnTo>
                        <a:lnTo>
                          <a:pt x="568" y="75"/>
                        </a:lnTo>
                        <a:lnTo>
                          <a:pt x="565" y="66"/>
                        </a:lnTo>
                        <a:lnTo>
                          <a:pt x="560" y="55"/>
                        </a:lnTo>
                        <a:lnTo>
                          <a:pt x="555" y="48"/>
                        </a:lnTo>
                        <a:lnTo>
                          <a:pt x="552" y="40"/>
                        </a:lnTo>
                        <a:lnTo>
                          <a:pt x="552" y="36"/>
                        </a:lnTo>
                        <a:lnTo>
                          <a:pt x="550" y="31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588" name="Google Shape;3126;p98">
                    <a:extLst>
                      <a:ext uri="{FF2B5EF4-FFF2-40B4-BE49-F238E27FC236}">
                        <a16:creationId xmlns:a16="http://schemas.microsoft.com/office/drawing/2014/main" id="{86EF833F-7CB8-B0C1-D44C-2544F5619332}"/>
                      </a:ext>
                    </a:extLst>
                  </p:cNvPr>
                  <p:cNvSpPr/>
                  <p:nvPr/>
                </p:nvSpPr>
                <p:spPr>
                  <a:xfrm>
                    <a:off x="5720423" y="3204346"/>
                    <a:ext cx="36388" cy="4669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8" h="90" extrusionOk="0">
                        <a:moveTo>
                          <a:pt x="0" y="71"/>
                        </a:moveTo>
                        <a:lnTo>
                          <a:pt x="2" y="73"/>
                        </a:lnTo>
                        <a:lnTo>
                          <a:pt x="3" y="76"/>
                        </a:lnTo>
                        <a:lnTo>
                          <a:pt x="5" y="78"/>
                        </a:lnTo>
                        <a:lnTo>
                          <a:pt x="5" y="80"/>
                        </a:lnTo>
                        <a:lnTo>
                          <a:pt x="8" y="83"/>
                        </a:lnTo>
                        <a:lnTo>
                          <a:pt x="12" y="85"/>
                        </a:lnTo>
                        <a:lnTo>
                          <a:pt x="15" y="81"/>
                        </a:lnTo>
                        <a:lnTo>
                          <a:pt x="18" y="80"/>
                        </a:lnTo>
                        <a:lnTo>
                          <a:pt x="20" y="80"/>
                        </a:lnTo>
                        <a:lnTo>
                          <a:pt x="21" y="81"/>
                        </a:lnTo>
                        <a:lnTo>
                          <a:pt x="23" y="83"/>
                        </a:lnTo>
                        <a:lnTo>
                          <a:pt x="23" y="88"/>
                        </a:lnTo>
                        <a:lnTo>
                          <a:pt x="26" y="90"/>
                        </a:lnTo>
                        <a:lnTo>
                          <a:pt x="30" y="86"/>
                        </a:lnTo>
                        <a:lnTo>
                          <a:pt x="31" y="83"/>
                        </a:lnTo>
                        <a:lnTo>
                          <a:pt x="33" y="81"/>
                        </a:lnTo>
                        <a:lnTo>
                          <a:pt x="38" y="81"/>
                        </a:lnTo>
                        <a:lnTo>
                          <a:pt x="41" y="75"/>
                        </a:lnTo>
                        <a:lnTo>
                          <a:pt x="45" y="70"/>
                        </a:lnTo>
                        <a:lnTo>
                          <a:pt x="50" y="61"/>
                        </a:lnTo>
                        <a:lnTo>
                          <a:pt x="50" y="56"/>
                        </a:lnTo>
                        <a:lnTo>
                          <a:pt x="56" y="50"/>
                        </a:lnTo>
                        <a:lnTo>
                          <a:pt x="61" y="43"/>
                        </a:lnTo>
                        <a:lnTo>
                          <a:pt x="63" y="40"/>
                        </a:lnTo>
                        <a:lnTo>
                          <a:pt x="63" y="40"/>
                        </a:lnTo>
                        <a:lnTo>
                          <a:pt x="68" y="35"/>
                        </a:lnTo>
                        <a:lnTo>
                          <a:pt x="68" y="30"/>
                        </a:lnTo>
                        <a:lnTo>
                          <a:pt x="63" y="25"/>
                        </a:lnTo>
                        <a:lnTo>
                          <a:pt x="61" y="27"/>
                        </a:lnTo>
                        <a:lnTo>
                          <a:pt x="58" y="25"/>
                        </a:lnTo>
                        <a:lnTo>
                          <a:pt x="58" y="22"/>
                        </a:lnTo>
                        <a:lnTo>
                          <a:pt x="50" y="13"/>
                        </a:lnTo>
                        <a:lnTo>
                          <a:pt x="46" y="12"/>
                        </a:lnTo>
                        <a:lnTo>
                          <a:pt x="41" y="8"/>
                        </a:lnTo>
                        <a:lnTo>
                          <a:pt x="28" y="5"/>
                        </a:lnTo>
                        <a:lnTo>
                          <a:pt x="21" y="2"/>
                        </a:lnTo>
                        <a:lnTo>
                          <a:pt x="15" y="0"/>
                        </a:lnTo>
                        <a:lnTo>
                          <a:pt x="10" y="3"/>
                        </a:lnTo>
                        <a:lnTo>
                          <a:pt x="5" y="5"/>
                        </a:lnTo>
                        <a:lnTo>
                          <a:pt x="5" y="5"/>
                        </a:lnTo>
                        <a:lnTo>
                          <a:pt x="5" y="5"/>
                        </a:lnTo>
                        <a:lnTo>
                          <a:pt x="3" y="7"/>
                        </a:lnTo>
                        <a:lnTo>
                          <a:pt x="0" y="12"/>
                        </a:lnTo>
                        <a:lnTo>
                          <a:pt x="0" y="18"/>
                        </a:lnTo>
                        <a:lnTo>
                          <a:pt x="2" y="23"/>
                        </a:lnTo>
                        <a:lnTo>
                          <a:pt x="2" y="28"/>
                        </a:lnTo>
                        <a:lnTo>
                          <a:pt x="2" y="32"/>
                        </a:lnTo>
                        <a:lnTo>
                          <a:pt x="7" y="33"/>
                        </a:lnTo>
                        <a:lnTo>
                          <a:pt x="8" y="37"/>
                        </a:lnTo>
                        <a:lnTo>
                          <a:pt x="10" y="41"/>
                        </a:lnTo>
                        <a:lnTo>
                          <a:pt x="12" y="45"/>
                        </a:lnTo>
                        <a:lnTo>
                          <a:pt x="12" y="48"/>
                        </a:lnTo>
                        <a:lnTo>
                          <a:pt x="12" y="51"/>
                        </a:lnTo>
                        <a:lnTo>
                          <a:pt x="8" y="55"/>
                        </a:lnTo>
                        <a:lnTo>
                          <a:pt x="8" y="60"/>
                        </a:lnTo>
                        <a:lnTo>
                          <a:pt x="10" y="63"/>
                        </a:lnTo>
                        <a:lnTo>
                          <a:pt x="8" y="68"/>
                        </a:lnTo>
                        <a:lnTo>
                          <a:pt x="2" y="71"/>
                        </a:lnTo>
                        <a:lnTo>
                          <a:pt x="0" y="71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589" name="Google Shape;3127;p98">
                    <a:extLst>
                      <a:ext uri="{FF2B5EF4-FFF2-40B4-BE49-F238E27FC236}">
                        <a16:creationId xmlns:a16="http://schemas.microsoft.com/office/drawing/2014/main" id="{72C773A3-3071-2E7F-B359-39F62B11A922}"/>
                      </a:ext>
                    </a:extLst>
                  </p:cNvPr>
                  <p:cNvSpPr/>
                  <p:nvPr/>
                </p:nvSpPr>
                <p:spPr>
                  <a:xfrm>
                    <a:off x="5675472" y="3200196"/>
                    <a:ext cx="51372" cy="4980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7" h="96" extrusionOk="0">
                        <a:moveTo>
                          <a:pt x="38" y="95"/>
                        </a:moveTo>
                        <a:lnTo>
                          <a:pt x="38" y="95"/>
                        </a:lnTo>
                        <a:lnTo>
                          <a:pt x="40" y="95"/>
                        </a:lnTo>
                        <a:lnTo>
                          <a:pt x="42" y="96"/>
                        </a:lnTo>
                        <a:lnTo>
                          <a:pt x="48" y="96"/>
                        </a:lnTo>
                        <a:lnTo>
                          <a:pt x="53" y="96"/>
                        </a:lnTo>
                        <a:lnTo>
                          <a:pt x="53" y="95"/>
                        </a:lnTo>
                        <a:lnTo>
                          <a:pt x="52" y="90"/>
                        </a:lnTo>
                        <a:lnTo>
                          <a:pt x="50" y="88"/>
                        </a:lnTo>
                        <a:lnTo>
                          <a:pt x="45" y="85"/>
                        </a:lnTo>
                        <a:lnTo>
                          <a:pt x="47" y="80"/>
                        </a:lnTo>
                        <a:lnTo>
                          <a:pt x="52" y="76"/>
                        </a:lnTo>
                        <a:lnTo>
                          <a:pt x="57" y="78"/>
                        </a:lnTo>
                        <a:lnTo>
                          <a:pt x="67" y="78"/>
                        </a:lnTo>
                        <a:lnTo>
                          <a:pt x="72" y="76"/>
                        </a:lnTo>
                        <a:lnTo>
                          <a:pt x="78" y="76"/>
                        </a:lnTo>
                        <a:lnTo>
                          <a:pt x="82" y="80"/>
                        </a:lnTo>
                        <a:lnTo>
                          <a:pt x="87" y="81"/>
                        </a:lnTo>
                        <a:lnTo>
                          <a:pt x="93" y="78"/>
                        </a:lnTo>
                        <a:lnTo>
                          <a:pt x="95" y="73"/>
                        </a:lnTo>
                        <a:lnTo>
                          <a:pt x="93" y="70"/>
                        </a:lnTo>
                        <a:lnTo>
                          <a:pt x="93" y="65"/>
                        </a:lnTo>
                        <a:lnTo>
                          <a:pt x="97" y="61"/>
                        </a:lnTo>
                        <a:lnTo>
                          <a:pt x="97" y="58"/>
                        </a:lnTo>
                        <a:lnTo>
                          <a:pt x="97" y="55"/>
                        </a:lnTo>
                        <a:lnTo>
                          <a:pt x="95" y="51"/>
                        </a:lnTo>
                        <a:lnTo>
                          <a:pt x="93" y="47"/>
                        </a:lnTo>
                        <a:lnTo>
                          <a:pt x="92" y="43"/>
                        </a:lnTo>
                        <a:lnTo>
                          <a:pt x="87" y="42"/>
                        </a:lnTo>
                        <a:lnTo>
                          <a:pt x="87" y="38"/>
                        </a:lnTo>
                        <a:lnTo>
                          <a:pt x="87" y="33"/>
                        </a:lnTo>
                        <a:lnTo>
                          <a:pt x="85" y="28"/>
                        </a:lnTo>
                        <a:lnTo>
                          <a:pt x="85" y="22"/>
                        </a:lnTo>
                        <a:lnTo>
                          <a:pt x="88" y="17"/>
                        </a:lnTo>
                        <a:lnTo>
                          <a:pt x="90" y="15"/>
                        </a:lnTo>
                        <a:lnTo>
                          <a:pt x="90" y="15"/>
                        </a:lnTo>
                        <a:lnTo>
                          <a:pt x="95" y="10"/>
                        </a:lnTo>
                        <a:lnTo>
                          <a:pt x="95" y="7"/>
                        </a:lnTo>
                        <a:lnTo>
                          <a:pt x="90" y="5"/>
                        </a:lnTo>
                        <a:lnTo>
                          <a:pt x="82" y="3"/>
                        </a:lnTo>
                        <a:lnTo>
                          <a:pt x="72" y="0"/>
                        </a:lnTo>
                        <a:lnTo>
                          <a:pt x="68" y="2"/>
                        </a:lnTo>
                        <a:lnTo>
                          <a:pt x="65" y="3"/>
                        </a:lnTo>
                        <a:lnTo>
                          <a:pt x="57" y="2"/>
                        </a:lnTo>
                        <a:lnTo>
                          <a:pt x="47" y="3"/>
                        </a:lnTo>
                        <a:lnTo>
                          <a:pt x="40" y="2"/>
                        </a:lnTo>
                        <a:lnTo>
                          <a:pt x="28" y="2"/>
                        </a:lnTo>
                        <a:lnTo>
                          <a:pt x="23" y="3"/>
                        </a:lnTo>
                        <a:lnTo>
                          <a:pt x="22" y="8"/>
                        </a:lnTo>
                        <a:lnTo>
                          <a:pt x="22" y="10"/>
                        </a:lnTo>
                        <a:lnTo>
                          <a:pt x="20" y="13"/>
                        </a:lnTo>
                        <a:lnTo>
                          <a:pt x="20" y="17"/>
                        </a:lnTo>
                        <a:lnTo>
                          <a:pt x="17" y="20"/>
                        </a:lnTo>
                        <a:lnTo>
                          <a:pt x="13" y="23"/>
                        </a:lnTo>
                        <a:lnTo>
                          <a:pt x="7" y="23"/>
                        </a:lnTo>
                        <a:lnTo>
                          <a:pt x="3" y="28"/>
                        </a:lnTo>
                        <a:lnTo>
                          <a:pt x="3" y="33"/>
                        </a:lnTo>
                        <a:lnTo>
                          <a:pt x="0" y="42"/>
                        </a:lnTo>
                        <a:lnTo>
                          <a:pt x="0" y="45"/>
                        </a:lnTo>
                        <a:lnTo>
                          <a:pt x="5" y="47"/>
                        </a:lnTo>
                        <a:lnTo>
                          <a:pt x="7" y="50"/>
                        </a:lnTo>
                        <a:lnTo>
                          <a:pt x="8" y="51"/>
                        </a:lnTo>
                        <a:lnTo>
                          <a:pt x="10" y="55"/>
                        </a:lnTo>
                        <a:lnTo>
                          <a:pt x="12" y="58"/>
                        </a:lnTo>
                        <a:lnTo>
                          <a:pt x="13" y="60"/>
                        </a:lnTo>
                        <a:lnTo>
                          <a:pt x="17" y="60"/>
                        </a:lnTo>
                        <a:lnTo>
                          <a:pt x="18" y="61"/>
                        </a:lnTo>
                        <a:lnTo>
                          <a:pt x="20" y="65"/>
                        </a:lnTo>
                        <a:lnTo>
                          <a:pt x="22" y="71"/>
                        </a:lnTo>
                        <a:lnTo>
                          <a:pt x="22" y="76"/>
                        </a:lnTo>
                        <a:lnTo>
                          <a:pt x="23" y="78"/>
                        </a:lnTo>
                        <a:lnTo>
                          <a:pt x="28" y="81"/>
                        </a:lnTo>
                        <a:lnTo>
                          <a:pt x="28" y="86"/>
                        </a:lnTo>
                        <a:lnTo>
                          <a:pt x="33" y="88"/>
                        </a:lnTo>
                        <a:lnTo>
                          <a:pt x="33" y="90"/>
                        </a:lnTo>
                        <a:lnTo>
                          <a:pt x="35" y="91"/>
                        </a:lnTo>
                        <a:lnTo>
                          <a:pt x="38" y="95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590" name="Google Shape;3128;p98">
                    <a:extLst>
                      <a:ext uri="{FF2B5EF4-FFF2-40B4-BE49-F238E27FC236}">
                        <a16:creationId xmlns:a16="http://schemas.microsoft.com/office/drawing/2014/main" id="{EB93082C-A4FA-E8C3-5700-D4A85B99728B}"/>
                      </a:ext>
                    </a:extLst>
                  </p:cNvPr>
                  <p:cNvSpPr/>
                  <p:nvPr/>
                </p:nvSpPr>
                <p:spPr>
                  <a:xfrm>
                    <a:off x="5631592" y="3172181"/>
                    <a:ext cx="64215" cy="8612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1" h="166" extrusionOk="0">
                        <a:moveTo>
                          <a:pt x="17" y="73"/>
                        </a:moveTo>
                        <a:lnTo>
                          <a:pt x="20" y="73"/>
                        </a:lnTo>
                        <a:lnTo>
                          <a:pt x="22" y="75"/>
                        </a:lnTo>
                        <a:lnTo>
                          <a:pt x="23" y="73"/>
                        </a:lnTo>
                        <a:lnTo>
                          <a:pt x="30" y="73"/>
                        </a:lnTo>
                        <a:lnTo>
                          <a:pt x="33" y="78"/>
                        </a:lnTo>
                        <a:lnTo>
                          <a:pt x="33" y="85"/>
                        </a:lnTo>
                        <a:lnTo>
                          <a:pt x="30" y="88"/>
                        </a:lnTo>
                        <a:lnTo>
                          <a:pt x="28" y="91"/>
                        </a:lnTo>
                        <a:lnTo>
                          <a:pt x="32" y="93"/>
                        </a:lnTo>
                        <a:lnTo>
                          <a:pt x="38" y="93"/>
                        </a:lnTo>
                        <a:lnTo>
                          <a:pt x="38" y="96"/>
                        </a:lnTo>
                        <a:lnTo>
                          <a:pt x="42" y="100"/>
                        </a:lnTo>
                        <a:lnTo>
                          <a:pt x="47" y="98"/>
                        </a:lnTo>
                        <a:lnTo>
                          <a:pt x="47" y="101"/>
                        </a:lnTo>
                        <a:lnTo>
                          <a:pt x="42" y="106"/>
                        </a:lnTo>
                        <a:lnTo>
                          <a:pt x="40" y="111"/>
                        </a:lnTo>
                        <a:lnTo>
                          <a:pt x="35" y="119"/>
                        </a:lnTo>
                        <a:lnTo>
                          <a:pt x="35" y="124"/>
                        </a:lnTo>
                        <a:lnTo>
                          <a:pt x="33" y="128"/>
                        </a:lnTo>
                        <a:lnTo>
                          <a:pt x="33" y="131"/>
                        </a:lnTo>
                        <a:lnTo>
                          <a:pt x="35" y="133"/>
                        </a:lnTo>
                        <a:lnTo>
                          <a:pt x="33" y="136"/>
                        </a:lnTo>
                        <a:lnTo>
                          <a:pt x="33" y="141"/>
                        </a:lnTo>
                        <a:lnTo>
                          <a:pt x="38" y="144"/>
                        </a:lnTo>
                        <a:lnTo>
                          <a:pt x="43" y="149"/>
                        </a:lnTo>
                        <a:lnTo>
                          <a:pt x="43" y="153"/>
                        </a:lnTo>
                        <a:lnTo>
                          <a:pt x="47" y="156"/>
                        </a:lnTo>
                        <a:lnTo>
                          <a:pt x="57" y="164"/>
                        </a:lnTo>
                        <a:lnTo>
                          <a:pt x="62" y="166"/>
                        </a:lnTo>
                        <a:lnTo>
                          <a:pt x="63" y="163"/>
                        </a:lnTo>
                        <a:lnTo>
                          <a:pt x="67" y="161"/>
                        </a:lnTo>
                        <a:lnTo>
                          <a:pt x="68" y="163"/>
                        </a:lnTo>
                        <a:lnTo>
                          <a:pt x="73" y="163"/>
                        </a:lnTo>
                        <a:lnTo>
                          <a:pt x="77" y="159"/>
                        </a:lnTo>
                        <a:lnTo>
                          <a:pt x="77" y="156"/>
                        </a:lnTo>
                        <a:lnTo>
                          <a:pt x="83" y="154"/>
                        </a:lnTo>
                        <a:lnTo>
                          <a:pt x="93" y="156"/>
                        </a:lnTo>
                        <a:lnTo>
                          <a:pt x="95" y="148"/>
                        </a:lnTo>
                        <a:lnTo>
                          <a:pt x="100" y="146"/>
                        </a:lnTo>
                        <a:lnTo>
                          <a:pt x="108" y="146"/>
                        </a:lnTo>
                        <a:lnTo>
                          <a:pt x="110" y="148"/>
                        </a:lnTo>
                        <a:lnTo>
                          <a:pt x="113" y="148"/>
                        </a:lnTo>
                        <a:lnTo>
                          <a:pt x="121" y="148"/>
                        </a:lnTo>
                        <a:lnTo>
                          <a:pt x="118" y="144"/>
                        </a:lnTo>
                        <a:lnTo>
                          <a:pt x="116" y="143"/>
                        </a:lnTo>
                        <a:lnTo>
                          <a:pt x="116" y="141"/>
                        </a:lnTo>
                        <a:lnTo>
                          <a:pt x="111" y="139"/>
                        </a:lnTo>
                        <a:lnTo>
                          <a:pt x="111" y="134"/>
                        </a:lnTo>
                        <a:lnTo>
                          <a:pt x="106" y="131"/>
                        </a:lnTo>
                        <a:lnTo>
                          <a:pt x="105" y="129"/>
                        </a:lnTo>
                        <a:lnTo>
                          <a:pt x="105" y="124"/>
                        </a:lnTo>
                        <a:lnTo>
                          <a:pt x="103" y="118"/>
                        </a:lnTo>
                        <a:lnTo>
                          <a:pt x="101" y="114"/>
                        </a:lnTo>
                        <a:lnTo>
                          <a:pt x="100" y="113"/>
                        </a:lnTo>
                        <a:lnTo>
                          <a:pt x="96" y="113"/>
                        </a:lnTo>
                        <a:lnTo>
                          <a:pt x="95" y="111"/>
                        </a:lnTo>
                        <a:lnTo>
                          <a:pt x="93" y="108"/>
                        </a:lnTo>
                        <a:lnTo>
                          <a:pt x="91" y="104"/>
                        </a:lnTo>
                        <a:lnTo>
                          <a:pt x="90" y="103"/>
                        </a:lnTo>
                        <a:lnTo>
                          <a:pt x="88" y="100"/>
                        </a:lnTo>
                        <a:lnTo>
                          <a:pt x="83" y="98"/>
                        </a:lnTo>
                        <a:lnTo>
                          <a:pt x="83" y="95"/>
                        </a:lnTo>
                        <a:lnTo>
                          <a:pt x="86" y="86"/>
                        </a:lnTo>
                        <a:lnTo>
                          <a:pt x="86" y="81"/>
                        </a:lnTo>
                        <a:lnTo>
                          <a:pt x="90" y="76"/>
                        </a:lnTo>
                        <a:lnTo>
                          <a:pt x="96" y="76"/>
                        </a:lnTo>
                        <a:lnTo>
                          <a:pt x="100" y="73"/>
                        </a:lnTo>
                        <a:lnTo>
                          <a:pt x="103" y="70"/>
                        </a:lnTo>
                        <a:lnTo>
                          <a:pt x="103" y="66"/>
                        </a:lnTo>
                        <a:lnTo>
                          <a:pt x="105" y="63"/>
                        </a:lnTo>
                        <a:lnTo>
                          <a:pt x="105" y="61"/>
                        </a:lnTo>
                        <a:lnTo>
                          <a:pt x="105" y="61"/>
                        </a:lnTo>
                        <a:lnTo>
                          <a:pt x="103" y="58"/>
                        </a:lnTo>
                        <a:lnTo>
                          <a:pt x="103" y="51"/>
                        </a:lnTo>
                        <a:lnTo>
                          <a:pt x="101" y="48"/>
                        </a:lnTo>
                        <a:lnTo>
                          <a:pt x="93" y="46"/>
                        </a:lnTo>
                        <a:lnTo>
                          <a:pt x="85" y="40"/>
                        </a:lnTo>
                        <a:lnTo>
                          <a:pt x="80" y="36"/>
                        </a:lnTo>
                        <a:lnTo>
                          <a:pt x="78" y="38"/>
                        </a:lnTo>
                        <a:lnTo>
                          <a:pt x="73" y="40"/>
                        </a:lnTo>
                        <a:lnTo>
                          <a:pt x="70" y="43"/>
                        </a:lnTo>
                        <a:lnTo>
                          <a:pt x="68" y="46"/>
                        </a:lnTo>
                        <a:lnTo>
                          <a:pt x="67" y="41"/>
                        </a:lnTo>
                        <a:lnTo>
                          <a:pt x="68" y="35"/>
                        </a:lnTo>
                        <a:lnTo>
                          <a:pt x="70" y="30"/>
                        </a:lnTo>
                        <a:lnTo>
                          <a:pt x="68" y="23"/>
                        </a:lnTo>
                        <a:lnTo>
                          <a:pt x="63" y="21"/>
                        </a:lnTo>
                        <a:lnTo>
                          <a:pt x="55" y="15"/>
                        </a:lnTo>
                        <a:lnTo>
                          <a:pt x="48" y="8"/>
                        </a:lnTo>
                        <a:lnTo>
                          <a:pt x="47" y="5"/>
                        </a:lnTo>
                        <a:lnTo>
                          <a:pt x="43" y="2"/>
                        </a:lnTo>
                        <a:lnTo>
                          <a:pt x="38" y="0"/>
                        </a:lnTo>
                        <a:lnTo>
                          <a:pt x="37" y="0"/>
                        </a:lnTo>
                        <a:lnTo>
                          <a:pt x="37" y="2"/>
                        </a:lnTo>
                        <a:lnTo>
                          <a:pt x="28" y="10"/>
                        </a:lnTo>
                        <a:lnTo>
                          <a:pt x="23" y="13"/>
                        </a:lnTo>
                        <a:lnTo>
                          <a:pt x="20" y="13"/>
                        </a:lnTo>
                        <a:lnTo>
                          <a:pt x="13" y="20"/>
                        </a:lnTo>
                        <a:lnTo>
                          <a:pt x="15" y="23"/>
                        </a:lnTo>
                        <a:lnTo>
                          <a:pt x="17" y="28"/>
                        </a:lnTo>
                        <a:lnTo>
                          <a:pt x="23" y="28"/>
                        </a:lnTo>
                        <a:lnTo>
                          <a:pt x="28" y="31"/>
                        </a:lnTo>
                        <a:lnTo>
                          <a:pt x="28" y="36"/>
                        </a:lnTo>
                        <a:lnTo>
                          <a:pt x="20" y="40"/>
                        </a:lnTo>
                        <a:lnTo>
                          <a:pt x="15" y="38"/>
                        </a:lnTo>
                        <a:lnTo>
                          <a:pt x="12" y="40"/>
                        </a:lnTo>
                        <a:lnTo>
                          <a:pt x="8" y="38"/>
                        </a:lnTo>
                        <a:lnTo>
                          <a:pt x="5" y="41"/>
                        </a:lnTo>
                        <a:lnTo>
                          <a:pt x="3" y="48"/>
                        </a:lnTo>
                        <a:lnTo>
                          <a:pt x="0" y="51"/>
                        </a:lnTo>
                        <a:lnTo>
                          <a:pt x="2" y="58"/>
                        </a:lnTo>
                        <a:lnTo>
                          <a:pt x="8" y="65"/>
                        </a:lnTo>
                        <a:lnTo>
                          <a:pt x="17" y="71"/>
                        </a:lnTo>
                        <a:lnTo>
                          <a:pt x="17" y="73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591" name="Google Shape;3129;p98">
                    <a:extLst>
                      <a:ext uri="{FF2B5EF4-FFF2-40B4-BE49-F238E27FC236}">
                        <a16:creationId xmlns:a16="http://schemas.microsoft.com/office/drawing/2014/main" id="{CDB8CFA4-303B-515A-2482-5956D646439C}"/>
                      </a:ext>
                    </a:extLst>
                  </p:cNvPr>
                  <p:cNvSpPr/>
                  <p:nvPr/>
                </p:nvSpPr>
                <p:spPr>
                  <a:xfrm>
                    <a:off x="5478547" y="3123414"/>
                    <a:ext cx="172310" cy="14111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23" h="271" extrusionOk="0">
                        <a:moveTo>
                          <a:pt x="148" y="257"/>
                        </a:moveTo>
                        <a:lnTo>
                          <a:pt x="158" y="262"/>
                        </a:lnTo>
                        <a:lnTo>
                          <a:pt x="167" y="269"/>
                        </a:lnTo>
                        <a:lnTo>
                          <a:pt x="173" y="271"/>
                        </a:lnTo>
                        <a:lnTo>
                          <a:pt x="183" y="269"/>
                        </a:lnTo>
                        <a:lnTo>
                          <a:pt x="188" y="264"/>
                        </a:lnTo>
                        <a:lnTo>
                          <a:pt x="196" y="259"/>
                        </a:lnTo>
                        <a:lnTo>
                          <a:pt x="200" y="254"/>
                        </a:lnTo>
                        <a:lnTo>
                          <a:pt x="213" y="247"/>
                        </a:lnTo>
                        <a:lnTo>
                          <a:pt x="215" y="242"/>
                        </a:lnTo>
                        <a:lnTo>
                          <a:pt x="220" y="239"/>
                        </a:lnTo>
                        <a:lnTo>
                          <a:pt x="231" y="236"/>
                        </a:lnTo>
                        <a:lnTo>
                          <a:pt x="236" y="234"/>
                        </a:lnTo>
                        <a:lnTo>
                          <a:pt x="236" y="229"/>
                        </a:lnTo>
                        <a:lnTo>
                          <a:pt x="228" y="229"/>
                        </a:lnTo>
                        <a:lnTo>
                          <a:pt x="220" y="229"/>
                        </a:lnTo>
                        <a:lnTo>
                          <a:pt x="210" y="226"/>
                        </a:lnTo>
                        <a:lnTo>
                          <a:pt x="211" y="219"/>
                        </a:lnTo>
                        <a:lnTo>
                          <a:pt x="208" y="214"/>
                        </a:lnTo>
                        <a:lnTo>
                          <a:pt x="215" y="204"/>
                        </a:lnTo>
                        <a:lnTo>
                          <a:pt x="213" y="201"/>
                        </a:lnTo>
                        <a:lnTo>
                          <a:pt x="208" y="196"/>
                        </a:lnTo>
                        <a:lnTo>
                          <a:pt x="203" y="194"/>
                        </a:lnTo>
                        <a:lnTo>
                          <a:pt x="200" y="189"/>
                        </a:lnTo>
                        <a:lnTo>
                          <a:pt x="206" y="191"/>
                        </a:lnTo>
                        <a:lnTo>
                          <a:pt x="215" y="193"/>
                        </a:lnTo>
                        <a:lnTo>
                          <a:pt x="221" y="196"/>
                        </a:lnTo>
                        <a:lnTo>
                          <a:pt x="230" y="196"/>
                        </a:lnTo>
                        <a:lnTo>
                          <a:pt x="241" y="194"/>
                        </a:lnTo>
                        <a:lnTo>
                          <a:pt x="243" y="196"/>
                        </a:lnTo>
                        <a:lnTo>
                          <a:pt x="251" y="193"/>
                        </a:lnTo>
                        <a:lnTo>
                          <a:pt x="260" y="188"/>
                        </a:lnTo>
                        <a:lnTo>
                          <a:pt x="266" y="186"/>
                        </a:lnTo>
                        <a:lnTo>
                          <a:pt x="269" y="188"/>
                        </a:lnTo>
                        <a:lnTo>
                          <a:pt x="281" y="184"/>
                        </a:lnTo>
                        <a:lnTo>
                          <a:pt x="289" y="183"/>
                        </a:lnTo>
                        <a:lnTo>
                          <a:pt x="301" y="176"/>
                        </a:lnTo>
                        <a:lnTo>
                          <a:pt x="303" y="169"/>
                        </a:lnTo>
                        <a:lnTo>
                          <a:pt x="303" y="164"/>
                        </a:lnTo>
                        <a:lnTo>
                          <a:pt x="294" y="158"/>
                        </a:lnTo>
                        <a:lnTo>
                          <a:pt x="288" y="151"/>
                        </a:lnTo>
                        <a:lnTo>
                          <a:pt x="286" y="144"/>
                        </a:lnTo>
                        <a:lnTo>
                          <a:pt x="289" y="141"/>
                        </a:lnTo>
                        <a:lnTo>
                          <a:pt x="291" y="134"/>
                        </a:lnTo>
                        <a:lnTo>
                          <a:pt x="294" y="131"/>
                        </a:lnTo>
                        <a:lnTo>
                          <a:pt x="298" y="133"/>
                        </a:lnTo>
                        <a:lnTo>
                          <a:pt x="301" y="131"/>
                        </a:lnTo>
                        <a:lnTo>
                          <a:pt x="306" y="133"/>
                        </a:lnTo>
                        <a:lnTo>
                          <a:pt x="314" y="129"/>
                        </a:lnTo>
                        <a:lnTo>
                          <a:pt x="314" y="124"/>
                        </a:lnTo>
                        <a:lnTo>
                          <a:pt x="309" y="121"/>
                        </a:lnTo>
                        <a:lnTo>
                          <a:pt x="303" y="121"/>
                        </a:lnTo>
                        <a:lnTo>
                          <a:pt x="301" y="116"/>
                        </a:lnTo>
                        <a:lnTo>
                          <a:pt x="299" y="113"/>
                        </a:lnTo>
                        <a:lnTo>
                          <a:pt x="306" y="106"/>
                        </a:lnTo>
                        <a:lnTo>
                          <a:pt x="309" y="106"/>
                        </a:lnTo>
                        <a:lnTo>
                          <a:pt x="314" y="103"/>
                        </a:lnTo>
                        <a:lnTo>
                          <a:pt x="323" y="95"/>
                        </a:lnTo>
                        <a:lnTo>
                          <a:pt x="323" y="93"/>
                        </a:lnTo>
                        <a:lnTo>
                          <a:pt x="321" y="93"/>
                        </a:lnTo>
                        <a:lnTo>
                          <a:pt x="313" y="88"/>
                        </a:lnTo>
                        <a:lnTo>
                          <a:pt x="309" y="88"/>
                        </a:lnTo>
                        <a:lnTo>
                          <a:pt x="306" y="90"/>
                        </a:lnTo>
                        <a:lnTo>
                          <a:pt x="301" y="88"/>
                        </a:lnTo>
                        <a:lnTo>
                          <a:pt x="298" y="88"/>
                        </a:lnTo>
                        <a:lnTo>
                          <a:pt x="294" y="90"/>
                        </a:lnTo>
                        <a:lnTo>
                          <a:pt x="286" y="91"/>
                        </a:lnTo>
                        <a:lnTo>
                          <a:pt x="281" y="91"/>
                        </a:lnTo>
                        <a:lnTo>
                          <a:pt x="278" y="90"/>
                        </a:lnTo>
                        <a:lnTo>
                          <a:pt x="283" y="90"/>
                        </a:lnTo>
                        <a:lnTo>
                          <a:pt x="286" y="90"/>
                        </a:lnTo>
                        <a:lnTo>
                          <a:pt x="289" y="88"/>
                        </a:lnTo>
                        <a:lnTo>
                          <a:pt x="291" y="85"/>
                        </a:lnTo>
                        <a:lnTo>
                          <a:pt x="296" y="81"/>
                        </a:lnTo>
                        <a:lnTo>
                          <a:pt x="298" y="78"/>
                        </a:lnTo>
                        <a:lnTo>
                          <a:pt x="294" y="76"/>
                        </a:lnTo>
                        <a:lnTo>
                          <a:pt x="294" y="75"/>
                        </a:lnTo>
                        <a:lnTo>
                          <a:pt x="293" y="71"/>
                        </a:lnTo>
                        <a:lnTo>
                          <a:pt x="286" y="68"/>
                        </a:lnTo>
                        <a:lnTo>
                          <a:pt x="278" y="66"/>
                        </a:lnTo>
                        <a:lnTo>
                          <a:pt x="276" y="65"/>
                        </a:lnTo>
                        <a:lnTo>
                          <a:pt x="273" y="63"/>
                        </a:lnTo>
                        <a:lnTo>
                          <a:pt x="268" y="63"/>
                        </a:lnTo>
                        <a:lnTo>
                          <a:pt x="266" y="60"/>
                        </a:lnTo>
                        <a:lnTo>
                          <a:pt x="261" y="58"/>
                        </a:lnTo>
                        <a:lnTo>
                          <a:pt x="260" y="58"/>
                        </a:lnTo>
                        <a:lnTo>
                          <a:pt x="260" y="63"/>
                        </a:lnTo>
                        <a:lnTo>
                          <a:pt x="256" y="58"/>
                        </a:lnTo>
                        <a:lnTo>
                          <a:pt x="255" y="55"/>
                        </a:lnTo>
                        <a:lnTo>
                          <a:pt x="250" y="51"/>
                        </a:lnTo>
                        <a:lnTo>
                          <a:pt x="248" y="50"/>
                        </a:lnTo>
                        <a:lnTo>
                          <a:pt x="251" y="48"/>
                        </a:lnTo>
                        <a:lnTo>
                          <a:pt x="261" y="48"/>
                        </a:lnTo>
                        <a:lnTo>
                          <a:pt x="266" y="46"/>
                        </a:lnTo>
                        <a:lnTo>
                          <a:pt x="273" y="45"/>
                        </a:lnTo>
                        <a:lnTo>
                          <a:pt x="273" y="41"/>
                        </a:lnTo>
                        <a:lnTo>
                          <a:pt x="266" y="43"/>
                        </a:lnTo>
                        <a:lnTo>
                          <a:pt x="256" y="41"/>
                        </a:lnTo>
                        <a:lnTo>
                          <a:pt x="248" y="41"/>
                        </a:lnTo>
                        <a:lnTo>
                          <a:pt x="243" y="41"/>
                        </a:lnTo>
                        <a:lnTo>
                          <a:pt x="233" y="45"/>
                        </a:lnTo>
                        <a:lnTo>
                          <a:pt x="228" y="43"/>
                        </a:lnTo>
                        <a:lnTo>
                          <a:pt x="225" y="43"/>
                        </a:lnTo>
                        <a:lnTo>
                          <a:pt x="215" y="50"/>
                        </a:lnTo>
                        <a:lnTo>
                          <a:pt x="211" y="50"/>
                        </a:lnTo>
                        <a:lnTo>
                          <a:pt x="205" y="53"/>
                        </a:lnTo>
                        <a:lnTo>
                          <a:pt x="203" y="55"/>
                        </a:lnTo>
                        <a:lnTo>
                          <a:pt x="196" y="56"/>
                        </a:lnTo>
                        <a:lnTo>
                          <a:pt x="193" y="58"/>
                        </a:lnTo>
                        <a:lnTo>
                          <a:pt x="190" y="56"/>
                        </a:lnTo>
                        <a:lnTo>
                          <a:pt x="180" y="50"/>
                        </a:lnTo>
                        <a:lnTo>
                          <a:pt x="178" y="46"/>
                        </a:lnTo>
                        <a:lnTo>
                          <a:pt x="175" y="45"/>
                        </a:lnTo>
                        <a:lnTo>
                          <a:pt x="162" y="46"/>
                        </a:lnTo>
                        <a:lnTo>
                          <a:pt x="140" y="50"/>
                        </a:lnTo>
                        <a:lnTo>
                          <a:pt x="128" y="50"/>
                        </a:lnTo>
                        <a:lnTo>
                          <a:pt x="123" y="48"/>
                        </a:lnTo>
                        <a:lnTo>
                          <a:pt x="122" y="45"/>
                        </a:lnTo>
                        <a:lnTo>
                          <a:pt x="122" y="41"/>
                        </a:lnTo>
                        <a:lnTo>
                          <a:pt x="125" y="40"/>
                        </a:lnTo>
                        <a:lnTo>
                          <a:pt x="125" y="36"/>
                        </a:lnTo>
                        <a:lnTo>
                          <a:pt x="120" y="30"/>
                        </a:lnTo>
                        <a:lnTo>
                          <a:pt x="115" y="28"/>
                        </a:lnTo>
                        <a:lnTo>
                          <a:pt x="103" y="30"/>
                        </a:lnTo>
                        <a:lnTo>
                          <a:pt x="98" y="26"/>
                        </a:lnTo>
                        <a:lnTo>
                          <a:pt x="95" y="26"/>
                        </a:lnTo>
                        <a:lnTo>
                          <a:pt x="92" y="28"/>
                        </a:lnTo>
                        <a:lnTo>
                          <a:pt x="87" y="21"/>
                        </a:lnTo>
                        <a:lnTo>
                          <a:pt x="87" y="16"/>
                        </a:lnTo>
                        <a:lnTo>
                          <a:pt x="85" y="8"/>
                        </a:lnTo>
                        <a:lnTo>
                          <a:pt x="83" y="8"/>
                        </a:lnTo>
                        <a:lnTo>
                          <a:pt x="77" y="10"/>
                        </a:lnTo>
                        <a:lnTo>
                          <a:pt x="70" y="18"/>
                        </a:lnTo>
                        <a:lnTo>
                          <a:pt x="72" y="23"/>
                        </a:lnTo>
                        <a:lnTo>
                          <a:pt x="73" y="25"/>
                        </a:lnTo>
                        <a:lnTo>
                          <a:pt x="78" y="21"/>
                        </a:lnTo>
                        <a:lnTo>
                          <a:pt x="82" y="23"/>
                        </a:lnTo>
                        <a:lnTo>
                          <a:pt x="87" y="26"/>
                        </a:lnTo>
                        <a:lnTo>
                          <a:pt x="85" y="28"/>
                        </a:lnTo>
                        <a:lnTo>
                          <a:pt x="82" y="30"/>
                        </a:lnTo>
                        <a:lnTo>
                          <a:pt x="77" y="28"/>
                        </a:lnTo>
                        <a:lnTo>
                          <a:pt x="75" y="26"/>
                        </a:lnTo>
                        <a:lnTo>
                          <a:pt x="73" y="28"/>
                        </a:lnTo>
                        <a:lnTo>
                          <a:pt x="73" y="30"/>
                        </a:lnTo>
                        <a:lnTo>
                          <a:pt x="67" y="31"/>
                        </a:lnTo>
                        <a:lnTo>
                          <a:pt x="57" y="35"/>
                        </a:lnTo>
                        <a:lnTo>
                          <a:pt x="47" y="38"/>
                        </a:lnTo>
                        <a:lnTo>
                          <a:pt x="44" y="41"/>
                        </a:lnTo>
                        <a:lnTo>
                          <a:pt x="44" y="45"/>
                        </a:lnTo>
                        <a:lnTo>
                          <a:pt x="45" y="50"/>
                        </a:lnTo>
                        <a:lnTo>
                          <a:pt x="45" y="60"/>
                        </a:lnTo>
                        <a:lnTo>
                          <a:pt x="47" y="65"/>
                        </a:lnTo>
                        <a:lnTo>
                          <a:pt x="49" y="70"/>
                        </a:lnTo>
                        <a:lnTo>
                          <a:pt x="45" y="76"/>
                        </a:lnTo>
                        <a:lnTo>
                          <a:pt x="37" y="81"/>
                        </a:lnTo>
                        <a:lnTo>
                          <a:pt x="32" y="80"/>
                        </a:lnTo>
                        <a:lnTo>
                          <a:pt x="32" y="75"/>
                        </a:lnTo>
                        <a:lnTo>
                          <a:pt x="29" y="70"/>
                        </a:lnTo>
                        <a:lnTo>
                          <a:pt x="27" y="65"/>
                        </a:lnTo>
                        <a:lnTo>
                          <a:pt x="30" y="61"/>
                        </a:lnTo>
                        <a:lnTo>
                          <a:pt x="32" y="58"/>
                        </a:lnTo>
                        <a:lnTo>
                          <a:pt x="40" y="50"/>
                        </a:lnTo>
                        <a:lnTo>
                          <a:pt x="40" y="43"/>
                        </a:lnTo>
                        <a:lnTo>
                          <a:pt x="37" y="38"/>
                        </a:lnTo>
                        <a:lnTo>
                          <a:pt x="39" y="36"/>
                        </a:lnTo>
                        <a:lnTo>
                          <a:pt x="37" y="35"/>
                        </a:lnTo>
                        <a:lnTo>
                          <a:pt x="34" y="31"/>
                        </a:lnTo>
                        <a:lnTo>
                          <a:pt x="32" y="28"/>
                        </a:lnTo>
                        <a:lnTo>
                          <a:pt x="34" y="25"/>
                        </a:lnTo>
                        <a:lnTo>
                          <a:pt x="39" y="23"/>
                        </a:lnTo>
                        <a:lnTo>
                          <a:pt x="45" y="21"/>
                        </a:lnTo>
                        <a:lnTo>
                          <a:pt x="50" y="16"/>
                        </a:lnTo>
                        <a:lnTo>
                          <a:pt x="47" y="16"/>
                        </a:lnTo>
                        <a:lnTo>
                          <a:pt x="45" y="16"/>
                        </a:lnTo>
                        <a:lnTo>
                          <a:pt x="34" y="21"/>
                        </a:lnTo>
                        <a:lnTo>
                          <a:pt x="25" y="31"/>
                        </a:lnTo>
                        <a:lnTo>
                          <a:pt x="24" y="33"/>
                        </a:lnTo>
                        <a:lnTo>
                          <a:pt x="20" y="35"/>
                        </a:lnTo>
                        <a:lnTo>
                          <a:pt x="15" y="40"/>
                        </a:lnTo>
                        <a:lnTo>
                          <a:pt x="12" y="43"/>
                        </a:lnTo>
                        <a:lnTo>
                          <a:pt x="4" y="53"/>
                        </a:lnTo>
                        <a:lnTo>
                          <a:pt x="4" y="58"/>
                        </a:lnTo>
                        <a:lnTo>
                          <a:pt x="4" y="61"/>
                        </a:lnTo>
                        <a:lnTo>
                          <a:pt x="4" y="68"/>
                        </a:lnTo>
                        <a:lnTo>
                          <a:pt x="0" y="75"/>
                        </a:lnTo>
                        <a:lnTo>
                          <a:pt x="0" y="78"/>
                        </a:lnTo>
                        <a:lnTo>
                          <a:pt x="2" y="78"/>
                        </a:lnTo>
                        <a:lnTo>
                          <a:pt x="7" y="78"/>
                        </a:lnTo>
                        <a:lnTo>
                          <a:pt x="17" y="93"/>
                        </a:lnTo>
                        <a:lnTo>
                          <a:pt x="20" y="99"/>
                        </a:lnTo>
                        <a:lnTo>
                          <a:pt x="22" y="103"/>
                        </a:lnTo>
                        <a:lnTo>
                          <a:pt x="20" y="108"/>
                        </a:lnTo>
                        <a:lnTo>
                          <a:pt x="20" y="111"/>
                        </a:lnTo>
                        <a:lnTo>
                          <a:pt x="19" y="113"/>
                        </a:lnTo>
                        <a:lnTo>
                          <a:pt x="19" y="116"/>
                        </a:lnTo>
                        <a:lnTo>
                          <a:pt x="24" y="121"/>
                        </a:lnTo>
                        <a:lnTo>
                          <a:pt x="30" y="123"/>
                        </a:lnTo>
                        <a:lnTo>
                          <a:pt x="35" y="124"/>
                        </a:lnTo>
                        <a:lnTo>
                          <a:pt x="40" y="126"/>
                        </a:lnTo>
                        <a:lnTo>
                          <a:pt x="44" y="124"/>
                        </a:lnTo>
                        <a:lnTo>
                          <a:pt x="50" y="124"/>
                        </a:lnTo>
                        <a:lnTo>
                          <a:pt x="57" y="126"/>
                        </a:lnTo>
                        <a:lnTo>
                          <a:pt x="59" y="124"/>
                        </a:lnTo>
                        <a:lnTo>
                          <a:pt x="65" y="124"/>
                        </a:lnTo>
                        <a:lnTo>
                          <a:pt x="73" y="124"/>
                        </a:lnTo>
                        <a:lnTo>
                          <a:pt x="77" y="126"/>
                        </a:lnTo>
                        <a:lnTo>
                          <a:pt x="95" y="143"/>
                        </a:lnTo>
                        <a:lnTo>
                          <a:pt x="102" y="141"/>
                        </a:lnTo>
                        <a:lnTo>
                          <a:pt x="103" y="143"/>
                        </a:lnTo>
                        <a:lnTo>
                          <a:pt x="105" y="143"/>
                        </a:lnTo>
                        <a:lnTo>
                          <a:pt x="110" y="144"/>
                        </a:lnTo>
                        <a:lnTo>
                          <a:pt x="113" y="146"/>
                        </a:lnTo>
                        <a:lnTo>
                          <a:pt x="118" y="143"/>
                        </a:lnTo>
                        <a:lnTo>
                          <a:pt x="123" y="143"/>
                        </a:lnTo>
                        <a:lnTo>
                          <a:pt x="130" y="144"/>
                        </a:lnTo>
                        <a:lnTo>
                          <a:pt x="132" y="143"/>
                        </a:lnTo>
                        <a:lnTo>
                          <a:pt x="135" y="143"/>
                        </a:lnTo>
                        <a:lnTo>
                          <a:pt x="138" y="144"/>
                        </a:lnTo>
                        <a:lnTo>
                          <a:pt x="140" y="153"/>
                        </a:lnTo>
                        <a:lnTo>
                          <a:pt x="138" y="156"/>
                        </a:lnTo>
                        <a:lnTo>
                          <a:pt x="138" y="159"/>
                        </a:lnTo>
                        <a:lnTo>
                          <a:pt x="137" y="163"/>
                        </a:lnTo>
                        <a:lnTo>
                          <a:pt x="132" y="164"/>
                        </a:lnTo>
                        <a:lnTo>
                          <a:pt x="128" y="168"/>
                        </a:lnTo>
                        <a:lnTo>
                          <a:pt x="130" y="174"/>
                        </a:lnTo>
                        <a:lnTo>
                          <a:pt x="130" y="178"/>
                        </a:lnTo>
                        <a:lnTo>
                          <a:pt x="128" y="183"/>
                        </a:lnTo>
                        <a:lnTo>
                          <a:pt x="128" y="191"/>
                        </a:lnTo>
                        <a:lnTo>
                          <a:pt x="132" y="194"/>
                        </a:lnTo>
                        <a:lnTo>
                          <a:pt x="132" y="196"/>
                        </a:lnTo>
                        <a:lnTo>
                          <a:pt x="137" y="207"/>
                        </a:lnTo>
                        <a:lnTo>
                          <a:pt x="128" y="221"/>
                        </a:lnTo>
                        <a:lnTo>
                          <a:pt x="130" y="224"/>
                        </a:lnTo>
                        <a:lnTo>
                          <a:pt x="132" y="224"/>
                        </a:lnTo>
                        <a:lnTo>
                          <a:pt x="135" y="222"/>
                        </a:lnTo>
                        <a:lnTo>
                          <a:pt x="135" y="224"/>
                        </a:lnTo>
                        <a:lnTo>
                          <a:pt x="137" y="227"/>
                        </a:lnTo>
                        <a:lnTo>
                          <a:pt x="138" y="229"/>
                        </a:lnTo>
                        <a:lnTo>
                          <a:pt x="142" y="234"/>
                        </a:lnTo>
                        <a:lnTo>
                          <a:pt x="140" y="236"/>
                        </a:lnTo>
                        <a:lnTo>
                          <a:pt x="143" y="241"/>
                        </a:lnTo>
                        <a:lnTo>
                          <a:pt x="148" y="252"/>
                        </a:lnTo>
                        <a:lnTo>
                          <a:pt x="148" y="257"/>
                        </a:lnTo>
                        <a:lnTo>
                          <a:pt x="148" y="257"/>
                        </a:lnTo>
                        <a:lnTo>
                          <a:pt x="148" y="257"/>
                        </a:lnTo>
                        <a:close/>
                        <a:moveTo>
                          <a:pt x="117" y="6"/>
                        </a:moveTo>
                        <a:lnTo>
                          <a:pt x="120" y="6"/>
                        </a:lnTo>
                        <a:lnTo>
                          <a:pt x="125" y="11"/>
                        </a:lnTo>
                        <a:lnTo>
                          <a:pt x="125" y="15"/>
                        </a:lnTo>
                        <a:lnTo>
                          <a:pt x="122" y="11"/>
                        </a:lnTo>
                        <a:lnTo>
                          <a:pt x="118" y="10"/>
                        </a:lnTo>
                        <a:lnTo>
                          <a:pt x="117" y="6"/>
                        </a:lnTo>
                        <a:lnTo>
                          <a:pt x="117" y="6"/>
                        </a:lnTo>
                        <a:close/>
                        <a:moveTo>
                          <a:pt x="100" y="5"/>
                        </a:moveTo>
                        <a:lnTo>
                          <a:pt x="105" y="10"/>
                        </a:lnTo>
                        <a:lnTo>
                          <a:pt x="108" y="10"/>
                        </a:lnTo>
                        <a:lnTo>
                          <a:pt x="107" y="13"/>
                        </a:lnTo>
                        <a:lnTo>
                          <a:pt x="100" y="11"/>
                        </a:lnTo>
                        <a:lnTo>
                          <a:pt x="98" y="6"/>
                        </a:lnTo>
                        <a:lnTo>
                          <a:pt x="100" y="5"/>
                        </a:lnTo>
                        <a:lnTo>
                          <a:pt x="100" y="5"/>
                        </a:lnTo>
                        <a:close/>
                        <a:moveTo>
                          <a:pt x="77" y="0"/>
                        </a:moveTo>
                        <a:lnTo>
                          <a:pt x="80" y="5"/>
                        </a:lnTo>
                        <a:lnTo>
                          <a:pt x="85" y="5"/>
                        </a:lnTo>
                        <a:lnTo>
                          <a:pt x="80" y="0"/>
                        </a:lnTo>
                        <a:lnTo>
                          <a:pt x="77" y="0"/>
                        </a:lnTo>
                        <a:lnTo>
                          <a:pt x="77" y="0"/>
                        </a:lnTo>
                        <a:close/>
                        <a:moveTo>
                          <a:pt x="213" y="38"/>
                        </a:moveTo>
                        <a:lnTo>
                          <a:pt x="218" y="35"/>
                        </a:lnTo>
                        <a:lnTo>
                          <a:pt x="221" y="36"/>
                        </a:lnTo>
                        <a:lnTo>
                          <a:pt x="228" y="31"/>
                        </a:lnTo>
                        <a:lnTo>
                          <a:pt x="230" y="35"/>
                        </a:lnTo>
                        <a:lnTo>
                          <a:pt x="226" y="40"/>
                        </a:lnTo>
                        <a:lnTo>
                          <a:pt x="221" y="38"/>
                        </a:lnTo>
                        <a:lnTo>
                          <a:pt x="216" y="40"/>
                        </a:lnTo>
                        <a:lnTo>
                          <a:pt x="216" y="40"/>
                        </a:lnTo>
                        <a:lnTo>
                          <a:pt x="213" y="38"/>
                        </a:lnTo>
                        <a:lnTo>
                          <a:pt x="213" y="38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592" name="Google Shape;3130;p98">
                    <a:extLst>
                      <a:ext uri="{FF2B5EF4-FFF2-40B4-BE49-F238E27FC236}">
                        <a16:creationId xmlns:a16="http://schemas.microsoft.com/office/drawing/2014/main" id="{C9FF6BAF-A068-93C0-AE41-79EE4BEA7F9A}"/>
                      </a:ext>
                    </a:extLst>
                  </p:cNvPr>
                  <p:cNvSpPr/>
                  <p:nvPr/>
                </p:nvSpPr>
                <p:spPr>
                  <a:xfrm>
                    <a:off x="5401489" y="3125489"/>
                    <a:ext cx="156256" cy="19506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90" h="376" extrusionOk="0">
                        <a:moveTo>
                          <a:pt x="217" y="376"/>
                        </a:moveTo>
                        <a:lnTo>
                          <a:pt x="222" y="364"/>
                        </a:lnTo>
                        <a:lnTo>
                          <a:pt x="235" y="317"/>
                        </a:lnTo>
                        <a:lnTo>
                          <a:pt x="235" y="314"/>
                        </a:lnTo>
                        <a:lnTo>
                          <a:pt x="235" y="307"/>
                        </a:lnTo>
                        <a:lnTo>
                          <a:pt x="230" y="297"/>
                        </a:lnTo>
                        <a:lnTo>
                          <a:pt x="220" y="291"/>
                        </a:lnTo>
                        <a:lnTo>
                          <a:pt x="217" y="286"/>
                        </a:lnTo>
                        <a:lnTo>
                          <a:pt x="215" y="274"/>
                        </a:lnTo>
                        <a:lnTo>
                          <a:pt x="232" y="269"/>
                        </a:lnTo>
                        <a:lnTo>
                          <a:pt x="237" y="273"/>
                        </a:lnTo>
                        <a:lnTo>
                          <a:pt x="239" y="269"/>
                        </a:lnTo>
                        <a:lnTo>
                          <a:pt x="235" y="266"/>
                        </a:lnTo>
                        <a:lnTo>
                          <a:pt x="239" y="264"/>
                        </a:lnTo>
                        <a:lnTo>
                          <a:pt x="235" y="258"/>
                        </a:lnTo>
                        <a:lnTo>
                          <a:pt x="225" y="256"/>
                        </a:lnTo>
                        <a:lnTo>
                          <a:pt x="224" y="251"/>
                        </a:lnTo>
                        <a:lnTo>
                          <a:pt x="225" y="243"/>
                        </a:lnTo>
                        <a:lnTo>
                          <a:pt x="252" y="243"/>
                        </a:lnTo>
                        <a:lnTo>
                          <a:pt x="255" y="241"/>
                        </a:lnTo>
                        <a:lnTo>
                          <a:pt x="260" y="241"/>
                        </a:lnTo>
                        <a:lnTo>
                          <a:pt x="264" y="243"/>
                        </a:lnTo>
                        <a:lnTo>
                          <a:pt x="267" y="243"/>
                        </a:lnTo>
                        <a:lnTo>
                          <a:pt x="270" y="238"/>
                        </a:lnTo>
                        <a:lnTo>
                          <a:pt x="277" y="236"/>
                        </a:lnTo>
                        <a:lnTo>
                          <a:pt x="279" y="239"/>
                        </a:lnTo>
                        <a:lnTo>
                          <a:pt x="284" y="243"/>
                        </a:lnTo>
                        <a:lnTo>
                          <a:pt x="284" y="248"/>
                        </a:lnTo>
                        <a:lnTo>
                          <a:pt x="284" y="254"/>
                        </a:lnTo>
                        <a:lnTo>
                          <a:pt x="290" y="254"/>
                        </a:lnTo>
                        <a:lnTo>
                          <a:pt x="290" y="249"/>
                        </a:lnTo>
                        <a:lnTo>
                          <a:pt x="285" y="238"/>
                        </a:lnTo>
                        <a:lnTo>
                          <a:pt x="282" y="233"/>
                        </a:lnTo>
                        <a:lnTo>
                          <a:pt x="284" y="231"/>
                        </a:lnTo>
                        <a:lnTo>
                          <a:pt x="280" y="226"/>
                        </a:lnTo>
                        <a:lnTo>
                          <a:pt x="279" y="224"/>
                        </a:lnTo>
                        <a:lnTo>
                          <a:pt x="277" y="221"/>
                        </a:lnTo>
                        <a:lnTo>
                          <a:pt x="277" y="219"/>
                        </a:lnTo>
                        <a:lnTo>
                          <a:pt x="274" y="221"/>
                        </a:lnTo>
                        <a:lnTo>
                          <a:pt x="272" y="221"/>
                        </a:lnTo>
                        <a:lnTo>
                          <a:pt x="270" y="218"/>
                        </a:lnTo>
                        <a:lnTo>
                          <a:pt x="279" y="204"/>
                        </a:lnTo>
                        <a:lnTo>
                          <a:pt x="274" y="193"/>
                        </a:lnTo>
                        <a:lnTo>
                          <a:pt x="274" y="191"/>
                        </a:lnTo>
                        <a:lnTo>
                          <a:pt x="270" y="188"/>
                        </a:lnTo>
                        <a:lnTo>
                          <a:pt x="270" y="180"/>
                        </a:lnTo>
                        <a:lnTo>
                          <a:pt x="272" y="175"/>
                        </a:lnTo>
                        <a:lnTo>
                          <a:pt x="272" y="171"/>
                        </a:lnTo>
                        <a:lnTo>
                          <a:pt x="270" y="165"/>
                        </a:lnTo>
                        <a:lnTo>
                          <a:pt x="274" y="161"/>
                        </a:lnTo>
                        <a:lnTo>
                          <a:pt x="279" y="160"/>
                        </a:lnTo>
                        <a:lnTo>
                          <a:pt x="280" y="156"/>
                        </a:lnTo>
                        <a:lnTo>
                          <a:pt x="280" y="153"/>
                        </a:lnTo>
                        <a:lnTo>
                          <a:pt x="282" y="150"/>
                        </a:lnTo>
                        <a:lnTo>
                          <a:pt x="280" y="141"/>
                        </a:lnTo>
                        <a:lnTo>
                          <a:pt x="277" y="140"/>
                        </a:lnTo>
                        <a:lnTo>
                          <a:pt x="274" y="140"/>
                        </a:lnTo>
                        <a:lnTo>
                          <a:pt x="272" y="141"/>
                        </a:lnTo>
                        <a:lnTo>
                          <a:pt x="265" y="140"/>
                        </a:lnTo>
                        <a:lnTo>
                          <a:pt x="260" y="140"/>
                        </a:lnTo>
                        <a:lnTo>
                          <a:pt x="255" y="143"/>
                        </a:lnTo>
                        <a:lnTo>
                          <a:pt x="252" y="141"/>
                        </a:lnTo>
                        <a:lnTo>
                          <a:pt x="247" y="140"/>
                        </a:lnTo>
                        <a:lnTo>
                          <a:pt x="245" y="140"/>
                        </a:lnTo>
                        <a:lnTo>
                          <a:pt x="244" y="138"/>
                        </a:lnTo>
                        <a:lnTo>
                          <a:pt x="237" y="140"/>
                        </a:lnTo>
                        <a:lnTo>
                          <a:pt x="219" y="123"/>
                        </a:lnTo>
                        <a:lnTo>
                          <a:pt x="215" y="121"/>
                        </a:lnTo>
                        <a:lnTo>
                          <a:pt x="207" y="121"/>
                        </a:lnTo>
                        <a:lnTo>
                          <a:pt x="201" y="121"/>
                        </a:lnTo>
                        <a:lnTo>
                          <a:pt x="199" y="123"/>
                        </a:lnTo>
                        <a:lnTo>
                          <a:pt x="192" y="121"/>
                        </a:lnTo>
                        <a:lnTo>
                          <a:pt x="186" y="121"/>
                        </a:lnTo>
                        <a:lnTo>
                          <a:pt x="182" y="123"/>
                        </a:lnTo>
                        <a:lnTo>
                          <a:pt x="177" y="121"/>
                        </a:lnTo>
                        <a:lnTo>
                          <a:pt x="172" y="120"/>
                        </a:lnTo>
                        <a:lnTo>
                          <a:pt x="166" y="118"/>
                        </a:lnTo>
                        <a:lnTo>
                          <a:pt x="161" y="113"/>
                        </a:lnTo>
                        <a:lnTo>
                          <a:pt x="161" y="110"/>
                        </a:lnTo>
                        <a:lnTo>
                          <a:pt x="162" y="108"/>
                        </a:lnTo>
                        <a:lnTo>
                          <a:pt x="162" y="105"/>
                        </a:lnTo>
                        <a:lnTo>
                          <a:pt x="164" y="100"/>
                        </a:lnTo>
                        <a:lnTo>
                          <a:pt x="162" y="96"/>
                        </a:lnTo>
                        <a:lnTo>
                          <a:pt x="159" y="90"/>
                        </a:lnTo>
                        <a:lnTo>
                          <a:pt x="149" y="75"/>
                        </a:lnTo>
                        <a:lnTo>
                          <a:pt x="144" y="75"/>
                        </a:lnTo>
                        <a:lnTo>
                          <a:pt x="142" y="75"/>
                        </a:lnTo>
                        <a:lnTo>
                          <a:pt x="142" y="72"/>
                        </a:lnTo>
                        <a:lnTo>
                          <a:pt x="146" y="65"/>
                        </a:lnTo>
                        <a:lnTo>
                          <a:pt x="146" y="58"/>
                        </a:lnTo>
                        <a:lnTo>
                          <a:pt x="146" y="55"/>
                        </a:lnTo>
                        <a:lnTo>
                          <a:pt x="146" y="50"/>
                        </a:lnTo>
                        <a:lnTo>
                          <a:pt x="154" y="40"/>
                        </a:lnTo>
                        <a:lnTo>
                          <a:pt x="157" y="37"/>
                        </a:lnTo>
                        <a:lnTo>
                          <a:pt x="162" y="32"/>
                        </a:lnTo>
                        <a:lnTo>
                          <a:pt x="166" y="30"/>
                        </a:lnTo>
                        <a:lnTo>
                          <a:pt x="167" y="28"/>
                        </a:lnTo>
                        <a:lnTo>
                          <a:pt x="176" y="18"/>
                        </a:lnTo>
                        <a:lnTo>
                          <a:pt x="187" y="13"/>
                        </a:lnTo>
                        <a:lnTo>
                          <a:pt x="189" y="13"/>
                        </a:lnTo>
                        <a:lnTo>
                          <a:pt x="192" y="13"/>
                        </a:lnTo>
                        <a:lnTo>
                          <a:pt x="192" y="12"/>
                        </a:lnTo>
                        <a:lnTo>
                          <a:pt x="196" y="10"/>
                        </a:lnTo>
                        <a:lnTo>
                          <a:pt x="196" y="8"/>
                        </a:lnTo>
                        <a:lnTo>
                          <a:pt x="194" y="5"/>
                        </a:lnTo>
                        <a:lnTo>
                          <a:pt x="184" y="0"/>
                        </a:lnTo>
                        <a:lnTo>
                          <a:pt x="181" y="0"/>
                        </a:lnTo>
                        <a:lnTo>
                          <a:pt x="181" y="2"/>
                        </a:lnTo>
                        <a:lnTo>
                          <a:pt x="179" y="3"/>
                        </a:lnTo>
                        <a:lnTo>
                          <a:pt x="176" y="5"/>
                        </a:lnTo>
                        <a:lnTo>
                          <a:pt x="174" y="7"/>
                        </a:lnTo>
                        <a:lnTo>
                          <a:pt x="171" y="5"/>
                        </a:lnTo>
                        <a:lnTo>
                          <a:pt x="167" y="7"/>
                        </a:lnTo>
                        <a:lnTo>
                          <a:pt x="164" y="8"/>
                        </a:lnTo>
                        <a:lnTo>
                          <a:pt x="167" y="12"/>
                        </a:lnTo>
                        <a:lnTo>
                          <a:pt x="166" y="13"/>
                        </a:lnTo>
                        <a:lnTo>
                          <a:pt x="159" y="17"/>
                        </a:lnTo>
                        <a:lnTo>
                          <a:pt x="151" y="20"/>
                        </a:lnTo>
                        <a:lnTo>
                          <a:pt x="144" y="25"/>
                        </a:lnTo>
                        <a:lnTo>
                          <a:pt x="139" y="25"/>
                        </a:lnTo>
                        <a:lnTo>
                          <a:pt x="131" y="27"/>
                        </a:lnTo>
                        <a:lnTo>
                          <a:pt x="124" y="25"/>
                        </a:lnTo>
                        <a:lnTo>
                          <a:pt x="119" y="28"/>
                        </a:lnTo>
                        <a:lnTo>
                          <a:pt x="119" y="30"/>
                        </a:lnTo>
                        <a:lnTo>
                          <a:pt x="121" y="33"/>
                        </a:lnTo>
                        <a:lnTo>
                          <a:pt x="119" y="37"/>
                        </a:lnTo>
                        <a:lnTo>
                          <a:pt x="116" y="40"/>
                        </a:lnTo>
                        <a:lnTo>
                          <a:pt x="114" y="40"/>
                        </a:lnTo>
                        <a:lnTo>
                          <a:pt x="114" y="35"/>
                        </a:lnTo>
                        <a:lnTo>
                          <a:pt x="114" y="35"/>
                        </a:lnTo>
                        <a:lnTo>
                          <a:pt x="117" y="33"/>
                        </a:lnTo>
                        <a:lnTo>
                          <a:pt x="113" y="33"/>
                        </a:lnTo>
                        <a:lnTo>
                          <a:pt x="106" y="30"/>
                        </a:lnTo>
                        <a:lnTo>
                          <a:pt x="103" y="32"/>
                        </a:lnTo>
                        <a:lnTo>
                          <a:pt x="96" y="35"/>
                        </a:lnTo>
                        <a:lnTo>
                          <a:pt x="93" y="38"/>
                        </a:lnTo>
                        <a:lnTo>
                          <a:pt x="88" y="43"/>
                        </a:lnTo>
                        <a:lnTo>
                          <a:pt x="81" y="55"/>
                        </a:lnTo>
                        <a:lnTo>
                          <a:pt x="81" y="58"/>
                        </a:lnTo>
                        <a:lnTo>
                          <a:pt x="83" y="57"/>
                        </a:lnTo>
                        <a:lnTo>
                          <a:pt x="84" y="60"/>
                        </a:lnTo>
                        <a:lnTo>
                          <a:pt x="84" y="63"/>
                        </a:lnTo>
                        <a:lnTo>
                          <a:pt x="84" y="67"/>
                        </a:lnTo>
                        <a:lnTo>
                          <a:pt x="81" y="68"/>
                        </a:lnTo>
                        <a:lnTo>
                          <a:pt x="76" y="68"/>
                        </a:lnTo>
                        <a:lnTo>
                          <a:pt x="73" y="70"/>
                        </a:lnTo>
                        <a:lnTo>
                          <a:pt x="66" y="77"/>
                        </a:lnTo>
                        <a:lnTo>
                          <a:pt x="63" y="77"/>
                        </a:lnTo>
                        <a:lnTo>
                          <a:pt x="58" y="83"/>
                        </a:lnTo>
                        <a:lnTo>
                          <a:pt x="56" y="83"/>
                        </a:lnTo>
                        <a:lnTo>
                          <a:pt x="51" y="83"/>
                        </a:lnTo>
                        <a:lnTo>
                          <a:pt x="53" y="88"/>
                        </a:lnTo>
                        <a:lnTo>
                          <a:pt x="58" y="92"/>
                        </a:lnTo>
                        <a:lnTo>
                          <a:pt x="58" y="98"/>
                        </a:lnTo>
                        <a:lnTo>
                          <a:pt x="54" y="103"/>
                        </a:lnTo>
                        <a:lnTo>
                          <a:pt x="53" y="101"/>
                        </a:lnTo>
                        <a:lnTo>
                          <a:pt x="48" y="98"/>
                        </a:lnTo>
                        <a:lnTo>
                          <a:pt x="48" y="98"/>
                        </a:lnTo>
                        <a:lnTo>
                          <a:pt x="49" y="95"/>
                        </a:lnTo>
                        <a:lnTo>
                          <a:pt x="46" y="93"/>
                        </a:lnTo>
                        <a:lnTo>
                          <a:pt x="44" y="90"/>
                        </a:lnTo>
                        <a:lnTo>
                          <a:pt x="39" y="85"/>
                        </a:lnTo>
                        <a:lnTo>
                          <a:pt x="38" y="88"/>
                        </a:lnTo>
                        <a:lnTo>
                          <a:pt x="39" y="92"/>
                        </a:lnTo>
                        <a:lnTo>
                          <a:pt x="41" y="96"/>
                        </a:lnTo>
                        <a:lnTo>
                          <a:pt x="38" y="103"/>
                        </a:lnTo>
                        <a:lnTo>
                          <a:pt x="36" y="108"/>
                        </a:lnTo>
                        <a:lnTo>
                          <a:pt x="33" y="110"/>
                        </a:lnTo>
                        <a:lnTo>
                          <a:pt x="31" y="110"/>
                        </a:lnTo>
                        <a:lnTo>
                          <a:pt x="28" y="116"/>
                        </a:lnTo>
                        <a:lnTo>
                          <a:pt x="29" y="118"/>
                        </a:lnTo>
                        <a:lnTo>
                          <a:pt x="29" y="123"/>
                        </a:lnTo>
                        <a:lnTo>
                          <a:pt x="29" y="128"/>
                        </a:lnTo>
                        <a:lnTo>
                          <a:pt x="34" y="133"/>
                        </a:lnTo>
                        <a:lnTo>
                          <a:pt x="36" y="133"/>
                        </a:lnTo>
                        <a:lnTo>
                          <a:pt x="39" y="131"/>
                        </a:lnTo>
                        <a:lnTo>
                          <a:pt x="41" y="135"/>
                        </a:lnTo>
                        <a:lnTo>
                          <a:pt x="41" y="138"/>
                        </a:lnTo>
                        <a:lnTo>
                          <a:pt x="38" y="141"/>
                        </a:lnTo>
                        <a:lnTo>
                          <a:pt x="38" y="143"/>
                        </a:lnTo>
                        <a:lnTo>
                          <a:pt x="41" y="146"/>
                        </a:lnTo>
                        <a:lnTo>
                          <a:pt x="41" y="153"/>
                        </a:lnTo>
                        <a:lnTo>
                          <a:pt x="38" y="155"/>
                        </a:lnTo>
                        <a:lnTo>
                          <a:pt x="36" y="158"/>
                        </a:lnTo>
                        <a:lnTo>
                          <a:pt x="38" y="158"/>
                        </a:lnTo>
                        <a:lnTo>
                          <a:pt x="39" y="163"/>
                        </a:lnTo>
                        <a:lnTo>
                          <a:pt x="39" y="170"/>
                        </a:lnTo>
                        <a:lnTo>
                          <a:pt x="39" y="180"/>
                        </a:lnTo>
                        <a:lnTo>
                          <a:pt x="36" y="185"/>
                        </a:lnTo>
                        <a:lnTo>
                          <a:pt x="36" y="186"/>
                        </a:lnTo>
                        <a:lnTo>
                          <a:pt x="38" y="191"/>
                        </a:lnTo>
                        <a:lnTo>
                          <a:pt x="43" y="190"/>
                        </a:lnTo>
                        <a:lnTo>
                          <a:pt x="43" y="191"/>
                        </a:lnTo>
                        <a:lnTo>
                          <a:pt x="44" y="194"/>
                        </a:lnTo>
                        <a:lnTo>
                          <a:pt x="48" y="194"/>
                        </a:lnTo>
                        <a:lnTo>
                          <a:pt x="48" y="196"/>
                        </a:lnTo>
                        <a:lnTo>
                          <a:pt x="44" y="199"/>
                        </a:lnTo>
                        <a:lnTo>
                          <a:pt x="43" y="204"/>
                        </a:lnTo>
                        <a:lnTo>
                          <a:pt x="34" y="213"/>
                        </a:lnTo>
                        <a:lnTo>
                          <a:pt x="31" y="216"/>
                        </a:lnTo>
                        <a:lnTo>
                          <a:pt x="24" y="223"/>
                        </a:lnTo>
                        <a:lnTo>
                          <a:pt x="16" y="224"/>
                        </a:lnTo>
                        <a:lnTo>
                          <a:pt x="8" y="229"/>
                        </a:lnTo>
                        <a:lnTo>
                          <a:pt x="1" y="238"/>
                        </a:lnTo>
                        <a:lnTo>
                          <a:pt x="1" y="246"/>
                        </a:lnTo>
                        <a:lnTo>
                          <a:pt x="0" y="249"/>
                        </a:lnTo>
                        <a:lnTo>
                          <a:pt x="6" y="253"/>
                        </a:lnTo>
                        <a:lnTo>
                          <a:pt x="14" y="258"/>
                        </a:lnTo>
                        <a:lnTo>
                          <a:pt x="26" y="264"/>
                        </a:lnTo>
                        <a:lnTo>
                          <a:pt x="29" y="264"/>
                        </a:lnTo>
                        <a:lnTo>
                          <a:pt x="36" y="269"/>
                        </a:lnTo>
                        <a:lnTo>
                          <a:pt x="34" y="273"/>
                        </a:lnTo>
                        <a:lnTo>
                          <a:pt x="36" y="276"/>
                        </a:lnTo>
                        <a:lnTo>
                          <a:pt x="43" y="276"/>
                        </a:lnTo>
                        <a:lnTo>
                          <a:pt x="51" y="279"/>
                        </a:lnTo>
                        <a:lnTo>
                          <a:pt x="54" y="281"/>
                        </a:lnTo>
                        <a:lnTo>
                          <a:pt x="63" y="283"/>
                        </a:lnTo>
                        <a:lnTo>
                          <a:pt x="64" y="281"/>
                        </a:lnTo>
                        <a:lnTo>
                          <a:pt x="64" y="276"/>
                        </a:lnTo>
                        <a:lnTo>
                          <a:pt x="68" y="273"/>
                        </a:lnTo>
                        <a:lnTo>
                          <a:pt x="69" y="273"/>
                        </a:lnTo>
                        <a:lnTo>
                          <a:pt x="78" y="276"/>
                        </a:lnTo>
                        <a:lnTo>
                          <a:pt x="81" y="278"/>
                        </a:lnTo>
                        <a:lnTo>
                          <a:pt x="83" y="281"/>
                        </a:lnTo>
                        <a:lnTo>
                          <a:pt x="86" y="283"/>
                        </a:lnTo>
                        <a:lnTo>
                          <a:pt x="86" y="283"/>
                        </a:lnTo>
                        <a:lnTo>
                          <a:pt x="88" y="283"/>
                        </a:lnTo>
                        <a:lnTo>
                          <a:pt x="91" y="284"/>
                        </a:lnTo>
                        <a:lnTo>
                          <a:pt x="99" y="288"/>
                        </a:lnTo>
                        <a:lnTo>
                          <a:pt x="104" y="288"/>
                        </a:lnTo>
                        <a:lnTo>
                          <a:pt x="106" y="291"/>
                        </a:lnTo>
                        <a:lnTo>
                          <a:pt x="113" y="296"/>
                        </a:lnTo>
                        <a:lnTo>
                          <a:pt x="113" y="301"/>
                        </a:lnTo>
                        <a:lnTo>
                          <a:pt x="116" y="307"/>
                        </a:lnTo>
                        <a:lnTo>
                          <a:pt x="119" y="307"/>
                        </a:lnTo>
                        <a:lnTo>
                          <a:pt x="131" y="311"/>
                        </a:lnTo>
                        <a:lnTo>
                          <a:pt x="136" y="317"/>
                        </a:lnTo>
                        <a:lnTo>
                          <a:pt x="136" y="322"/>
                        </a:lnTo>
                        <a:lnTo>
                          <a:pt x="137" y="322"/>
                        </a:lnTo>
                        <a:lnTo>
                          <a:pt x="141" y="324"/>
                        </a:lnTo>
                        <a:lnTo>
                          <a:pt x="144" y="331"/>
                        </a:lnTo>
                        <a:lnTo>
                          <a:pt x="142" y="332"/>
                        </a:lnTo>
                        <a:lnTo>
                          <a:pt x="144" y="336"/>
                        </a:lnTo>
                        <a:lnTo>
                          <a:pt x="147" y="337"/>
                        </a:lnTo>
                        <a:lnTo>
                          <a:pt x="152" y="336"/>
                        </a:lnTo>
                        <a:lnTo>
                          <a:pt x="157" y="337"/>
                        </a:lnTo>
                        <a:lnTo>
                          <a:pt x="162" y="337"/>
                        </a:lnTo>
                        <a:lnTo>
                          <a:pt x="166" y="336"/>
                        </a:lnTo>
                        <a:lnTo>
                          <a:pt x="174" y="332"/>
                        </a:lnTo>
                        <a:lnTo>
                          <a:pt x="181" y="332"/>
                        </a:lnTo>
                        <a:lnTo>
                          <a:pt x="186" y="336"/>
                        </a:lnTo>
                        <a:lnTo>
                          <a:pt x="194" y="332"/>
                        </a:lnTo>
                        <a:lnTo>
                          <a:pt x="199" y="332"/>
                        </a:lnTo>
                        <a:lnTo>
                          <a:pt x="201" y="334"/>
                        </a:lnTo>
                        <a:lnTo>
                          <a:pt x="204" y="334"/>
                        </a:lnTo>
                        <a:lnTo>
                          <a:pt x="209" y="337"/>
                        </a:lnTo>
                        <a:lnTo>
                          <a:pt x="211" y="339"/>
                        </a:lnTo>
                        <a:lnTo>
                          <a:pt x="215" y="339"/>
                        </a:lnTo>
                        <a:lnTo>
                          <a:pt x="215" y="341"/>
                        </a:lnTo>
                        <a:lnTo>
                          <a:pt x="201" y="366"/>
                        </a:lnTo>
                        <a:lnTo>
                          <a:pt x="201" y="367"/>
                        </a:lnTo>
                        <a:lnTo>
                          <a:pt x="207" y="367"/>
                        </a:lnTo>
                        <a:lnTo>
                          <a:pt x="212" y="367"/>
                        </a:lnTo>
                        <a:lnTo>
                          <a:pt x="217" y="371"/>
                        </a:lnTo>
                        <a:lnTo>
                          <a:pt x="217" y="376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593" name="Google Shape;3131;p98">
                    <a:extLst>
                      <a:ext uri="{FF2B5EF4-FFF2-40B4-BE49-F238E27FC236}">
                        <a16:creationId xmlns:a16="http://schemas.microsoft.com/office/drawing/2014/main" id="{ABD79228-7F1B-40A1-64FE-244ED37EADDB}"/>
                      </a:ext>
                    </a:extLst>
                  </p:cNvPr>
                  <p:cNvSpPr/>
                  <p:nvPr/>
                </p:nvSpPr>
                <p:spPr>
                  <a:xfrm>
                    <a:off x="5374733" y="3255188"/>
                    <a:ext cx="77058" cy="7366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45" h="143" extrusionOk="0">
                        <a:moveTo>
                          <a:pt x="138" y="34"/>
                        </a:moveTo>
                        <a:lnTo>
                          <a:pt x="138" y="34"/>
                        </a:lnTo>
                        <a:lnTo>
                          <a:pt x="135" y="32"/>
                        </a:lnTo>
                        <a:lnTo>
                          <a:pt x="133" y="29"/>
                        </a:lnTo>
                        <a:lnTo>
                          <a:pt x="130" y="27"/>
                        </a:lnTo>
                        <a:lnTo>
                          <a:pt x="121" y="24"/>
                        </a:lnTo>
                        <a:lnTo>
                          <a:pt x="120" y="24"/>
                        </a:lnTo>
                        <a:lnTo>
                          <a:pt x="116" y="27"/>
                        </a:lnTo>
                        <a:lnTo>
                          <a:pt x="116" y="32"/>
                        </a:lnTo>
                        <a:lnTo>
                          <a:pt x="115" y="34"/>
                        </a:lnTo>
                        <a:lnTo>
                          <a:pt x="106" y="32"/>
                        </a:lnTo>
                        <a:lnTo>
                          <a:pt x="103" y="30"/>
                        </a:lnTo>
                        <a:lnTo>
                          <a:pt x="95" y="27"/>
                        </a:lnTo>
                        <a:lnTo>
                          <a:pt x="88" y="27"/>
                        </a:lnTo>
                        <a:lnTo>
                          <a:pt x="86" y="24"/>
                        </a:lnTo>
                        <a:lnTo>
                          <a:pt x="88" y="20"/>
                        </a:lnTo>
                        <a:lnTo>
                          <a:pt x="81" y="15"/>
                        </a:lnTo>
                        <a:lnTo>
                          <a:pt x="78" y="15"/>
                        </a:lnTo>
                        <a:lnTo>
                          <a:pt x="66" y="9"/>
                        </a:lnTo>
                        <a:lnTo>
                          <a:pt x="58" y="4"/>
                        </a:lnTo>
                        <a:lnTo>
                          <a:pt x="52" y="0"/>
                        </a:lnTo>
                        <a:lnTo>
                          <a:pt x="50" y="5"/>
                        </a:lnTo>
                        <a:lnTo>
                          <a:pt x="43" y="7"/>
                        </a:lnTo>
                        <a:lnTo>
                          <a:pt x="32" y="14"/>
                        </a:lnTo>
                        <a:lnTo>
                          <a:pt x="27" y="14"/>
                        </a:lnTo>
                        <a:lnTo>
                          <a:pt x="20" y="17"/>
                        </a:lnTo>
                        <a:lnTo>
                          <a:pt x="23" y="22"/>
                        </a:lnTo>
                        <a:lnTo>
                          <a:pt x="23" y="25"/>
                        </a:lnTo>
                        <a:lnTo>
                          <a:pt x="25" y="29"/>
                        </a:lnTo>
                        <a:lnTo>
                          <a:pt x="23" y="34"/>
                        </a:lnTo>
                        <a:lnTo>
                          <a:pt x="15" y="43"/>
                        </a:lnTo>
                        <a:lnTo>
                          <a:pt x="13" y="47"/>
                        </a:lnTo>
                        <a:lnTo>
                          <a:pt x="17" y="48"/>
                        </a:lnTo>
                        <a:lnTo>
                          <a:pt x="12" y="55"/>
                        </a:lnTo>
                        <a:lnTo>
                          <a:pt x="7" y="55"/>
                        </a:lnTo>
                        <a:lnTo>
                          <a:pt x="2" y="62"/>
                        </a:lnTo>
                        <a:lnTo>
                          <a:pt x="3" y="65"/>
                        </a:lnTo>
                        <a:lnTo>
                          <a:pt x="5" y="68"/>
                        </a:lnTo>
                        <a:lnTo>
                          <a:pt x="5" y="73"/>
                        </a:lnTo>
                        <a:lnTo>
                          <a:pt x="7" y="78"/>
                        </a:lnTo>
                        <a:lnTo>
                          <a:pt x="3" y="83"/>
                        </a:lnTo>
                        <a:lnTo>
                          <a:pt x="0" y="85"/>
                        </a:lnTo>
                        <a:lnTo>
                          <a:pt x="3" y="88"/>
                        </a:lnTo>
                        <a:lnTo>
                          <a:pt x="8" y="90"/>
                        </a:lnTo>
                        <a:lnTo>
                          <a:pt x="13" y="95"/>
                        </a:lnTo>
                        <a:lnTo>
                          <a:pt x="18" y="97"/>
                        </a:lnTo>
                        <a:lnTo>
                          <a:pt x="20" y="97"/>
                        </a:lnTo>
                        <a:lnTo>
                          <a:pt x="22" y="92"/>
                        </a:lnTo>
                        <a:lnTo>
                          <a:pt x="23" y="88"/>
                        </a:lnTo>
                        <a:lnTo>
                          <a:pt x="27" y="85"/>
                        </a:lnTo>
                        <a:lnTo>
                          <a:pt x="27" y="88"/>
                        </a:lnTo>
                        <a:lnTo>
                          <a:pt x="28" y="92"/>
                        </a:lnTo>
                        <a:lnTo>
                          <a:pt x="28" y="90"/>
                        </a:lnTo>
                        <a:lnTo>
                          <a:pt x="28" y="87"/>
                        </a:lnTo>
                        <a:lnTo>
                          <a:pt x="30" y="87"/>
                        </a:lnTo>
                        <a:lnTo>
                          <a:pt x="32" y="93"/>
                        </a:lnTo>
                        <a:lnTo>
                          <a:pt x="30" y="98"/>
                        </a:lnTo>
                        <a:lnTo>
                          <a:pt x="30" y="102"/>
                        </a:lnTo>
                        <a:lnTo>
                          <a:pt x="28" y="108"/>
                        </a:lnTo>
                        <a:lnTo>
                          <a:pt x="22" y="113"/>
                        </a:lnTo>
                        <a:lnTo>
                          <a:pt x="25" y="113"/>
                        </a:lnTo>
                        <a:lnTo>
                          <a:pt x="27" y="120"/>
                        </a:lnTo>
                        <a:lnTo>
                          <a:pt x="22" y="122"/>
                        </a:lnTo>
                        <a:lnTo>
                          <a:pt x="17" y="127"/>
                        </a:lnTo>
                        <a:lnTo>
                          <a:pt x="18" y="130"/>
                        </a:lnTo>
                        <a:lnTo>
                          <a:pt x="23" y="130"/>
                        </a:lnTo>
                        <a:lnTo>
                          <a:pt x="28" y="128"/>
                        </a:lnTo>
                        <a:lnTo>
                          <a:pt x="30" y="132"/>
                        </a:lnTo>
                        <a:lnTo>
                          <a:pt x="38" y="133"/>
                        </a:lnTo>
                        <a:lnTo>
                          <a:pt x="42" y="135"/>
                        </a:lnTo>
                        <a:lnTo>
                          <a:pt x="50" y="143"/>
                        </a:lnTo>
                        <a:lnTo>
                          <a:pt x="52" y="143"/>
                        </a:lnTo>
                        <a:lnTo>
                          <a:pt x="57" y="140"/>
                        </a:lnTo>
                        <a:lnTo>
                          <a:pt x="76" y="103"/>
                        </a:lnTo>
                        <a:lnTo>
                          <a:pt x="80" y="102"/>
                        </a:lnTo>
                        <a:lnTo>
                          <a:pt x="105" y="93"/>
                        </a:lnTo>
                        <a:lnTo>
                          <a:pt x="115" y="87"/>
                        </a:lnTo>
                        <a:lnTo>
                          <a:pt x="131" y="73"/>
                        </a:lnTo>
                        <a:lnTo>
                          <a:pt x="138" y="58"/>
                        </a:lnTo>
                        <a:lnTo>
                          <a:pt x="143" y="58"/>
                        </a:lnTo>
                        <a:lnTo>
                          <a:pt x="143" y="57"/>
                        </a:lnTo>
                        <a:lnTo>
                          <a:pt x="145" y="52"/>
                        </a:lnTo>
                        <a:lnTo>
                          <a:pt x="145" y="47"/>
                        </a:lnTo>
                        <a:lnTo>
                          <a:pt x="140" y="39"/>
                        </a:lnTo>
                        <a:lnTo>
                          <a:pt x="140" y="37"/>
                        </a:lnTo>
                        <a:lnTo>
                          <a:pt x="138" y="34"/>
                        </a:lnTo>
                        <a:lnTo>
                          <a:pt x="138" y="34"/>
                        </a:lnTo>
                        <a:lnTo>
                          <a:pt x="138" y="34"/>
                        </a:lnTo>
                        <a:close/>
                        <a:moveTo>
                          <a:pt x="18" y="103"/>
                        </a:moveTo>
                        <a:lnTo>
                          <a:pt x="18" y="103"/>
                        </a:lnTo>
                        <a:lnTo>
                          <a:pt x="20" y="98"/>
                        </a:lnTo>
                        <a:lnTo>
                          <a:pt x="25" y="95"/>
                        </a:lnTo>
                        <a:lnTo>
                          <a:pt x="25" y="97"/>
                        </a:lnTo>
                        <a:lnTo>
                          <a:pt x="23" y="100"/>
                        </a:lnTo>
                        <a:lnTo>
                          <a:pt x="23" y="102"/>
                        </a:lnTo>
                        <a:lnTo>
                          <a:pt x="22" y="105"/>
                        </a:lnTo>
                        <a:lnTo>
                          <a:pt x="20" y="107"/>
                        </a:lnTo>
                        <a:lnTo>
                          <a:pt x="18" y="103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594" name="Google Shape;3132;p98">
                    <a:extLst>
                      <a:ext uri="{FF2B5EF4-FFF2-40B4-BE49-F238E27FC236}">
                        <a16:creationId xmlns:a16="http://schemas.microsoft.com/office/drawing/2014/main" id="{38BC4974-9F10-D23F-215F-FB279AD7F844}"/>
                      </a:ext>
                    </a:extLst>
                  </p:cNvPr>
                  <p:cNvSpPr/>
                  <p:nvPr/>
                </p:nvSpPr>
                <p:spPr>
                  <a:xfrm>
                    <a:off x="5370452" y="3271790"/>
                    <a:ext cx="168029" cy="21685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14" h="416" extrusionOk="0">
                        <a:moveTo>
                          <a:pt x="291" y="245"/>
                        </a:moveTo>
                        <a:lnTo>
                          <a:pt x="291" y="245"/>
                        </a:lnTo>
                        <a:lnTo>
                          <a:pt x="288" y="244"/>
                        </a:lnTo>
                        <a:lnTo>
                          <a:pt x="286" y="245"/>
                        </a:lnTo>
                        <a:lnTo>
                          <a:pt x="279" y="245"/>
                        </a:lnTo>
                        <a:lnTo>
                          <a:pt x="276" y="245"/>
                        </a:lnTo>
                        <a:lnTo>
                          <a:pt x="271" y="247"/>
                        </a:lnTo>
                        <a:lnTo>
                          <a:pt x="268" y="244"/>
                        </a:lnTo>
                        <a:lnTo>
                          <a:pt x="268" y="239"/>
                        </a:lnTo>
                        <a:lnTo>
                          <a:pt x="266" y="225"/>
                        </a:lnTo>
                        <a:lnTo>
                          <a:pt x="266" y="219"/>
                        </a:lnTo>
                        <a:lnTo>
                          <a:pt x="268" y="217"/>
                        </a:lnTo>
                        <a:lnTo>
                          <a:pt x="270" y="212"/>
                        </a:lnTo>
                        <a:lnTo>
                          <a:pt x="266" y="209"/>
                        </a:lnTo>
                        <a:lnTo>
                          <a:pt x="258" y="214"/>
                        </a:lnTo>
                        <a:lnTo>
                          <a:pt x="248" y="222"/>
                        </a:lnTo>
                        <a:lnTo>
                          <a:pt x="236" y="222"/>
                        </a:lnTo>
                        <a:lnTo>
                          <a:pt x="225" y="222"/>
                        </a:lnTo>
                        <a:lnTo>
                          <a:pt x="223" y="215"/>
                        </a:lnTo>
                        <a:lnTo>
                          <a:pt x="218" y="209"/>
                        </a:lnTo>
                        <a:lnTo>
                          <a:pt x="211" y="207"/>
                        </a:lnTo>
                        <a:lnTo>
                          <a:pt x="196" y="209"/>
                        </a:lnTo>
                        <a:lnTo>
                          <a:pt x="201" y="201"/>
                        </a:lnTo>
                        <a:lnTo>
                          <a:pt x="190" y="184"/>
                        </a:lnTo>
                        <a:lnTo>
                          <a:pt x="183" y="177"/>
                        </a:lnTo>
                        <a:lnTo>
                          <a:pt x="185" y="174"/>
                        </a:lnTo>
                        <a:lnTo>
                          <a:pt x="183" y="171"/>
                        </a:lnTo>
                        <a:lnTo>
                          <a:pt x="185" y="167"/>
                        </a:lnTo>
                        <a:lnTo>
                          <a:pt x="186" y="162"/>
                        </a:lnTo>
                        <a:lnTo>
                          <a:pt x="185" y="159"/>
                        </a:lnTo>
                        <a:lnTo>
                          <a:pt x="186" y="157"/>
                        </a:lnTo>
                        <a:lnTo>
                          <a:pt x="186" y="152"/>
                        </a:lnTo>
                        <a:lnTo>
                          <a:pt x="195" y="149"/>
                        </a:lnTo>
                        <a:lnTo>
                          <a:pt x="198" y="149"/>
                        </a:lnTo>
                        <a:lnTo>
                          <a:pt x="201" y="146"/>
                        </a:lnTo>
                        <a:lnTo>
                          <a:pt x="200" y="142"/>
                        </a:lnTo>
                        <a:lnTo>
                          <a:pt x="196" y="134"/>
                        </a:lnTo>
                        <a:lnTo>
                          <a:pt x="203" y="127"/>
                        </a:lnTo>
                        <a:lnTo>
                          <a:pt x="203" y="124"/>
                        </a:lnTo>
                        <a:lnTo>
                          <a:pt x="205" y="121"/>
                        </a:lnTo>
                        <a:lnTo>
                          <a:pt x="205" y="116"/>
                        </a:lnTo>
                        <a:lnTo>
                          <a:pt x="208" y="112"/>
                        </a:lnTo>
                        <a:lnTo>
                          <a:pt x="215" y="111"/>
                        </a:lnTo>
                        <a:lnTo>
                          <a:pt x="220" y="106"/>
                        </a:lnTo>
                        <a:lnTo>
                          <a:pt x="223" y="106"/>
                        </a:lnTo>
                        <a:lnTo>
                          <a:pt x="225" y="103"/>
                        </a:lnTo>
                        <a:lnTo>
                          <a:pt x="238" y="101"/>
                        </a:lnTo>
                        <a:lnTo>
                          <a:pt x="255" y="96"/>
                        </a:lnTo>
                        <a:lnTo>
                          <a:pt x="256" y="91"/>
                        </a:lnTo>
                        <a:lnTo>
                          <a:pt x="258" y="93"/>
                        </a:lnTo>
                        <a:lnTo>
                          <a:pt x="263" y="93"/>
                        </a:lnTo>
                        <a:lnTo>
                          <a:pt x="265" y="93"/>
                        </a:lnTo>
                        <a:lnTo>
                          <a:pt x="270" y="96"/>
                        </a:lnTo>
                        <a:lnTo>
                          <a:pt x="270" y="96"/>
                        </a:lnTo>
                        <a:lnTo>
                          <a:pt x="274" y="98"/>
                        </a:lnTo>
                        <a:lnTo>
                          <a:pt x="278" y="94"/>
                        </a:lnTo>
                        <a:lnTo>
                          <a:pt x="276" y="88"/>
                        </a:lnTo>
                        <a:lnTo>
                          <a:pt x="271" y="84"/>
                        </a:lnTo>
                        <a:lnTo>
                          <a:pt x="266" y="84"/>
                        </a:lnTo>
                        <a:lnTo>
                          <a:pt x="260" y="84"/>
                        </a:lnTo>
                        <a:lnTo>
                          <a:pt x="260" y="83"/>
                        </a:lnTo>
                        <a:lnTo>
                          <a:pt x="274" y="58"/>
                        </a:lnTo>
                        <a:lnTo>
                          <a:pt x="274" y="56"/>
                        </a:lnTo>
                        <a:lnTo>
                          <a:pt x="270" y="56"/>
                        </a:lnTo>
                        <a:lnTo>
                          <a:pt x="268" y="54"/>
                        </a:lnTo>
                        <a:lnTo>
                          <a:pt x="263" y="51"/>
                        </a:lnTo>
                        <a:lnTo>
                          <a:pt x="260" y="51"/>
                        </a:lnTo>
                        <a:lnTo>
                          <a:pt x="258" y="49"/>
                        </a:lnTo>
                        <a:lnTo>
                          <a:pt x="253" y="49"/>
                        </a:lnTo>
                        <a:lnTo>
                          <a:pt x="245" y="53"/>
                        </a:lnTo>
                        <a:lnTo>
                          <a:pt x="240" y="49"/>
                        </a:lnTo>
                        <a:lnTo>
                          <a:pt x="233" y="49"/>
                        </a:lnTo>
                        <a:lnTo>
                          <a:pt x="225" y="53"/>
                        </a:lnTo>
                        <a:lnTo>
                          <a:pt x="221" y="54"/>
                        </a:lnTo>
                        <a:lnTo>
                          <a:pt x="216" y="54"/>
                        </a:lnTo>
                        <a:lnTo>
                          <a:pt x="211" y="53"/>
                        </a:lnTo>
                        <a:lnTo>
                          <a:pt x="206" y="54"/>
                        </a:lnTo>
                        <a:lnTo>
                          <a:pt x="203" y="53"/>
                        </a:lnTo>
                        <a:lnTo>
                          <a:pt x="201" y="49"/>
                        </a:lnTo>
                        <a:lnTo>
                          <a:pt x="203" y="48"/>
                        </a:lnTo>
                        <a:lnTo>
                          <a:pt x="200" y="41"/>
                        </a:lnTo>
                        <a:lnTo>
                          <a:pt x="196" y="39"/>
                        </a:lnTo>
                        <a:lnTo>
                          <a:pt x="195" y="39"/>
                        </a:lnTo>
                        <a:lnTo>
                          <a:pt x="195" y="34"/>
                        </a:lnTo>
                        <a:lnTo>
                          <a:pt x="190" y="28"/>
                        </a:lnTo>
                        <a:lnTo>
                          <a:pt x="178" y="24"/>
                        </a:lnTo>
                        <a:lnTo>
                          <a:pt x="175" y="24"/>
                        </a:lnTo>
                        <a:lnTo>
                          <a:pt x="172" y="18"/>
                        </a:lnTo>
                        <a:lnTo>
                          <a:pt x="172" y="13"/>
                        </a:lnTo>
                        <a:lnTo>
                          <a:pt x="165" y="8"/>
                        </a:lnTo>
                        <a:lnTo>
                          <a:pt x="163" y="5"/>
                        </a:lnTo>
                        <a:lnTo>
                          <a:pt x="158" y="5"/>
                        </a:lnTo>
                        <a:lnTo>
                          <a:pt x="150" y="1"/>
                        </a:lnTo>
                        <a:lnTo>
                          <a:pt x="147" y="0"/>
                        </a:lnTo>
                        <a:lnTo>
                          <a:pt x="145" y="0"/>
                        </a:lnTo>
                        <a:lnTo>
                          <a:pt x="147" y="3"/>
                        </a:lnTo>
                        <a:lnTo>
                          <a:pt x="147" y="5"/>
                        </a:lnTo>
                        <a:lnTo>
                          <a:pt x="152" y="13"/>
                        </a:lnTo>
                        <a:lnTo>
                          <a:pt x="152" y="18"/>
                        </a:lnTo>
                        <a:lnTo>
                          <a:pt x="150" y="23"/>
                        </a:lnTo>
                        <a:lnTo>
                          <a:pt x="150" y="24"/>
                        </a:lnTo>
                        <a:lnTo>
                          <a:pt x="145" y="24"/>
                        </a:lnTo>
                        <a:lnTo>
                          <a:pt x="138" y="39"/>
                        </a:lnTo>
                        <a:lnTo>
                          <a:pt x="122" y="53"/>
                        </a:lnTo>
                        <a:lnTo>
                          <a:pt x="112" y="59"/>
                        </a:lnTo>
                        <a:lnTo>
                          <a:pt x="87" y="68"/>
                        </a:lnTo>
                        <a:lnTo>
                          <a:pt x="83" y="69"/>
                        </a:lnTo>
                        <a:lnTo>
                          <a:pt x="64" y="106"/>
                        </a:lnTo>
                        <a:lnTo>
                          <a:pt x="59" y="109"/>
                        </a:lnTo>
                        <a:lnTo>
                          <a:pt x="57" y="109"/>
                        </a:lnTo>
                        <a:lnTo>
                          <a:pt x="49" y="101"/>
                        </a:lnTo>
                        <a:lnTo>
                          <a:pt x="45" y="99"/>
                        </a:lnTo>
                        <a:lnTo>
                          <a:pt x="37" y="98"/>
                        </a:lnTo>
                        <a:lnTo>
                          <a:pt x="35" y="94"/>
                        </a:lnTo>
                        <a:lnTo>
                          <a:pt x="30" y="96"/>
                        </a:lnTo>
                        <a:lnTo>
                          <a:pt x="25" y="96"/>
                        </a:lnTo>
                        <a:lnTo>
                          <a:pt x="24" y="93"/>
                        </a:lnTo>
                        <a:lnTo>
                          <a:pt x="29" y="88"/>
                        </a:lnTo>
                        <a:lnTo>
                          <a:pt x="34" y="86"/>
                        </a:lnTo>
                        <a:lnTo>
                          <a:pt x="32" y="79"/>
                        </a:lnTo>
                        <a:lnTo>
                          <a:pt x="29" y="79"/>
                        </a:lnTo>
                        <a:lnTo>
                          <a:pt x="29" y="79"/>
                        </a:lnTo>
                        <a:lnTo>
                          <a:pt x="17" y="84"/>
                        </a:lnTo>
                        <a:lnTo>
                          <a:pt x="12" y="88"/>
                        </a:lnTo>
                        <a:lnTo>
                          <a:pt x="4" y="94"/>
                        </a:lnTo>
                        <a:lnTo>
                          <a:pt x="2" y="101"/>
                        </a:lnTo>
                        <a:lnTo>
                          <a:pt x="0" y="104"/>
                        </a:lnTo>
                        <a:lnTo>
                          <a:pt x="0" y="106"/>
                        </a:lnTo>
                        <a:lnTo>
                          <a:pt x="5" y="109"/>
                        </a:lnTo>
                        <a:lnTo>
                          <a:pt x="5" y="112"/>
                        </a:lnTo>
                        <a:lnTo>
                          <a:pt x="2" y="114"/>
                        </a:lnTo>
                        <a:lnTo>
                          <a:pt x="2" y="116"/>
                        </a:lnTo>
                        <a:lnTo>
                          <a:pt x="7" y="121"/>
                        </a:lnTo>
                        <a:lnTo>
                          <a:pt x="10" y="126"/>
                        </a:lnTo>
                        <a:lnTo>
                          <a:pt x="10" y="131"/>
                        </a:lnTo>
                        <a:lnTo>
                          <a:pt x="7" y="131"/>
                        </a:lnTo>
                        <a:lnTo>
                          <a:pt x="2" y="132"/>
                        </a:lnTo>
                        <a:lnTo>
                          <a:pt x="2" y="136"/>
                        </a:lnTo>
                        <a:lnTo>
                          <a:pt x="5" y="139"/>
                        </a:lnTo>
                        <a:lnTo>
                          <a:pt x="10" y="141"/>
                        </a:lnTo>
                        <a:lnTo>
                          <a:pt x="17" y="147"/>
                        </a:lnTo>
                        <a:lnTo>
                          <a:pt x="24" y="147"/>
                        </a:lnTo>
                        <a:lnTo>
                          <a:pt x="34" y="154"/>
                        </a:lnTo>
                        <a:lnTo>
                          <a:pt x="39" y="154"/>
                        </a:lnTo>
                        <a:lnTo>
                          <a:pt x="40" y="157"/>
                        </a:lnTo>
                        <a:lnTo>
                          <a:pt x="45" y="166"/>
                        </a:lnTo>
                        <a:lnTo>
                          <a:pt x="47" y="171"/>
                        </a:lnTo>
                        <a:lnTo>
                          <a:pt x="49" y="176"/>
                        </a:lnTo>
                        <a:lnTo>
                          <a:pt x="59" y="181"/>
                        </a:lnTo>
                        <a:lnTo>
                          <a:pt x="64" y="187"/>
                        </a:lnTo>
                        <a:lnTo>
                          <a:pt x="65" y="192"/>
                        </a:lnTo>
                        <a:lnTo>
                          <a:pt x="67" y="197"/>
                        </a:lnTo>
                        <a:lnTo>
                          <a:pt x="69" y="204"/>
                        </a:lnTo>
                        <a:lnTo>
                          <a:pt x="72" y="209"/>
                        </a:lnTo>
                        <a:lnTo>
                          <a:pt x="75" y="210"/>
                        </a:lnTo>
                        <a:lnTo>
                          <a:pt x="80" y="219"/>
                        </a:lnTo>
                        <a:lnTo>
                          <a:pt x="80" y="224"/>
                        </a:lnTo>
                        <a:lnTo>
                          <a:pt x="78" y="225"/>
                        </a:lnTo>
                        <a:lnTo>
                          <a:pt x="83" y="232"/>
                        </a:lnTo>
                        <a:lnTo>
                          <a:pt x="90" y="242"/>
                        </a:lnTo>
                        <a:lnTo>
                          <a:pt x="93" y="245"/>
                        </a:lnTo>
                        <a:lnTo>
                          <a:pt x="92" y="250"/>
                        </a:lnTo>
                        <a:lnTo>
                          <a:pt x="93" y="252"/>
                        </a:lnTo>
                        <a:lnTo>
                          <a:pt x="97" y="254"/>
                        </a:lnTo>
                        <a:lnTo>
                          <a:pt x="105" y="260"/>
                        </a:lnTo>
                        <a:lnTo>
                          <a:pt x="107" y="264"/>
                        </a:lnTo>
                        <a:lnTo>
                          <a:pt x="107" y="270"/>
                        </a:lnTo>
                        <a:lnTo>
                          <a:pt x="110" y="274"/>
                        </a:lnTo>
                        <a:lnTo>
                          <a:pt x="117" y="275"/>
                        </a:lnTo>
                        <a:lnTo>
                          <a:pt x="117" y="280"/>
                        </a:lnTo>
                        <a:lnTo>
                          <a:pt x="125" y="290"/>
                        </a:lnTo>
                        <a:lnTo>
                          <a:pt x="127" y="295"/>
                        </a:lnTo>
                        <a:lnTo>
                          <a:pt x="133" y="305"/>
                        </a:lnTo>
                        <a:lnTo>
                          <a:pt x="135" y="310"/>
                        </a:lnTo>
                        <a:lnTo>
                          <a:pt x="132" y="310"/>
                        </a:lnTo>
                        <a:lnTo>
                          <a:pt x="130" y="308"/>
                        </a:lnTo>
                        <a:lnTo>
                          <a:pt x="130" y="312"/>
                        </a:lnTo>
                        <a:lnTo>
                          <a:pt x="130" y="315"/>
                        </a:lnTo>
                        <a:lnTo>
                          <a:pt x="130" y="318"/>
                        </a:lnTo>
                        <a:lnTo>
                          <a:pt x="133" y="318"/>
                        </a:lnTo>
                        <a:lnTo>
                          <a:pt x="137" y="320"/>
                        </a:lnTo>
                        <a:lnTo>
                          <a:pt x="137" y="322"/>
                        </a:lnTo>
                        <a:lnTo>
                          <a:pt x="137" y="325"/>
                        </a:lnTo>
                        <a:lnTo>
                          <a:pt x="145" y="330"/>
                        </a:lnTo>
                        <a:lnTo>
                          <a:pt x="152" y="333"/>
                        </a:lnTo>
                        <a:lnTo>
                          <a:pt x="152" y="337"/>
                        </a:lnTo>
                        <a:lnTo>
                          <a:pt x="157" y="340"/>
                        </a:lnTo>
                        <a:lnTo>
                          <a:pt x="160" y="340"/>
                        </a:lnTo>
                        <a:lnTo>
                          <a:pt x="162" y="343"/>
                        </a:lnTo>
                        <a:lnTo>
                          <a:pt x="163" y="347"/>
                        </a:lnTo>
                        <a:lnTo>
                          <a:pt x="167" y="348"/>
                        </a:lnTo>
                        <a:lnTo>
                          <a:pt x="175" y="348"/>
                        </a:lnTo>
                        <a:lnTo>
                          <a:pt x="176" y="345"/>
                        </a:lnTo>
                        <a:lnTo>
                          <a:pt x="175" y="350"/>
                        </a:lnTo>
                        <a:lnTo>
                          <a:pt x="180" y="353"/>
                        </a:lnTo>
                        <a:lnTo>
                          <a:pt x="186" y="357"/>
                        </a:lnTo>
                        <a:lnTo>
                          <a:pt x="191" y="360"/>
                        </a:lnTo>
                        <a:lnTo>
                          <a:pt x="191" y="363"/>
                        </a:lnTo>
                        <a:lnTo>
                          <a:pt x="195" y="365"/>
                        </a:lnTo>
                        <a:lnTo>
                          <a:pt x="201" y="368"/>
                        </a:lnTo>
                        <a:lnTo>
                          <a:pt x="203" y="367"/>
                        </a:lnTo>
                        <a:lnTo>
                          <a:pt x="206" y="368"/>
                        </a:lnTo>
                        <a:lnTo>
                          <a:pt x="216" y="373"/>
                        </a:lnTo>
                        <a:lnTo>
                          <a:pt x="223" y="375"/>
                        </a:lnTo>
                        <a:lnTo>
                          <a:pt x="228" y="375"/>
                        </a:lnTo>
                        <a:lnTo>
                          <a:pt x="230" y="377"/>
                        </a:lnTo>
                        <a:lnTo>
                          <a:pt x="231" y="380"/>
                        </a:lnTo>
                        <a:lnTo>
                          <a:pt x="238" y="383"/>
                        </a:lnTo>
                        <a:lnTo>
                          <a:pt x="241" y="387"/>
                        </a:lnTo>
                        <a:lnTo>
                          <a:pt x="246" y="390"/>
                        </a:lnTo>
                        <a:lnTo>
                          <a:pt x="250" y="392"/>
                        </a:lnTo>
                        <a:lnTo>
                          <a:pt x="251" y="395"/>
                        </a:lnTo>
                        <a:lnTo>
                          <a:pt x="251" y="397"/>
                        </a:lnTo>
                        <a:lnTo>
                          <a:pt x="251" y="400"/>
                        </a:lnTo>
                        <a:lnTo>
                          <a:pt x="256" y="400"/>
                        </a:lnTo>
                        <a:lnTo>
                          <a:pt x="261" y="403"/>
                        </a:lnTo>
                        <a:lnTo>
                          <a:pt x="268" y="408"/>
                        </a:lnTo>
                        <a:lnTo>
                          <a:pt x="274" y="415"/>
                        </a:lnTo>
                        <a:lnTo>
                          <a:pt x="279" y="415"/>
                        </a:lnTo>
                        <a:lnTo>
                          <a:pt x="279" y="416"/>
                        </a:lnTo>
                        <a:lnTo>
                          <a:pt x="286" y="413"/>
                        </a:lnTo>
                        <a:lnTo>
                          <a:pt x="291" y="410"/>
                        </a:lnTo>
                        <a:lnTo>
                          <a:pt x="294" y="411"/>
                        </a:lnTo>
                        <a:lnTo>
                          <a:pt x="299" y="408"/>
                        </a:lnTo>
                        <a:lnTo>
                          <a:pt x="301" y="405"/>
                        </a:lnTo>
                        <a:lnTo>
                          <a:pt x="296" y="402"/>
                        </a:lnTo>
                        <a:lnTo>
                          <a:pt x="298" y="397"/>
                        </a:lnTo>
                        <a:lnTo>
                          <a:pt x="301" y="393"/>
                        </a:lnTo>
                        <a:lnTo>
                          <a:pt x="304" y="395"/>
                        </a:lnTo>
                        <a:lnTo>
                          <a:pt x="303" y="392"/>
                        </a:lnTo>
                        <a:lnTo>
                          <a:pt x="301" y="392"/>
                        </a:lnTo>
                        <a:lnTo>
                          <a:pt x="298" y="388"/>
                        </a:lnTo>
                        <a:lnTo>
                          <a:pt x="301" y="382"/>
                        </a:lnTo>
                        <a:lnTo>
                          <a:pt x="308" y="378"/>
                        </a:lnTo>
                        <a:lnTo>
                          <a:pt x="313" y="373"/>
                        </a:lnTo>
                        <a:lnTo>
                          <a:pt x="313" y="367"/>
                        </a:lnTo>
                        <a:lnTo>
                          <a:pt x="306" y="353"/>
                        </a:lnTo>
                        <a:lnTo>
                          <a:pt x="308" y="350"/>
                        </a:lnTo>
                        <a:lnTo>
                          <a:pt x="308" y="343"/>
                        </a:lnTo>
                        <a:lnTo>
                          <a:pt x="306" y="342"/>
                        </a:lnTo>
                        <a:lnTo>
                          <a:pt x="304" y="337"/>
                        </a:lnTo>
                        <a:lnTo>
                          <a:pt x="308" y="333"/>
                        </a:lnTo>
                        <a:lnTo>
                          <a:pt x="309" y="325"/>
                        </a:lnTo>
                        <a:lnTo>
                          <a:pt x="309" y="312"/>
                        </a:lnTo>
                        <a:lnTo>
                          <a:pt x="306" y="305"/>
                        </a:lnTo>
                        <a:lnTo>
                          <a:pt x="309" y="299"/>
                        </a:lnTo>
                        <a:lnTo>
                          <a:pt x="309" y="284"/>
                        </a:lnTo>
                        <a:lnTo>
                          <a:pt x="314" y="277"/>
                        </a:lnTo>
                        <a:lnTo>
                          <a:pt x="313" y="274"/>
                        </a:lnTo>
                        <a:lnTo>
                          <a:pt x="291" y="245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595" name="Google Shape;3133;p98">
                    <a:extLst>
                      <a:ext uri="{FF2B5EF4-FFF2-40B4-BE49-F238E27FC236}">
                        <a16:creationId xmlns:a16="http://schemas.microsoft.com/office/drawing/2014/main" id="{B0445F2E-3B74-7D0F-2647-4CC1F67D7ACF}"/>
                      </a:ext>
                    </a:extLst>
                  </p:cNvPr>
                  <p:cNvSpPr/>
                  <p:nvPr/>
                </p:nvSpPr>
                <p:spPr>
                  <a:xfrm>
                    <a:off x="5526708" y="3383849"/>
                    <a:ext cx="161607" cy="15875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2" h="306" extrusionOk="0">
                        <a:moveTo>
                          <a:pt x="287" y="231"/>
                        </a:moveTo>
                        <a:lnTo>
                          <a:pt x="291" y="228"/>
                        </a:lnTo>
                        <a:lnTo>
                          <a:pt x="291" y="225"/>
                        </a:lnTo>
                        <a:lnTo>
                          <a:pt x="302" y="203"/>
                        </a:lnTo>
                        <a:lnTo>
                          <a:pt x="301" y="191"/>
                        </a:lnTo>
                        <a:lnTo>
                          <a:pt x="289" y="172"/>
                        </a:lnTo>
                        <a:lnTo>
                          <a:pt x="276" y="170"/>
                        </a:lnTo>
                        <a:lnTo>
                          <a:pt x="277" y="160"/>
                        </a:lnTo>
                        <a:lnTo>
                          <a:pt x="274" y="147"/>
                        </a:lnTo>
                        <a:lnTo>
                          <a:pt x="233" y="147"/>
                        </a:lnTo>
                        <a:lnTo>
                          <a:pt x="233" y="135"/>
                        </a:lnTo>
                        <a:lnTo>
                          <a:pt x="224" y="122"/>
                        </a:lnTo>
                        <a:lnTo>
                          <a:pt x="226" y="117"/>
                        </a:lnTo>
                        <a:lnTo>
                          <a:pt x="224" y="108"/>
                        </a:lnTo>
                        <a:lnTo>
                          <a:pt x="226" y="98"/>
                        </a:lnTo>
                        <a:lnTo>
                          <a:pt x="224" y="95"/>
                        </a:lnTo>
                        <a:lnTo>
                          <a:pt x="214" y="90"/>
                        </a:lnTo>
                        <a:lnTo>
                          <a:pt x="199" y="90"/>
                        </a:lnTo>
                        <a:lnTo>
                          <a:pt x="194" y="88"/>
                        </a:lnTo>
                        <a:lnTo>
                          <a:pt x="189" y="87"/>
                        </a:lnTo>
                        <a:lnTo>
                          <a:pt x="188" y="80"/>
                        </a:lnTo>
                        <a:lnTo>
                          <a:pt x="181" y="79"/>
                        </a:lnTo>
                        <a:lnTo>
                          <a:pt x="170" y="75"/>
                        </a:lnTo>
                        <a:lnTo>
                          <a:pt x="166" y="75"/>
                        </a:lnTo>
                        <a:lnTo>
                          <a:pt x="158" y="67"/>
                        </a:lnTo>
                        <a:lnTo>
                          <a:pt x="151" y="69"/>
                        </a:lnTo>
                        <a:lnTo>
                          <a:pt x="143" y="60"/>
                        </a:lnTo>
                        <a:lnTo>
                          <a:pt x="133" y="62"/>
                        </a:lnTo>
                        <a:lnTo>
                          <a:pt x="131" y="65"/>
                        </a:lnTo>
                        <a:lnTo>
                          <a:pt x="126" y="60"/>
                        </a:lnTo>
                        <a:lnTo>
                          <a:pt x="118" y="55"/>
                        </a:lnTo>
                        <a:lnTo>
                          <a:pt x="111" y="54"/>
                        </a:lnTo>
                        <a:lnTo>
                          <a:pt x="110" y="47"/>
                        </a:lnTo>
                        <a:lnTo>
                          <a:pt x="105" y="45"/>
                        </a:lnTo>
                        <a:lnTo>
                          <a:pt x="101" y="37"/>
                        </a:lnTo>
                        <a:lnTo>
                          <a:pt x="103" y="32"/>
                        </a:lnTo>
                        <a:lnTo>
                          <a:pt x="100" y="22"/>
                        </a:lnTo>
                        <a:lnTo>
                          <a:pt x="103" y="15"/>
                        </a:lnTo>
                        <a:lnTo>
                          <a:pt x="101" y="7"/>
                        </a:lnTo>
                        <a:lnTo>
                          <a:pt x="101" y="2"/>
                        </a:lnTo>
                        <a:lnTo>
                          <a:pt x="98" y="0"/>
                        </a:lnTo>
                        <a:lnTo>
                          <a:pt x="93" y="4"/>
                        </a:lnTo>
                        <a:lnTo>
                          <a:pt x="88" y="0"/>
                        </a:lnTo>
                        <a:lnTo>
                          <a:pt x="83" y="0"/>
                        </a:lnTo>
                        <a:lnTo>
                          <a:pt x="75" y="4"/>
                        </a:lnTo>
                        <a:lnTo>
                          <a:pt x="67" y="5"/>
                        </a:lnTo>
                        <a:lnTo>
                          <a:pt x="55" y="12"/>
                        </a:lnTo>
                        <a:lnTo>
                          <a:pt x="52" y="22"/>
                        </a:lnTo>
                        <a:lnTo>
                          <a:pt x="45" y="24"/>
                        </a:lnTo>
                        <a:lnTo>
                          <a:pt x="38" y="24"/>
                        </a:lnTo>
                        <a:lnTo>
                          <a:pt x="33" y="27"/>
                        </a:lnTo>
                        <a:lnTo>
                          <a:pt x="30" y="27"/>
                        </a:lnTo>
                        <a:lnTo>
                          <a:pt x="22" y="30"/>
                        </a:lnTo>
                        <a:lnTo>
                          <a:pt x="15" y="30"/>
                        </a:lnTo>
                        <a:lnTo>
                          <a:pt x="0" y="30"/>
                        </a:lnTo>
                        <a:lnTo>
                          <a:pt x="22" y="59"/>
                        </a:lnTo>
                        <a:lnTo>
                          <a:pt x="23" y="62"/>
                        </a:lnTo>
                        <a:lnTo>
                          <a:pt x="18" y="69"/>
                        </a:lnTo>
                        <a:lnTo>
                          <a:pt x="18" y="84"/>
                        </a:lnTo>
                        <a:lnTo>
                          <a:pt x="15" y="90"/>
                        </a:lnTo>
                        <a:lnTo>
                          <a:pt x="18" y="97"/>
                        </a:lnTo>
                        <a:lnTo>
                          <a:pt x="18" y="110"/>
                        </a:lnTo>
                        <a:lnTo>
                          <a:pt x="17" y="118"/>
                        </a:lnTo>
                        <a:lnTo>
                          <a:pt x="13" y="122"/>
                        </a:lnTo>
                        <a:lnTo>
                          <a:pt x="15" y="127"/>
                        </a:lnTo>
                        <a:lnTo>
                          <a:pt x="17" y="128"/>
                        </a:lnTo>
                        <a:lnTo>
                          <a:pt x="17" y="135"/>
                        </a:lnTo>
                        <a:lnTo>
                          <a:pt x="15" y="138"/>
                        </a:lnTo>
                        <a:lnTo>
                          <a:pt x="22" y="152"/>
                        </a:lnTo>
                        <a:lnTo>
                          <a:pt x="22" y="158"/>
                        </a:lnTo>
                        <a:lnTo>
                          <a:pt x="17" y="163"/>
                        </a:lnTo>
                        <a:lnTo>
                          <a:pt x="10" y="167"/>
                        </a:lnTo>
                        <a:lnTo>
                          <a:pt x="7" y="173"/>
                        </a:lnTo>
                        <a:lnTo>
                          <a:pt x="10" y="177"/>
                        </a:lnTo>
                        <a:lnTo>
                          <a:pt x="12" y="177"/>
                        </a:lnTo>
                        <a:lnTo>
                          <a:pt x="13" y="180"/>
                        </a:lnTo>
                        <a:lnTo>
                          <a:pt x="13" y="180"/>
                        </a:lnTo>
                        <a:lnTo>
                          <a:pt x="15" y="185"/>
                        </a:lnTo>
                        <a:lnTo>
                          <a:pt x="20" y="188"/>
                        </a:lnTo>
                        <a:lnTo>
                          <a:pt x="22" y="191"/>
                        </a:lnTo>
                        <a:lnTo>
                          <a:pt x="23" y="195"/>
                        </a:lnTo>
                        <a:lnTo>
                          <a:pt x="22" y="200"/>
                        </a:lnTo>
                        <a:lnTo>
                          <a:pt x="23" y="201"/>
                        </a:lnTo>
                        <a:lnTo>
                          <a:pt x="23" y="210"/>
                        </a:lnTo>
                        <a:lnTo>
                          <a:pt x="28" y="215"/>
                        </a:lnTo>
                        <a:lnTo>
                          <a:pt x="38" y="221"/>
                        </a:lnTo>
                        <a:lnTo>
                          <a:pt x="40" y="225"/>
                        </a:lnTo>
                        <a:lnTo>
                          <a:pt x="37" y="231"/>
                        </a:lnTo>
                        <a:lnTo>
                          <a:pt x="38" y="236"/>
                        </a:lnTo>
                        <a:lnTo>
                          <a:pt x="33" y="248"/>
                        </a:lnTo>
                        <a:lnTo>
                          <a:pt x="37" y="253"/>
                        </a:lnTo>
                        <a:lnTo>
                          <a:pt x="48" y="263"/>
                        </a:lnTo>
                        <a:lnTo>
                          <a:pt x="67" y="306"/>
                        </a:lnTo>
                        <a:lnTo>
                          <a:pt x="73" y="306"/>
                        </a:lnTo>
                        <a:lnTo>
                          <a:pt x="75" y="303"/>
                        </a:lnTo>
                        <a:lnTo>
                          <a:pt x="78" y="303"/>
                        </a:lnTo>
                        <a:lnTo>
                          <a:pt x="78" y="303"/>
                        </a:lnTo>
                        <a:lnTo>
                          <a:pt x="81" y="299"/>
                        </a:lnTo>
                        <a:lnTo>
                          <a:pt x="85" y="291"/>
                        </a:lnTo>
                        <a:lnTo>
                          <a:pt x="95" y="283"/>
                        </a:lnTo>
                        <a:lnTo>
                          <a:pt x="101" y="280"/>
                        </a:lnTo>
                        <a:lnTo>
                          <a:pt x="106" y="285"/>
                        </a:lnTo>
                        <a:lnTo>
                          <a:pt x="115" y="285"/>
                        </a:lnTo>
                        <a:lnTo>
                          <a:pt x="118" y="283"/>
                        </a:lnTo>
                        <a:lnTo>
                          <a:pt x="123" y="285"/>
                        </a:lnTo>
                        <a:lnTo>
                          <a:pt x="133" y="283"/>
                        </a:lnTo>
                        <a:lnTo>
                          <a:pt x="136" y="283"/>
                        </a:lnTo>
                        <a:lnTo>
                          <a:pt x="138" y="289"/>
                        </a:lnTo>
                        <a:lnTo>
                          <a:pt x="141" y="298"/>
                        </a:lnTo>
                        <a:lnTo>
                          <a:pt x="143" y="301"/>
                        </a:lnTo>
                        <a:lnTo>
                          <a:pt x="145" y="298"/>
                        </a:lnTo>
                        <a:lnTo>
                          <a:pt x="145" y="294"/>
                        </a:lnTo>
                        <a:lnTo>
                          <a:pt x="148" y="289"/>
                        </a:lnTo>
                        <a:lnTo>
                          <a:pt x="148" y="286"/>
                        </a:lnTo>
                        <a:lnTo>
                          <a:pt x="151" y="281"/>
                        </a:lnTo>
                        <a:lnTo>
                          <a:pt x="166" y="281"/>
                        </a:lnTo>
                        <a:lnTo>
                          <a:pt x="178" y="281"/>
                        </a:lnTo>
                        <a:lnTo>
                          <a:pt x="183" y="285"/>
                        </a:lnTo>
                        <a:lnTo>
                          <a:pt x="184" y="278"/>
                        </a:lnTo>
                        <a:lnTo>
                          <a:pt x="191" y="266"/>
                        </a:lnTo>
                        <a:lnTo>
                          <a:pt x="191" y="260"/>
                        </a:lnTo>
                        <a:lnTo>
                          <a:pt x="189" y="255"/>
                        </a:lnTo>
                        <a:lnTo>
                          <a:pt x="188" y="251"/>
                        </a:lnTo>
                        <a:lnTo>
                          <a:pt x="196" y="240"/>
                        </a:lnTo>
                        <a:lnTo>
                          <a:pt x="199" y="231"/>
                        </a:lnTo>
                        <a:lnTo>
                          <a:pt x="199" y="228"/>
                        </a:lnTo>
                        <a:lnTo>
                          <a:pt x="204" y="225"/>
                        </a:lnTo>
                        <a:lnTo>
                          <a:pt x="238" y="216"/>
                        </a:lnTo>
                        <a:lnTo>
                          <a:pt x="264" y="218"/>
                        </a:lnTo>
                        <a:lnTo>
                          <a:pt x="281" y="228"/>
                        </a:lnTo>
                        <a:lnTo>
                          <a:pt x="284" y="228"/>
                        </a:lnTo>
                        <a:lnTo>
                          <a:pt x="287" y="231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596" name="Google Shape;3134;p98">
                    <a:extLst>
                      <a:ext uri="{FF2B5EF4-FFF2-40B4-BE49-F238E27FC236}">
                        <a16:creationId xmlns:a16="http://schemas.microsoft.com/office/drawing/2014/main" id="{790745DB-8F59-0904-A0E5-DD7C2DB4E96F}"/>
                      </a:ext>
                    </a:extLst>
                  </p:cNvPr>
                  <p:cNvSpPr/>
                  <p:nvPr/>
                </p:nvSpPr>
                <p:spPr>
                  <a:xfrm>
                    <a:off x="5624100" y="3495909"/>
                    <a:ext cx="111306" cy="10375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7" h="200" extrusionOk="0">
                        <a:moveTo>
                          <a:pt x="0" y="69"/>
                        </a:moveTo>
                        <a:lnTo>
                          <a:pt x="1" y="62"/>
                        </a:lnTo>
                        <a:lnTo>
                          <a:pt x="8" y="50"/>
                        </a:lnTo>
                        <a:lnTo>
                          <a:pt x="8" y="44"/>
                        </a:lnTo>
                        <a:lnTo>
                          <a:pt x="6" y="39"/>
                        </a:lnTo>
                        <a:lnTo>
                          <a:pt x="5" y="35"/>
                        </a:lnTo>
                        <a:lnTo>
                          <a:pt x="13" y="24"/>
                        </a:lnTo>
                        <a:lnTo>
                          <a:pt x="16" y="15"/>
                        </a:lnTo>
                        <a:lnTo>
                          <a:pt x="16" y="12"/>
                        </a:lnTo>
                        <a:lnTo>
                          <a:pt x="21" y="9"/>
                        </a:lnTo>
                        <a:lnTo>
                          <a:pt x="55" y="0"/>
                        </a:lnTo>
                        <a:lnTo>
                          <a:pt x="81" y="2"/>
                        </a:lnTo>
                        <a:lnTo>
                          <a:pt x="98" y="12"/>
                        </a:lnTo>
                        <a:lnTo>
                          <a:pt x="101" y="12"/>
                        </a:lnTo>
                        <a:lnTo>
                          <a:pt x="106" y="17"/>
                        </a:lnTo>
                        <a:lnTo>
                          <a:pt x="106" y="22"/>
                        </a:lnTo>
                        <a:lnTo>
                          <a:pt x="111" y="27"/>
                        </a:lnTo>
                        <a:lnTo>
                          <a:pt x="111" y="34"/>
                        </a:lnTo>
                        <a:lnTo>
                          <a:pt x="116" y="40"/>
                        </a:lnTo>
                        <a:lnTo>
                          <a:pt x="114" y="54"/>
                        </a:lnTo>
                        <a:lnTo>
                          <a:pt x="116" y="59"/>
                        </a:lnTo>
                        <a:lnTo>
                          <a:pt x="114" y="64"/>
                        </a:lnTo>
                        <a:lnTo>
                          <a:pt x="116" y="69"/>
                        </a:lnTo>
                        <a:lnTo>
                          <a:pt x="124" y="67"/>
                        </a:lnTo>
                        <a:lnTo>
                          <a:pt x="128" y="69"/>
                        </a:lnTo>
                        <a:lnTo>
                          <a:pt x="139" y="69"/>
                        </a:lnTo>
                        <a:lnTo>
                          <a:pt x="146" y="70"/>
                        </a:lnTo>
                        <a:lnTo>
                          <a:pt x="158" y="67"/>
                        </a:lnTo>
                        <a:lnTo>
                          <a:pt x="164" y="70"/>
                        </a:lnTo>
                        <a:lnTo>
                          <a:pt x="168" y="72"/>
                        </a:lnTo>
                        <a:lnTo>
                          <a:pt x="169" y="77"/>
                        </a:lnTo>
                        <a:lnTo>
                          <a:pt x="176" y="100"/>
                        </a:lnTo>
                        <a:lnTo>
                          <a:pt x="181" y="108"/>
                        </a:lnTo>
                        <a:lnTo>
                          <a:pt x="184" y="110"/>
                        </a:lnTo>
                        <a:lnTo>
                          <a:pt x="194" y="105"/>
                        </a:lnTo>
                        <a:lnTo>
                          <a:pt x="199" y="107"/>
                        </a:lnTo>
                        <a:lnTo>
                          <a:pt x="204" y="110"/>
                        </a:lnTo>
                        <a:lnTo>
                          <a:pt x="207" y="110"/>
                        </a:lnTo>
                        <a:lnTo>
                          <a:pt x="204" y="113"/>
                        </a:lnTo>
                        <a:lnTo>
                          <a:pt x="204" y="135"/>
                        </a:lnTo>
                        <a:lnTo>
                          <a:pt x="202" y="137"/>
                        </a:lnTo>
                        <a:lnTo>
                          <a:pt x="202" y="138"/>
                        </a:lnTo>
                        <a:lnTo>
                          <a:pt x="202" y="140"/>
                        </a:lnTo>
                        <a:lnTo>
                          <a:pt x="202" y="143"/>
                        </a:lnTo>
                        <a:lnTo>
                          <a:pt x="201" y="145"/>
                        </a:lnTo>
                        <a:lnTo>
                          <a:pt x="201" y="147"/>
                        </a:lnTo>
                        <a:lnTo>
                          <a:pt x="199" y="153"/>
                        </a:lnTo>
                        <a:lnTo>
                          <a:pt x="201" y="155"/>
                        </a:lnTo>
                        <a:lnTo>
                          <a:pt x="199" y="163"/>
                        </a:lnTo>
                        <a:lnTo>
                          <a:pt x="196" y="167"/>
                        </a:lnTo>
                        <a:lnTo>
                          <a:pt x="193" y="171"/>
                        </a:lnTo>
                        <a:lnTo>
                          <a:pt x="191" y="176"/>
                        </a:lnTo>
                        <a:lnTo>
                          <a:pt x="179" y="183"/>
                        </a:lnTo>
                        <a:lnTo>
                          <a:pt x="178" y="188"/>
                        </a:lnTo>
                        <a:lnTo>
                          <a:pt x="174" y="193"/>
                        </a:lnTo>
                        <a:lnTo>
                          <a:pt x="168" y="191"/>
                        </a:lnTo>
                        <a:lnTo>
                          <a:pt x="166" y="193"/>
                        </a:lnTo>
                        <a:lnTo>
                          <a:pt x="161" y="200"/>
                        </a:lnTo>
                        <a:lnTo>
                          <a:pt x="159" y="196"/>
                        </a:lnTo>
                        <a:lnTo>
                          <a:pt x="156" y="196"/>
                        </a:lnTo>
                        <a:lnTo>
                          <a:pt x="149" y="198"/>
                        </a:lnTo>
                        <a:lnTo>
                          <a:pt x="139" y="193"/>
                        </a:lnTo>
                        <a:lnTo>
                          <a:pt x="126" y="190"/>
                        </a:lnTo>
                        <a:lnTo>
                          <a:pt x="108" y="191"/>
                        </a:lnTo>
                        <a:lnTo>
                          <a:pt x="104" y="191"/>
                        </a:lnTo>
                        <a:lnTo>
                          <a:pt x="106" y="186"/>
                        </a:lnTo>
                        <a:lnTo>
                          <a:pt x="113" y="180"/>
                        </a:lnTo>
                        <a:lnTo>
                          <a:pt x="116" y="171"/>
                        </a:lnTo>
                        <a:lnTo>
                          <a:pt x="114" y="167"/>
                        </a:lnTo>
                        <a:lnTo>
                          <a:pt x="118" y="163"/>
                        </a:lnTo>
                        <a:lnTo>
                          <a:pt x="121" y="160"/>
                        </a:lnTo>
                        <a:lnTo>
                          <a:pt x="126" y="155"/>
                        </a:lnTo>
                        <a:lnTo>
                          <a:pt x="126" y="150"/>
                        </a:lnTo>
                        <a:lnTo>
                          <a:pt x="124" y="145"/>
                        </a:lnTo>
                        <a:lnTo>
                          <a:pt x="116" y="140"/>
                        </a:lnTo>
                        <a:lnTo>
                          <a:pt x="111" y="133"/>
                        </a:lnTo>
                        <a:lnTo>
                          <a:pt x="96" y="132"/>
                        </a:lnTo>
                        <a:lnTo>
                          <a:pt x="86" y="127"/>
                        </a:lnTo>
                        <a:lnTo>
                          <a:pt x="75" y="118"/>
                        </a:lnTo>
                        <a:lnTo>
                          <a:pt x="71" y="118"/>
                        </a:lnTo>
                        <a:lnTo>
                          <a:pt x="61" y="113"/>
                        </a:lnTo>
                        <a:lnTo>
                          <a:pt x="46" y="110"/>
                        </a:lnTo>
                        <a:lnTo>
                          <a:pt x="43" y="105"/>
                        </a:lnTo>
                        <a:lnTo>
                          <a:pt x="36" y="100"/>
                        </a:lnTo>
                        <a:lnTo>
                          <a:pt x="31" y="100"/>
                        </a:lnTo>
                        <a:lnTo>
                          <a:pt x="16" y="85"/>
                        </a:lnTo>
                        <a:lnTo>
                          <a:pt x="10" y="77"/>
                        </a:lnTo>
                        <a:lnTo>
                          <a:pt x="5" y="75"/>
                        </a:lnTo>
                        <a:lnTo>
                          <a:pt x="0" y="70"/>
                        </a:lnTo>
                        <a:lnTo>
                          <a:pt x="0" y="69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597" name="Google Shape;3135;p98">
                    <a:extLst>
                      <a:ext uri="{FF2B5EF4-FFF2-40B4-BE49-F238E27FC236}">
                        <a16:creationId xmlns:a16="http://schemas.microsoft.com/office/drawing/2014/main" id="{A5AB1294-82AA-6645-B0DE-F32068AAEBEE}"/>
                      </a:ext>
                    </a:extLst>
                  </p:cNvPr>
                  <p:cNvSpPr/>
                  <p:nvPr/>
                </p:nvSpPr>
                <p:spPr>
                  <a:xfrm>
                    <a:off x="5691526" y="3629757"/>
                    <a:ext cx="65285" cy="6536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3" h="126" extrusionOk="0">
                        <a:moveTo>
                          <a:pt x="13" y="2"/>
                        </a:moveTo>
                        <a:lnTo>
                          <a:pt x="17" y="2"/>
                        </a:lnTo>
                        <a:lnTo>
                          <a:pt x="18" y="3"/>
                        </a:lnTo>
                        <a:lnTo>
                          <a:pt x="32" y="0"/>
                        </a:lnTo>
                        <a:lnTo>
                          <a:pt x="37" y="3"/>
                        </a:lnTo>
                        <a:lnTo>
                          <a:pt x="42" y="10"/>
                        </a:lnTo>
                        <a:lnTo>
                          <a:pt x="47" y="11"/>
                        </a:lnTo>
                        <a:lnTo>
                          <a:pt x="50" y="16"/>
                        </a:lnTo>
                        <a:lnTo>
                          <a:pt x="55" y="26"/>
                        </a:lnTo>
                        <a:lnTo>
                          <a:pt x="58" y="26"/>
                        </a:lnTo>
                        <a:lnTo>
                          <a:pt x="63" y="21"/>
                        </a:lnTo>
                        <a:lnTo>
                          <a:pt x="65" y="21"/>
                        </a:lnTo>
                        <a:lnTo>
                          <a:pt x="71" y="30"/>
                        </a:lnTo>
                        <a:lnTo>
                          <a:pt x="78" y="33"/>
                        </a:lnTo>
                        <a:lnTo>
                          <a:pt x="83" y="33"/>
                        </a:lnTo>
                        <a:lnTo>
                          <a:pt x="90" y="38"/>
                        </a:lnTo>
                        <a:lnTo>
                          <a:pt x="90" y="45"/>
                        </a:lnTo>
                        <a:lnTo>
                          <a:pt x="95" y="43"/>
                        </a:lnTo>
                        <a:lnTo>
                          <a:pt x="103" y="48"/>
                        </a:lnTo>
                        <a:lnTo>
                          <a:pt x="110" y="53"/>
                        </a:lnTo>
                        <a:lnTo>
                          <a:pt x="115" y="61"/>
                        </a:lnTo>
                        <a:lnTo>
                          <a:pt x="121" y="65"/>
                        </a:lnTo>
                        <a:lnTo>
                          <a:pt x="120" y="71"/>
                        </a:lnTo>
                        <a:lnTo>
                          <a:pt x="115" y="76"/>
                        </a:lnTo>
                        <a:lnTo>
                          <a:pt x="118" y="83"/>
                        </a:lnTo>
                        <a:lnTo>
                          <a:pt x="118" y="85"/>
                        </a:lnTo>
                        <a:lnTo>
                          <a:pt x="118" y="86"/>
                        </a:lnTo>
                        <a:lnTo>
                          <a:pt x="121" y="90"/>
                        </a:lnTo>
                        <a:lnTo>
                          <a:pt x="123" y="91"/>
                        </a:lnTo>
                        <a:lnTo>
                          <a:pt x="121" y="93"/>
                        </a:lnTo>
                        <a:lnTo>
                          <a:pt x="116" y="96"/>
                        </a:lnTo>
                        <a:lnTo>
                          <a:pt x="116" y="103"/>
                        </a:lnTo>
                        <a:lnTo>
                          <a:pt x="113" y="106"/>
                        </a:lnTo>
                        <a:lnTo>
                          <a:pt x="110" y="109"/>
                        </a:lnTo>
                        <a:lnTo>
                          <a:pt x="111" y="111"/>
                        </a:lnTo>
                        <a:lnTo>
                          <a:pt x="110" y="113"/>
                        </a:lnTo>
                        <a:lnTo>
                          <a:pt x="103" y="119"/>
                        </a:lnTo>
                        <a:lnTo>
                          <a:pt x="95" y="123"/>
                        </a:lnTo>
                        <a:lnTo>
                          <a:pt x="93" y="121"/>
                        </a:lnTo>
                        <a:lnTo>
                          <a:pt x="91" y="121"/>
                        </a:lnTo>
                        <a:lnTo>
                          <a:pt x="91" y="124"/>
                        </a:lnTo>
                        <a:lnTo>
                          <a:pt x="88" y="126"/>
                        </a:lnTo>
                        <a:lnTo>
                          <a:pt x="85" y="124"/>
                        </a:lnTo>
                        <a:lnTo>
                          <a:pt x="81" y="124"/>
                        </a:lnTo>
                        <a:lnTo>
                          <a:pt x="78" y="124"/>
                        </a:lnTo>
                        <a:lnTo>
                          <a:pt x="75" y="123"/>
                        </a:lnTo>
                        <a:lnTo>
                          <a:pt x="71" y="121"/>
                        </a:lnTo>
                        <a:lnTo>
                          <a:pt x="63" y="123"/>
                        </a:lnTo>
                        <a:lnTo>
                          <a:pt x="58" y="124"/>
                        </a:lnTo>
                        <a:lnTo>
                          <a:pt x="53" y="124"/>
                        </a:lnTo>
                        <a:lnTo>
                          <a:pt x="53" y="123"/>
                        </a:lnTo>
                        <a:lnTo>
                          <a:pt x="55" y="121"/>
                        </a:lnTo>
                        <a:lnTo>
                          <a:pt x="53" y="119"/>
                        </a:lnTo>
                        <a:lnTo>
                          <a:pt x="50" y="119"/>
                        </a:lnTo>
                        <a:lnTo>
                          <a:pt x="47" y="119"/>
                        </a:lnTo>
                        <a:lnTo>
                          <a:pt x="40" y="116"/>
                        </a:lnTo>
                        <a:lnTo>
                          <a:pt x="33" y="114"/>
                        </a:lnTo>
                        <a:lnTo>
                          <a:pt x="23" y="116"/>
                        </a:lnTo>
                        <a:lnTo>
                          <a:pt x="20" y="114"/>
                        </a:lnTo>
                        <a:lnTo>
                          <a:pt x="13" y="109"/>
                        </a:lnTo>
                        <a:lnTo>
                          <a:pt x="10" y="109"/>
                        </a:lnTo>
                        <a:lnTo>
                          <a:pt x="3" y="100"/>
                        </a:lnTo>
                        <a:lnTo>
                          <a:pt x="0" y="91"/>
                        </a:lnTo>
                        <a:lnTo>
                          <a:pt x="0" y="83"/>
                        </a:lnTo>
                        <a:lnTo>
                          <a:pt x="0" y="81"/>
                        </a:lnTo>
                        <a:lnTo>
                          <a:pt x="0" y="80"/>
                        </a:lnTo>
                        <a:lnTo>
                          <a:pt x="5" y="78"/>
                        </a:lnTo>
                        <a:lnTo>
                          <a:pt x="5" y="75"/>
                        </a:lnTo>
                        <a:lnTo>
                          <a:pt x="3" y="66"/>
                        </a:lnTo>
                        <a:lnTo>
                          <a:pt x="2" y="58"/>
                        </a:lnTo>
                        <a:lnTo>
                          <a:pt x="5" y="55"/>
                        </a:lnTo>
                        <a:lnTo>
                          <a:pt x="2" y="48"/>
                        </a:lnTo>
                        <a:lnTo>
                          <a:pt x="5" y="43"/>
                        </a:lnTo>
                        <a:lnTo>
                          <a:pt x="5" y="40"/>
                        </a:lnTo>
                        <a:lnTo>
                          <a:pt x="7" y="36"/>
                        </a:lnTo>
                        <a:lnTo>
                          <a:pt x="7" y="26"/>
                        </a:lnTo>
                        <a:lnTo>
                          <a:pt x="5" y="23"/>
                        </a:lnTo>
                        <a:lnTo>
                          <a:pt x="7" y="20"/>
                        </a:lnTo>
                        <a:lnTo>
                          <a:pt x="5" y="13"/>
                        </a:lnTo>
                        <a:lnTo>
                          <a:pt x="10" y="8"/>
                        </a:lnTo>
                        <a:lnTo>
                          <a:pt x="12" y="3"/>
                        </a:lnTo>
                        <a:lnTo>
                          <a:pt x="13" y="2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598" name="Google Shape;3136;p98">
                    <a:extLst>
                      <a:ext uri="{FF2B5EF4-FFF2-40B4-BE49-F238E27FC236}">
                        <a16:creationId xmlns:a16="http://schemas.microsoft.com/office/drawing/2014/main" id="{F64146FC-762A-7929-8FF2-A9D11690B07A}"/>
                      </a:ext>
                    </a:extLst>
                  </p:cNvPr>
                  <p:cNvSpPr/>
                  <p:nvPr/>
                </p:nvSpPr>
                <p:spPr>
                  <a:xfrm>
                    <a:off x="5536340" y="3529112"/>
                    <a:ext cx="207628" cy="47106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89" h="908" extrusionOk="0">
                        <a:moveTo>
                          <a:pt x="60" y="23"/>
                        </a:moveTo>
                        <a:lnTo>
                          <a:pt x="63" y="19"/>
                        </a:lnTo>
                        <a:lnTo>
                          <a:pt x="67" y="11"/>
                        </a:lnTo>
                        <a:lnTo>
                          <a:pt x="77" y="3"/>
                        </a:lnTo>
                        <a:lnTo>
                          <a:pt x="83" y="0"/>
                        </a:lnTo>
                        <a:lnTo>
                          <a:pt x="88" y="5"/>
                        </a:lnTo>
                        <a:lnTo>
                          <a:pt x="97" y="5"/>
                        </a:lnTo>
                        <a:lnTo>
                          <a:pt x="100" y="3"/>
                        </a:lnTo>
                        <a:lnTo>
                          <a:pt x="105" y="5"/>
                        </a:lnTo>
                        <a:lnTo>
                          <a:pt x="115" y="3"/>
                        </a:lnTo>
                        <a:lnTo>
                          <a:pt x="118" y="3"/>
                        </a:lnTo>
                        <a:lnTo>
                          <a:pt x="120" y="9"/>
                        </a:lnTo>
                        <a:lnTo>
                          <a:pt x="123" y="18"/>
                        </a:lnTo>
                        <a:lnTo>
                          <a:pt x="125" y="21"/>
                        </a:lnTo>
                        <a:lnTo>
                          <a:pt x="127" y="18"/>
                        </a:lnTo>
                        <a:lnTo>
                          <a:pt x="127" y="14"/>
                        </a:lnTo>
                        <a:lnTo>
                          <a:pt x="130" y="9"/>
                        </a:lnTo>
                        <a:lnTo>
                          <a:pt x="130" y="6"/>
                        </a:lnTo>
                        <a:lnTo>
                          <a:pt x="133" y="1"/>
                        </a:lnTo>
                        <a:lnTo>
                          <a:pt x="148" y="1"/>
                        </a:lnTo>
                        <a:lnTo>
                          <a:pt x="160" y="1"/>
                        </a:lnTo>
                        <a:lnTo>
                          <a:pt x="165" y="6"/>
                        </a:lnTo>
                        <a:lnTo>
                          <a:pt x="170" y="11"/>
                        </a:lnTo>
                        <a:lnTo>
                          <a:pt x="175" y="13"/>
                        </a:lnTo>
                        <a:lnTo>
                          <a:pt x="181" y="21"/>
                        </a:lnTo>
                        <a:lnTo>
                          <a:pt x="196" y="36"/>
                        </a:lnTo>
                        <a:lnTo>
                          <a:pt x="201" y="36"/>
                        </a:lnTo>
                        <a:lnTo>
                          <a:pt x="208" y="41"/>
                        </a:lnTo>
                        <a:lnTo>
                          <a:pt x="211" y="46"/>
                        </a:lnTo>
                        <a:lnTo>
                          <a:pt x="226" y="49"/>
                        </a:lnTo>
                        <a:lnTo>
                          <a:pt x="236" y="54"/>
                        </a:lnTo>
                        <a:lnTo>
                          <a:pt x="240" y="54"/>
                        </a:lnTo>
                        <a:lnTo>
                          <a:pt x="251" y="63"/>
                        </a:lnTo>
                        <a:lnTo>
                          <a:pt x="261" y="68"/>
                        </a:lnTo>
                        <a:lnTo>
                          <a:pt x="276" y="69"/>
                        </a:lnTo>
                        <a:lnTo>
                          <a:pt x="281" y="76"/>
                        </a:lnTo>
                        <a:lnTo>
                          <a:pt x="289" y="81"/>
                        </a:lnTo>
                        <a:lnTo>
                          <a:pt x="291" y="86"/>
                        </a:lnTo>
                        <a:lnTo>
                          <a:pt x="291" y="91"/>
                        </a:lnTo>
                        <a:lnTo>
                          <a:pt x="286" y="96"/>
                        </a:lnTo>
                        <a:lnTo>
                          <a:pt x="283" y="99"/>
                        </a:lnTo>
                        <a:lnTo>
                          <a:pt x="279" y="103"/>
                        </a:lnTo>
                        <a:lnTo>
                          <a:pt x="281" y="107"/>
                        </a:lnTo>
                        <a:lnTo>
                          <a:pt x="278" y="116"/>
                        </a:lnTo>
                        <a:lnTo>
                          <a:pt x="271" y="122"/>
                        </a:lnTo>
                        <a:lnTo>
                          <a:pt x="269" y="127"/>
                        </a:lnTo>
                        <a:lnTo>
                          <a:pt x="273" y="127"/>
                        </a:lnTo>
                        <a:lnTo>
                          <a:pt x="291" y="126"/>
                        </a:lnTo>
                        <a:lnTo>
                          <a:pt x="304" y="129"/>
                        </a:lnTo>
                        <a:lnTo>
                          <a:pt x="314" y="134"/>
                        </a:lnTo>
                        <a:lnTo>
                          <a:pt x="321" y="132"/>
                        </a:lnTo>
                        <a:lnTo>
                          <a:pt x="324" y="132"/>
                        </a:lnTo>
                        <a:lnTo>
                          <a:pt x="326" y="136"/>
                        </a:lnTo>
                        <a:lnTo>
                          <a:pt x="331" y="129"/>
                        </a:lnTo>
                        <a:lnTo>
                          <a:pt x="333" y="127"/>
                        </a:lnTo>
                        <a:lnTo>
                          <a:pt x="339" y="129"/>
                        </a:lnTo>
                        <a:lnTo>
                          <a:pt x="343" y="124"/>
                        </a:lnTo>
                        <a:lnTo>
                          <a:pt x="344" y="119"/>
                        </a:lnTo>
                        <a:lnTo>
                          <a:pt x="356" y="112"/>
                        </a:lnTo>
                        <a:lnTo>
                          <a:pt x="358" y="107"/>
                        </a:lnTo>
                        <a:lnTo>
                          <a:pt x="361" y="103"/>
                        </a:lnTo>
                        <a:lnTo>
                          <a:pt x="364" y="99"/>
                        </a:lnTo>
                        <a:lnTo>
                          <a:pt x="366" y="91"/>
                        </a:lnTo>
                        <a:lnTo>
                          <a:pt x="364" y="89"/>
                        </a:lnTo>
                        <a:lnTo>
                          <a:pt x="366" y="83"/>
                        </a:lnTo>
                        <a:lnTo>
                          <a:pt x="371" y="79"/>
                        </a:lnTo>
                        <a:lnTo>
                          <a:pt x="382" y="81"/>
                        </a:lnTo>
                        <a:lnTo>
                          <a:pt x="382" y="84"/>
                        </a:lnTo>
                        <a:lnTo>
                          <a:pt x="387" y="94"/>
                        </a:lnTo>
                        <a:lnTo>
                          <a:pt x="386" y="101"/>
                        </a:lnTo>
                        <a:lnTo>
                          <a:pt x="387" y="111"/>
                        </a:lnTo>
                        <a:lnTo>
                          <a:pt x="389" y="117"/>
                        </a:lnTo>
                        <a:lnTo>
                          <a:pt x="387" y="121"/>
                        </a:lnTo>
                        <a:lnTo>
                          <a:pt x="382" y="121"/>
                        </a:lnTo>
                        <a:lnTo>
                          <a:pt x="376" y="124"/>
                        </a:lnTo>
                        <a:lnTo>
                          <a:pt x="376" y="126"/>
                        </a:lnTo>
                        <a:lnTo>
                          <a:pt x="372" y="127"/>
                        </a:lnTo>
                        <a:lnTo>
                          <a:pt x="371" y="127"/>
                        </a:lnTo>
                        <a:lnTo>
                          <a:pt x="361" y="134"/>
                        </a:lnTo>
                        <a:lnTo>
                          <a:pt x="358" y="136"/>
                        </a:lnTo>
                        <a:lnTo>
                          <a:pt x="354" y="137"/>
                        </a:lnTo>
                        <a:lnTo>
                          <a:pt x="346" y="144"/>
                        </a:lnTo>
                        <a:lnTo>
                          <a:pt x="343" y="146"/>
                        </a:lnTo>
                        <a:lnTo>
                          <a:pt x="343" y="151"/>
                        </a:lnTo>
                        <a:lnTo>
                          <a:pt x="339" y="151"/>
                        </a:lnTo>
                        <a:lnTo>
                          <a:pt x="336" y="151"/>
                        </a:lnTo>
                        <a:lnTo>
                          <a:pt x="328" y="159"/>
                        </a:lnTo>
                        <a:lnTo>
                          <a:pt x="326" y="162"/>
                        </a:lnTo>
                        <a:lnTo>
                          <a:pt x="328" y="167"/>
                        </a:lnTo>
                        <a:lnTo>
                          <a:pt x="323" y="169"/>
                        </a:lnTo>
                        <a:lnTo>
                          <a:pt x="321" y="171"/>
                        </a:lnTo>
                        <a:lnTo>
                          <a:pt x="316" y="179"/>
                        </a:lnTo>
                        <a:lnTo>
                          <a:pt x="313" y="182"/>
                        </a:lnTo>
                        <a:lnTo>
                          <a:pt x="309" y="189"/>
                        </a:lnTo>
                        <a:lnTo>
                          <a:pt x="309" y="191"/>
                        </a:lnTo>
                        <a:lnTo>
                          <a:pt x="304" y="194"/>
                        </a:lnTo>
                        <a:lnTo>
                          <a:pt x="303" y="197"/>
                        </a:lnTo>
                        <a:lnTo>
                          <a:pt x="301" y="202"/>
                        </a:lnTo>
                        <a:lnTo>
                          <a:pt x="296" y="207"/>
                        </a:lnTo>
                        <a:lnTo>
                          <a:pt x="298" y="214"/>
                        </a:lnTo>
                        <a:lnTo>
                          <a:pt x="296" y="217"/>
                        </a:lnTo>
                        <a:lnTo>
                          <a:pt x="298" y="220"/>
                        </a:lnTo>
                        <a:lnTo>
                          <a:pt x="298" y="230"/>
                        </a:lnTo>
                        <a:lnTo>
                          <a:pt x="296" y="234"/>
                        </a:lnTo>
                        <a:lnTo>
                          <a:pt x="296" y="237"/>
                        </a:lnTo>
                        <a:lnTo>
                          <a:pt x="293" y="242"/>
                        </a:lnTo>
                        <a:lnTo>
                          <a:pt x="296" y="249"/>
                        </a:lnTo>
                        <a:lnTo>
                          <a:pt x="293" y="252"/>
                        </a:lnTo>
                        <a:lnTo>
                          <a:pt x="294" y="260"/>
                        </a:lnTo>
                        <a:lnTo>
                          <a:pt x="296" y="269"/>
                        </a:lnTo>
                        <a:lnTo>
                          <a:pt x="296" y="272"/>
                        </a:lnTo>
                        <a:lnTo>
                          <a:pt x="291" y="274"/>
                        </a:lnTo>
                        <a:lnTo>
                          <a:pt x="291" y="275"/>
                        </a:lnTo>
                        <a:lnTo>
                          <a:pt x="291" y="277"/>
                        </a:lnTo>
                        <a:lnTo>
                          <a:pt x="291" y="277"/>
                        </a:lnTo>
                        <a:lnTo>
                          <a:pt x="289" y="285"/>
                        </a:lnTo>
                        <a:lnTo>
                          <a:pt x="291" y="294"/>
                        </a:lnTo>
                        <a:lnTo>
                          <a:pt x="291" y="295"/>
                        </a:lnTo>
                        <a:lnTo>
                          <a:pt x="293" y="299"/>
                        </a:lnTo>
                        <a:lnTo>
                          <a:pt x="294" y="302"/>
                        </a:lnTo>
                        <a:lnTo>
                          <a:pt x="293" y="303"/>
                        </a:lnTo>
                        <a:lnTo>
                          <a:pt x="294" y="307"/>
                        </a:lnTo>
                        <a:lnTo>
                          <a:pt x="304" y="315"/>
                        </a:lnTo>
                        <a:lnTo>
                          <a:pt x="314" y="318"/>
                        </a:lnTo>
                        <a:lnTo>
                          <a:pt x="328" y="327"/>
                        </a:lnTo>
                        <a:lnTo>
                          <a:pt x="329" y="330"/>
                        </a:lnTo>
                        <a:lnTo>
                          <a:pt x="329" y="335"/>
                        </a:lnTo>
                        <a:lnTo>
                          <a:pt x="324" y="345"/>
                        </a:lnTo>
                        <a:lnTo>
                          <a:pt x="323" y="348"/>
                        </a:lnTo>
                        <a:lnTo>
                          <a:pt x="328" y="355"/>
                        </a:lnTo>
                        <a:lnTo>
                          <a:pt x="333" y="358"/>
                        </a:lnTo>
                        <a:lnTo>
                          <a:pt x="339" y="358"/>
                        </a:lnTo>
                        <a:lnTo>
                          <a:pt x="343" y="355"/>
                        </a:lnTo>
                        <a:lnTo>
                          <a:pt x="343" y="357"/>
                        </a:lnTo>
                        <a:lnTo>
                          <a:pt x="344" y="360"/>
                        </a:lnTo>
                        <a:lnTo>
                          <a:pt x="344" y="368"/>
                        </a:lnTo>
                        <a:lnTo>
                          <a:pt x="343" y="373"/>
                        </a:lnTo>
                        <a:lnTo>
                          <a:pt x="338" y="380"/>
                        </a:lnTo>
                        <a:lnTo>
                          <a:pt x="336" y="387"/>
                        </a:lnTo>
                        <a:lnTo>
                          <a:pt x="334" y="390"/>
                        </a:lnTo>
                        <a:lnTo>
                          <a:pt x="334" y="387"/>
                        </a:lnTo>
                        <a:lnTo>
                          <a:pt x="333" y="388"/>
                        </a:lnTo>
                        <a:lnTo>
                          <a:pt x="329" y="395"/>
                        </a:lnTo>
                        <a:lnTo>
                          <a:pt x="331" y="400"/>
                        </a:lnTo>
                        <a:lnTo>
                          <a:pt x="329" y="405"/>
                        </a:lnTo>
                        <a:lnTo>
                          <a:pt x="316" y="411"/>
                        </a:lnTo>
                        <a:lnTo>
                          <a:pt x="306" y="415"/>
                        </a:lnTo>
                        <a:lnTo>
                          <a:pt x="304" y="413"/>
                        </a:lnTo>
                        <a:lnTo>
                          <a:pt x="303" y="415"/>
                        </a:lnTo>
                        <a:lnTo>
                          <a:pt x="288" y="421"/>
                        </a:lnTo>
                        <a:lnTo>
                          <a:pt x="271" y="425"/>
                        </a:lnTo>
                        <a:lnTo>
                          <a:pt x="261" y="425"/>
                        </a:lnTo>
                        <a:lnTo>
                          <a:pt x="253" y="425"/>
                        </a:lnTo>
                        <a:lnTo>
                          <a:pt x="246" y="425"/>
                        </a:lnTo>
                        <a:lnTo>
                          <a:pt x="241" y="425"/>
                        </a:lnTo>
                        <a:lnTo>
                          <a:pt x="236" y="423"/>
                        </a:lnTo>
                        <a:lnTo>
                          <a:pt x="230" y="420"/>
                        </a:lnTo>
                        <a:lnTo>
                          <a:pt x="226" y="420"/>
                        </a:lnTo>
                        <a:lnTo>
                          <a:pt x="223" y="418"/>
                        </a:lnTo>
                        <a:lnTo>
                          <a:pt x="221" y="420"/>
                        </a:lnTo>
                        <a:lnTo>
                          <a:pt x="221" y="423"/>
                        </a:lnTo>
                        <a:lnTo>
                          <a:pt x="223" y="425"/>
                        </a:lnTo>
                        <a:lnTo>
                          <a:pt x="223" y="433"/>
                        </a:lnTo>
                        <a:lnTo>
                          <a:pt x="225" y="436"/>
                        </a:lnTo>
                        <a:lnTo>
                          <a:pt x="225" y="438"/>
                        </a:lnTo>
                        <a:lnTo>
                          <a:pt x="230" y="438"/>
                        </a:lnTo>
                        <a:lnTo>
                          <a:pt x="230" y="443"/>
                        </a:lnTo>
                        <a:lnTo>
                          <a:pt x="230" y="445"/>
                        </a:lnTo>
                        <a:lnTo>
                          <a:pt x="228" y="446"/>
                        </a:lnTo>
                        <a:lnTo>
                          <a:pt x="228" y="448"/>
                        </a:lnTo>
                        <a:lnTo>
                          <a:pt x="223" y="451"/>
                        </a:lnTo>
                        <a:lnTo>
                          <a:pt x="225" y="453"/>
                        </a:lnTo>
                        <a:lnTo>
                          <a:pt x="223" y="456"/>
                        </a:lnTo>
                        <a:lnTo>
                          <a:pt x="223" y="460"/>
                        </a:lnTo>
                        <a:lnTo>
                          <a:pt x="225" y="465"/>
                        </a:lnTo>
                        <a:lnTo>
                          <a:pt x="230" y="466"/>
                        </a:lnTo>
                        <a:lnTo>
                          <a:pt x="228" y="470"/>
                        </a:lnTo>
                        <a:lnTo>
                          <a:pt x="226" y="471"/>
                        </a:lnTo>
                        <a:lnTo>
                          <a:pt x="228" y="475"/>
                        </a:lnTo>
                        <a:lnTo>
                          <a:pt x="226" y="480"/>
                        </a:lnTo>
                        <a:lnTo>
                          <a:pt x="221" y="483"/>
                        </a:lnTo>
                        <a:lnTo>
                          <a:pt x="221" y="485"/>
                        </a:lnTo>
                        <a:lnTo>
                          <a:pt x="215" y="490"/>
                        </a:lnTo>
                        <a:lnTo>
                          <a:pt x="200" y="490"/>
                        </a:lnTo>
                        <a:lnTo>
                          <a:pt x="193" y="488"/>
                        </a:lnTo>
                        <a:lnTo>
                          <a:pt x="185" y="481"/>
                        </a:lnTo>
                        <a:lnTo>
                          <a:pt x="175" y="478"/>
                        </a:lnTo>
                        <a:lnTo>
                          <a:pt x="170" y="480"/>
                        </a:lnTo>
                        <a:lnTo>
                          <a:pt x="168" y="478"/>
                        </a:lnTo>
                        <a:lnTo>
                          <a:pt x="170" y="476"/>
                        </a:lnTo>
                        <a:lnTo>
                          <a:pt x="166" y="476"/>
                        </a:lnTo>
                        <a:lnTo>
                          <a:pt x="161" y="480"/>
                        </a:lnTo>
                        <a:lnTo>
                          <a:pt x="161" y="488"/>
                        </a:lnTo>
                        <a:lnTo>
                          <a:pt x="166" y="493"/>
                        </a:lnTo>
                        <a:lnTo>
                          <a:pt x="168" y="499"/>
                        </a:lnTo>
                        <a:lnTo>
                          <a:pt x="168" y="511"/>
                        </a:lnTo>
                        <a:lnTo>
                          <a:pt x="170" y="514"/>
                        </a:lnTo>
                        <a:lnTo>
                          <a:pt x="175" y="518"/>
                        </a:lnTo>
                        <a:lnTo>
                          <a:pt x="183" y="518"/>
                        </a:lnTo>
                        <a:lnTo>
                          <a:pt x="185" y="518"/>
                        </a:lnTo>
                        <a:lnTo>
                          <a:pt x="183" y="519"/>
                        </a:lnTo>
                        <a:lnTo>
                          <a:pt x="180" y="521"/>
                        </a:lnTo>
                        <a:lnTo>
                          <a:pt x="183" y="523"/>
                        </a:lnTo>
                        <a:lnTo>
                          <a:pt x="191" y="521"/>
                        </a:lnTo>
                        <a:lnTo>
                          <a:pt x="193" y="518"/>
                        </a:lnTo>
                        <a:lnTo>
                          <a:pt x="188" y="518"/>
                        </a:lnTo>
                        <a:lnTo>
                          <a:pt x="186" y="516"/>
                        </a:lnTo>
                        <a:lnTo>
                          <a:pt x="190" y="514"/>
                        </a:lnTo>
                        <a:lnTo>
                          <a:pt x="193" y="514"/>
                        </a:lnTo>
                        <a:lnTo>
                          <a:pt x="198" y="511"/>
                        </a:lnTo>
                        <a:lnTo>
                          <a:pt x="201" y="513"/>
                        </a:lnTo>
                        <a:lnTo>
                          <a:pt x="205" y="518"/>
                        </a:lnTo>
                        <a:lnTo>
                          <a:pt x="203" y="521"/>
                        </a:lnTo>
                        <a:lnTo>
                          <a:pt x="201" y="521"/>
                        </a:lnTo>
                        <a:lnTo>
                          <a:pt x="205" y="526"/>
                        </a:lnTo>
                        <a:lnTo>
                          <a:pt x="206" y="529"/>
                        </a:lnTo>
                        <a:lnTo>
                          <a:pt x="206" y="534"/>
                        </a:lnTo>
                        <a:lnTo>
                          <a:pt x="196" y="539"/>
                        </a:lnTo>
                        <a:lnTo>
                          <a:pt x="193" y="538"/>
                        </a:lnTo>
                        <a:lnTo>
                          <a:pt x="191" y="534"/>
                        </a:lnTo>
                        <a:lnTo>
                          <a:pt x="191" y="531"/>
                        </a:lnTo>
                        <a:lnTo>
                          <a:pt x="191" y="529"/>
                        </a:lnTo>
                        <a:lnTo>
                          <a:pt x="186" y="526"/>
                        </a:lnTo>
                        <a:lnTo>
                          <a:pt x="180" y="529"/>
                        </a:lnTo>
                        <a:lnTo>
                          <a:pt x="175" y="531"/>
                        </a:lnTo>
                        <a:lnTo>
                          <a:pt x="175" y="534"/>
                        </a:lnTo>
                        <a:lnTo>
                          <a:pt x="176" y="538"/>
                        </a:lnTo>
                        <a:lnTo>
                          <a:pt x="181" y="538"/>
                        </a:lnTo>
                        <a:lnTo>
                          <a:pt x="188" y="539"/>
                        </a:lnTo>
                        <a:lnTo>
                          <a:pt x="188" y="541"/>
                        </a:lnTo>
                        <a:lnTo>
                          <a:pt x="183" y="546"/>
                        </a:lnTo>
                        <a:lnTo>
                          <a:pt x="176" y="548"/>
                        </a:lnTo>
                        <a:lnTo>
                          <a:pt x="173" y="551"/>
                        </a:lnTo>
                        <a:lnTo>
                          <a:pt x="175" y="553"/>
                        </a:lnTo>
                        <a:lnTo>
                          <a:pt x="173" y="558"/>
                        </a:lnTo>
                        <a:lnTo>
                          <a:pt x="168" y="561"/>
                        </a:lnTo>
                        <a:lnTo>
                          <a:pt x="170" y="566"/>
                        </a:lnTo>
                        <a:lnTo>
                          <a:pt x="171" y="569"/>
                        </a:lnTo>
                        <a:lnTo>
                          <a:pt x="171" y="571"/>
                        </a:lnTo>
                        <a:lnTo>
                          <a:pt x="171" y="574"/>
                        </a:lnTo>
                        <a:lnTo>
                          <a:pt x="176" y="579"/>
                        </a:lnTo>
                        <a:lnTo>
                          <a:pt x="176" y="583"/>
                        </a:lnTo>
                        <a:lnTo>
                          <a:pt x="175" y="586"/>
                        </a:lnTo>
                        <a:lnTo>
                          <a:pt x="176" y="586"/>
                        </a:lnTo>
                        <a:lnTo>
                          <a:pt x="170" y="591"/>
                        </a:lnTo>
                        <a:lnTo>
                          <a:pt x="168" y="594"/>
                        </a:lnTo>
                        <a:lnTo>
                          <a:pt x="168" y="596"/>
                        </a:lnTo>
                        <a:lnTo>
                          <a:pt x="173" y="597"/>
                        </a:lnTo>
                        <a:lnTo>
                          <a:pt x="175" y="599"/>
                        </a:lnTo>
                        <a:lnTo>
                          <a:pt x="175" y="601"/>
                        </a:lnTo>
                        <a:lnTo>
                          <a:pt x="166" y="602"/>
                        </a:lnTo>
                        <a:lnTo>
                          <a:pt x="161" y="601"/>
                        </a:lnTo>
                        <a:lnTo>
                          <a:pt x="155" y="602"/>
                        </a:lnTo>
                        <a:lnTo>
                          <a:pt x="150" y="607"/>
                        </a:lnTo>
                        <a:lnTo>
                          <a:pt x="145" y="607"/>
                        </a:lnTo>
                        <a:lnTo>
                          <a:pt x="142" y="612"/>
                        </a:lnTo>
                        <a:lnTo>
                          <a:pt x="138" y="612"/>
                        </a:lnTo>
                        <a:lnTo>
                          <a:pt x="137" y="617"/>
                        </a:lnTo>
                        <a:lnTo>
                          <a:pt x="135" y="621"/>
                        </a:lnTo>
                        <a:lnTo>
                          <a:pt x="128" y="626"/>
                        </a:lnTo>
                        <a:lnTo>
                          <a:pt x="128" y="627"/>
                        </a:lnTo>
                        <a:lnTo>
                          <a:pt x="132" y="631"/>
                        </a:lnTo>
                        <a:lnTo>
                          <a:pt x="132" y="636"/>
                        </a:lnTo>
                        <a:lnTo>
                          <a:pt x="137" y="644"/>
                        </a:lnTo>
                        <a:lnTo>
                          <a:pt x="142" y="647"/>
                        </a:lnTo>
                        <a:lnTo>
                          <a:pt x="145" y="649"/>
                        </a:lnTo>
                        <a:lnTo>
                          <a:pt x="152" y="654"/>
                        </a:lnTo>
                        <a:lnTo>
                          <a:pt x="161" y="662"/>
                        </a:lnTo>
                        <a:lnTo>
                          <a:pt x="170" y="661"/>
                        </a:lnTo>
                        <a:lnTo>
                          <a:pt x="173" y="661"/>
                        </a:lnTo>
                        <a:lnTo>
                          <a:pt x="176" y="661"/>
                        </a:lnTo>
                        <a:lnTo>
                          <a:pt x="180" y="661"/>
                        </a:lnTo>
                        <a:lnTo>
                          <a:pt x="181" y="664"/>
                        </a:lnTo>
                        <a:lnTo>
                          <a:pt x="180" y="666"/>
                        </a:lnTo>
                        <a:lnTo>
                          <a:pt x="180" y="667"/>
                        </a:lnTo>
                        <a:lnTo>
                          <a:pt x="181" y="672"/>
                        </a:lnTo>
                        <a:lnTo>
                          <a:pt x="181" y="677"/>
                        </a:lnTo>
                        <a:lnTo>
                          <a:pt x="178" y="681"/>
                        </a:lnTo>
                        <a:lnTo>
                          <a:pt x="181" y="681"/>
                        </a:lnTo>
                        <a:lnTo>
                          <a:pt x="185" y="684"/>
                        </a:lnTo>
                        <a:lnTo>
                          <a:pt x="181" y="686"/>
                        </a:lnTo>
                        <a:lnTo>
                          <a:pt x="181" y="689"/>
                        </a:lnTo>
                        <a:lnTo>
                          <a:pt x="183" y="691"/>
                        </a:lnTo>
                        <a:lnTo>
                          <a:pt x="178" y="694"/>
                        </a:lnTo>
                        <a:lnTo>
                          <a:pt x="175" y="695"/>
                        </a:lnTo>
                        <a:lnTo>
                          <a:pt x="173" y="699"/>
                        </a:lnTo>
                        <a:lnTo>
                          <a:pt x="171" y="700"/>
                        </a:lnTo>
                        <a:lnTo>
                          <a:pt x="168" y="704"/>
                        </a:lnTo>
                        <a:lnTo>
                          <a:pt x="166" y="709"/>
                        </a:lnTo>
                        <a:lnTo>
                          <a:pt x="161" y="709"/>
                        </a:lnTo>
                        <a:lnTo>
                          <a:pt x="157" y="714"/>
                        </a:lnTo>
                        <a:lnTo>
                          <a:pt x="155" y="719"/>
                        </a:lnTo>
                        <a:lnTo>
                          <a:pt x="153" y="724"/>
                        </a:lnTo>
                        <a:lnTo>
                          <a:pt x="148" y="727"/>
                        </a:lnTo>
                        <a:lnTo>
                          <a:pt x="148" y="730"/>
                        </a:lnTo>
                        <a:lnTo>
                          <a:pt x="150" y="729"/>
                        </a:lnTo>
                        <a:lnTo>
                          <a:pt x="153" y="730"/>
                        </a:lnTo>
                        <a:lnTo>
                          <a:pt x="155" y="737"/>
                        </a:lnTo>
                        <a:lnTo>
                          <a:pt x="153" y="740"/>
                        </a:lnTo>
                        <a:lnTo>
                          <a:pt x="150" y="744"/>
                        </a:lnTo>
                        <a:lnTo>
                          <a:pt x="148" y="749"/>
                        </a:lnTo>
                        <a:lnTo>
                          <a:pt x="143" y="752"/>
                        </a:lnTo>
                        <a:lnTo>
                          <a:pt x="140" y="750"/>
                        </a:lnTo>
                        <a:lnTo>
                          <a:pt x="137" y="747"/>
                        </a:lnTo>
                        <a:lnTo>
                          <a:pt x="133" y="745"/>
                        </a:lnTo>
                        <a:lnTo>
                          <a:pt x="137" y="749"/>
                        </a:lnTo>
                        <a:lnTo>
                          <a:pt x="137" y="752"/>
                        </a:lnTo>
                        <a:lnTo>
                          <a:pt x="138" y="754"/>
                        </a:lnTo>
                        <a:lnTo>
                          <a:pt x="137" y="757"/>
                        </a:lnTo>
                        <a:lnTo>
                          <a:pt x="130" y="762"/>
                        </a:lnTo>
                        <a:lnTo>
                          <a:pt x="127" y="769"/>
                        </a:lnTo>
                        <a:lnTo>
                          <a:pt x="128" y="775"/>
                        </a:lnTo>
                        <a:lnTo>
                          <a:pt x="133" y="782"/>
                        </a:lnTo>
                        <a:lnTo>
                          <a:pt x="137" y="792"/>
                        </a:lnTo>
                        <a:lnTo>
                          <a:pt x="137" y="795"/>
                        </a:lnTo>
                        <a:lnTo>
                          <a:pt x="138" y="797"/>
                        </a:lnTo>
                        <a:lnTo>
                          <a:pt x="137" y="798"/>
                        </a:lnTo>
                        <a:lnTo>
                          <a:pt x="133" y="802"/>
                        </a:lnTo>
                        <a:lnTo>
                          <a:pt x="137" y="803"/>
                        </a:lnTo>
                        <a:lnTo>
                          <a:pt x="138" y="803"/>
                        </a:lnTo>
                        <a:lnTo>
                          <a:pt x="143" y="807"/>
                        </a:lnTo>
                        <a:lnTo>
                          <a:pt x="143" y="810"/>
                        </a:lnTo>
                        <a:lnTo>
                          <a:pt x="152" y="815"/>
                        </a:lnTo>
                        <a:lnTo>
                          <a:pt x="157" y="818"/>
                        </a:lnTo>
                        <a:lnTo>
                          <a:pt x="158" y="823"/>
                        </a:lnTo>
                        <a:lnTo>
                          <a:pt x="155" y="822"/>
                        </a:lnTo>
                        <a:lnTo>
                          <a:pt x="150" y="820"/>
                        </a:lnTo>
                        <a:lnTo>
                          <a:pt x="143" y="815"/>
                        </a:lnTo>
                        <a:lnTo>
                          <a:pt x="138" y="813"/>
                        </a:lnTo>
                        <a:lnTo>
                          <a:pt x="137" y="812"/>
                        </a:lnTo>
                        <a:lnTo>
                          <a:pt x="105" y="812"/>
                        </a:lnTo>
                        <a:lnTo>
                          <a:pt x="88" y="815"/>
                        </a:lnTo>
                        <a:lnTo>
                          <a:pt x="83" y="813"/>
                        </a:lnTo>
                        <a:lnTo>
                          <a:pt x="72" y="812"/>
                        </a:lnTo>
                        <a:lnTo>
                          <a:pt x="68" y="803"/>
                        </a:lnTo>
                        <a:lnTo>
                          <a:pt x="65" y="795"/>
                        </a:lnTo>
                        <a:lnTo>
                          <a:pt x="60" y="790"/>
                        </a:lnTo>
                        <a:lnTo>
                          <a:pt x="59" y="779"/>
                        </a:lnTo>
                        <a:lnTo>
                          <a:pt x="59" y="772"/>
                        </a:lnTo>
                        <a:lnTo>
                          <a:pt x="54" y="772"/>
                        </a:lnTo>
                        <a:lnTo>
                          <a:pt x="45" y="775"/>
                        </a:lnTo>
                        <a:lnTo>
                          <a:pt x="42" y="780"/>
                        </a:lnTo>
                        <a:lnTo>
                          <a:pt x="37" y="780"/>
                        </a:lnTo>
                        <a:lnTo>
                          <a:pt x="27" y="760"/>
                        </a:lnTo>
                        <a:lnTo>
                          <a:pt x="25" y="754"/>
                        </a:lnTo>
                        <a:lnTo>
                          <a:pt x="29" y="734"/>
                        </a:lnTo>
                        <a:lnTo>
                          <a:pt x="34" y="727"/>
                        </a:lnTo>
                        <a:lnTo>
                          <a:pt x="42" y="720"/>
                        </a:lnTo>
                        <a:lnTo>
                          <a:pt x="44" y="709"/>
                        </a:lnTo>
                        <a:lnTo>
                          <a:pt x="42" y="697"/>
                        </a:lnTo>
                        <a:lnTo>
                          <a:pt x="39" y="689"/>
                        </a:lnTo>
                        <a:lnTo>
                          <a:pt x="40" y="679"/>
                        </a:lnTo>
                        <a:lnTo>
                          <a:pt x="45" y="674"/>
                        </a:lnTo>
                        <a:lnTo>
                          <a:pt x="40" y="664"/>
                        </a:lnTo>
                        <a:lnTo>
                          <a:pt x="40" y="659"/>
                        </a:lnTo>
                        <a:lnTo>
                          <a:pt x="45" y="654"/>
                        </a:lnTo>
                        <a:lnTo>
                          <a:pt x="42" y="644"/>
                        </a:lnTo>
                        <a:lnTo>
                          <a:pt x="40" y="632"/>
                        </a:lnTo>
                        <a:lnTo>
                          <a:pt x="37" y="627"/>
                        </a:lnTo>
                        <a:lnTo>
                          <a:pt x="39" y="622"/>
                        </a:lnTo>
                        <a:lnTo>
                          <a:pt x="44" y="617"/>
                        </a:lnTo>
                        <a:lnTo>
                          <a:pt x="44" y="612"/>
                        </a:lnTo>
                        <a:lnTo>
                          <a:pt x="39" y="604"/>
                        </a:lnTo>
                        <a:lnTo>
                          <a:pt x="30" y="599"/>
                        </a:lnTo>
                        <a:lnTo>
                          <a:pt x="25" y="599"/>
                        </a:lnTo>
                        <a:lnTo>
                          <a:pt x="24" y="601"/>
                        </a:lnTo>
                        <a:lnTo>
                          <a:pt x="22" y="597"/>
                        </a:lnTo>
                        <a:lnTo>
                          <a:pt x="24" y="594"/>
                        </a:lnTo>
                        <a:lnTo>
                          <a:pt x="34" y="594"/>
                        </a:lnTo>
                        <a:lnTo>
                          <a:pt x="40" y="589"/>
                        </a:lnTo>
                        <a:lnTo>
                          <a:pt x="39" y="584"/>
                        </a:lnTo>
                        <a:lnTo>
                          <a:pt x="35" y="583"/>
                        </a:lnTo>
                        <a:lnTo>
                          <a:pt x="32" y="584"/>
                        </a:lnTo>
                        <a:lnTo>
                          <a:pt x="27" y="584"/>
                        </a:lnTo>
                        <a:lnTo>
                          <a:pt x="25" y="574"/>
                        </a:lnTo>
                        <a:lnTo>
                          <a:pt x="20" y="564"/>
                        </a:lnTo>
                        <a:lnTo>
                          <a:pt x="20" y="559"/>
                        </a:lnTo>
                        <a:lnTo>
                          <a:pt x="20" y="551"/>
                        </a:lnTo>
                        <a:lnTo>
                          <a:pt x="14" y="549"/>
                        </a:lnTo>
                        <a:lnTo>
                          <a:pt x="10" y="543"/>
                        </a:lnTo>
                        <a:lnTo>
                          <a:pt x="10" y="526"/>
                        </a:lnTo>
                        <a:lnTo>
                          <a:pt x="15" y="523"/>
                        </a:lnTo>
                        <a:lnTo>
                          <a:pt x="17" y="518"/>
                        </a:lnTo>
                        <a:lnTo>
                          <a:pt x="14" y="513"/>
                        </a:lnTo>
                        <a:lnTo>
                          <a:pt x="10" y="511"/>
                        </a:lnTo>
                        <a:lnTo>
                          <a:pt x="7" y="499"/>
                        </a:lnTo>
                        <a:lnTo>
                          <a:pt x="7" y="486"/>
                        </a:lnTo>
                        <a:lnTo>
                          <a:pt x="9" y="470"/>
                        </a:lnTo>
                        <a:lnTo>
                          <a:pt x="4" y="463"/>
                        </a:lnTo>
                        <a:lnTo>
                          <a:pt x="2" y="455"/>
                        </a:lnTo>
                        <a:lnTo>
                          <a:pt x="12" y="445"/>
                        </a:lnTo>
                        <a:lnTo>
                          <a:pt x="14" y="433"/>
                        </a:lnTo>
                        <a:lnTo>
                          <a:pt x="19" y="430"/>
                        </a:lnTo>
                        <a:lnTo>
                          <a:pt x="24" y="426"/>
                        </a:lnTo>
                        <a:lnTo>
                          <a:pt x="9" y="400"/>
                        </a:lnTo>
                        <a:lnTo>
                          <a:pt x="10" y="392"/>
                        </a:lnTo>
                        <a:lnTo>
                          <a:pt x="10" y="385"/>
                        </a:lnTo>
                        <a:lnTo>
                          <a:pt x="10" y="370"/>
                        </a:lnTo>
                        <a:lnTo>
                          <a:pt x="15" y="362"/>
                        </a:lnTo>
                        <a:lnTo>
                          <a:pt x="20" y="355"/>
                        </a:lnTo>
                        <a:lnTo>
                          <a:pt x="20" y="348"/>
                        </a:lnTo>
                        <a:lnTo>
                          <a:pt x="15" y="340"/>
                        </a:lnTo>
                        <a:lnTo>
                          <a:pt x="12" y="338"/>
                        </a:lnTo>
                        <a:lnTo>
                          <a:pt x="17" y="330"/>
                        </a:lnTo>
                        <a:lnTo>
                          <a:pt x="15" y="322"/>
                        </a:lnTo>
                        <a:lnTo>
                          <a:pt x="20" y="313"/>
                        </a:lnTo>
                        <a:lnTo>
                          <a:pt x="24" y="312"/>
                        </a:lnTo>
                        <a:lnTo>
                          <a:pt x="25" y="302"/>
                        </a:lnTo>
                        <a:lnTo>
                          <a:pt x="24" y="284"/>
                        </a:lnTo>
                        <a:lnTo>
                          <a:pt x="20" y="282"/>
                        </a:lnTo>
                        <a:lnTo>
                          <a:pt x="17" y="269"/>
                        </a:lnTo>
                        <a:lnTo>
                          <a:pt x="14" y="262"/>
                        </a:lnTo>
                        <a:lnTo>
                          <a:pt x="7" y="254"/>
                        </a:lnTo>
                        <a:lnTo>
                          <a:pt x="7" y="250"/>
                        </a:lnTo>
                        <a:lnTo>
                          <a:pt x="2" y="244"/>
                        </a:lnTo>
                        <a:lnTo>
                          <a:pt x="0" y="234"/>
                        </a:lnTo>
                        <a:lnTo>
                          <a:pt x="0" y="225"/>
                        </a:lnTo>
                        <a:lnTo>
                          <a:pt x="9" y="222"/>
                        </a:lnTo>
                        <a:lnTo>
                          <a:pt x="9" y="212"/>
                        </a:lnTo>
                        <a:lnTo>
                          <a:pt x="12" y="207"/>
                        </a:lnTo>
                        <a:lnTo>
                          <a:pt x="12" y="197"/>
                        </a:lnTo>
                        <a:lnTo>
                          <a:pt x="9" y="191"/>
                        </a:lnTo>
                        <a:lnTo>
                          <a:pt x="7" y="176"/>
                        </a:lnTo>
                        <a:lnTo>
                          <a:pt x="10" y="174"/>
                        </a:lnTo>
                        <a:lnTo>
                          <a:pt x="12" y="157"/>
                        </a:lnTo>
                        <a:lnTo>
                          <a:pt x="17" y="152"/>
                        </a:lnTo>
                        <a:lnTo>
                          <a:pt x="24" y="137"/>
                        </a:lnTo>
                        <a:lnTo>
                          <a:pt x="30" y="131"/>
                        </a:lnTo>
                        <a:lnTo>
                          <a:pt x="34" y="129"/>
                        </a:lnTo>
                        <a:lnTo>
                          <a:pt x="39" y="124"/>
                        </a:lnTo>
                        <a:lnTo>
                          <a:pt x="35" y="122"/>
                        </a:lnTo>
                        <a:lnTo>
                          <a:pt x="35" y="116"/>
                        </a:lnTo>
                        <a:lnTo>
                          <a:pt x="34" y="114"/>
                        </a:lnTo>
                        <a:lnTo>
                          <a:pt x="30" y="111"/>
                        </a:lnTo>
                        <a:lnTo>
                          <a:pt x="32" y="107"/>
                        </a:lnTo>
                        <a:lnTo>
                          <a:pt x="35" y="104"/>
                        </a:lnTo>
                        <a:lnTo>
                          <a:pt x="35" y="99"/>
                        </a:lnTo>
                        <a:lnTo>
                          <a:pt x="30" y="93"/>
                        </a:lnTo>
                        <a:lnTo>
                          <a:pt x="29" y="84"/>
                        </a:lnTo>
                        <a:lnTo>
                          <a:pt x="32" y="81"/>
                        </a:lnTo>
                        <a:lnTo>
                          <a:pt x="30" y="76"/>
                        </a:lnTo>
                        <a:lnTo>
                          <a:pt x="25" y="73"/>
                        </a:lnTo>
                        <a:lnTo>
                          <a:pt x="29" y="68"/>
                        </a:lnTo>
                        <a:lnTo>
                          <a:pt x="57" y="53"/>
                        </a:lnTo>
                        <a:lnTo>
                          <a:pt x="63" y="28"/>
                        </a:lnTo>
                        <a:lnTo>
                          <a:pt x="60" y="23"/>
                        </a:lnTo>
                        <a:lnTo>
                          <a:pt x="60" y="23"/>
                        </a:lnTo>
                        <a:close/>
                        <a:moveTo>
                          <a:pt x="259" y="896"/>
                        </a:moveTo>
                        <a:lnTo>
                          <a:pt x="263" y="900"/>
                        </a:lnTo>
                        <a:lnTo>
                          <a:pt x="268" y="896"/>
                        </a:lnTo>
                        <a:lnTo>
                          <a:pt x="273" y="896"/>
                        </a:lnTo>
                        <a:lnTo>
                          <a:pt x="278" y="891"/>
                        </a:lnTo>
                        <a:lnTo>
                          <a:pt x="271" y="891"/>
                        </a:lnTo>
                        <a:lnTo>
                          <a:pt x="268" y="895"/>
                        </a:lnTo>
                        <a:lnTo>
                          <a:pt x="261" y="895"/>
                        </a:lnTo>
                        <a:lnTo>
                          <a:pt x="259" y="896"/>
                        </a:lnTo>
                        <a:lnTo>
                          <a:pt x="259" y="896"/>
                        </a:lnTo>
                        <a:close/>
                        <a:moveTo>
                          <a:pt x="150" y="827"/>
                        </a:moveTo>
                        <a:lnTo>
                          <a:pt x="152" y="827"/>
                        </a:lnTo>
                        <a:lnTo>
                          <a:pt x="155" y="832"/>
                        </a:lnTo>
                        <a:lnTo>
                          <a:pt x="163" y="838"/>
                        </a:lnTo>
                        <a:lnTo>
                          <a:pt x="165" y="850"/>
                        </a:lnTo>
                        <a:lnTo>
                          <a:pt x="163" y="847"/>
                        </a:lnTo>
                        <a:lnTo>
                          <a:pt x="160" y="848"/>
                        </a:lnTo>
                        <a:lnTo>
                          <a:pt x="158" y="852"/>
                        </a:lnTo>
                        <a:lnTo>
                          <a:pt x="150" y="827"/>
                        </a:lnTo>
                        <a:lnTo>
                          <a:pt x="150" y="827"/>
                        </a:lnTo>
                        <a:close/>
                        <a:moveTo>
                          <a:pt x="158" y="853"/>
                        </a:moveTo>
                        <a:lnTo>
                          <a:pt x="163" y="855"/>
                        </a:lnTo>
                        <a:lnTo>
                          <a:pt x="168" y="855"/>
                        </a:lnTo>
                        <a:lnTo>
                          <a:pt x="171" y="858"/>
                        </a:lnTo>
                        <a:lnTo>
                          <a:pt x="175" y="867"/>
                        </a:lnTo>
                        <a:lnTo>
                          <a:pt x="180" y="867"/>
                        </a:lnTo>
                        <a:lnTo>
                          <a:pt x="186" y="872"/>
                        </a:lnTo>
                        <a:lnTo>
                          <a:pt x="186" y="877"/>
                        </a:lnTo>
                        <a:lnTo>
                          <a:pt x="191" y="878"/>
                        </a:lnTo>
                        <a:lnTo>
                          <a:pt x="211" y="883"/>
                        </a:lnTo>
                        <a:lnTo>
                          <a:pt x="213" y="885"/>
                        </a:lnTo>
                        <a:lnTo>
                          <a:pt x="220" y="888"/>
                        </a:lnTo>
                        <a:lnTo>
                          <a:pt x="226" y="893"/>
                        </a:lnTo>
                        <a:lnTo>
                          <a:pt x="231" y="893"/>
                        </a:lnTo>
                        <a:lnTo>
                          <a:pt x="240" y="891"/>
                        </a:lnTo>
                        <a:lnTo>
                          <a:pt x="245" y="893"/>
                        </a:lnTo>
                        <a:lnTo>
                          <a:pt x="245" y="896"/>
                        </a:lnTo>
                        <a:lnTo>
                          <a:pt x="240" y="900"/>
                        </a:lnTo>
                        <a:lnTo>
                          <a:pt x="236" y="898"/>
                        </a:lnTo>
                        <a:lnTo>
                          <a:pt x="231" y="900"/>
                        </a:lnTo>
                        <a:lnTo>
                          <a:pt x="231" y="903"/>
                        </a:lnTo>
                        <a:lnTo>
                          <a:pt x="226" y="906"/>
                        </a:lnTo>
                        <a:lnTo>
                          <a:pt x="221" y="908"/>
                        </a:lnTo>
                        <a:lnTo>
                          <a:pt x="215" y="906"/>
                        </a:lnTo>
                        <a:lnTo>
                          <a:pt x="210" y="903"/>
                        </a:lnTo>
                        <a:lnTo>
                          <a:pt x="200" y="903"/>
                        </a:lnTo>
                        <a:lnTo>
                          <a:pt x="193" y="903"/>
                        </a:lnTo>
                        <a:lnTo>
                          <a:pt x="183" y="903"/>
                        </a:lnTo>
                        <a:lnTo>
                          <a:pt x="175" y="905"/>
                        </a:lnTo>
                        <a:lnTo>
                          <a:pt x="171" y="905"/>
                        </a:lnTo>
                        <a:lnTo>
                          <a:pt x="170" y="896"/>
                        </a:lnTo>
                        <a:lnTo>
                          <a:pt x="181" y="896"/>
                        </a:lnTo>
                        <a:lnTo>
                          <a:pt x="188" y="895"/>
                        </a:lnTo>
                        <a:lnTo>
                          <a:pt x="191" y="893"/>
                        </a:lnTo>
                        <a:lnTo>
                          <a:pt x="193" y="891"/>
                        </a:lnTo>
                        <a:lnTo>
                          <a:pt x="186" y="893"/>
                        </a:lnTo>
                        <a:lnTo>
                          <a:pt x="180" y="893"/>
                        </a:lnTo>
                        <a:lnTo>
                          <a:pt x="171" y="895"/>
                        </a:lnTo>
                        <a:lnTo>
                          <a:pt x="170" y="895"/>
                        </a:lnTo>
                        <a:lnTo>
                          <a:pt x="158" y="853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  <p:sp>
                <p:nvSpPr>
                  <p:cNvPr id="599" name="Google Shape;3137;p98">
                    <a:extLst>
                      <a:ext uri="{FF2B5EF4-FFF2-40B4-BE49-F238E27FC236}">
                        <a16:creationId xmlns:a16="http://schemas.microsoft.com/office/drawing/2014/main" id="{B97E371D-CEC8-B22F-FE3E-DEB40AD806A9}"/>
                      </a:ext>
                    </a:extLst>
                  </p:cNvPr>
                  <p:cNvSpPr/>
                  <p:nvPr/>
                </p:nvSpPr>
                <p:spPr>
                  <a:xfrm>
                    <a:off x="5507444" y="3476194"/>
                    <a:ext cx="140202" cy="53954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3" h="1040" extrusionOk="0">
                        <a:moveTo>
                          <a:pt x="224" y="1007"/>
                        </a:moveTo>
                        <a:lnTo>
                          <a:pt x="223" y="998"/>
                        </a:lnTo>
                        <a:lnTo>
                          <a:pt x="219" y="998"/>
                        </a:lnTo>
                        <a:lnTo>
                          <a:pt x="216" y="995"/>
                        </a:lnTo>
                        <a:lnTo>
                          <a:pt x="206" y="993"/>
                        </a:lnTo>
                        <a:lnTo>
                          <a:pt x="195" y="990"/>
                        </a:lnTo>
                        <a:lnTo>
                          <a:pt x="190" y="989"/>
                        </a:lnTo>
                        <a:lnTo>
                          <a:pt x="190" y="990"/>
                        </a:lnTo>
                        <a:lnTo>
                          <a:pt x="190" y="992"/>
                        </a:lnTo>
                        <a:lnTo>
                          <a:pt x="188" y="993"/>
                        </a:lnTo>
                        <a:lnTo>
                          <a:pt x="186" y="992"/>
                        </a:lnTo>
                        <a:lnTo>
                          <a:pt x="178" y="989"/>
                        </a:lnTo>
                        <a:lnTo>
                          <a:pt x="175" y="987"/>
                        </a:lnTo>
                        <a:lnTo>
                          <a:pt x="173" y="989"/>
                        </a:lnTo>
                        <a:lnTo>
                          <a:pt x="175" y="990"/>
                        </a:lnTo>
                        <a:lnTo>
                          <a:pt x="185" y="995"/>
                        </a:lnTo>
                        <a:lnTo>
                          <a:pt x="186" y="997"/>
                        </a:lnTo>
                        <a:lnTo>
                          <a:pt x="183" y="997"/>
                        </a:lnTo>
                        <a:lnTo>
                          <a:pt x="181" y="997"/>
                        </a:lnTo>
                        <a:lnTo>
                          <a:pt x="181" y="998"/>
                        </a:lnTo>
                        <a:lnTo>
                          <a:pt x="180" y="998"/>
                        </a:lnTo>
                        <a:lnTo>
                          <a:pt x="178" y="997"/>
                        </a:lnTo>
                        <a:lnTo>
                          <a:pt x="173" y="993"/>
                        </a:lnTo>
                        <a:lnTo>
                          <a:pt x="171" y="995"/>
                        </a:lnTo>
                        <a:lnTo>
                          <a:pt x="171" y="998"/>
                        </a:lnTo>
                        <a:lnTo>
                          <a:pt x="170" y="998"/>
                        </a:lnTo>
                        <a:lnTo>
                          <a:pt x="161" y="998"/>
                        </a:lnTo>
                        <a:lnTo>
                          <a:pt x="160" y="1000"/>
                        </a:lnTo>
                        <a:lnTo>
                          <a:pt x="161" y="1002"/>
                        </a:lnTo>
                        <a:lnTo>
                          <a:pt x="160" y="1002"/>
                        </a:lnTo>
                        <a:lnTo>
                          <a:pt x="156" y="1002"/>
                        </a:lnTo>
                        <a:lnTo>
                          <a:pt x="151" y="1003"/>
                        </a:lnTo>
                        <a:lnTo>
                          <a:pt x="153" y="1005"/>
                        </a:lnTo>
                        <a:lnTo>
                          <a:pt x="158" y="1007"/>
                        </a:lnTo>
                        <a:lnTo>
                          <a:pt x="163" y="1007"/>
                        </a:lnTo>
                        <a:lnTo>
                          <a:pt x="163" y="1003"/>
                        </a:lnTo>
                        <a:lnTo>
                          <a:pt x="165" y="1003"/>
                        </a:lnTo>
                        <a:lnTo>
                          <a:pt x="168" y="1003"/>
                        </a:lnTo>
                        <a:lnTo>
                          <a:pt x="173" y="1007"/>
                        </a:lnTo>
                        <a:lnTo>
                          <a:pt x="175" y="1007"/>
                        </a:lnTo>
                        <a:lnTo>
                          <a:pt x="176" y="1008"/>
                        </a:lnTo>
                        <a:lnTo>
                          <a:pt x="176" y="1010"/>
                        </a:lnTo>
                        <a:lnTo>
                          <a:pt x="180" y="1012"/>
                        </a:lnTo>
                        <a:lnTo>
                          <a:pt x="176" y="1013"/>
                        </a:lnTo>
                        <a:lnTo>
                          <a:pt x="173" y="1017"/>
                        </a:lnTo>
                        <a:lnTo>
                          <a:pt x="176" y="1020"/>
                        </a:lnTo>
                        <a:lnTo>
                          <a:pt x="180" y="1020"/>
                        </a:lnTo>
                        <a:lnTo>
                          <a:pt x="183" y="1022"/>
                        </a:lnTo>
                        <a:lnTo>
                          <a:pt x="186" y="1025"/>
                        </a:lnTo>
                        <a:lnTo>
                          <a:pt x="190" y="1025"/>
                        </a:lnTo>
                        <a:lnTo>
                          <a:pt x="190" y="1023"/>
                        </a:lnTo>
                        <a:lnTo>
                          <a:pt x="186" y="1022"/>
                        </a:lnTo>
                        <a:lnTo>
                          <a:pt x="181" y="1018"/>
                        </a:lnTo>
                        <a:lnTo>
                          <a:pt x="181" y="1017"/>
                        </a:lnTo>
                        <a:lnTo>
                          <a:pt x="183" y="1017"/>
                        </a:lnTo>
                        <a:lnTo>
                          <a:pt x="186" y="1018"/>
                        </a:lnTo>
                        <a:lnTo>
                          <a:pt x="190" y="1015"/>
                        </a:lnTo>
                        <a:lnTo>
                          <a:pt x="190" y="1013"/>
                        </a:lnTo>
                        <a:lnTo>
                          <a:pt x="186" y="1013"/>
                        </a:lnTo>
                        <a:lnTo>
                          <a:pt x="185" y="1012"/>
                        </a:lnTo>
                        <a:lnTo>
                          <a:pt x="195" y="1008"/>
                        </a:lnTo>
                        <a:lnTo>
                          <a:pt x="198" y="1007"/>
                        </a:lnTo>
                        <a:lnTo>
                          <a:pt x="218" y="1010"/>
                        </a:lnTo>
                        <a:lnTo>
                          <a:pt x="219" y="1008"/>
                        </a:lnTo>
                        <a:lnTo>
                          <a:pt x="219" y="1007"/>
                        </a:lnTo>
                        <a:lnTo>
                          <a:pt x="224" y="1007"/>
                        </a:lnTo>
                        <a:lnTo>
                          <a:pt x="224" y="1007"/>
                        </a:lnTo>
                        <a:close/>
                        <a:moveTo>
                          <a:pt x="223" y="997"/>
                        </a:moveTo>
                        <a:lnTo>
                          <a:pt x="216" y="995"/>
                        </a:lnTo>
                        <a:lnTo>
                          <a:pt x="205" y="989"/>
                        </a:lnTo>
                        <a:lnTo>
                          <a:pt x="196" y="985"/>
                        </a:lnTo>
                        <a:lnTo>
                          <a:pt x="193" y="985"/>
                        </a:lnTo>
                        <a:lnTo>
                          <a:pt x="188" y="984"/>
                        </a:lnTo>
                        <a:lnTo>
                          <a:pt x="183" y="979"/>
                        </a:lnTo>
                        <a:lnTo>
                          <a:pt x="183" y="977"/>
                        </a:lnTo>
                        <a:lnTo>
                          <a:pt x="183" y="975"/>
                        </a:lnTo>
                        <a:lnTo>
                          <a:pt x="190" y="972"/>
                        </a:lnTo>
                        <a:lnTo>
                          <a:pt x="191" y="970"/>
                        </a:lnTo>
                        <a:lnTo>
                          <a:pt x="196" y="969"/>
                        </a:lnTo>
                        <a:lnTo>
                          <a:pt x="200" y="964"/>
                        </a:lnTo>
                        <a:lnTo>
                          <a:pt x="198" y="960"/>
                        </a:lnTo>
                        <a:lnTo>
                          <a:pt x="193" y="959"/>
                        </a:lnTo>
                        <a:lnTo>
                          <a:pt x="185" y="964"/>
                        </a:lnTo>
                        <a:lnTo>
                          <a:pt x="181" y="967"/>
                        </a:lnTo>
                        <a:lnTo>
                          <a:pt x="178" y="967"/>
                        </a:lnTo>
                        <a:lnTo>
                          <a:pt x="173" y="962"/>
                        </a:lnTo>
                        <a:lnTo>
                          <a:pt x="173" y="957"/>
                        </a:lnTo>
                        <a:lnTo>
                          <a:pt x="171" y="954"/>
                        </a:lnTo>
                        <a:lnTo>
                          <a:pt x="176" y="950"/>
                        </a:lnTo>
                        <a:lnTo>
                          <a:pt x="176" y="947"/>
                        </a:lnTo>
                        <a:lnTo>
                          <a:pt x="173" y="947"/>
                        </a:lnTo>
                        <a:lnTo>
                          <a:pt x="170" y="945"/>
                        </a:lnTo>
                        <a:lnTo>
                          <a:pt x="173" y="942"/>
                        </a:lnTo>
                        <a:lnTo>
                          <a:pt x="176" y="942"/>
                        </a:lnTo>
                        <a:lnTo>
                          <a:pt x="181" y="945"/>
                        </a:lnTo>
                        <a:lnTo>
                          <a:pt x="181" y="942"/>
                        </a:lnTo>
                        <a:lnTo>
                          <a:pt x="186" y="939"/>
                        </a:lnTo>
                        <a:lnTo>
                          <a:pt x="186" y="937"/>
                        </a:lnTo>
                        <a:lnTo>
                          <a:pt x="186" y="934"/>
                        </a:lnTo>
                        <a:lnTo>
                          <a:pt x="188" y="930"/>
                        </a:lnTo>
                        <a:lnTo>
                          <a:pt x="191" y="930"/>
                        </a:lnTo>
                        <a:lnTo>
                          <a:pt x="195" y="934"/>
                        </a:lnTo>
                        <a:lnTo>
                          <a:pt x="196" y="932"/>
                        </a:lnTo>
                        <a:lnTo>
                          <a:pt x="203" y="929"/>
                        </a:lnTo>
                        <a:lnTo>
                          <a:pt x="211" y="954"/>
                        </a:lnTo>
                        <a:lnTo>
                          <a:pt x="210" y="955"/>
                        </a:lnTo>
                        <a:lnTo>
                          <a:pt x="211" y="955"/>
                        </a:lnTo>
                        <a:lnTo>
                          <a:pt x="223" y="997"/>
                        </a:lnTo>
                        <a:lnTo>
                          <a:pt x="223" y="997"/>
                        </a:lnTo>
                        <a:close/>
                        <a:moveTo>
                          <a:pt x="203" y="922"/>
                        </a:moveTo>
                        <a:lnTo>
                          <a:pt x="196" y="917"/>
                        </a:lnTo>
                        <a:lnTo>
                          <a:pt x="191" y="915"/>
                        </a:lnTo>
                        <a:lnTo>
                          <a:pt x="190" y="914"/>
                        </a:lnTo>
                        <a:lnTo>
                          <a:pt x="158" y="914"/>
                        </a:lnTo>
                        <a:lnTo>
                          <a:pt x="141" y="917"/>
                        </a:lnTo>
                        <a:lnTo>
                          <a:pt x="136" y="915"/>
                        </a:lnTo>
                        <a:lnTo>
                          <a:pt x="125" y="914"/>
                        </a:lnTo>
                        <a:lnTo>
                          <a:pt x="121" y="905"/>
                        </a:lnTo>
                        <a:lnTo>
                          <a:pt x="118" y="897"/>
                        </a:lnTo>
                        <a:lnTo>
                          <a:pt x="113" y="892"/>
                        </a:lnTo>
                        <a:lnTo>
                          <a:pt x="112" y="881"/>
                        </a:lnTo>
                        <a:lnTo>
                          <a:pt x="112" y="874"/>
                        </a:lnTo>
                        <a:lnTo>
                          <a:pt x="107" y="874"/>
                        </a:lnTo>
                        <a:lnTo>
                          <a:pt x="98" y="877"/>
                        </a:lnTo>
                        <a:lnTo>
                          <a:pt x="95" y="882"/>
                        </a:lnTo>
                        <a:lnTo>
                          <a:pt x="90" y="882"/>
                        </a:lnTo>
                        <a:lnTo>
                          <a:pt x="80" y="862"/>
                        </a:lnTo>
                        <a:lnTo>
                          <a:pt x="78" y="856"/>
                        </a:lnTo>
                        <a:lnTo>
                          <a:pt x="82" y="836"/>
                        </a:lnTo>
                        <a:lnTo>
                          <a:pt x="87" y="829"/>
                        </a:lnTo>
                        <a:lnTo>
                          <a:pt x="95" y="822"/>
                        </a:lnTo>
                        <a:lnTo>
                          <a:pt x="97" y="811"/>
                        </a:lnTo>
                        <a:lnTo>
                          <a:pt x="95" y="799"/>
                        </a:lnTo>
                        <a:lnTo>
                          <a:pt x="92" y="791"/>
                        </a:lnTo>
                        <a:lnTo>
                          <a:pt x="93" y="781"/>
                        </a:lnTo>
                        <a:lnTo>
                          <a:pt x="98" y="776"/>
                        </a:lnTo>
                        <a:lnTo>
                          <a:pt x="93" y="766"/>
                        </a:lnTo>
                        <a:lnTo>
                          <a:pt x="93" y="761"/>
                        </a:lnTo>
                        <a:lnTo>
                          <a:pt x="98" y="756"/>
                        </a:lnTo>
                        <a:lnTo>
                          <a:pt x="95" y="746"/>
                        </a:lnTo>
                        <a:lnTo>
                          <a:pt x="93" y="734"/>
                        </a:lnTo>
                        <a:lnTo>
                          <a:pt x="90" y="729"/>
                        </a:lnTo>
                        <a:lnTo>
                          <a:pt x="92" y="724"/>
                        </a:lnTo>
                        <a:lnTo>
                          <a:pt x="97" y="719"/>
                        </a:lnTo>
                        <a:lnTo>
                          <a:pt x="97" y="714"/>
                        </a:lnTo>
                        <a:lnTo>
                          <a:pt x="92" y="706"/>
                        </a:lnTo>
                        <a:lnTo>
                          <a:pt x="83" y="701"/>
                        </a:lnTo>
                        <a:lnTo>
                          <a:pt x="78" y="701"/>
                        </a:lnTo>
                        <a:lnTo>
                          <a:pt x="77" y="703"/>
                        </a:lnTo>
                        <a:lnTo>
                          <a:pt x="75" y="699"/>
                        </a:lnTo>
                        <a:lnTo>
                          <a:pt x="77" y="696"/>
                        </a:lnTo>
                        <a:lnTo>
                          <a:pt x="87" y="696"/>
                        </a:lnTo>
                        <a:lnTo>
                          <a:pt x="93" y="691"/>
                        </a:lnTo>
                        <a:lnTo>
                          <a:pt x="92" y="686"/>
                        </a:lnTo>
                        <a:lnTo>
                          <a:pt x="88" y="685"/>
                        </a:lnTo>
                        <a:lnTo>
                          <a:pt x="85" y="686"/>
                        </a:lnTo>
                        <a:lnTo>
                          <a:pt x="80" y="686"/>
                        </a:lnTo>
                        <a:lnTo>
                          <a:pt x="78" y="676"/>
                        </a:lnTo>
                        <a:lnTo>
                          <a:pt x="73" y="666"/>
                        </a:lnTo>
                        <a:lnTo>
                          <a:pt x="73" y="661"/>
                        </a:lnTo>
                        <a:lnTo>
                          <a:pt x="73" y="653"/>
                        </a:lnTo>
                        <a:lnTo>
                          <a:pt x="67" y="651"/>
                        </a:lnTo>
                        <a:lnTo>
                          <a:pt x="63" y="645"/>
                        </a:lnTo>
                        <a:lnTo>
                          <a:pt x="63" y="628"/>
                        </a:lnTo>
                        <a:lnTo>
                          <a:pt x="68" y="625"/>
                        </a:lnTo>
                        <a:lnTo>
                          <a:pt x="70" y="620"/>
                        </a:lnTo>
                        <a:lnTo>
                          <a:pt x="67" y="615"/>
                        </a:lnTo>
                        <a:lnTo>
                          <a:pt x="63" y="613"/>
                        </a:lnTo>
                        <a:lnTo>
                          <a:pt x="60" y="601"/>
                        </a:lnTo>
                        <a:lnTo>
                          <a:pt x="60" y="588"/>
                        </a:lnTo>
                        <a:lnTo>
                          <a:pt x="62" y="572"/>
                        </a:lnTo>
                        <a:lnTo>
                          <a:pt x="57" y="565"/>
                        </a:lnTo>
                        <a:lnTo>
                          <a:pt x="55" y="557"/>
                        </a:lnTo>
                        <a:lnTo>
                          <a:pt x="65" y="547"/>
                        </a:lnTo>
                        <a:lnTo>
                          <a:pt x="67" y="535"/>
                        </a:lnTo>
                        <a:lnTo>
                          <a:pt x="72" y="532"/>
                        </a:lnTo>
                        <a:lnTo>
                          <a:pt x="77" y="528"/>
                        </a:lnTo>
                        <a:lnTo>
                          <a:pt x="62" y="502"/>
                        </a:lnTo>
                        <a:lnTo>
                          <a:pt x="63" y="494"/>
                        </a:lnTo>
                        <a:lnTo>
                          <a:pt x="63" y="487"/>
                        </a:lnTo>
                        <a:lnTo>
                          <a:pt x="63" y="472"/>
                        </a:lnTo>
                        <a:lnTo>
                          <a:pt x="68" y="464"/>
                        </a:lnTo>
                        <a:lnTo>
                          <a:pt x="73" y="457"/>
                        </a:lnTo>
                        <a:lnTo>
                          <a:pt x="73" y="450"/>
                        </a:lnTo>
                        <a:lnTo>
                          <a:pt x="68" y="442"/>
                        </a:lnTo>
                        <a:lnTo>
                          <a:pt x="65" y="440"/>
                        </a:lnTo>
                        <a:lnTo>
                          <a:pt x="70" y="432"/>
                        </a:lnTo>
                        <a:lnTo>
                          <a:pt x="68" y="424"/>
                        </a:lnTo>
                        <a:lnTo>
                          <a:pt x="73" y="415"/>
                        </a:lnTo>
                        <a:lnTo>
                          <a:pt x="77" y="414"/>
                        </a:lnTo>
                        <a:lnTo>
                          <a:pt x="78" y="404"/>
                        </a:lnTo>
                        <a:lnTo>
                          <a:pt x="77" y="386"/>
                        </a:lnTo>
                        <a:lnTo>
                          <a:pt x="73" y="384"/>
                        </a:lnTo>
                        <a:lnTo>
                          <a:pt x="70" y="371"/>
                        </a:lnTo>
                        <a:lnTo>
                          <a:pt x="67" y="364"/>
                        </a:lnTo>
                        <a:lnTo>
                          <a:pt x="60" y="356"/>
                        </a:lnTo>
                        <a:lnTo>
                          <a:pt x="60" y="352"/>
                        </a:lnTo>
                        <a:lnTo>
                          <a:pt x="55" y="346"/>
                        </a:lnTo>
                        <a:lnTo>
                          <a:pt x="53" y="336"/>
                        </a:lnTo>
                        <a:lnTo>
                          <a:pt x="53" y="327"/>
                        </a:lnTo>
                        <a:lnTo>
                          <a:pt x="62" y="324"/>
                        </a:lnTo>
                        <a:lnTo>
                          <a:pt x="62" y="314"/>
                        </a:lnTo>
                        <a:lnTo>
                          <a:pt x="65" y="309"/>
                        </a:lnTo>
                        <a:lnTo>
                          <a:pt x="65" y="299"/>
                        </a:lnTo>
                        <a:lnTo>
                          <a:pt x="62" y="293"/>
                        </a:lnTo>
                        <a:lnTo>
                          <a:pt x="60" y="278"/>
                        </a:lnTo>
                        <a:lnTo>
                          <a:pt x="63" y="276"/>
                        </a:lnTo>
                        <a:lnTo>
                          <a:pt x="65" y="259"/>
                        </a:lnTo>
                        <a:lnTo>
                          <a:pt x="70" y="254"/>
                        </a:lnTo>
                        <a:lnTo>
                          <a:pt x="77" y="239"/>
                        </a:lnTo>
                        <a:lnTo>
                          <a:pt x="83" y="233"/>
                        </a:lnTo>
                        <a:lnTo>
                          <a:pt x="87" y="231"/>
                        </a:lnTo>
                        <a:lnTo>
                          <a:pt x="92" y="226"/>
                        </a:lnTo>
                        <a:lnTo>
                          <a:pt x="88" y="224"/>
                        </a:lnTo>
                        <a:lnTo>
                          <a:pt x="88" y="218"/>
                        </a:lnTo>
                        <a:lnTo>
                          <a:pt x="87" y="216"/>
                        </a:lnTo>
                        <a:lnTo>
                          <a:pt x="83" y="213"/>
                        </a:lnTo>
                        <a:lnTo>
                          <a:pt x="85" y="209"/>
                        </a:lnTo>
                        <a:lnTo>
                          <a:pt x="88" y="206"/>
                        </a:lnTo>
                        <a:lnTo>
                          <a:pt x="88" y="201"/>
                        </a:lnTo>
                        <a:lnTo>
                          <a:pt x="83" y="195"/>
                        </a:lnTo>
                        <a:lnTo>
                          <a:pt x="82" y="186"/>
                        </a:lnTo>
                        <a:lnTo>
                          <a:pt x="85" y="183"/>
                        </a:lnTo>
                        <a:lnTo>
                          <a:pt x="83" y="178"/>
                        </a:lnTo>
                        <a:lnTo>
                          <a:pt x="78" y="175"/>
                        </a:lnTo>
                        <a:lnTo>
                          <a:pt x="82" y="170"/>
                        </a:lnTo>
                        <a:lnTo>
                          <a:pt x="110" y="155"/>
                        </a:lnTo>
                        <a:lnTo>
                          <a:pt x="116" y="130"/>
                        </a:lnTo>
                        <a:lnTo>
                          <a:pt x="113" y="125"/>
                        </a:lnTo>
                        <a:lnTo>
                          <a:pt x="110" y="125"/>
                        </a:lnTo>
                        <a:lnTo>
                          <a:pt x="108" y="128"/>
                        </a:lnTo>
                        <a:lnTo>
                          <a:pt x="102" y="128"/>
                        </a:lnTo>
                        <a:lnTo>
                          <a:pt x="83" y="85"/>
                        </a:lnTo>
                        <a:lnTo>
                          <a:pt x="72" y="75"/>
                        </a:lnTo>
                        <a:lnTo>
                          <a:pt x="68" y="70"/>
                        </a:lnTo>
                        <a:lnTo>
                          <a:pt x="73" y="58"/>
                        </a:lnTo>
                        <a:lnTo>
                          <a:pt x="72" y="53"/>
                        </a:lnTo>
                        <a:lnTo>
                          <a:pt x="75" y="47"/>
                        </a:lnTo>
                        <a:lnTo>
                          <a:pt x="73" y="43"/>
                        </a:lnTo>
                        <a:lnTo>
                          <a:pt x="63" y="37"/>
                        </a:lnTo>
                        <a:lnTo>
                          <a:pt x="58" y="32"/>
                        </a:lnTo>
                        <a:lnTo>
                          <a:pt x="58" y="23"/>
                        </a:lnTo>
                        <a:lnTo>
                          <a:pt x="57" y="22"/>
                        </a:lnTo>
                        <a:lnTo>
                          <a:pt x="58" y="17"/>
                        </a:lnTo>
                        <a:lnTo>
                          <a:pt x="57" y="13"/>
                        </a:lnTo>
                        <a:lnTo>
                          <a:pt x="55" y="10"/>
                        </a:lnTo>
                        <a:lnTo>
                          <a:pt x="50" y="7"/>
                        </a:lnTo>
                        <a:lnTo>
                          <a:pt x="48" y="2"/>
                        </a:lnTo>
                        <a:lnTo>
                          <a:pt x="45" y="0"/>
                        </a:lnTo>
                        <a:lnTo>
                          <a:pt x="42" y="4"/>
                        </a:lnTo>
                        <a:lnTo>
                          <a:pt x="40" y="9"/>
                        </a:lnTo>
                        <a:lnTo>
                          <a:pt x="45" y="12"/>
                        </a:lnTo>
                        <a:lnTo>
                          <a:pt x="43" y="15"/>
                        </a:lnTo>
                        <a:lnTo>
                          <a:pt x="38" y="18"/>
                        </a:lnTo>
                        <a:lnTo>
                          <a:pt x="35" y="17"/>
                        </a:lnTo>
                        <a:lnTo>
                          <a:pt x="30" y="20"/>
                        </a:lnTo>
                        <a:lnTo>
                          <a:pt x="23" y="23"/>
                        </a:lnTo>
                        <a:lnTo>
                          <a:pt x="27" y="25"/>
                        </a:lnTo>
                        <a:lnTo>
                          <a:pt x="27" y="32"/>
                        </a:lnTo>
                        <a:lnTo>
                          <a:pt x="25" y="35"/>
                        </a:lnTo>
                        <a:lnTo>
                          <a:pt x="27" y="42"/>
                        </a:lnTo>
                        <a:lnTo>
                          <a:pt x="30" y="58"/>
                        </a:lnTo>
                        <a:lnTo>
                          <a:pt x="30" y="65"/>
                        </a:lnTo>
                        <a:lnTo>
                          <a:pt x="30" y="68"/>
                        </a:lnTo>
                        <a:lnTo>
                          <a:pt x="27" y="72"/>
                        </a:lnTo>
                        <a:lnTo>
                          <a:pt x="28" y="80"/>
                        </a:lnTo>
                        <a:lnTo>
                          <a:pt x="32" y="88"/>
                        </a:lnTo>
                        <a:lnTo>
                          <a:pt x="35" y="95"/>
                        </a:lnTo>
                        <a:lnTo>
                          <a:pt x="35" y="107"/>
                        </a:lnTo>
                        <a:lnTo>
                          <a:pt x="33" y="110"/>
                        </a:lnTo>
                        <a:lnTo>
                          <a:pt x="32" y="111"/>
                        </a:lnTo>
                        <a:lnTo>
                          <a:pt x="33" y="126"/>
                        </a:lnTo>
                        <a:lnTo>
                          <a:pt x="33" y="130"/>
                        </a:lnTo>
                        <a:lnTo>
                          <a:pt x="30" y="133"/>
                        </a:lnTo>
                        <a:lnTo>
                          <a:pt x="27" y="135"/>
                        </a:lnTo>
                        <a:lnTo>
                          <a:pt x="27" y="143"/>
                        </a:lnTo>
                        <a:lnTo>
                          <a:pt x="28" y="145"/>
                        </a:lnTo>
                        <a:lnTo>
                          <a:pt x="32" y="143"/>
                        </a:lnTo>
                        <a:lnTo>
                          <a:pt x="33" y="145"/>
                        </a:lnTo>
                        <a:lnTo>
                          <a:pt x="30" y="148"/>
                        </a:lnTo>
                        <a:lnTo>
                          <a:pt x="30" y="170"/>
                        </a:lnTo>
                        <a:lnTo>
                          <a:pt x="35" y="180"/>
                        </a:lnTo>
                        <a:lnTo>
                          <a:pt x="35" y="186"/>
                        </a:lnTo>
                        <a:lnTo>
                          <a:pt x="33" y="191"/>
                        </a:lnTo>
                        <a:lnTo>
                          <a:pt x="30" y="198"/>
                        </a:lnTo>
                        <a:lnTo>
                          <a:pt x="30" y="203"/>
                        </a:lnTo>
                        <a:lnTo>
                          <a:pt x="35" y="209"/>
                        </a:lnTo>
                        <a:lnTo>
                          <a:pt x="33" y="214"/>
                        </a:lnTo>
                        <a:lnTo>
                          <a:pt x="33" y="226"/>
                        </a:lnTo>
                        <a:lnTo>
                          <a:pt x="30" y="229"/>
                        </a:lnTo>
                        <a:lnTo>
                          <a:pt x="30" y="236"/>
                        </a:lnTo>
                        <a:lnTo>
                          <a:pt x="32" y="239"/>
                        </a:lnTo>
                        <a:lnTo>
                          <a:pt x="32" y="243"/>
                        </a:lnTo>
                        <a:lnTo>
                          <a:pt x="28" y="248"/>
                        </a:lnTo>
                        <a:lnTo>
                          <a:pt x="27" y="253"/>
                        </a:lnTo>
                        <a:lnTo>
                          <a:pt x="25" y="256"/>
                        </a:lnTo>
                        <a:lnTo>
                          <a:pt x="27" y="264"/>
                        </a:lnTo>
                        <a:lnTo>
                          <a:pt x="25" y="266"/>
                        </a:lnTo>
                        <a:lnTo>
                          <a:pt x="22" y="274"/>
                        </a:lnTo>
                        <a:lnTo>
                          <a:pt x="22" y="278"/>
                        </a:lnTo>
                        <a:lnTo>
                          <a:pt x="25" y="284"/>
                        </a:lnTo>
                        <a:lnTo>
                          <a:pt x="27" y="291"/>
                        </a:lnTo>
                        <a:lnTo>
                          <a:pt x="30" y="294"/>
                        </a:lnTo>
                        <a:lnTo>
                          <a:pt x="27" y="298"/>
                        </a:lnTo>
                        <a:lnTo>
                          <a:pt x="23" y="303"/>
                        </a:lnTo>
                        <a:lnTo>
                          <a:pt x="27" y="306"/>
                        </a:lnTo>
                        <a:lnTo>
                          <a:pt x="23" y="309"/>
                        </a:lnTo>
                        <a:lnTo>
                          <a:pt x="20" y="311"/>
                        </a:lnTo>
                        <a:lnTo>
                          <a:pt x="20" y="316"/>
                        </a:lnTo>
                        <a:lnTo>
                          <a:pt x="22" y="321"/>
                        </a:lnTo>
                        <a:lnTo>
                          <a:pt x="22" y="326"/>
                        </a:lnTo>
                        <a:lnTo>
                          <a:pt x="27" y="339"/>
                        </a:lnTo>
                        <a:lnTo>
                          <a:pt x="27" y="346"/>
                        </a:lnTo>
                        <a:lnTo>
                          <a:pt x="25" y="349"/>
                        </a:lnTo>
                        <a:lnTo>
                          <a:pt x="25" y="352"/>
                        </a:lnTo>
                        <a:lnTo>
                          <a:pt x="30" y="359"/>
                        </a:lnTo>
                        <a:lnTo>
                          <a:pt x="32" y="367"/>
                        </a:lnTo>
                        <a:lnTo>
                          <a:pt x="30" y="372"/>
                        </a:lnTo>
                        <a:lnTo>
                          <a:pt x="30" y="374"/>
                        </a:lnTo>
                        <a:lnTo>
                          <a:pt x="30" y="379"/>
                        </a:lnTo>
                        <a:lnTo>
                          <a:pt x="30" y="382"/>
                        </a:lnTo>
                        <a:lnTo>
                          <a:pt x="28" y="386"/>
                        </a:lnTo>
                        <a:lnTo>
                          <a:pt x="30" y="387"/>
                        </a:lnTo>
                        <a:lnTo>
                          <a:pt x="35" y="394"/>
                        </a:lnTo>
                        <a:lnTo>
                          <a:pt x="37" y="399"/>
                        </a:lnTo>
                        <a:lnTo>
                          <a:pt x="33" y="402"/>
                        </a:lnTo>
                        <a:lnTo>
                          <a:pt x="30" y="404"/>
                        </a:lnTo>
                        <a:lnTo>
                          <a:pt x="27" y="410"/>
                        </a:lnTo>
                        <a:lnTo>
                          <a:pt x="27" y="412"/>
                        </a:lnTo>
                        <a:lnTo>
                          <a:pt x="28" y="414"/>
                        </a:lnTo>
                        <a:lnTo>
                          <a:pt x="27" y="419"/>
                        </a:lnTo>
                        <a:lnTo>
                          <a:pt x="23" y="422"/>
                        </a:lnTo>
                        <a:lnTo>
                          <a:pt x="23" y="425"/>
                        </a:lnTo>
                        <a:lnTo>
                          <a:pt x="23" y="432"/>
                        </a:lnTo>
                        <a:lnTo>
                          <a:pt x="22" y="435"/>
                        </a:lnTo>
                        <a:lnTo>
                          <a:pt x="22" y="440"/>
                        </a:lnTo>
                        <a:lnTo>
                          <a:pt x="20" y="442"/>
                        </a:lnTo>
                        <a:lnTo>
                          <a:pt x="20" y="447"/>
                        </a:lnTo>
                        <a:lnTo>
                          <a:pt x="17" y="450"/>
                        </a:lnTo>
                        <a:lnTo>
                          <a:pt x="18" y="452"/>
                        </a:lnTo>
                        <a:lnTo>
                          <a:pt x="20" y="455"/>
                        </a:lnTo>
                        <a:lnTo>
                          <a:pt x="17" y="459"/>
                        </a:lnTo>
                        <a:lnTo>
                          <a:pt x="17" y="465"/>
                        </a:lnTo>
                        <a:lnTo>
                          <a:pt x="15" y="469"/>
                        </a:lnTo>
                        <a:lnTo>
                          <a:pt x="12" y="470"/>
                        </a:lnTo>
                        <a:lnTo>
                          <a:pt x="12" y="474"/>
                        </a:lnTo>
                        <a:lnTo>
                          <a:pt x="10" y="477"/>
                        </a:lnTo>
                        <a:lnTo>
                          <a:pt x="10" y="480"/>
                        </a:lnTo>
                        <a:lnTo>
                          <a:pt x="12" y="484"/>
                        </a:lnTo>
                        <a:lnTo>
                          <a:pt x="12" y="489"/>
                        </a:lnTo>
                        <a:lnTo>
                          <a:pt x="10" y="492"/>
                        </a:lnTo>
                        <a:lnTo>
                          <a:pt x="7" y="492"/>
                        </a:lnTo>
                        <a:lnTo>
                          <a:pt x="4" y="490"/>
                        </a:lnTo>
                        <a:lnTo>
                          <a:pt x="0" y="490"/>
                        </a:lnTo>
                        <a:lnTo>
                          <a:pt x="0" y="494"/>
                        </a:lnTo>
                        <a:lnTo>
                          <a:pt x="0" y="499"/>
                        </a:lnTo>
                        <a:lnTo>
                          <a:pt x="0" y="505"/>
                        </a:lnTo>
                        <a:lnTo>
                          <a:pt x="4" y="510"/>
                        </a:lnTo>
                        <a:lnTo>
                          <a:pt x="9" y="513"/>
                        </a:lnTo>
                        <a:lnTo>
                          <a:pt x="10" y="518"/>
                        </a:lnTo>
                        <a:lnTo>
                          <a:pt x="9" y="523"/>
                        </a:lnTo>
                        <a:lnTo>
                          <a:pt x="17" y="535"/>
                        </a:lnTo>
                        <a:lnTo>
                          <a:pt x="18" y="538"/>
                        </a:lnTo>
                        <a:lnTo>
                          <a:pt x="20" y="542"/>
                        </a:lnTo>
                        <a:lnTo>
                          <a:pt x="20" y="548"/>
                        </a:lnTo>
                        <a:lnTo>
                          <a:pt x="18" y="558"/>
                        </a:lnTo>
                        <a:lnTo>
                          <a:pt x="17" y="560"/>
                        </a:lnTo>
                        <a:lnTo>
                          <a:pt x="18" y="562"/>
                        </a:lnTo>
                        <a:lnTo>
                          <a:pt x="17" y="565"/>
                        </a:lnTo>
                        <a:lnTo>
                          <a:pt x="15" y="565"/>
                        </a:lnTo>
                        <a:lnTo>
                          <a:pt x="12" y="565"/>
                        </a:lnTo>
                        <a:lnTo>
                          <a:pt x="10" y="568"/>
                        </a:lnTo>
                        <a:lnTo>
                          <a:pt x="12" y="573"/>
                        </a:lnTo>
                        <a:lnTo>
                          <a:pt x="15" y="575"/>
                        </a:lnTo>
                        <a:lnTo>
                          <a:pt x="12" y="585"/>
                        </a:lnTo>
                        <a:lnTo>
                          <a:pt x="14" y="588"/>
                        </a:lnTo>
                        <a:lnTo>
                          <a:pt x="12" y="590"/>
                        </a:lnTo>
                        <a:lnTo>
                          <a:pt x="14" y="593"/>
                        </a:lnTo>
                        <a:lnTo>
                          <a:pt x="14" y="595"/>
                        </a:lnTo>
                        <a:lnTo>
                          <a:pt x="12" y="597"/>
                        </a:lnTo>
                        <a:lnTo>
                          <a:pt x="14" y="600"/>
                        </a:lnTo>
                        <a:lnTo>
                          <a:pt x="20" y="610"/>
                        </a:lnTo>
                        <a:lnTo>
                          <a:pt x="23" y="611"/>
                        </a:lnTo>
                        <a:lnTo>
                          <a:pt x="25" y="615"/>
                        </a:lnTo>
                        <a:lnTo>
                          <a:pt x="32" y="618"/>
                        </a:lnTo>
                        <a:lnTo>
                          <a:pt x="38" y="616"/>
                        </a:lnTo>
                        <a:lnTo>
                          <a:pt x="38" y="610"/>
                        </a:lnTo>
                        <a:lnTo>
                          <a:pt x="40" y="608"/>
                        </a:lnTo>
                        <a:lnTo>
                          <a:pt x="45" y="608"/>
                        </a:lnTo>
                        <a:lnTo>
                          <a:pt x="48" y="613"/>
                        </a:lnTo>
                        <a:lnTo>
                          <a:pt x="50" y="611"/>
                        </a:lnTo>
                        <a:lnTo>
                          <a:pt x="53" y="611"/>
                        </a:lnTo>
                        <a:lnTo>
                          <a:pt x="50" y="615"/>
                        </a:lnTo>
                        <a:lnTo>
                          <a:pt x="45" y="620"/>
                        </a:lnTo>
                        <a:lnTo>
                          <a:pt x="45" y="621"/>
                        </a:lnTo>
                        <a:lnTo>
                          <a:pt x="48" y="623"/>
                        </a:lnTo>
                        <a:lnTo>
                          <a:pt x="52" y="621"/>
                        </a:lnTo>
                        <a:lnTo>
                          <a:pt x="52" y="625"/>
                        </a:lnTo>
                        <a:lnTo>
                          <a:pt x="53" y="633"/>
                        </a:lnTo>
                        <a:lnTo>
                          <a:pt x="55" y="635"/>
                        </a:lnTo>
                        <a:lnTo>
                          <a:pt x="53" y="636"/>
                        </a:lnTo>
                        <a:lnTo>
                          <a:pt x="52" y="635"/>
                        </a:lnTo>
                        <a:lnTo>
                          <a:pt x="50" y="631"/>
                        </a:lnTo>
                        <a:lnTo>
                          <a:pt x="47" y="630"/>
                        </a:lnTo>
                        <a:lnTo>
                          <a:pt x="45" y="631"/>
                        </a:lnTo>
                        <a:lnTo>
                          <a:pt x="47" y="635"/>
                        </a:lnTo>
                        <a:lnTo>
                          <a:pt x="50" y="636"/>
                        </a:lnTo>
                        <a:lnTo>
                          <a:pt x="52" y="640"/>
                        </a:lnTo>
                        <a:lnTo>
                          <a:pt x="48" y="640"/>
                        </a:lnTo>
                        <a:lnTo>
                          <a:pt x="47" y="641"/>
                        </a:lnTo>
                        <a:lnTo>
                          <a:pt x="47" y="646"/>
                        </a:lnTo>
                        <a:lnTo>
                          <a:pt x="50" y="651"/>
                        </a:lnTo>
                        <a:lnTo>
                          <a:pt x="47" y="655"/>
                        </a:lnTo>
                        <a:lnTo>
                          <a:pt x="47" y="658"/>
                        </a:lnTo>
                        <a:lnTo>
                          <a:pt x="48" y="658"/>
                        </a:lnTo>
                        <a:lnTo>
                          <a:pt x="43" y="663"/>
                        </a:lnTo>
                        <a:lnTo>
                          <a:pt x="45" y="665"/>
                        </a:lnTo>
                        <a:lnTo>
                          <a:pt x="50" y="668"/>
                        </a:lnTo>
                        <a:lnTo>
                          <a:pt x="48" y="671"/>
                        </a:lnTo>
                        <a:lnTo>
                          <a:pt x="48" y="676"/>
                        </a:lnTo>
                        <a:lnTo>
                          <a:pt x="45" y="680"/>
                        </a:lnTo>
                        <a:lnTo>
                          <a:pt x="45" y="683"/>
                        </a:lnTo>
                        <a:lnTo>
                          <a:pt x="47" y="685"/>
                        </a:lnTo>
                        <a:lnTo>
                          <a:pt x="52" y="685"/>
                        </a:lnTo>
                        <a:lnTo>
                          <a:pt x="55" y="688"/>
                        </a:lnTo>
                        <a:lnTo>
                          <a:pt x="55" y="691"/>
                        </a:lnTo>
                        <a:lnTo>
                          <a:pt x="60" y="691"/>
                        </a:lnTo>
                        <a:lnTo>
                          <a:pt x="62" y="695"/>
                        </a:lnTo>
                        <a:lnTo>
                          <a:pt x="62" y="701"/>
                        </a:lnTo>
                        <a:lnTo>
                          <a:pt x="57" y="706"/>
                        </a:lnTo>
                        <a:lnTo>
                          <a:pt x="52" y="709"/>
                        </a:lnTo>
                        <a:lnTo>
                          <a:pt x="48" y="709"/>
                        </a:lnTo>
                        <a:lnTo>
                          <a:pt x="48" y="714"/>
                        </a:lnTo>
                        <a:lnTo>
                          <a:pt x="50" y="719"/>
                        </a:lnTo>
                        <a:lnTo>
                          <a:pt x="48" y="721"/>
                        </a:lnTo>
                        <a:lnTo>
                          <a:pt x="48" y="723"/>
                        </a:lnTo>
                        <a:lnTo>
                          <a:pt x="50" y="724"/>
                        </a:lnTo>
                        <a:lnTo>
                          <a:pt x="47" y="728"/>
                        </a:lnTo>
                        <a:lnTo>
                          <a:pt x="43" y="734"/>
                        </a:lnTo>
                        <a:lnTo>
                          <a:pt x="43" y="739"/>
                        </a:lnTo>
                        <a:lnTo>
                          <a:pt x="47" y="741"/>
                        </a:lnTo>
                        <a:lnTo>
                          <a:pt x="45" y="744"/>
                        </a:lnTo>
                        <a:lnTo>
                          <a:pt x="45" y="751"/>
                        </a:lnTo>
                        <a:lnTo>
                          <a:pt x="42" y="753"/>
                        </a:lnTo>
                        <a:lnTo>
                          <a:pt x="40" y="758"/>
                        </a:lnTo>
                        <a:lnTo>
                          <a:pt x="38" y="754"/>
                        </a:lnTo>
                        <a:lnTo>
                          <a:pt x="40" y="753"/>
                        </a:lnTo>
                        <a:lnTo>
                          <a:pt x="42" y="746"/>
                        </a:lnTo>
                        <a:lnTo>
                          <a:pt x="42" y="743"/>
                        </a:lnTo>
                        <a:lnTo>
                          <a:pt x="42" y="741"/>
                        </a:lnTo>
                        <a:lnTo>
                          <a:pt x="40" y="739"/>
                        </a:lnTo>
                        <a:lnTo>
                          <a:pt x="33" y="741"/>
                        </a:lnTo>
                        <a:lnTo>
                          <a:pt x="30" y="744"/>
                        </a:lnTo>
                        <a:lnTo>
                          <a:pt x="27" y="744"/>
                        </a:lnTo>
                        <a:lnTo>
                          <a:pt x="27" y="743"/>
                        </a:lnTo>
                        <a:lnTo>
                          <a:pt x="32" y="741"/>
                        </a:lnTo>
                        <a:lnTo>
                          <a:pt x="33" y="739"/>
                        </a:lnTo>
                        <a:lnTo>
                          <a:pt x="33" y="733"/>
                        </a:lnTo>
                        <a:lnTo>
                          <a:pt x="32" y="731"/>
                        </a:lnTo>
                        <a:lnTo>
                          <a:pt x="27" y="733"/>
                        </a:lnTo>
                        <a:lnTo>
                          <a:pt x="18" y="734"/>
                        </a:lnTo>
                        <a:lnTo>
                          <a:pt x="17" y="733"/>
                        </a:lnTo>
                        <a:lnTo>
                          <a:pt x="14" y="734"/>
                        </a:lnTo>
                        <a:lnTo>
                          <a:pt x="12" y="736"/>
                        </a:lnTo>
                        <a:lnTo>
                          <a:pt x="15" y="741"/>
                        </a:lnTo>
                        <a:lnTo>
                          <a:pt x="17" y="741"/>
                        </a:lnTo>
                        <a:lnTo>
                          <a:pt x="18" y="744"/>
                        </a:lnTo>
                        <a:lnTo>
                          <a:pt x="15" y="744"/>
                        </a:lnTo>
                        <a:lnTo>
                          <a:pt x="14" y="749"/>
                        </a:lnTo>
                        <a:lnTo>
                          <a:pt x="10" y="751"/>
                        </a:lnTo>
                        <a:lnTo>
                          <a:pt x="9" y="754"/>
                        </a:lnTo>
                        <a:lnTo>
                          <a:pt x="2" y="758"/>
                        </a:lnTo>
                        <a:lnTo>
                          <a:pt x="2" y="761"/>
                        </a:lnTo>
                        <a:lnTo>
                          <a:pt x="9" y="768"/>
                        </a:lnTo>
                        <a:lnTo>
                          <a:pt x="12" y="768"/>
                        </a:lnTo>
                        <a:lnTo>
                          <a:pt x="14" y="766"/>
                        </a:lnTo>
                        <a:lnTo>
                          <a:pt x="14" y="764"/>
                        </a:lnTo>
                        <a:lnTo>
                          <a:pt x="10" y="763"/>
                        </a:lnTo>
                        <a:lnTo>
                          <a:pt x="9" y="761"/>
                        </a:lnTo>
                        <a:lnTo>
                          <a:pt x="12" y="756"/>
                        </a:lnTo>
                        <a:lnTo>
                          <a:pt x="17" y="756"/>
                        </a:lnTo>
                        <a:lnTo>
                          <a:pt x="18" y="754"/>
                        </a:lnTo>
                        <a:lnTo>
                          <a:pt x="20" y="759"/>
                        </a:lnTo>
                        <a:lnTo>
                          <a:pt x="23" y="763"/>
                        </a:lnTo>
                        <a:lnTo>
                          <a:pt x="30" y="761"/>
                        </a:lnTo>
                        <a:lnTo>
                          <a:pt x="32" y="759"/>
                        </a:lnTo>
                        <a:lnTo>
                          <a:pt x="35" y="761"/>
                        </a:lnTo>
                        <a:lnTo>
                          <a:pt x="37" y="763"/>
                        </a:lnTo>
                        <a:lnTo>
                          <a:pt x="43" y="766"/>
                        </a:lnTo>
                        <a:lnTo>
                          <a:pt x="45" y="769"/>
                        </a:lnTo>
                        <a:lnTo>
                          <a:pt x="43" y="769"/>
                        </a:lnTo>
                        <a:lnTo>
                          <a:pt x="42" y="771"/>
                        </a:lnTo>
                        <a:lnTo>
                          <a:pt x="43" y="774"/>
                        </a:lnTo>
                        <a:lnTo>
                          <a:pt x="40" y="776"/>
                        </a:lnTo>
                        <a:lnTo>
                          <a:pt x="38" y="779"/>
                        </a:lnTo>
                        <a:lnTo>
                          <a:pt x="40" y="781"/>
                        </a:lnTo>
                        <a:lnTo>
                          <a:pt x="45" y="784"/>
                        </a:lnTo>
                        <a:lnTo>
                          <a:pt x="43" y="784"/>
                        </a:lnTo>
                        <a:lnTo>
                          <a:pt x="40" y="783"/>
                        </a:lnTo>
                        <a:lnTo>
                          <a:pt x="38" y="781"/>
                        </a:lnTo>
                        <a:lnTo>
                          <a:pt x="35" y="781"/>
                        </a:lnTo>
                        <a:lnTo>
                          <a:pt x="35" y="784"/>
                        </a:lnTo>
                        <a:lnTo>
                          <a:pt x="38" y="788"/>
                        </a:lnTo>
                        <a:lnTo>
                          <a:pt x="40" y="791"/>
                        </a:lnTo>
                        <a:lnTo>
                          <a:pt x="47" y="793"/>
                        </a:lnTo>
                        <a:lnTo>
                          <a:pt x="53" y="789"/>
                        </a:lnTo>
                        <a:lnTo>
                          <a:pt x="57" y="791"/>
                        </a:lnTo>
                        <a:lnTo>
                          <a:pt x="58" y="791"/>
                        </a:lnTo>
                        <a:lnTo>
                          <a:pt x="63" y="789"/>
                        </a:lnTo>
                        <a:lnTo>
                          <a:pt x="60" y="793"/>
                        </a:lnTo>
                        <a:lnTo>
                          <a:pt x="62" y="794"/>
                        </a:lnTo>
                        <a:lnTo>
                          <a:pt x="60" y="794"/>
                        </a:lnTo>
                        <a:lnTo>
                          <a:pt x="55" y="794"/>
                        </a:lnTo>
                        <a:lnTo>
                          <a:pt x="55" y="796"/>
                        </a:lnTo>
                        <a:lnTo>
                          <a:pt x="52" y="794"/>
                        </a:lnTo>
                        <a:lnTo>
                          <a:pt x="43" y="796"/>
                        </a:lnTo>
                        <a:lnTo>
                          <a:pt x="42" y="799"/>
                        </a:lnTo>
                        <a:lnTo>
                          <a:pt x="43" y="801"/>
                        </a:lnTo>
                        <a:lnTo>
                          <a:pt x="48" y="804"/>
                        </a:lnTo>
                        <a:lnTo>
                          <a:pt x="48" y="807"/>
                        </a:lnTo>
                        <a:lnTo>
                          <a:pt x="53" y="809"/>
                        </a:lnTo>
                        <a:lnTo>
                          <a:pt x="57" y="807"/>
                        </a:lnTo>
                        <a:lnTo>
                          <a:pt x="55" y="809"/>
                        </a:lnTo>
                        <a:lnTo>
                          <a:pt x="52" y="812"/>
                        </a:lnTo>
                        <a:lnTo>
                          <a:pt x="52" y="814"/>
                        </a:lnTo>
                        <a:lnTo>
                          <a:pt x="53" y="816"/>
                        </a:lnTo>
                        <a:lnTo>
                          <a:pt x="52" y="819"/>
                        </a:lnTo>
                        <a:lnTo>
                          <a:pt x="48" y="819"/>
                        </a:lnTo>
                        <a:lnTo>
                          <a:pt x="48" y="822"/>
                        </a:lnTo>
                        <a:lnTo>
                          <a:pt x="52" y="832"/>
                        </a:lnTo>
                        <a:lnTo>
                          <a:pt x="53" y="836"/>
                        </a:lnTo>
                        <a:lnTo>
                          <a:pt x="53" y="841"/>
                        </a:lnTo>
                        <a:lnTo>
                          <a:pt x="57" y="844"/>
                        </a:lnTo>
                        <a:lnTo>
                          <a:pt x="60" y="846"/>
                        </a:lnTo>
                        <a:lnTo>
                          <a:pt x="60" y="839"/>
                        </a:lnTo>
                        <a:lnTo>
                          <a:pt x="63" y="831"/>
                        </a:lnTo>
                        <a:lnTo>
                          <a:pt x="67" y="829"/>
                        </a:lnTo>
                        <a:lnTo>
                          <a:pt x="67" y="831"/>
                        </a:lnTo>
                        <a:lnTo>
                          <a:pt x="65" y="831"/>
                        </a:lnTo>
                        <a:lnTo>
                          <a:pt x="62" y="839"/>
                        </a:lnTo>
                        <a:lnTo>
                          <a:pt x="63" y="842"/>
                        </a:lnTo>
                        <a:lnTo>
                          <a:pt x="67" y="844"/>
                        </a:lnTo>
                        <a:lnTo>
                          <a:pt x="70" y="844"/>
                        </a:lnTo>
                        <a:lnTo>
                          <a:pt x="68" y="846"/>
                        </a:lnTo>
                        <a:lnTo>
                          <a:pt x="63" y="846"/>
                        </a:lnTo>
                        <a:lnTo>
                          <a:pt x="58" y="851"/>
                        </a:lnTo>
                        <a:lnTo>
                          <a:pt x="60" y="852"/>
                        </a:lnTo>
                        <a:lnTo>
                          <a:pt x="58" y="856"/>
                        </a:lnTo>
                        <a:lnTo>
                          <a:pt x="58" y="861"/>
                        </a:lnTo>
                        <a:lnTo>
                          <a:pt x="55" y="861"/>
                        </a:lnTo>
                        <a:lnTo>
                          <a:pt x="53" y="866"/>
                        </a:lnTo>
                        <a:lnTo>
                          <a:pt x="53" y="867"/>
                        </a:lnTo>
                        <a:lnTo>
                          <a:pt x="60" y="872"/>
                        </a:lnTo>
                        <a:lnTo>
                          <a:pt x="70" y="874"/>
                        </a:lnTo>
                        <a:lnTo>
                          <a:pt x="73" y="877"/>
                        </a:lnTo>
                        <a:lnTo>
                          <a:pt x="73" y="879"/>
                        </a:lnTo>
                        <a:lnTo>
                          <a:pt x="72" y="879"/>
                        </a:lnTo>
                        <a:lnTo>
                          <a:pt x="72" y="882"/>
                        </a:lnTo>
                        <a:lnTo>
                          <a:pt x="73" y="886"/>
                        </a:lnTo>
                        <a:lnTo>
                          <a:pt x="78" y="881"/>
                        </a:lnTo>
                        <a:lnTo>
                          <a:pt x="78" y="884"/>
                        </a:lnTo>
                        <a:lnTo>
                          <a:pt x="77" y="887"/>
                        </a:lnTo>
                        <a:lnTo>
                          <a:pt x="73" y="889"/>
                        </a:lnTo>
                        <a:lnTo>
                          <a:pt x="70" y="892"/>
                        </a:lnTo>
                        <a:lnTo>
                          <a:pt x="72" y="894"/>
                        </a:lnTo>
                        <a:lnTo>
                          <a:pt x="77" y="894"/>
                        </a:lnTo>
                        <a:lnTo>
                          <a:pt x="77" y="895"/>
                        </a:lnTo>
                        <a:lnTo>
                          <a:pt x="80" y="900"/>
                        </a:lnTo>
                        <a:lnTo>
                          <a:pt x="82" y="900"/>
                        </a:lnTo>
                        <a:lnTo>
                          <a:pt x="85" y="897"/>
                        </a:lnTo>
                        <a:lnTo>
                          <a:pt x="85" y="902"/>
                        </a:lnTo>
                        <a:lnTo>
                          <a:pt x="85" y="905"/>
                        </a:lnTo>
                        <a:lnTo>
                          <a:pt x="83" y="905"/>
                        </a:lnTo>
                        <a:lnTo>
                          <a:pt x="82" y="904"/>
                        </a:lnTo>
                        <a:lnTo>
                          <a:pt x="78" y="904"/>
                        </a:lnTo>
                        <a:lnTo>
                          <a:pt x="78" y="907"/>
                        </a:lnTo>
                        <a:lnTo>
                          <a:pt x="82" y="912"/>
                        </a:lnTo>
                        <a:lnTo>
                          <a:pt x="83" y="912"/>
                        </a:lnTo>
                        <a:lnTo>
                          <a:pt x="85" y="917"/>
                        </a:lnTo>
                        <a:lnTo>
                          <a:pt x="88" y="919"/>
                        </a:lnTo>
                        <a:lnTo>
                          <a:pt x="92" y="922"/>
                        </a:lnTo>
                        <a:lnTo>
                          <a:pt x="95" y="922"/>
                        </a:lnTo>
                        <a:lnTo>
                          <a:pt x="93" y="917"/>
                        </a:lnTo>
                        <a:lnTo>
                          <a:pt x="93" y="914"/>
                        </a:lnTo>
                        <a:lnTo>
                          <a:pt x="93" y="910"/>
                        </a:lnTo>
                        <a:lnTo>
                          <a:pt x="97" y="914"/>
                        </a:lnTo>
                        <a:lnTo>
                          <a:pt x="97" y="917"/>
                        </a:lnTo>
                        <a:lnTo>
                          <a:pt x="100" y="920"/>
                        </a:lnTo>
                        <a:lnTo>
                          <a:pt x="102" y="915"/>
                        </a:lnTo>
                        <a:lnTo>
                          <a:pt x="105" y="914"/>
                        </a:lnTo>
                        <a:lnTo>
                          <a:pt x="105" y="910"/>
                        </a:lnTo>
                        <a:lnTo>
                          <a:pt x="102" y="909"/>
                        </a:lnTo>
                        <a:lnTo>
                          <a:pt x="95" y="909"/>
                        </a:lnTo>
                        <a:lnTo>
                          <a:pt x="95" y="907"/>
                        </a:lnTo>
                        <a:lnTo>
                          <a:pt x="100" y="907"/>
                        </a:lnTo>
                        <a:lnTo>
                          <a:pt x="107" y="909"/>
                        </a:lnTo>
                        <a:lnTo>
                          <a:pt x="108" y="910"/>
                        </a:lnTo>
                        <a:lnTo>
                          <a:pt x="113" y="910"/>
                        </a:lnTo>
                        <a:lnTo>
                          <a:pt x="112" y="907"/>
                        </a:lnTo>
                        <a:lnTo>
                          <a:pt x="107" y="905"/>
                        </a:lnTo>
                        <a:lnTo>
                          <a:pt x="98" y="904"/>
                        </a:lnTo>
                        <a:lnTo>
                          <a:pt x="98" y="902"/>
                        </a:lnTo>
                        <a:lnTo>
                          <a:pt x="102" y="902"/>
                        </a:lnTo>
                        <a:lnTo>
                          <a:pt x="108" y="904"/>
                        </a:lnTo>
                        <a:lnTo>
                          <a:pt x="116" y="909"/>
                        </a:lnTo>
                        <a:lnTo>
                          <a:pt x="116" y="914"/>
                        </a:lnTo>
                        <a:lnTo>
                          <a:pt x="115" y="917"/>
                        </a:lnTo>
                        <a:lnTo>
                          <a:pt x="113" y="920"/>
                        </a:lnTo>
                        <a:lnTo>
                          <a:pt x="116" y="925"/>
                        </a:lnTo>
                        <a:lnTo>
                          <a:pt x="116" y="929"/>
                        </a:lnTo>
                        <a:lnTo>
                          <a:pt x="113" y="930"/>
                        </a:lnTo>
                        <a:lnTo>
                          <a:pt x="115" y="925"/>
                        </a:lnTo>
                        <a:lnTo>
                          <a:pt x="112" y="919"/>
                        </a:lnTo>
                        <a:lnTo>
                          <a:pt x="108" y="917"/>
                        </a:lnTo>
                        <a:lnTo>
                          <a:pt x="107" y="919"/>
                        </a:lnTo>
                        <a:lnTo>
                          <a:pt x="107" y="922"/>
                        </a:lnTo>
                        <a:lnTo>
                          <a:pt x="108" y="925"/>
                        </a:lnTo>
                        <a:lnTo>
                          <a:pt x="107" y="929"/>
                        </a:lnTo>
                        <a:lnTo>
                          <a:pt x="105" y="927"/>
                        </a:lnTo>
                        <a:lnTo>
                          <a:pt x="103" y="924"/>
                        </a:lnTo>
                        <a:lnTo>
                          <a:pt x="102" y="924"/>
                        </a:lnTo>
                        <a:lnTo>
                          <a:pt x="98" y="925"/>
                        </a:lnTo>
                        <a:lnTo>
                          <a:pt x="92" y="925"/>
                        </a:lnTo>
                        <a:lnTo>
                          <a:pt x="88" y="927"/>
                        </a:lnTo>
                        <a:lnTo>
                          <a:pt x="92" y="930"/>
                        </a:lnTo>
                        <a:lnTo>
                          <a:pt x="92" y="935"/>
                        </a:lnTo>
                        <a:lnTo>
                          <a:pt x="93" y="939"/>
                        </a:lnTo>
                        <a:lnTo>
                          <a:pt x="95" y="940"/>
                        </a:lnTo>
                        <a:lnTo>
                          <a:pt x="93" y="944"/>
                        </a:lnTo>
                        <a:lnTo>
                          <a:pt x="95" y="945"/>
                        </a:lnTo>
                        <a:lnTo>
                          <a:pt x="97" y="945"/>
                        </a:lnTo>
                        <a:lnTo>
                          <a:pt x="100" y="942"/>
                        </a:lnTo>
                        <a:lnTo>
                          <a:pt x="102" y="944"/>
                        </a:lnTo>
                        <a:lnTo>
                          <a:pt x="105" y="944"/>
                        </a:lnTo>
                        <a:lnTo>
                          <a:pt x="105" y="945"/>
                        </a:lnTo>
                        <a:lnTo>
                          <a:pt x="102" y="947"/>
                        </a:lnTo>
                        <a:lnTo>
                          <a:pt x="98" y="950"/>
                        </a:lnTo>
                        <a:lnTo>
                          <a:pt x="100" y="952"/>
                        </a:lnTo>
                        <a:lnTo>
                          <a:pt x="105" y="952"/>
                        </a:lnTo>
                        <a:lnTo>
                          <a:pt x="112" y="955"/>
                        </a:lnTo>
                        <a:lnTo>
                          <a:pt x="113" y="955"/>
                        </a:lnTo>
                        <a:lnTo>
                          <a:pt x="116" y="952"/>
                        </a:lnTo>
                        <a:lnTo>
                          <a:pt x="115" y="947"/>
                        </a:lnTo>
                        <a:lnTo>
                          <a:pt x="115" y="944"/>
                        </a:lnTo>
                        <a:lnTo>
                          <a:pt x="113" y="940"/>
                        </a:lnTo>
                        <a:lnTo>
                          <a:pt x="112" y="942"/>
                        </a:lnTo>
                        <a:lnTo>
                          <a:pt x="108" y="942"/>
                        </a:lnTo>
                        <a:lnTo>
                          <a:pt x="110" y="940"/>
                        </a:lnTo>
                        <a:lnTo>
                          <a:pt x="113" y="939"/>
                        </a:lnTo>
                        <a:lnTo>
                          <a:pt x="113" y="935"/>
                        </a:lnTo>
                        <a:lnTo>
                          <a:pt x="115" y="935"/>
                        </a:lnTo>
                        <a:lnTo>
                          <a:pt x="120" y="937"/>
                        </a:lnTo>
                        <a:lnTo>
                          <a:pt x="121" y="935"/>
                        </a:lnTo>
                        <a:lnTo>
                          <a:pt x="123" y="937"/>
                        </a:lnTo>
                        <a:lnTo>
                          <a:pt x="125" y="939"/>
                        </a:lnTo>
                        <a:lnTo>
                          <a:pt x="126" y="937"/>
                        </a:lnTo>
                        <a:lnTo>
                          <a:pt x="131" y="935"/>
                        </a:lnTo>
                        <a:lnTo>
                          <a:pt x="135" y="937"/>
                        </a:lnTo>
                        <a:lnTo>
                          <a:pt x="140" y="937"/>
                        </a:lnTo>
                        <a:lnTo>
                          <a:pt x="145" y="937"/>
                        </a:lnTo>
                        <a:lnTo>
                          <a:pt x="145" y="939"/>
                        </a:lnTo>
                        <a:lnTo>
                          <a:pt x="141" y="939"/>
                        </a:lnTo>
                        <a:lnTo>
                          <a:pt x="140" y="942"/>
                        </a:lnTo>
                        <a:lnTo>
                          <a:pt x="138" y="942"/>
                        </a:lnTo>
                        <a:lnTo>
                          <a:pt x="135" y="939"/>
                        </a:lnTo>
                        <a:lnTo>
                          <a:pt x="131" y="940"/>
                        </a:lnTo>
                        <a:lnTo>
                          <a:pt x="123" y="945"/>
                        </a:lnTo>
                        <a:lnTo>
                          <a:pt x="121" y="947"/>
                        </a:lnTo>
                        <a:lnTo>
                          <a:pt x="120" y="945"/>
                        </a:lnTo>
                        <a:lnTo>
                          <a:pt x="116" y="949"/>
                        </a:lnTo>
                        <a:lnTo>
                          <a:pt x="118" y="952"/>
                        </a:lnTo>
                        <a:lnTo>
                          <a:pt x="116" y="954"/>
                        </a:lnTo>
                        <a:lnTo>
                          <a:pt x="115" y="955"/>
                        </a:lnTo>
                        <a:lnTo>
                          <a:pt x="115" y="957"/>
                        </a:lnTo>
                        <a:lnTo>
                          <a:pt x="116" y="959"/>
                        </a:lnTo>
                        <a:lnTo>
                          <a:pt x="115" y="960"/>
                        </a:lnTo>
                        <a:lnTo>
                          <a:pt x="115" y="962"/>
                        </a:lnTo>
                        <a:lnTo>
                          <a:pt x="121" y="965"/>
                        </a:lnTo>
                        <a:lnTo>
                          <a:pt x="126" y="969"/>
                        </a:lnTo>
                        <a:lnTo>
                          <a:pt x="128" y="969"/>
                        </a:lnTo>
                        <a:lnTo>
                          <a:pt x="130" y="967"/>
                        </a:lnTo>
                        <a:lnTo>
                          <a:pt x="128" y="964"/>
                        </a:lnTo>
                        <a:lnTo>
                          <a:pt x="131" y="960"/>
                        </a:lnTo>
                        <a:lnTo>
                          <a:pt x="135" y="960"/>
                        </a:lnTo>
                        <a:lnTo>
                          <a:pt x="135" y="959"/>
                        </a:lnTo>
                        <a:lnTo>
                          <a:pt x="131" y="954"/>
                        </a:lnTo>
                        <a:lnTo>
                          <a:pt x="138" y="954"/>
                        </a:lnTo>
                        <a:lnTo>
                          <a:pt x="141" y="950"/>
                        </a:lnTo>
                        <a:lnTo>
                          <a:pt x="146" y="944"/>
                        </a:lnTo>
                        <a:lnTo>
                          <a:pt x="148" y="942"/>
                        </a:lnTo>
                        <a:lnTo>
                          <a:pt x="150" y="944"/>
                        </a:lnTo>
                        <a:lnTo>
                          <a:pt x="153" y="945"/>
                        </a:lnTo>
                        <a:lnTo>
                          <a:pt x="156" y="945"/>
                        </a:lnTo>
                        <a:lnTo>
                          <a:pt x="156" y="947"/>
                        </a:lnTo>
                        <a:lnTo>
                          <a:pt x="153" y="947"/>
                        </a:lnTo>
                        <a:lnTo>
                          <a:pt x="150" y="952"/>
                        </a:lnTo>
                        <a:lnTo>
                          <a:pt x="150" y="954"/>
                        </a:lnTo>
                        <a:lnTo>
                          <a:pt x="145" y="957"/>
                        </a:lnTo>
                        <a:lnTo>
                          <a:pt x="145" y="962"/>
                        </a:lnTo>
                        <a:lnTo>
                          <a:pt x="146" y="965"/>
                        </a:lnTo>
                        <a:lnTo>
                          <a:pt x="145" y="967"/>
                        </a:lnTo>
                        <a:lnTo>
                          <a:pt x="141" y="969"/>
                        </a:lnTo>
                        <a:lnTo>
                          <a:pt x="141" y="967"/>
                        </a:lnTo>
                        <a:lnTo>
                          <a:pt x="143" y="965"/>
                        </a:lnTo>
                        <a:lnTo>
                          <a:pt x="143" y="960"/>
                        </a:lnTo>
                        <a:lnTo>
                          <a:pt x="141" y="960"/>
                        </a:lnTo>
                        <a:lnTo>
                          <a:pt x="140" y="962"/>
                        </a:lnTo>
                        <a:lnTo>
                          <a:pt x="138" y="964"/>
                        </a:lnTo>
                        <a:lnTo>
                          <a:pt x="136" y="964"/>
                        </a:lnTo>
                        <a:lnTo>
                          <a:pt x="133" y="964"/>
                        </a:lnTo>
                        <a:lnTo>
                          <a:pt x="131" y="965"/>
                        </a:lnTo>
                        <a:lnTo>
                          <a:pt x="135" y="969"/>
                        </a:lnTo>
                        <a:lnTo>
                          <a:pt x="143" y="977"/>
                        </a:lnTo>
                        <a:lnTo>
                          <a:pt x="150" y="977"/>
                        </a:lnTo>
                        <a:lnTo>
                          <a:pt x="153" y="980"/>
                        </a:lnTo>
                        <a:lnTo>
                          <a:pt x="156" y="979"/>
                        </a:lnTo>
                        <a:lnTo>
                          <a:pt x="160" y="980"/>
                        </a:lnTo>
                        <a:lnTo>
                          <a:pt x="161" y="979"/>
                        </a:lnTo>
                        <a:lnTo>
                          <a:pt x="165" y="974"/>
                        </a:lnTo>
                        <a:lnTo>
                          <a:pt x="163" y="967"/>
                        </a:lnTo>
                        <a:lnTo>
                          <a:pt x="163" y="964"/>
                        </a:lnTo>
                        <a:lnTo>
                          <a:pt x="163" y="962"/>
                        </a:lnTo>
                        <a:lnTo>
                          <a:pt x="163" y="955"/>
                        </a:lnTo>
                        <a:lnTo>
                          <a:pt x="165" y="949"/>
                        </a:lnTo>
                        <a:lnTo>
                          <a:pt x="163" y="944"/>
                        </a:lnTo>
                        <a:lnTo>
                          <a:pt x="163" y="942"/>
                        </a:lnTo>
                        <a:lnTo>
                          <a:pt x="170" y="939"/>
                        </a:lnTo>
                        <a:lnTo>
                          <a:pt x="175" y="932"/>
                        </a:lnTo>
                        <a:lnTo>
                          <a:pt x="178" y="930"/>
                        </a:lnTo>
                        <a:lnTo>
                          <a:pt x="183" y="930"/>
                        </a:lnTo>
                        <a:lnTo>
                          <a:pt x="185" y="929"/>
                        </a:lnTo>
                        <a:lnTo>
                          <a:pt x="185" y="924"/>
                        </a:lnTo>
                        <a:lnTo>
                          <a:pt x="188" y="922"/>
                        </a:lnTo>
                        <a:lnTo>
                          <a:pt x="193" y="920"/>
                        </a:lnTo>
                        <a:lnTo>
                          <a:pt x="200" y="924"/>
                        </a:lnTo>
                        <a:lnTo>
                          <a:pt x="203" y="922"/>
                        </a:lnTo>
                        <a:lnTo>
                          <a:pt x="203" y="922"/>
                        </a:lnTo>
                        <a:lnTo>
                          <a:pt x="203" y="922"/>
                        </a:lnTo>
                        <a:close/>
                        <a:moveTo>
                          <a:pt x="251" y="1038"/>
                        </a:moveTo>
                        <a:lnTo>
                          <a:pt x="253" y="1040"/>
                        </a:lnTo>
                        <a:lnTo>
                          <a:pt x="256" y="1037"/>
                        </a:lnTo>
                        <a:lnTo>
                          <a:pt x="254" y="1037"/>
                        </a:lnTo>
                        <a:lnTo>
                          <a:pt x="254" y="1037"/>
                        </a:lnTo>
                        <a:lnTo>
                          <a:pt x="251" y="1038"/>
                        </a:lnTo>
                        <a:lnTo>
                          <a:pt x="251" y="1038"/>
                        </a:lnTo>
                        <a:close/>
                        <a:moveTo>
                          <a:pt x="32" y="641"/>
                        </a:moveTo>
                        <a:lnTo>
                          <a:pt x="27" y="638"/>
                        </a:lnTo>
                        <a:lnTo>
                          <a:pt x="25" y="640"/>
                        </a:lnTo>
                        <a:lnTo>
                          <a:pt x="25" y="641"/>
                        </a:lnTo>
                        <a:lnTo>
                          <a:pt x="30" y="646"/>
                        </a:lnTo>
                        <a:lnTo>
                          <a:pt x="28" y="648"/>
                        </a:lnTo>
                        <a:lnTo>
                          <a:pt x="33" y="653"/>
                        </a:lnTo>
                        <a:lnTo>
                          <a:pt x="32" y="653"/>
                        </a:lnTo>
                        <a:lnTo>
                          <a:pt x="28" y="651"/>
                        </a:lnTo>
                        <a:lnTo>
                          <a:pt x="25" y="655"/>
                        </a:lnTo>
                        <a:lnTo>
                          <a:pt x="27" y="660"/>
                        </a:lnTo>
                        <a:lnTo>
                          <a:pt x="27" y="661"/>
                        </a:lnTo>
                        <a:lnTo>
                          <a:pt x="18" y="663"/>
                        </a:lnTo>
                        <a:lnTo>
                          <a:pt x="12" y="660"/>
                        </a:lnTo>
                        <a:lnTo>
                          <a:pt x="15" y="655"/>
                        </a:lnTo>
                        <a:lnTo>
                          <a:pt x="14" y="641"/>
                        </a:lnTo>
                        <a:lnTo>
                          <a:pt x="12" y="636"/>
                        </a:lnTo>
                        <a:lnTo>
                          <a:pt x="10" y="635"/>
                        </a:lnTo>
                        <a:lnTo>
                          <a:pt x="10" y="633"/>
                        </a:lnTo>
                        <a:lnTo>
                          <a:pt x="10" y="630"/>
                        </a:lnTo>
                        <a:lnTo>
                          <a:pt x="14" y="628"/>
                        </a:lnTo>
                        <a:lnTo>
                          <a:pt x="14" y="625"/>
                        </a:lnTo>
                        <a:lnTo>
                          <a:pt x="12" y="621"/>
                        </a:lnTo>
                        <a:lnTo>
                          <a:pt x="12" y="620"/>
                        </a:lnTo>
                        <a:lnTo>
                          <a:pt x="15" y="616"/>
                        </a:lnTo>
                        <a:lnTo>
                          <a:pt x="20" y="616"/>
                        </a:lnTo>
                        <a:lnTo>
                          <a:pt x="25" y="618"/>
                        </a:lnTo>
                        <a:lnTo>
                          <a:pt x="30" y="625"/>
                        </a:lnTo>
                        <a:lnTo>
                          <a:pt x="28" y="630"/>
                        </a:lnTo>
                        <a:lnTo>
                          <a:pt x="30" y="631"/>
                        </a:lnTo>
                        <a:lnTo>
                          <a:pt x="30" y="636"/>
                        </a:lnTo>
                        <a:lnTo>
                          <a:pt x="25" y="635"/>
                        </a:lnTo>
                        <a:lnTo>
                          <a:pt x="30" y="638"/>
                        </a:lnTo>
                        <a:lnTo>
                          <a:pt x="32" y="640"/>
                        </a:lnTo>
                        <a:lnTo>
                          <a:pt x="32" y="641"/>
                        </a:lnTo>
                        <a:lnTo>
                          <a:pt x="32" y="641"/>
                        </a:lnTo>
                        <a:close/>
                        <a:moveTo>
                          <a:pt x="35" y="630"/>
                        </a:moveTo>
                        <a:lnTo>
                          <a:pt x="38" y="630"/>
                        </a:lnTo>
                        <a:lnTo>
                          <a:pt x="42" y="631"/>
                        </a:lnTo>
                        <a:lnTo>
                          <a:pt x="40" y="633"/>
                        </a:lnTo>
                        <a:lnTo>
                          <a:pt x="35" y="630"/>
                        </a:lnTo>
                        <a:lnTo>
                          <a:pt x="35" y="630"/>
                        </a:lnTo>
                        <a:close/>
                        <a:moveTo>
                          <a:pt x="7" y="671"/>
                        </a:moveTo>
                        <a:lnTo>
                          <a:pt x="9" y="670"/>
                        </a:lnTo>
                        <a:lnTo>
                          <a:pt x="12" y="670"/>
                        </a:lnTo>
                        <a:lnTo>
                          <a:pt x="15" y="671"/>
                        </a:lnTo>
                        <a:lnTo>
                          <a:pt x="10" y="675"/>
                        </a:lnTo>
                        <a:lnTo>
                          <a:pt x="7" y="671"/>
                        </a:lnTo>
                        <a:lnTo>
                          <a:pt x="7" y="671"/>
                        </a:lnTo>
                        <a:close/>
                        <a:moveTo>
                          <a:pt x="40" y="676"/>
                        </a:moveTo>
                        <a:lnTo>
                          <a:pt x="45" y="673"/>
                        </a:lnTo>
                        <a:lnTo>
                          <a:pt x="45" y="676"/>
                        </a:lnTo>
                        <a:lnTo>
                          <a:pt x="42" y="680"/>
                        </a:lnTo>
                        <a:lnTo>
                          <a:pt x="40" y="676"/>
                        </a:lnTo>
                        <a:lnTo>
                          <a:pt x="40" y="676"/>
                        </a:lnTo>
                        <a:close/>
                        <a:moveTo>
                          <a:pt x="33" y="676"/>
                        </a:moveTo>
                        <a:lnTo>
                          <a:pt x="37" y="676"/>
                        </a:lnTo>
                        <a:lnTo>
                          <a:pt x="37" y="681"/>
                        </a:lnTo>
                        <a:lnTo>
                          <a:pt x="33" y="683"/>
                        </a:lnTo>
                        <a:lnTo>
                          <a:pt x="33" y="680"/>
                        </a:lnTo>
                        <a:lnTo>
                          <a:pt x="30" y="678"/>
                        </a:lnTo>
                        <a:lnTo>
                          <a:pt x="33" y="676"/>
                        </a:lnTo>
                        <a:lnTo>
                          <a:pt x="33" y="676"/>
                        </a:lnTo>
                        <a:close/>
                        <a:moveTo>
                          <a:pt x="22" y="675"/>
                        </a:moveTo>
                        <a:lnTo>
                          <a:pt x="23" y="673"/>
                        </a:lnTo>
                        <a:lnTo>
                          <a:pt x="30" y="675"/>
                        </a:lnTo>
                        <a:lnTo>
                          <a:pt x="25" y="678"/>
                        </a:lnTo>
                        <a:lnTo>
                          <a:pt x="22" y="675"/>
                        </a:lnTo>
                        <a:lnTo>
                          <a:pt x="22" y="675"/>
                        </a:lnTo>
                        <a:close/>
                        <a:moveTo>
                          <a:pt x="23" y="683"/>
                        </a:moveTo>
                        <a:lnTo>
                          <a:pt x="25" y="681"/>
                        </a:lnTo>
                        <a:lnTo>
                          <a:pt x="27" y="683"/>
                        </a:lnTo>
                        <a:lnTo>
                          <a:pt x="27" y="685"/>
                        </a:lnTo>
                        <a:lnTo>
                          <a:pt x="23" y="683"/>
                        </a:lnTo>
                        <a:lnTo>
                          <a:pt x="23" y="683"/>
                        </a:lnTo>
                        <a:close/>
                        <a:moveTo>
                          <a:pt x="17" y="688"/>
                        </a:moveTo>
                        <a:lnTo>
                          <a:pt x="18" y="685"/>
                        </a:lnTo>
                        <a:lnTo>
                          <a:pt x="23" y="686"/>
                        </a:lnTo>
                        <a:lnTo>
                          <a:pt x="25" y="688"/>
                        </a:lnTo>
                        <a:lnTo>
                          <a:pt x="25" y="690"/>
                        </a:lnTo>
                        <a:lnTo>
                          <a:pt x="22" y="691"/>
                        </a:lnTo>
                        <a:lnTo>
                          <a:pt x="18" y="690"/>
                        </a:lnTo>
                        <a:lnTo>
                          <a:pt x="17" y="688"/>
                        </a:lnTo>
                        <a:lnTo>
                          <a:pt x="17" y="688"/>
                        </a:lnTo>
                        <a:close/>
                        <a:moveTo>
                          <a:pt x="14" y="696"/>
                        </a:moveTo>
                        <a:lnTo>
                          <a:pt x="17" y="698"/>
                        </a:lnTo>
                        <a:lnTo>
                          <a:pt x="14" y="699"/>
                        </a:lnTo>
                        <a:lnTo>
                          <a:pt x="12" y="698"/>
                        </a:lnTo>
                        <a:lnTo>
                          <a:pt x="14" y="696"/>
                        </a:lnTo>
                        <a:lnTo>
                          <a:pt x="14" y="696"/>
                        </a:lnTo>
                        <a:close/>
                        <a:moveTo>
                          <a:pt x="37" y="695"/>
                        </a:moveTo>
                        <a:lnTo>
                          <a:pt x="38" y="699"/>
                        </a:lnTo>
                        <a:lnTo>
                          <a:pt x="35" y="699"/>
                        </a:lnTo>
                        <a:lnTo>
                          <a:pt x="37" y="695"/>
                        </a:lnTo>
                        <a:lnTo>
                          <a:pt x="37" y="695"/>
                        </a:lnTo>
                        <a:close/>
                        <a:moveTo>
                          <a:pt x="28" y="693"/>
                        </a:moveTo>
                        <a:lnTo>
                          <a:pt x="33" y="691"/>
                        </a:lnTo>
                        <a:lnTo>
                          <a:pt x="33" y="696"/>
                        </a:lnTo>
                        <a:lnTo>
                          <a:pt x="28" y="693"/>
                        </a:lnTo>
                        <a:lnTo>
                          <a:pt x="28" y="693"/>
                        </a:lnTo>
                        <a:close/>
                        <a:moveTo>
                          <a:pt x="18" y="726"/>
                        </a:moveTo>
                        <a:lnTo>
                          <a:pt x="20" y="726"/>
                        </a:lnTo>
                        <a:lnTo>
                          <a:pt x="22" y="731"/>
                        </a:lnTo>
                        <a:lnTo>
                          <a:pt x="18" y="729"/>
                        </a:lnTo>
                        <a:lnTo>
                          <a:pt x="18" y="726"/>
                        </a:lnTo>
                        <a:lnTo>
                          <a:pt x="18" y="726"/>
                        </a:lnTo>
                        <a:close/>
                        <a:moveTo>
                          <a:pt x="18" y="698"/>
                        </a:moveTo>
                        <a:lnTo>
                          <a:pt x="18" y="695"/>
                        </a:lnTo>
                        <a:lnTo>
                          <a:pt x="18" y="693"/>
                        </a:lnTo>
                        <a:lnTo>
                          <a:pt x="23" y="693"/>
                        </a:lnTo>
                        <a:lnTo>
                          <a:pt x="25" y="696"/>
                        </a:lnTo>
                        <a:lnTo>
                          <a:pt x="22" y="698"/>
                        </a:lnTo>
                        <a:lnTo>
                          <a:pt x="18" y="698"/>
                        </a:lnTo>
                        <a:lnTo>
                          <a:pt x="18" y="698"/>
                        </a:lnTo>
                        <a:close/>
                        <a:moveTo>
                          <a:pt x="9" y="706"/>
                        </a:moveTo>
                        <a:lnTo>
                          <a:pt x="2" y="703"/>
                        </a:lnTo>
                        <a:lnTo>
                          <a:pt x="4" y="699"/>
                        </a:lnTo>
                        <a:lnTo>
                          <a:pt x="9" y="699"/>
                        </a:lnTo>
                        <a:lnTo>
                          <a:pt x="10" y="703"/>
                        </a:lnTo>
                        <a:lnTo>
                          <a:pt x="9" y="706"/>
                        </a:lnTo>
                        <a:lnTo>
                          <a:pt x="9" y="706"/>
                        </a:lnTo>
                        <a:close/>
                        <a:moveTo>
                          <a:pt x="27" y="719"/>
                        </a:moveTo>
                        <a:lnTo>
                          <a:pt x="30" y="719"/>
                        </a:lnTo>
                        <a:lnTo>
                          <a:pt x="30" y="724"/>
                        </a:lnTo>
                        <a:lnTo>
                          <a:pt x="27" y="719"/>
                        </a:lnTo>
                        <a:lnTo>
                          <a:pt x="27" y="719"/>
                        </a:lnTo>
                        <a:close/>
                        <a:moveTo>
                          <a:pt x="32" y="726"/>
                        </a:moveTo>
                        <a:lnTo>
                          <a:pt x="37" y="724"/>
                        </a:lnTo>
                        <a:lnTo>
                          <a:pt x="35" y="728"/>
                        </a:lnTo>
                        <a:lnTo>
                          <a:pt x="32" y="726"/>
                        </a:lnTo>
                        <a:lnTo>
                          <a:pt x="32" y="726"/>
                        </a:lnTo>
                        <a:close/>
                        <a:moveTo>
                          <a:pt x="42" y="686"/>
                        </a:moveTo>
                        <a:lnTo>
                          <a:pt x="43" y="686"/>
                        </a:lnTo>
                        <a:lnTo>
                          <a:pt x="47" y="690"/>
                        </a:lnTo>
                        <a:lnTo>
                          <a:pt x="42" y="690"/>
                        </a:lnTo>
                        <a:lnTo>
                          <a:pt x="42" y="686"/>
                        </a:lnTo>
                        <a:lnTo>
                          <a:pt x="42" y="686"/>
                        </a:lnTo>
                        <a:close/>
                        <a:moveTo>
                          <a:pt x="48" y="691"/>
                        </a:moveTo>
                        <a:lnTo>
                          <a:pt x="53" y="691"/>
                        </a:lnTo>
                        <a:lnTo>
                          <a:pt x="55" y="695"/>
                        </a:lnTo>
                        <a:lnTo>
                          <a:pt x="58" y="698"/>
                        </a:lnTo>
                        <a:lnTo>
                          <a:pt x="55" y="701"/>
                        </a:lnTo>
                        <a:lnTo>
                          <a:pt x="55" y="704"/>
                        </a:lnTo>
                        <a:lnTo>
                          <a:pt x="52" y="704"/>
                        </a:lnTo>
                        <a:lnTo>
                          <a:pt x="48" y="704"/>
                        </a:lnTo>
                        <a:lnTo>
                          <a:pt x="47" y="703"/>
                        </a:lnTo>
                        <a:lnTo>
                          <a:pt x="43" y="706"/>
                        </a:lnTo>
                        <a:lnTo>
                          <a:pt x="43" y="703"/>
                        </a:lnTo>
                        <a:lnTo>
                          <a:pt x="42" y="698"/>
                        </a:lnTo>
                        <a:lnTo>
                          <a:pt x="43" y="693"/>
                        </a:lnTo>
                        <a:lnTo>
                          <a:pt x="48" y="691"/>
                        </a:lnTo>
                        <a:lnTo>
                          <a:pt x="48" y="691"/>
                        </a:lnTo>
                        <a:close/>
                        <a:moveTo>
                          <a:pt x="22" y="703"/>
                        </a:moveTo>
                        <a:lnTo>
                          <a:pt x="23" y="699"/>
                        </a:lnTo>
                        <a:lnTo>
                          <a:pt x="33" y="699"/>
                        </a:lnTo>
                        <a:lnTo>
                          <a:pt x="30" y="703"/>
                        </a:lnTo>
                        <a:lnTo>
                          <a:pt x="25" y="703"/>
                        </a:lnTo>
                        <a:lnTo>
                          <a:pt x="23" y="704"/>
                        </a:lnTo>
                        <a:lnTo>
                          <a:pt x="23" y="704"/>
                        </a:lnTo>
                        <a:lnTo>
                          <a:pt x="22" y="703"/>
                        </a:lnTo>
                        <a:lnTo>
                          <a:pt x="22" y="703"/>
                        </a:lnTo>
                        <a:close/>
                        <a:moveTo>
                          <a:pt x="27" y="711"/>
                        </a:moveTo>
                        <a:lnTo>
                          <a:pt x="25" y="709"/>
                        </a:lnTo>
                        <a:lnTo>
                          <a:pt x="30" y="708"/>
                        </a:lnTo>
                        <a:lnTo>
                          <a:pt x="33" y="708"/>
                        </a:lnTo>
                        <a:lnTo>
                          <a:pt x="33" y="711"/>
                        </a:lnTo>
                        <a:lnTo>
                          <a:pt x="27" y="711"/>
                        </a:lnTo>
                        <a:lnTo>
                          <a:pt x="27" y="711"/>
                        </a:lnTo>
                        <a:close/>
                        <a:moveTo>
                          <a:pt x="30" y="714"/>
                        </a:moveTo>
                        <a:lnTo>
                          <a:pt x="33" y="713"/>
                        </a:lnTo>
                        <a:lnTo>
                          <a:pt x="38" y="713"/>
                        </a:lnTo>
                        <a:lnTo>
                          <a:pt x="40" y="719"/>
                        </a:lnTo>
                        <a:lnTo>
                          <a:pt x="37" y="723"/>
                        </a:lnTo>
                        <a:lnTo>
                          <a:pt x="33" y="721"/>
                        </a:lnTo>
                        <a:lnTo>
                          <a:pt x="32" y="716"/>
                        </a:lnTo>
                        <a:lnTo>
                          <a:pt x="30" y="714"/>
                        </a:lnTo>
                        <a:lnTo>
                          <a:pt x="30" y="714"/>
                        </a:lnTo>
                        <a:close/>
                        <a:moveTo>
                          <a:pt x="22" y="726"/>
                        </a:moveTo>
                        <a:lnTo>
                          <a:pt x="25" y="724"/>
                        </a:lnTo>
                        <a:lnTo>
                          <a:pt x="25" y="726"/>
                        </a:lnTo>
                        <a:lnTo>
                          <a:pt x="30" y="726"/>
                        </a:lnTo>
                        <a:lnTo>
                          <a:pt x="32" y="729"/>
                        </a:lnTo>
                        <a:lnTo>
                          <a:pt x="27" y="731"/>
                        </a:lnTo>
                        <a:lnTo>
                          <a:pt x="22" y="726"/>
                        </a:lnTo>
                        <a:lnTo>
                          <a:pt x="22" y="726"/>
                        </a:lnTo>
                        <a:close/>
                        <a:moveTo>
                          <a:pt x="35" y="811"/>
                        </a:moveTo>
                        <a:lnTo>
                          <a:pt x="38" y="809"/>
                        </a:lnTo>
                        <a:lnTo>
                          <a:pt x="37" y="807"/>
                        </a:lnTo>
                        <a:lnTo>
                          <a:pt x="35" y="809"/>
                        </a:lnTo>
                        <a:lnTo>
                          <a:pt x="28" y="801"/>
                        </a:lnTo>
                        <a:lnTo>
                          <a:pt x="25" y="797"/>
                        </a:lnTo>
                        <a:lnTo>
                          <a:pt x="27" y="794"/>
                        </a:lnTo>
                        <a:lnTo>
                          <a:pt x="30" y="794"/>
                        </a:lnTo>
                        <a:lnTo>
                          <a:pt x="35" y="793"/>
                        </a:lnTo>
                        <a:lnTo>
                          <a:pt x="35" y="799"/>
                        </a:lnTo>
                        <a:lnTo>
                          <a:pt x="40" y="801"/>
                        </a:lnTo>
                        <a:lnTo>
                          <a:pt x="40" y="806"/>
                        </a:lnTo>
                        <a:lnTo>
                          <a:pt x="43" y="809"/>
                        </a:lnTo>
                        <a:lnTo>
                          <a:pt x="47" y="816"/>
                        </a:lnTo>
                        <a:lnTo>
                          <a:pt x="42" y="816"/>
                        </a:lnTo>
                        <a:lnTo>
                          <a:pt x="37" y="816"/>
                        </a:lnTo>
                        <a:lnTo>
                          <a:pt x="35" y="811"/>
                        </a:lnTo>
                        <a:lnTo>
                          <a:pt x="35" y="811"/>
                        </a:lnTo>
                        <a:close/>
                        <a:moveTo>
                          <a:pt x="17" y="802"/>
                        </a:moveTo>
                        <a:lnTo>
                          <a:pt x="17" y="801"/>
                        </a:lnTo>
                        <a:lnTo>
                          <a:pt x="18" y="799"/>
                        </a:lnTo>
                        <a:lnTo>
                          <a:pt x="23" y="799"/>
                        </a:lnTo>
                        <a:lnTo>
                          <a:pt x="30" y="809"/>
                        </a:lnTo>
                        <a:lnTo>
                          <a:pt x="33" y="814"/>
                        </a:lnTo>
                        <a:lnTo>
                          <a:pt x="33" y="819"/>
                        </a:lnTo>
                        <a:lnTo>
                          <a:pt x="32" y="821"/>
                        </a:lnTo>
                        <a:lnTo>
                          <a:pt x="28" y="819"/>
                        </a:lnTo>
                        <a:lnTo>
                          <a:pt x="27" y="812"/>
                        </a:lnTo>
                        <a:lnTo>
                          <a:pt x="27" y="811"/>
                        </a:lnTo>
                        <a:lnTo>
                          <a:pt x="23" y="809"/>
                        </a:lnTo>
                        <a:lnTo>
                          <a:pt x="18" y="807"/>
                        </a:lnTo>
                        <a:lnTo>
                          <a:pt x="17" y="802"/>
                        </a:lnTo>
                        <a:lnTo>
                          <a:pt x="17" y="802"/>
                        </a:lnTo>
                        <a:close/>
                        <a:moveTo>
                          <a:pt x="18" y="811"/>
                        </a:moveTo>
                        <a:lnTo>
                          <a:pt x="20" y="811"/>
                        </a:lnTo>
                        <a:lnTo>
                          <a:pt x="23" y="812"/>
                        </a:lnTo>
                        <a:lnTo>
                          <a:pt x="25" y="816"/>
                        </a:lnTo>
                        <a:lnTo>
                          <a:pt x="23" y="819"/>
                        </a:lnTo>
                        <a:lnTo>
                          <a:pt x="22" y="821"/>
                        </a:lnTo>
                        <a:lnTo>
                          <a:pt x="22" y="817"/>
                        </a:lnTo>
                        <a:lnTo>
                          <a:pt x="18" y="816"/>
                        </a:lnTo>
                        <a:lnTo>
                          <a:pt x="18" y="811"/>
                        </a:lnTo>
                        <a:lnTo>
                          <a:pt x="18" y="811"/>
                        </a:lnTo>
                        <a:close/>
                        <a:moveTo>
                          <a:pt x="27" y="836"/>
                        </a:moveTo>
                        <a:lnTo>
                          <a:pt x="25" y="836"/>
                        </a:lnTo>
                        <a:lnTo>
                          <a:pt x="25" y="832"/>
                        </a:lnTo>
                        <a:lnTo>
                          <a:pt x="23" y="824"/>
                        </a:lnTo>
                        <a:lnTo>
                          <a:pt x="25" y="822"/>
                        </a:lnTo>
                        <a:lnTo>
                          <a:pt x="27" y="824"/>
                        </a:lnTo>
                        <a:lnTo>
                          <a:pt x="32" y="826"/>
                        </a:lnTo>
                        <a:lnTo>
                          <a:pt x="33" y="829"/>
                        </a:lnTo>
                        <a:lnTo>
                          <a:pt x="32" y="831"/>
                        </a:lnTo>
                        <a:lnTo>
                          <a:pt x="27" y="836"/>
                        </a:lnTo>
                        <a:lnTo>
                          <a:pt x="27" y="836"/>
                        </a:lnTo>
                        <a:close/>
                        <a:moveTo>
                          <a:pt x="33" y="852"/>
                        </a:moveTo>
                        <a:lnTo>
                          <a:pt x="30" y="856"/>
                        </a:lnTo>
                        <a:lnTo>
                          <a:pt x="28" y="852"/>
                        </a:lnTo>
                        <a:lnTo>
                          <a:pt x="28" y="851"/>
                        </a:lnTo>
                        <a:lnTo>
                          <a:pt x="27" y="847"/>
                        </a:lnTo>
                        <a:lnTo>
                          <a:pt x="32" y="846"/>
                        </a:lnTo>
                        <a:lnTo>
                          <a:pt x="35" y="849"/>
                        </a:lnTo>
                        <a:lnTo>
                          <a:pt x="33" y="852"/>
                        </a:lnTo>
                        <a:lnTo>
                          <a:pt x="33" y="852"/>
                        </a:lnTo>
                        <a:close/>
                        <a:moveTo>
                          <a:pt x="47" y="851"/>
                        </a:moveTo>
                        <a:lnTo>
                          <a:pt x="45" y="856"/>
                        </a:lnTo>
                        <a:lnTo>
                          <a:pt x="42" y="857"/>
                        </a:lnTo>
                        <a:lnTo>
                          <a:pt x="38" y="854"/>
                        </a:lnTo>
                        <a:lnTo>
                          <a:pt x="37" y="847"/>
                        </a:lnTo>
                        <a:lnTo>
                          <a:pt x="32" y="839"/>
                        </a:lnTo>
                        <a:lnTo>
                          <a:pt x="37" y="839"/>
                        </a:lnTo>
                        <a:lnTo>
                          <a:pt x="40" y="836"/>
                        </a:lnTo>
                        <a:lnTo>
                          <a:pt x="40" y="832"/>
                        </a:lnTo>
                        <a:lnTo>
                          <a:pt x="38" y="836"/>
                        </a:lnTo>
                        <a:lnTo>
                          <a:pt x="37" y="836"/>
                        </a:lnTo>
                        <a:lnTo>
                          <a:pt x="35" y="832"/>
                        </a:lnTo>
                        <a:lnTo>
                          <a:pt x="37" y="829"/>
                        </a:lnTo>
                        <a:lnTo>
                          <a:pt x="35" y="827"/>
                        </a:lnTo>
                        <a:lnTo>
                          <a:pt x="33" y="822"/>
                        </a:lnTo>
                        <a:lnTo>
                          <a:pt x="37" y="819"/>
                        </a:lnTo>
                        <a:lnTo>
                          <a:pt x="43" y="819"/>
                        </a:lnTo>
                        <a:lnTo>
                          <a:pt x="47" y="822"/>
                        </a:lnTo>
                        <a:lnTo>
                          <a:pt x="50" y="831"/>
                        </a:lnTo>
                        <a:lnTo>
                          <a:pt x="52" y="836"/>
                        </a:lnTo>
                        <a:lnTo>
                          <a:pt x="53" y="844"/>
                        </a:lnTo>
                        <a:lnTo>
                          <a:pt x="52" y="846"/>
                        </a:lnTo>
                        <a:lnTo>
                          <a:pt x="55" y="852"/>
                        </a:lnTo>
                        <a:lnTo>
                          <a:pt x="53" y="859"/>
                        </a:lnTo>
                        <a:lnTo>
                          <a:pt x="50" y="861"/>
                        </a:lnTo>
                        <a:lnTo>
                          <a:pt x="48" y="859"/>
                        </a:lnTo>
                        <a:lnTo>
                          <a:pt x="47" y="854"/>
                        </a:lnTo>
                        <a:lnTo>
                          <a:pt x="47" y="851"/>
                        </a:lnTo>
                        <a:lnTo>
                          <a:pt x="47" y="851"/>
                        </a:lnTo>
                        <a:close/>
                        <a:moveTo>
                          <a:pt x="42" y="874"/>
                        </a:moveTo>
                        <a:lnTo>
                          <a:pt x="40" y="871"/>
                        </a:lnTo>
                        <a:lnTo>
                          <a:pt x="38" y="867"/>
                        </a:lnTo>
                        <a:lnTo>
                          <a:pt x="40" y="866"/>
                        </a:lnTo>
                        <a:lnTo>
                          <a:pt x="40" y="862"/>
                        </a:lnTo>
                        <a:lnTo>
                          <a:pt x="42" y="862"/>
                        </a:lnTo>
                        <a:lnTo>
                          <a:pt x="43" y="864"/>
                        </a:lnTo>
                        <a:lnTo>
                          <a:pt x="48" y="864"/>
                        </a:lnTo>
                        <a:lnTo>
                          <a:pt x="47" y="867"/>
                        </a:lnTo>
                        <a:lnTo>
                          <a:pt x="47" y="871"/>
                        </a:lnTo>
                        <a:lnTo>
                          <a:pt x="45" y="874"/>
                        </a:lnTo>
                        <a:lnTo>
                          <a:pt x="42" y="874"/>
                        </a:lnTo>
                        <a:lnTo>
                          <a:pt x="42" y="874"/>
                        </a:lnTo>
                        <a:close/>
                        <a:moveTo>
                          <a:pt x="40" y="879"/>
                        </a:moveTo>
                        <a:lnTo>
                          <a:pt x="40" y="876"/>
                        </a:lnTo>
                        <a:lnTo>
                          <a:pt x="45" y="876"/>
                        </a:lnTo>
                        <a:lnTo>
                          <a:pt x="42" y="877"/>
                        </a:lnTo>
                        <a:lnTo>
                          <a:pt x="40" y="879"/>
                        </a:lnTo>
                        <a:lnTo>
                          <a:pt x="40" y="879"/>
                        </a:lnTo>
                        <a:close/>
                        <a:moveTo>
                          <a:pt x="48" y="877"/>
                        </a:moveTo>
                        <a:lnTo>
                          <a:pt x="50" y="879"/>
                        </a:lnTo>
                        <a:lnTo>
                          <a:pt x="50" y="884"/>
                        </a:lnTo>
                        <a:lnTo>
                          <a:pt x="48" y="886"/>
                        </a:lnTo>
                        <a:lnTo>
                          <a:pt x="47" y="881"/>
                        </a:lnTo>
                        <a:lnTo>
                          <a:pt x="48" y="877"/>
                        </a:lnTo>
                        <a:lnTo>
                          <a:pt x="48" y="877"/>
                        </a:lnTo>
                        <a:close/>
                        <a:moveTo>
                          <a:pt x="52" y="876"/>
                        </a:moveTo>
                        <a:lnTo>
                          <a:pt x="53" y="874"/>
                        </a:lnTo>
                        <a:lnTo>
                          <a:pt x="55" y="874"/>
                        </a:lnTo>
                        <a:lnTo>
                          <a:pt x="58" y="876"/>
                        </a:lnTo>
                        <a:lnTo>
                          <a:pt x="62" y="876"/>
                        </a:lnTo>
                        <a:lnTo>
                          <a:pt x="65" y="882"/>
                        </a:lnTo>
                        <a:lnTo>
                          <a:pt x="67" y="887"/>
                        </a:lnTo>
                        <a:lnTo>
                          <a:pt x="60" y="882"/>
                        </a:lnTo>
                        <a:lnTo>
                          <a:pt x="57" y="881"/>
                        </a:lnTo>
                        <a:lnTo>
                          <a:pt x="52" y="876"/>
                        </a:lnTo>
                        <a:lnTo>
                          <a:pt x="52" y="876"/>
                        </a:lnTo>
                        <a:close/>
                        <a:moveTo>
                          <a:pt x="52" y="882"/>
                        </a:moveTo>
                        <a:lnTo>
                          <a:pt x="55" y="882"/>
                        </a:lnTo>
                        <a:lnTo>
                          <a:pt x="60" y="884"/>
                        </a:lnTo>
                        <a:lnTo>
                          <a:pt x="65" y="891"/>
                        </a:lnTo>
                        <a:lnTo>
                          <a:pt x="63" y="894"/>
                        </a:lnTo>
                        <a:lnTo>
                          <a:pt x="58" y="894"/>
                        </a:lnTo>
                        <a:lnTo>
                          <a:pt x="53" y="887"/>
                        </a:lnTo>
                        <a:lnTo>
                          <a:pt x="52" y="882"/>
                        </a:lnTo>
                        <a:lnTo>
                          <a:pt x="52" y="882"/>
                        </a:lnTo>
                        <a:close/>
                        <a:moveTo>
                          <a:pt x="57" y="904"/>
                        </a:moveTo>
                        <a:lnTo>
                          <a:pt x="50" y="905"/>
                        </a:lnTo>
                        <a:lnTo>
                          <a:pt x="48" y="904"/>
                        </a:lnTo>
                        <a:lnTo>
                          <a:pt x="50" y="902"/>
                        </a:lnTo>
                        <a:lnTo>
                          <a:pt x="52" y="897"/>
                        </a:lnTo>
                        <a:lnTo>
                          <a:pt x="50" y="894"/>
                        </a:lnTo>
                        <a:lnTo>
                          <a:pt x="53" y="894"/>
                        </a:lnTo>
                        <a:lnTo>
                          <a:pt x="57" y="895"/>
                        </a:lnTo>
                        <a:lnTo>
                          <a:pt x="60" y="895"/>
                        </a:lnTo>
                        <a:lnTo>
                          <a:pt x="67" y="900"/>
                        </a:lnTo>
                        <a:lnTo>
                          <a:pt x="67" y="902"/>
                        </a:lnTo>
                        <a:lnTo>
                          <a:pt x="62" y="902"/>
                        </a:lnTo>
                        <a:lnTo>
                          <a:pt x="62" y="904"/>
                        </a:lnTo>
                        <a:lnTo>
                          <a:pt x="57" y="904"/>
                        </a:lnTo>
                        <a:lnTo>
                          <a:pt x="57" y="904"/>
                        </a:lnTo>
                        <a:close/>
                        <a:moveTo>
                          <a:pt x="63" y="922"/>
                        </a:moveTo>
                        <a:lnTo>
                          <a:pt x="60" y="922"/>
                        </a:lnTo>
                        <a:lnTo>
                          <a:pt x="58" y="920"/>
                        </a:lnTo>
                        <a:lnTo>
                          <a:pt x="57" y="917"/>
                        </a:lnTo>
                        <a:lnTo>
                          <a:pt x="57" y="915"/>
                        </a:lnTo>
                        <a:lnTo>
                          <a:pt x="60" y="914"/>
                        </a:lnTo>
                        <a:lnTo>
                          <a:pt x="58" y="912"/>
                        </a:lnTo>
                        <a:lnTo>
                          <a:pt x="57" y="910"/>
                        </a:lnTo>
                        <a:lnTo>
                          <a:pt x="62" y="910"/>
                        </a:lnTo>
                        <a:lnTo>
                          <a:pt x="63" y="914"/>
                        </a:lnTo>
                        <a:lnTo>
                          <a:pt x="63" y="917"/>
                        </a:lnTo>
                        <a:lnTo>
                          <a:pt x="60" y="919"/>
                        </a:lnTo>
                        <a:lnTo>
                          <a:pt x="63" y="922"/>
                        </a:lnTo>
                        <a:lnTo>
                          <a:pt x="63" y="922"/>
                        </a:lnTo>
                        <a:close/>
                        <a:moveTo>
                          <a:pt x="63" y="915"/>
                        </a:moveTo>
                        <a:lnTo>
                          <a:pt x="65" y="912"/>
                        </a:lnTo>
                        <a:lnTo>
                          <a:pt x="67" y="912"/>
                        </a:lnTo>
                        <a:lnTo>
                          <a:pt x="68" y="914"/>
                        </a:lnTo>
                        <a:lnTo>
                          <a:pt x="70" y="915"/>
                        </a:lnTo>
                        <a:lnTo>
                          <a:pt x="70" y="920"/>
                        </a:lnTo>
                        <a:lnTo>
                          <a:pt x="68" y="922"/>
                        </a:lnTo>
                        <a:lnTo>
                          <a:pt x="67" y="922"/>
                        </a:lnTo>
                        <a:lnTo>
                          <a:pt x="65" y="919"/>
                        </a:lnTo>
                        <a:lnTo>
                          <a:pt x="65" y="919"/>
                        </a:lnTo>
                        <a:lnTo>
                          <a:pt x="63" y="915"/>
                        </a:lnTo>
                        <a:lnTo>
                          <a:pt x="63" y="915"/>
                        </a:lnTo>
                        <a:close/>
                        <a:moveTo>
                          <a:pt x="72" y="917"/>
                        </a:moveTo>
                        <a:lnTo>
                          <a:pt x="77" y="919"/>
                        </a:lnTo>
                        <a:lnTo>
                          <a:pt x="78" y="922"/>
                        </a:lnTo>
                        <a:lnTo>
                          <a:pt x="77" y="922"/>
                        </a:lnTo>
                        <a:lnTo>
                          <a:pt x="73" y="920"/>
                        </a:lnTo>
                        <a:lnTo>
                          <a:pt x="72" y="917"/>
                        </a:lnTo>
                        <a:lnTo>
                          <a:pt x="72" y="917"/>
                        </a:lnTo>
                        <a:close/>
                        <a:moveTo>
                          <a:pt x="70" y="932"/>
                        </a:moveTo>
                        <a:lnTo>
                          <a:pt x="68" y="932"/>
                        </a:lnTo>
                        <a:lnTo>
                          <a:pt x="67" y="932"/>
                        </a:lnTo>
                        <a:lnTo>
                          <a:pt x="68" y="930"/>
                        </a:lnTo>
                        <a:lnTo>
                          <a:pt x="68" y="925"/>
                        </a:lnTo>
                        <a:lnTo>
                          <a:pt x="72" y="925"/>
                        </a:lnTo>
                        <a:lnTo>
                          <a:pt x="72" y="927"/>
                        </a:lnTo>
                        <a:lnTo>
                          <a:pt x="70" y="932"/>
                        </a:lnTo>
                        <a:lnTo>
                          <a:pt x="70" y="932"/>
                        </a:lnTo>
                        <a:close/>
                        <a:moveTo>
                          <a:pt x="83" y="920"/>
                        </a:moveTo>
                        <a:lnTo>
                          <a:pt x="78" y="919"/>
                        </a:lnTo>
                        <a:lnTo>
                          <a:pt x="75" y="915"/>
                        </a:lnTo>
                        <a:lnTo>
                          <a:pt x="75" y="909"/>
                        </a:lnTo>
                        <a:lnTo>
                          <a:pt x="77" y="909"/>
                        </a:lnTo>
                        <a:lnTo>
                          <a:pt x="80" y="914"/>
                        </a:lnTo>
                        <a:lnTo>
                          <a:pt x="83" y="917"/>
                        </a:lnTo>
                        <a:lnTo>
                          <a:pt x="85" y="920"/>
                        </a:lnTo>
                        <a:lnTo>
                          <a:pt x="83" y="920"/>
                        </a:lnTo>
                        <a:lnTo>
                          <a:pt x="83" y="920"/>
                        </a:lnTo>
                        <a:close/>
                        <a:moveTo>
                          <a:pt x="83" y="927"/>
                        </a:moveTo>
                        <a:lnTo>
                          <a:pt x="80" y="924"/>
                        </a:lnTo>
                        <a:lnTo>
                          <a:pt x="80" y="922"/>
                        </a:lnTo>
                        <a:lnTo>
                          <a:pt x="83" y="924"/>
                        </a:lnTo>
                        <a:lnTo>
                          <a:pt x="85" y="927"/>
                        </a:lnTo>
                        <a:lnTo>
                          <a:pt x="83" y="927"/>
                        </a:lnTo>
                        <a:lnTo>
                          <a:pt x="83" y="927"/>
                        </a:lnTo>
                        <a:close/>
                        <a:moveTo>
                          <a:pt x="85" y="935"/>
                        </a:moveTo>
                        <a:lnTo>
                          <a:pt x="80" y="930"/>
                        </a:lnTo>
                        <a:lnTo>
                          <a:pt x="78" y="927"/>
                        </a:lnTo>
                        <a:lnTo>
                          <a:pt x="80" y="925"/>
                        </a:lnTo>
                        <a:lnTo>
                          <a:pt x="87" y="932"/>
                        </a:lnTo>
                        <a:lnTo>
                          <a:pt x="87" y="935"/>
                        </a:lnTo>
                        <a:lnTo>
                          <a:pt x="85" y="935"/>
                        </a:lnTo>
                        <a:lnTo>
                          <a:pt x="85" y="935"/>
                        </a:lnTo>
                        <a:close/>
                        <a:moveTo>
                          <a:pt x="90" y="945"/>
                        </a:moveTo>
                        <a:lnTo>
                          <a:pt x="88" y="944"/>
                        </a:lnTo>
                        <a:lnTo>
                          <a:pt x="87" y="942"/>
                        </a:lnTo>
                        <a:lnTo>
                          <a:pt x="85" y="940"/>
                        </a:lnTo>
                        <a:lnTo>
                          <a:pt x="80" y="940"/>
                        </a:lnTo>
                        <a:lnTo>
                          <a:pt x="78" y="939"/>
                        </a:lnTo>
                        <a:lnTo>
                          <a:pt x="83" y="939"/>
                        </a:lnTo>
                        <a:lnTo>
                          <a:pt x="87" y="939"/>
                        </a:lnTo>
                        <a:lnTo>
                          <a:pt x="92" y="937"/>
                        </a:lnTo>
                        <a:lnTo>
                          <a:pt x="93" y="942"/>
                        </a:lnTo>
                        <a:lnTo>
                          <a:pt x="90" y="945"/>
                        </a:lnTo>
                        <a:lnTo>
                          <a:pt x="90" y="945"/>
                        </a:lnTo>
                        <a:close/>
                        <a:moveTo>
                          <a:pt x="105" y="967"/>
                        </a:moveTo>
                        <a:lnTo>
                          <a:pt x="98" y="965"/>
                        </a:lnTo>
                        <a:lnTo>
                          <a:pt x="97" y="967"/>
                        </a:lnTo>
                        <a:lnTo>
                          <a:pt x="93" y="967"/>
                        </a:lnTo>
                        <a:lnTo>
                          <a:pt x="90" y="964"/>
                        </a:lnTo>
                        <a:lnTo>
                          <a:pt x="83" y="960"/>
                        </a:lnTo>
                        <a:lnTo>
                          <a:pt x="78" y="960"/>
                        </a:lnTo>
                        <a:lnTo>
                          <a:pt x="77" y="955"/>
                        </a:lnTo>
                        <a:lnTo>
                          <a:pt x="75" y="950"/>
                        </a:lnTo>
                        <a:lnTo>
                          <a:pt x="77" y="949"/>
                        </a:lnTo>
                        <a:lnTo>
                          <a:pt x="78" y="950"/>
                        </a:lnTo>
                        <a:lnTo>
                          <a:pt x="83" y="955"/>
                        </a:lnTo>
                        <a:lnTo>
                          <a:pt x="87" y="957"/>
                        </a:lnTo>
                        <a:lnTo>
                          <a:pt x="92" y="957"/>
                        </a:lnTo>
                        <a:lnTo>
                          <a:pt x="95" y="959"/>
                        </a:lnTo>
                        <a:lnTo>
                          <a:pt x="100" y="960"/>
                        </a:lnTo>
                        <a:lnTo>
                          <a:pt x="105" y="960"/>
                        </a:lnTo>
                        <a:lnTo>
                          <a:pt x="107" y="962"/>
                        </a:lnTo>
                        <a:lnTo>
                          <a:pt x="112" y="965"/>
                        </a:lnTo>
                        <a:lnTo>
                          <a:pt x="113" y="967"/>
                        </a:lnTo>
                        <a:lnTo>
                          <a:pt x="115" y="969"/>
                        </a:lnTo>
                        <a:lnTo>
                          <a:pt x="115" y="969"/>
                        </a:lnTo>
                        <a:lnTo>
                          <a:pt x="110" y="969"/>
                        </a:lnTo>
                        <a:lnTo>
                          <a:pt x="105" y="967"/>
                        </a:lnTo>
                        <a:lnTo>
                          <a:pt x="105" y="967"/>
                        </a:lnTo>
                        <a:close/>
                        <a:moveTo>
                          <a:pt x="90" y="969"/>
                        </a:moveTo>
                        <a:lnTo>
                          <a:pt x="90" y="969"/>
                        </a:lnTo>
                        <a:lnTo>
                          <a:pt x="93" y="972"/>
                        </a:lnTo>
                        <a:lnTo>
                          <a:pt x="87" y="970"/>
                        </a:lnTo>
                        <a:lnTo>
                          <a:pt x="90" y="969"/>
                        </a:lnTo>
                        <a:lnTo>
                          <a:pt x="90" y="969"/>
                        </a:lnTo>
                        <a:close/>
                        <a:moveTo>
                          <a:pt x="123" y="989"/>
                        </a:moveTo>
                        <a:lnTo>
                          <a:pt x="125" y="990"/>
                        </a:lnTo>
                        <a:lnTo>
                          <a:pt x="126" y="989"/>
                        </a:lnTo>
                        <a:lnTo>
                          <a:pt x="125" y="987"/>
                        </a:lnTo>
                        <a:lnTo>
                          <a:pt x="121" y="989"/>
                        </a:lnTo>
                        <a:lnTo>
                          <a:pt x="123" y="989"/>
                        </a:lnTo>
                        <a:lnTo>
                          <a:pt x="123" y="989"/>
                        </a:lnTo>
                        <a:close/>
                        <a:moveTo>
                          <a:pt x="135" y="990"/>
                        </a:moveTo>
                        <a:lnTo>
                          <a:pt x="131" y="992"/>
                        </a:lnTo>
                        <a:lnTo>
                          <a:pt x="128" y="990"/>
                        </a:lnTo>
                        <a:lnTo>
                          <a:pt x="128" y="987"/>
                        </a:lnTo>
                        <a:lnTo>
                          <a:pt x="126" y="985"/>
                        </a:lnTo>
                        <a:lnTo>
                          <a:pt x="120" y="987"/>
                        </a:lnTo>
                        <a:lnTo>
                          <a:pt x="116" y="985"/>
                        </a:lnTo>
                        <a:lnTo>
                          <a:pt x="112" y="980"/>
                        </a:lnTo>
                        <a:lnTo>
                          <a:pt x="108" y="980"/>
                        </a:lnTo>
                        <a:lnTo>
                          <a:pt x="107" y="975"/>
                        </a:lnTo>
                        <a:lnTo>
                          <a:pt x="102" y="974"/>
                        </a:lnTo>
                        <a:lnTo>
                          <a:pt x="102" y="972"/>
                        </a:lnTo>
                        <a:lnTo>
                          <a:pt x="103" y="970"/>
                        </a:lnTo>
                        <a:lnTo>
                          <a:pt x="107" y="969"/>
                        </a:lnTo>
                        <a:lnTo>
                          <a:pt x="108" y="972"/>
                        </a:lnTo>
                        <a:lnTo>
                          <a:pt x="112" y="972"/>
                        </a:lnTo>
                        <a:lnTo>
                          <a:pt x="115" y="970"/>
                        </a:lnTo>
                        <a:lnTo>
                          <a:pt x="120" y="970"/>
                        </a:lnTo>
                        <a:lnTo>
                          <a:pt x="126" y="975"/>
                        </a:lnTo>
                        <a:lnTo>
                          <a:pt x="130" y="975"/>
                        </a:lnTo>
                        <a:lnTo>
                          <a:pt x="131" y="979"/>
                        </a:lnTo>
                        <a:lnTo>
                          <a:pt x="136" y="977"/>
                        </a:lnTo>
                        <a:lnTo>
                          <a:pt x="140" y="979"/>
                        </a:lnTo>
                        <a:lnTo>
                          <a:pt x="141" y="982"/>
                        </a:lnTo>
                        <a:lnTo>
                          <a:pt x="138" y="982"/>
                        </a:lnTo>
                        <a:lnTo>
                          <a:pt x="135" y="982"/>
                        </a:lnTo>
                        <a:lnTo>
                          <a:pt x="138" y="984"/>
                        </a:lnTo>
                        <a:lnTo>
                          <a:pt x="138" y="985"/>
                        </a:lnTo>
                        <a:lnTo>
                          <a:pt x="133" y="989"/>
                        </a:lnTo>
                        <a:lnTo>
                          <a:pt x="135" y="990"/>
                        </a:lnTo>
                        <a:lnTo>
                          <a:pt x="135" y="990"/>
                        </a:lnTo>
                        <a:close/>
                        <a:moveTo>
                          <a:pt x="141" y="990"/>
                        </a:moveTo>
                        <a:lnTo>
                          <a:pt x="138" y="993"/>
                        </a:lnTo>
                        <a:lnTo>
                          <a:pt x="138" y="995"/>
                        </a:lnTo>
                        <a:lnTo>
                          <a:pt x="141" y="995"/>
                        </a:lnTo>
                        <a:lnTo>
                          <a:pt x="143" y="992"/>
                        </a:lnTo>
                        <a:lnTo>
                          <a:pt x="145" y="990"/>
                        </a:lnTo>
                        <a:lnTo>
                          <a:pt x="143" y="989"/>
                        </a:lnTo>
                        <a:lnTo>
                          <a:pt x="141" y="990"/>
                        </a:lnTo>
                        <a:lnTo>
                          <a:pt x="141" y="990"/>
                        </a:lnTo>
                        <a:close/>
                        <a:moveTo>
                          <a:pt x="168" y="985"/>
                        </a:moveTo>
                        <a:lnTo>
                          <a:pt x="166" y="990"/>
                        </a:lnTo>
                        <a:lnTo>
                          <a:pt x="168" y="992"/>
                        </a:lnTo>
                        <a:lnTo>
                          <a:pt x="165" y="993"/>
                        </a:lnTo>
                        <a:lnTo>
                          <a:pt x="161" y="993"/>
                        </a:lnTo>
                        <a:lnTo>
                          <a:pt x="160" y="990"/>
                        </a:lnTo>
                        <a:lnTo>
                          <a:pt x="156" y="992"/>
                        </a:lnTo>
                        <a:lnTo>
                          <a:pt x="155" y="990"/>
                        </a:lnTo>
                        <a:lnTo>
                          <a:pt x="150" y="990"/>
                        </a:lnTo>
                        <a:lnTo>
                          <a:pt x="148" y="992"/>
                        </a:lnTo>
                        <a:lnTo>
                          <a:pt x="146" y="989"/>
                        </a:lnTo>
                        <a:lnTo>
                          <a:pt x="143" y="987"/>
                        </a:lnTo>
                        <a:lnTo>
                          <a:pt x="143" y="984"/>
                        </a:lnTo>
                        <a:lnTo>
                          <a:pt x="150" y="984"/>
                        </a:lnTo>
                        <a:lnTo>
                          <a:pt x="151" y="982"/>
                        </a:lnTo>
                        <a:lnTo>
                          <a:pt x="160" y="985"/>
                        </a:lnTo>
                        <a:lnTo>
                          <a:pt x="161" y="987"/>
                        </a:lnTo>
                        <a:lnTo>
                          <a:pt x="163" y="985"/>
                        </a:lnTo>
                        <a:lnTo>
                          <a:pt x="166" y="985"/>
                        </a:lnTo>
                        <a:lnTo>
                          <a:pt x="168" y="985"/>
                        </a:lnTo>
                        <a:lnTo>
                          <a:pt x="168" y="985"/>
                        </a:lnTo>
                        <a:close/>
                        <a:moveTo>
                          <a:pt x="181" y="985"/>
                        </a:moveTo>
                        <a:lnTo>
                          <a:pt x="176" y="980"/>
                        </a:lnTo>
                        <a:lnTo>
                          <a:pt x="180" y="979"/>
                        </a:lnTo>
                        <a:lnTo>
                          <a:pt x="178" y="975"/>
                        </a:lnTo>
                        <a:lnTo>
                          <a:pt x="178" y="974"/>
                        </a:lnTo>
                        <a:lnTo>
                          <a:pt x="175" y="970"/>
                        </a:lnTo>
                        <a:lnTo>
                          <a:pt x="175" y="965"/>
                        </a:lnTo>
                        <a:lnTo>
                          <a:pt x="171" y="964"/>
                        </a:lnTo>
                        <a:lnTo>
                          <a:pt x="170" y="969"/>
                        </a:lnTo>
                        <a:lnTo>
                          <a:pt x="168" y="972"/>
                        </a:lnTo>
                        <a:lnTo>
                          <a:pt x="171" y="975"/>
                        </a:lnTo>
                        <a:lnTo>
                          <a:pt x="170" y="979"/>
                        </a:lnTo>
                        <a:lnTo>
                          <a:pt x="170" y="982"/>
                        </a:lnTo>
                        <a:lnTo>
                          <a:pt x="173" y="984"/>
                        </a:lnTo>
                        <a:lnTo>
                          <a:pt x="178" y="985"/>
                        </a:lnTo>
                        <a:lnTo>
                          <a:pt x="180" y="987"/>
                        </a:lnTo>
                        <a:lnTo>
                          <a:pt x="181" y="985"/>
                        </a:lnTo>
                        <a:lnTo>
                          <a:pt x="181" y="985"/>
                        </a:lnTo>
                        <a:close/>
                        <a:moveTo>
                          <a:pt x="163" y="1017"/>
                        </a:moveTo>
                        <a:lnTo>
                          <a:pt x="168" y="1015"/>
                        </a:lnTo>
                        <a:lnTo>
                          <a:pt x="170" y="1017"/>
                        </a:lnTo>
                        <a:lnTo>
                          <a:pt x="166" y="1020"/>
                        </a:lnTo>
                        <a:lnTo>
                          <a:pt x="163" y="1017"/>
                        </a:lnTo>
                        <a:lnTo>
                          <a:pt x="163" y="1017"/>
                        </a:lnTo>
                        <a:close/>
                        <a:moveTo>
                          <a:pt x="165" y="1013"/>
                        </a:moveTo>
                        <a:lnTo>
                          <a:pt x="163" y="1012"/>
                        </a:lnTo>
                        <a:lnTo>
                          <a:pt x="165" y="1008"/>
                        </a:lnTo>
                        <a:lnTo>
                          <a:pt x="168" y="1010"/>
                        </a:lnTo>
                        <a:lnTo>
                          <a:pt x="168" y="1013"/>
                        </a:lnTo>
                        <a:lnTo>
                          <a:pt x="165" y="1013"/>
                        </a:lnTo>
                        <a:lnTo>
                          <a:pt x="165" y="1013"/>
                        </a:lnTo>
                        <a:close/>
                        <a:moveTo>
                          <a:pt x="259" y="1037"/>
                        </a:moveTo>
                        <a:lnTo>
                          <a:pt x="258" y="1033"/>
                        </a:lnTo>
                        <a:lnTo>
                          <a:pt x="261" y="1030"/>
                        </a:lnTo>
                        <a:lnTo>
                          <a:pt x="259" y="1028"/>
                        </a:lnTo>
                        <a:lnTo>
                          <a:pt x="263" y="1030"/>
                        </a:lnTo>
                        <a:lnTo>
                          <a:pt x="263" y="1033"/>
                        </a:lnTo>
                        <a:lnTo>
                          <a:pt x="263" y="1037"/>
                        </a:lnTo>
                        <a:lnTo>
                          <a:pt x="259" y="1037"/>
                        </a:lnTo>
                        <a:lnTo>
                          <a:pt x="259" y="1037"/>
                        </a:lnTo>
                        <a:close/>
                        <a:moveTo>
                          <a:pt x="200" y="1013"/>
                        </a:moveTo>
                        <a:lnTo>
                          <a:pt x="203" y="1013"/>
                        </a:lnTo>
                        <a:lnTo>
                          <a:pt x="208" y="1013"/>
                        </a:lnTo>
                        <a:lnTo>
                          <a:pt x="210" y="1012"/>
                        </a:lnTo>
                        <a:lnTo>
                          <a:pt x="214" y="1013"/>
                        </a:lnTo>
                        <a:lnTo>
                          <a:pt x="226" y="1010"/>
                        </a:lnTo>
                        <a:lnTo>
                          <a:pt x="233" y="1008"/>
                        </a:lnTo>
                        <a:lnTo>
                          <a:pt x="241" y="1008"/>
                        </a:lnTo>
                        <a:lnTo>
                          <a:pt x="246" y="1008"/>
                        </a:lnTo>
                        <a:lnTo>
                          <a:pt x="254" y="1008"/>
                        </a:lnTo>
                        <a:lnTo>
                          <a:pt x="258" y="1008"/>
                        </a:lnTo>
                        <a:lnTo>
                          <a:pt x="259" y="1013"/>
                        </a:lnTo>
                        <a:lnTo>
                          <a:pt x="261" y="1015"/>
                        </a:lnTo>
                        <a:lnTo>
                          <a:pt x="259" y="1017"/>
                        </a:lnTo>
                        <a:lnTo>
                          <a:pt x="256" y="1020"/>
                        </a:lnTo>
                        <a:lnTo>
                          <a:pt x="253" y="1017"/>
                        </a:lnTo>
                        <a:lnTo>
                          <a:pt x="251" y="1015"/>
                        </a:lnTo>
                        <a:lnTo>
                          <a:pt x="246" y="1018"/>
                        </a:lnTo>
                        <a:lnTo>
                          <a:pt x="241" y="1018"/>
                        </a:lnTo>
                        <a:lnTo>
                          <a:pt x="238" y="1017"/>
                        </a:lnTo>
                        <a:lnTo>
                          <a:pt x="236" y="1012"/>
                        </a:lnTo>
                        <a:lnTo>
                          <a:pt x="233" y="1012"/>
                        </a:lnTo>
                        <a:lnTo>
                          <a:pt x="229" y="1015"/>
                        </a:lnTo>
                        <a:lnTo>
                          <a:pt x="226" y="1015"/>
                        </a:lnTo>
                        <a:lnTo>
                          <a:pt x="219" y="1017"/>
                        </a:lnTo>
                        <a:lnTo>
                          <a:pt x="224" y="1020"/>
                        </a:lnTo>
                        <a:lnTo>
                          <a:pt x="226" y="1018"/>
                        </a:lnTo>
                        <a:lnTo>
                          <a:pt x="231" y="1020"/>
                        </a:lnTo>
                        <a:lnTo>
                          <a:pt x="234" y="1022"/>
                        </a:lnTo>
                        <a:lnTo>
                          <a:pt x="233" y="1023"/>
                        </a:lnTo>
                        <a:lnTo>
                          <a:pt x="236" y="1025"/>
                        </a:lnTo>
                        <a:lnTo>
                          <a:pt x="241" y="1028"/>
                        </a:lnTo>
                        <a:lnTo>
                          <a:pt x="241" y="1033"/>
                        </a:lnTo>
                        <a:lnTo>
                          <a:pt x="239" y="1032"/>
                        </a:lnTo>
                        <a:lnTo>
                          <a:pt x="234" y="1028"/>
                        </a:lnTo>
                        <a:lnTo>
                          <a:pt x="231" y="1027"/>
                        </a:lnTo>
                        <a:lnTo>
                          <a:pt x="226" y="1028"/>
                        </a:lnTo>
                        <a:lnTo>
                          <a:pt x="223" y="1027"/>
                        </a:lnTo>
                        <a:lnTo>
                          <a:pt x="221" y="1023"/>
                        </a:lnTo>
                        <a:lnTo>
                          <a:pt x="216" y="1023"/>
                        </a:lnTo>
                        <a:lnTo>
                          <a:pt x="216" y="1025"/>
                        </a:lnTo>
                        <a:lnTo>
                          <a:pt x="219" y="1027"/>
                        </a:lnTo>
                        <a:lnTo>
                          <a:pt x="219" y="1030"/>
                        </a:lnTo>
                        <a:lnTo>
                          <a:pt x="218" y="1030"/>
                        </a:lnTo>
                        <a:lnTo>
                          <a:pt x="211" y="1028"/>
                        </a:lnTo>
                        <a:lnTo>
                          <a:pt x="208" y="1030"/>
                        </a:lnTo>
                        <a:lnTo>
                          <a:pt x="208" y="1027"/>
                        </a:lnTo>
                        <a:lnTo>
                          <a:pt x="205" y="1027"/>
                        </a:lnTo>
                        <a:lnTo>
                          <a:pt x="206" y="1023"/>
                        </a:lnTo>
                        <a:lnTo>
                          <a:pt x="203" y="1025"/>
                        </a:lnTo>
                        <a:lnTo>
                          <a:pt x="198" y="1023"/>
                        </a:lnTo>
                        <a:lnTo>
                          <a:pt x="198" y="1022"/>
                        </a:lnTo>
                        <a:lnTo>
                          <a:pt x="203" y="1020"/>
                        </a:lnTo>
                        <a:lnTo>
                          <a:pt x="210" y="1017"/>
                        </a:lnTo>
                        <a:lnTo>
                          <a:pt x="206" y="1015"/>
                        </a:lnTo>
                        <a:lnTo>
                          <a:pt x="203" y="1017"/>
                        </a:lnTo>
                        <a:lnTo>
                          <a:pt x="200" y="1013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solidFill>
                      <a:schemeClr val="bg2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91425" tIns="45700" rIns="91425" bIns="45700" anchor="t" anchorCtr="0">
                    <a:noAutofit/>
                  </a:bodyPr>
                  <a:lstStyle/>
                  <a:p>
                    <a:pPr marL="0" marR="0" lvl="0" indent="0" algn="l" defTabSz="1371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A091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/>
                      <a:cs typeface="Arial" panose="020B0604020202020204" pitchFamily="34" charset="0"/>
                      <a:sym typeface="Calibri"/>
                    </a:endParaRPr>
                  </a:p>
                </p:txBody>
              </p:sp>
            </p:grpSp>
            <p:sp>
              <p:nvSpPr>
                <p:cNvPr id="519" name="Google Shape;3138;p98">
                  <a:extLst>
                    <a:ext uri="{FF2B5EF4-FFF2-40B4-BE49-F238E27FC236}">
                      <a16:creationId xmlns:a16="http://schemas.microsoft.com/office/drawing/2014/main" id="{F7DC66BB-BFA7-9798-D229-C7307C576C35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20" name="Google Shape;3139;p98">
                  <a:extLst>
                    <a:ext uri="{FF2B5EF4-FFF2-40B4-BE49-F238E27FC236}">
                      <a16:creationId xmlns:a16="http://schemas.microsoft.com/office/drawing/2014/main" id="{8A75A067-C9AC-F2D3-06A1-3F68E57FAA18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21" name="Google Shape;3140;p98">
                  <a:extLst>
                    <a:ext uri="{FF2B5EF4-FFF2-40B4-BE49-F238E27FC236}">
                      <a16:creationId xmlns:a16="http://schemas.microsoft.com/office/drawing/2014/main" id="{48AC1B58-19B4-46E7-21C3-2E839A4EEB38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22" name="Google Shape;3141;p98">
                  <a:extLst>
                    <a:ext uri="{FF2B5EF4-FFF2-40B4-BE49-F238E27FC236}">
                      <a16:creationId xmlns:a16="http://schemas.microsoft.com/office/drawing/2014/main" id="{5A4CD02A-37E9-7EDD-10EE-6FC05B4A119D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23" name="Google Shape;3142;p98">
                  <a:extLst>
                    <a:ext uri="{FF2B5EF4-FFF2-40B4-BE49-F238E27FC236}">
                      <a16:creationId xmlns:a16="http://schemas.microsoft.com/office/drawing/2014/main" id="{1A4F2797-EAB1-AEC8-FF16-7572CA0BB6FA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24" name="Google Shape;3143;p98">
                  <a:extLst>
                    <a:ext uri="{FF2B5EF4-FFF2-40B4-BE49-F238E27FC236}">
                      <a16:creationId xmlns:a16="http://schemas.microsoft.com/office/drawing/2014/main" id="{A584AD76-B290-E56E-9AFB-3F597C75C07E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25" name="Google Shape;3144;p98">
                  <a:extLst>
                    <a:ext uri="{FF2B5EF4-FFF2-40B4-BE49-F238E27FC236}">
                      <a16:creationId xmlns:a16="http://schemas.microsoft.com/office/drawing/2014/main" id="{7BEF40F5-8B70-121A-A0A4-873C5D103AEA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26" name="Google Shape;3145;p98">
                  <a:extLst>
                    <a:ext uri="{FF2B5EF4-FFF2-40B4-BE49-F238E27FC236}">
                      <a16:creationId xmlns:a16="http://schemas.microsoft.com/office/drawing/2014/main" id="{A1863568-0F9B-36CC-7184-2F818C69A128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27" name="Google Shape;3146;p98">
                  <a:extLst>
                    <a:ext uri="{FF2B5EF4-FFF2-40B4-BE49-F238E27FC236}">
                      <a16:creationId xmlns:a16="http://schemas.microsoft.com/office/drawing/2014/main" id="{C56BA706-9A7B-0446-9D8C-ECE7A7F310CD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28" name="Google Shape;3147;p98">
                  <a:extLst>
                    <a:ext uri="{FF2B5EF4-FFF2-40B4-BE49-F238E27FC236}">
                      <a16:creationId xmlns:a16="http://schemas.microsoft.com/office/drawing/2014/main" id="{33058E04-5DEF-B9C9-96E2-B4C839DA1A0C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29" name="Google Shape;3148;p98">
                  <a:extLst>
                    <a:ext uri="{FF2B5EF4-FFF2-40B4-BE49-F238E27FC236}">
                      <a16:creationId xmlns:a16="http://schemas.microsoft.com/office/drawing/2014/main" id="{1430937D-ACDE-5EC6-9EE2-8AE47CD07779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30" name="Google Shape;3149;p98">
                  <a:extLst>
                    <a:ext uri="{FF2B5EF4-FFF2-40B4-BE49-F238E27FC236}">
                      <a16:creationId xmlns:a16="http://schemas.microsoft.com/office/drawing/2014/main" id="{7487F203-FE6C-E797-724C-36FEF6E5C31A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31" name="Google Shape;3150;p98">
                  <a:extLst>
                    <a:ext uri="{FF2B5EF4-FFF2-40B4-BE49-F238E27FC236}">
                      <a16:creationId xmlns:a16="http://schemas.microsoft.com/office/drawing/2014/main" id="{29DB7507-D12B-2583-42D3-D161E112130D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32" name="Google Shape;3151;p98">
                  <a:extLst>
                    <a:ext uri="{FF2B5EF4-FFF2-40B4-BE49-F238E27FC236}">
                      <a16:creationId xmlns:a16="http://schemas.microsoft.com/office/drawing/2014/main" id="{C7AD0928-08C9-46D9-3A8D-7812770E3EDB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33" name="Google Shape;3152;p98">
                  <a:extLst>
                    <a:ext uri="{FF2B5EF4-FFF2-40B4-BE49-F238E27FC236}">
                      <a16:creationId xmlns:a16="http://schemas.microsoft.com/office/drawing/2014/main" id="{76EAF0F6-3CE0-58E6-533F-C9BB85424069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34" name="Google Shape;3153;p98">
                  <a:extLst>
                    <a:ext uri="{FF2B5EF4-FFF2-40B4-BE49-F238E27FC236}">
                      <a16:creationId xmlns:a16="http://schemas.microsoft.com/office/drawing/2014/main" id="{457DAF60-30A6-4CD6-3DEC-995119AD7237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35" name="Google Shape;3154;p98">
                  <a:extLst>
                    <a:ext uri="{FF2B5EF4-FFF2-40B4-BE49-F238E27FC236}">
                      <a16:creationId xmlns:a16="http://schemas.microsoft.com/office/drawing/2014/main" id="{5B8F796E-5353-6875-00E6-E559EF2C91D0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36" name="Google Shape;3155;p98">
                  <a:extLst>
                    <a:ext uri="{FF2B5EF4-FFF2-40B4-BE49-F238E27FC236}">
                      <a16:creationId xmlns:a16="http://schemas.microsoft.com/office/drawing/2014/main" id="{D1D8CEA7-DF2C-CDA9-71B2-771A1651CCFC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37" name="Google Shape;3156;p98">
                  <a:extLst>
                    <a:ext uri="{FF2B5EF4-FFF2-40B4-BE49-F238E27FC236}">
                      <a16:creationId xmlns:a16="http://schemas.microsoft.com/office/drawing/2014/main" id="{F53BAC32-046C-B144-2A92-B6F4EE8DF759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38" name="Google Shape;3157;p98">
                  <a:extLst>
                    <a:ext uri="{FF2B5EF4-FFF2-40B4-BE49-F238E27FC236}">
                      <a16:creationId xmlns:a16="http://schemas.microsoft.com/office/drawing/2014/main" id="{FC08DD4C-B315-CDC5-DAFD-D6731E9E1E8B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39" name="Google Shape;3158;p98">
                  <a:extLst>
                    <a:ext uri="{FF2B5EF4-FFF2-40B4-BE49-F238E27FC236}">
                      <a16:creationId xmlns:a16="http://schemas.microsoft.com/office/drawing/2014/main" id="{BFF6E061-3B10-079F-77B4-5371BC80A7AF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40" name="Google Shape;3159;p98">
                  <a:extLst>
                    <a:ext uri="{FF2B5EF4-FFF2-40B4-BE49-F238E27FC236}">
                      <a16:creationId xmlns:a16="http://schemas.microsoft.com/office/drawing/2014/main" id="{73FB869B-BF02-73EA-6221-043D8DD493F2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41" name="Google Shape;3160;p98">
                  <a:extLst>
                    <a:ext uri="{FF2B5EF4-FFF2-40B4-BE49-F238E27FC236}">
                      <a16:creationId xmlns:a16="http://schemas.microsoft.com/office/drawing/2014/main" id="{9A2D94D3-F4EE-5DF8-6FC6-A2454FEA2C35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42" name="Google Shape;3161;p98">
                  <a:extLst>
                    <a:ext uri="{FF2B5EF4-FFF2-40B4-BE49-F238E27FC236}">
                      <a16:creationId xmlns:a16="http://schemas.microsoft.com/office/drawing/2014/main" id="{3EF8D111-41EF-D6DD-0B41-77C3208DE71A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43" name="Google Shape;3162;p98">
                  <a:extLst>
                    <a:ext uri="{FF2B5EF4-FFF2-40B4-BE49-F238E27FC236}">
                      <a16:creationId xmlns:a16="http://schemas.microsoft.com/office/drawing/2014/main" id="{A8B91A93-35AB-6CFA-D081-36652708B176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44" name="Google Shape;3163;p98">
                  <a:extLst>
                    <a:ext uri="{FF2B5EF4-FFF2-40B4-BE49-F238E27FC236}">
                      <a16:creationId xmlns:a16="http://schemas.microsoft.com/office/drawing/2014/main" id="{DA7B1F59-6782-473E-4B5B-33076EA3A59F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45" name="Google Shape;3164;p98">
                  <a:extLst>
                    <a:ext uri="{FF2B5EF4-FFF2-40B4-BE49-F238E27FC236}">
                      <a16:creationId xmlns:a16="http://schemas.microsoft.com/office/drawing/2014/main" id="{CAA206E7-0E45-F9EE-3DEB-0C8561A053E9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46" name="Google Shape;3165;p98">
                  <a:extLst>
                    <a:ext uri="{FF2B5EF4-FFF2-40B4-BE49-F238E27FC236}">
                      <a16:creationId xmlns:a16="http://schemas.microsoft.com/office/drawing/2014/main" id="{5571083E-9AF4-688A-2F2F-02CA0B4B51E3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47" name="Google Shape;3166;p98">
                  <a:extLst>
                    <a:ext uri="{FF2B5EF4-FFF2-40B4-BE49-F238E27FC236}">
                      <a16:creationId xmlns:a16="http://schemas.microsoft.com/office/drawing/2014/main" id="{D7E4F47D-C4D0-664F-1292-106303E330EB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48" name="Google Shape;3167;p98">
                  <a:extLst>
                    <a:ext uri="{FF2B5EF4-FFF2-40B4-BE49-F238E27FC236}">
                      <a16:creationId xmlns:a16="http://schemas.microsoft.com/office/drawing/2014/main" id="{88DCF101-F1A7-543C-BB89-413EABE7B2FA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49" name="Google Shape;3168;p98">
                  <a:extLst>
                    <a:ext uri="{FF2B5EF4-FFF2-40B4-BE49-F238E27FC236}">
                      <a16:creationId xmlns:a16="http://schemas.microsoft.com/office/drawing/2014/main" id="{A52F061B-C141-E355-67A3-687F7D026727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50" name="Google Shape;3169;p98">
                  <a:extLst>
                    <a:ext uri="{FF2B5EF4-FFF2-40B4-BE49-F238E27FC236}">
                      <a16:creationId xmlns:a16="http://schemas.microsoft.com/office/drawing/2014/main" id="{A0FC5C46-F96A-E0B2-DAF4-1D809C886E6B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51" name="Google Shape;3170;p98">
                  <a:extLst>
                    <a:ext uri="{FF2B5EF4-FFF2-40B4-BE49-F238E27FC236}">
                      <a16:creationId xmlns:a16="http://schemas.microsoft.com/office/drawing/2014/main" id="{7B2985FF-ED3D-74E1-A435-B9CA9F4A1165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52" name="Google Shape;3171;p98">
                  <a:extLst>
                    <a:ext uri="{FF2B5EF4-FFF2-40B4-BE49-F238E27FC236}">
                      <a16:creationId xmlns:a16="http://schemas.microsoft.com/office/drawing/2014/main" id="{33B6CC50-BB6C-A976-E3CD-9780A642AC30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53" name="Google Shape;3172;p98">
                  <a:extLst>
                    <a:ext uri="{FF2B5EF4-FFF2-40B4-BE49-F238E27FC236}">
                      <a16:creationId xmlns:a16="http://schemas.microsoft.com/office/drawing/2014/main" id="{4DCC80EE-8301-7391-E1FA-D873E5ABCD92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54" name="Google Shape;3173;p98">
                  <a:extLst>
                    <a:ext uri="{FF2B5EF4-FFF2-40B4-BE49-F238E27FC236}">
                      <a16:creationId xmlns:a16="http://schemas.microsoft.com/office/drawing/2014/main" id="{7C840332-46C4-F35D-4C67-B4C78024EFDE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55" name="Google Shape;3174;p98">
                  <a:extLst>
                    <a:ext uri="{FF2B5EF4-FFF2-40B4-BE49-F238E27FC236}">
                      <a16:creationId xmlns:a16="http://schemas.microsoft.com/office/drawing/2014/main" id="{69EECE71-D025-00AB-329F-69A29ED3B596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56" name="Google Shape;3175;p98">
                  <a:extLst>
                    <a:ext uri="{FF2B5EF4-FFF2-40B4-BE49-F238E27FC236}">
                      <a16:creationId xmlns:a16="http://schemas.microsoft.com/office/drawing/2014/main" id="{BD6E06FD-ABDC-507B-6AAD-A3F4F04B0113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57" name="Google Shape;3176;p98">
                  <a:extLst>
                    <a:ext uri="{FF2B5EF4-FFF2-40B4-BE49-F238E27FC236}">
                      <a16:creationId xmlns:a16="http://schemas.microsoft.com/office/drawing/2014/main" id="{9EB4C183-8D41-98EB-D5E9-008DCAB84F25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58" name="Google Shape;3177;p98">
                  <a:extLst>
                    <a:ext uri="{FF2B5EF4-FFF2-40B4-BE49-F238E27FC236}">
                      <a16:creationId xmlns:a16="http://schemas.microsoft.com/office/drawing/2014/main" id="{ABEE09A0-9D56-1AFF-06CE-E4B8B0749D5A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59" name="Google Shape;3178;p98">
                  <a:extLst>
                    <a:ext uri="{FF2B5EF4-FFF2-40B4-BE49-F238E27FC236}">
                      <a16:creationId xmlns:a16="http://schemas.microsoft.com/office/drawing/2014/main" id="{DCB532B5-B00A-BE8E-7064-6E2365514C3E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60" name="Google Shape;3179;p98">
                  <a:extLst>
                    <a:ext uri="{FF2B5EF4-FFF2-40B4-BE49-F238E27FC236}">
                      <a16:creationId xmlns:a16="http://schemas.microsoft.com/office/drawing/2014/main" id="{B7593984-B8D4-2045-AB77-9FE260171266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61" name="Google Shape;3180;p98">
                  <a:extLst>
                    <a:ext uri="{FF2B5EF4-FFF2-40B4-BE49-F238E27FC236}">
                      <a16:creationId xmlns:a16="http://schemas.microsoft.com/office/drawing/2014/main" id="{151E7A2E-4DD2-7811-7228-1B4E5997E891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62" name="Google Shape;3181;p98">
                  <a:extLst>
                    <a:ext uri="{FF2B5EF4-FFF2-40B4-BE49-F238E27FC236}">
                      <a16:creationId xmlns:a16="http://schemas.microsoft.com/office/drawing/2014/main" id="{867ECF0C-3FB6-1C8C-4EC4-9CCD4C6FF8C9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63" name="Google Shape;3182;p98">
                  <a:extLst>
                    <a:ext uri="{FF2B5EF4-FFF2-40B4-BE49-F238E27FC236}">
                      <a16:creationId xmlns:a16="http://schemas.microsoft.com/office/drawing/2014/main" id="{47EBB1EF-4249-5C8A-08E2-F1C6D79B3EB8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64" name="Google Shape;3183;p98">
                  <a:extLst>
                    <a:ext uri="{FF2B5EF4-FFF2-40B4-BE49-F238E27FC236}">
                      <a16:creationId xmlns:a16="http://schemas.microsoft.com/office/drawing/2014/main" id="{521C860C-DBB1-6E3A-9685-6704B641A998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65" name="Google Shape;3184;p98">
                  <a:extLst>
                    <a:ext uri="{FF2B5EF4-FFF2-40B4-BE49-F238E27FC236}">
                      <a16:creationId xmlns:a16="http://schemas.microsoft.com/office/drawing/2014/main" id="{EFDA72FE-47D2-4775-984C-69E723C47C8E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66" name="Google Shape;3185;p98">
                  <a:extLst>
                    <a:ext uri="{FF2B5EF4-FFF2-40B4-BE49-F238E27FC236}">
                      <a16:creationId xmlns:a16="http://schemas.microsoft.com/office/drawing/2014/main" id="{76159763-4BEC-5EE4-5760-372F33967233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67" name="Google Shape;3186;p98">
                  <a:extLst>
                    <a:ext uri="{FF2B5EF4-FFF2-40B4-BE49-F238E27FC236}">
                      <a16:creationId xmlns:a16="http://schemas.microsoft.com/office/drawing/2014/main" id="{7171DB71-0B17-E15C-C661-F7C09D21C7EB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68" name="Google Shape;3187;p98">
                  <a:extLst>
                    <a:ext uri="{FF2B5EF4-FFF2-40B4-BE49-F238E27FC236}">
                      <a16:creationId xmlns:a16="http://schemas.microsoft.com/office/drawing/2014/main" id="{F383A5E9-5A25-722F-97BB-AE056D90B874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69" name="Google Shape;3188;p98">
                  <a:extLst>
                    <a:ext uri="{FF2B5EF4-FFF2-40B4-BE49-F238E27FC236}">
                      <a16:creationId xmlns:a16="http://schemas.microsoft.com/office/drawing/2014/main" id="{E4D75746-09C2-702A-93BD-02766AAFD12A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70" name="Google Shape;3189;p98">
                  <a:extLst>
                    <a:ext uri="{FF2B5EF4-FFF2-40B4-BE49-F238E27FC236}">
                      <a16:creationId xmlns:a16="http://schemas.microsoft.com/office/drawing/2014/main" id="{3BED2EDA-3634-8D27-27F3-7B1D255F6FEA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71" name="Google Shape;3190;p98">
                  <a:extLst>
                    <a:ext uri="{FF2B5EF4-FFF2-40B4-BE49-F238E27FC236}">
                      <a16:creationId xmlns:a16="http://schemas.microsoft.com/office/drawing/2014/main" id="{E0C6A567-0C65-43F7-3233-D7AC5FB33665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72" name="Google Shape;3191;p98">
                  <a:extLst>
                    <a:ext uri="{FF2B5EF4-FFF2-40B4-BE49-F238E27FC236}">
                      <a16:creationId xmlns:a16="http://schemas.microsoft.com/office/drawing/2014/main" id="{B4581E9F-855B-DA0E-B89C-BD7F420227CF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73" name="Google Shape;3192;p98">
                  <a:extLst>
                    <a:ext uri="{FF2B5EF4-FFF2-40B4-BE49-F238E27FC236}">
                      <a16:creationId xmlns:a16="http://schemas.microsoft.com/office/drawing/2014/main" id="{AA1B1516-632B-E670-A137-F3FBDDC02936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74" name="Google Shape;3193;p98">
                  <a:extLst>
                    <a:ext uri="{FF2B5EF4-FFF2-40B4-BE49-F238E27FC236}">
                      <a16:creationId xmlns:a16="http://schemas.microsoft.com/office/drawing/2014/main" id="{AE00FCA5-C8AA-999E-4225-2EE171F8FE06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75" name="Google Shape;3194;p98">
                  <a:extLst>
                    <a:ext uri="{FF2B5EF4-FFF2-40B4-BE49-F238E27FC236}">
                      <a16:creationId xmlns:a16="http://schemas.microsoft.com/office/drawing/2014/main" id="{C6135AA6-BDF5-09CA-D0B0-83E9AE52E283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76" name="Google Shape;3195;p98">
                  <a:extLst>
                    <a:ext uri="{FF2B5EF4-FFF2-40B4-BE49-F238E27FC236}">
                      <a16:creationId xmlns:a16="http://schemas.microsoft.com/office/drawing/2014/main" id="{C80A716A-7943-2433-2BBD-4E016F97F043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77" name="Google Shape;3196;p98">
                  <a:extLst>
                    <a:ext uri="{FF2B5EF4-FFF2-40B4-BE49-F238E27FC236}">
                      <a16:creationId xmlns:a16="http://schemas.microsoft.com/office/drawing/2014/main" id="{D3911753-3305-3BF5-C8FF-33995F91C76C}"/>
                    </a:ext>
                  </a:extLst>
                </p:cNvPr>
                <p:cNvSpPr/>
                <p:nvPr/>
              </p:nvSpPr>
              <p:spPr>
                <a:xfrm>
                  <a:off x="7541935" y="2306166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78" name="Google Shape;3197;p98">
                  <a:extLst>
                    <a:ext uri="{FF2B5EF4-FFF2-40B4-BE49-F238E27FC236}">
                      <a16:creationId xmlns:a16="http://schemas.microsoft.com/office/drawing/2014/main" id="{02A89A46-971F-7E49-DCD0-484800F75380}"/>
                    </a:ext>
                  </a:extLst>
                </p:cNvPr>
                <p:cNvSpPr/>
                <p:nvPr/>
              </p:nvSpPr>
              <p:spPr>
                <a:xfrm>
                  <a:off x="7541935" y="2306165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79" name="Google Shape;3198;p98">
                  <a:extLst>
                    <a:ext uri="{FF2B5EF4-FFF2-40B4-BE49-F238E27FC236}">
                      <a16:creationId xmlns:a16="http://schemas.microsoft.com/office/drawing/2014/main" id="{260C079E-013B-49D5-59A2-F5639D9E407A}"/>
                    </a:ext>
                  </a:extLst>
                </p:cNvPr>
                <p:cNvSpPr/>
                <p:nvPr/>
              </p:nvSpPr>
              <p:spPr>
                <a:xfrm>
                  <a:off x="7541938" y="2306300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80" name="Google Shape;3199;p98">
                  <a:extLst>
                    <a:ext uri="{FF2B5EF4-FFF2-40B4-BE49-F238E27FC236}">
                      <a16:creationId xmlns:a16="http://schemas.microsoft.com/office/drawing/2014/main" id="{6E0D53DE-B7CF-9C75-4375-2D6D4A2E2038}"/>
                    </a:ext>
                  </a:extLst>
                </p:cNvPr>
                <p:cNvSpPr/>
                <p:nvPr/>
              </p:nvSpPr>
              <p:spPr>
                <a:xfrm>
                  <a:off x="7540995" y="2306487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81" name="Google Shape;3200;p98">
                  <a:extLst>
                    <a:ext uri="{FF2B5EF4-FFF2-40B4-BE49-F238E27FC236}">
                      <a16:creationId xmlns:a16="http://schemas.microsoft.com/office/drawing/2014/main" id="{4EEFD4BA-B321-8F74-E3E8-A51DCB17B763}"/>
                    </a:ext>
                  </a:extLst>
                </p:cNvPr>
                <p:cNvSpPr/>
                <p:nvPr/>
              </p:nvSpPr>
              <p:spPr>
                <a:xfrm>
                  <a:off x="7540711" y="2306491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82" name="Google Shape;3201;p98">
                  <a:extLst>
                    <a:ext uri="{FF2B5EF4-FFF2-40B4-BE49-F238E27FC236}">
                      <a16:creationId xmlns:a16="http://schemas.microsoft.com/office/drawing/2014/main" id="{0D2C1B34-59FF-6372-5760-F65A674A9810}"/>
                    </a:ext>
                  </a:extLst>
                </p:cNvPr>
                <p:cNvSpPr/>
                <p:nvPr/>
              </p:nvSpPr>
              <p:spPr>
                <a:xfrm>
                  <a:off x="7540916" y="2306833"/>
                  <a:ext cx="1070" cy="1038"/>
                </a:xfrm>
                <a:prstGeom prst="rect">
                  <a:avLst/>
                </a:prstGeom>
                <a:grpFill/>
                <a:ln w="9525" cap="flat" cmpd="sng">
                  <a:solidFill>
                    <a:schemeClr val="bg2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A091B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</p:grpSp>
          <p:grpSp>
            <p:nvGrpSpPr>
              <p:cNvPr id="506" name="Google Shape;3235;p98">
                <a:extLst>
                  <a:ext uri="{FF2B5EF4-FFF2-40B4-BE49-F238E27FC236}">
                    <a16:creationId xmlns:a16="http://schemas.microsoft.com/office/drawing/2014/main" id="{92A57DF0-D63C-3E07-E60F-A2E610989875}"/>
                  </a:ext>
                </a:extLst>
              </p:cNvPr>
              <p:cNvGrpSpPr/>
              <p:nvPr/>
            </p:nvGrpSpPr>
            <p:grpSpPr>
              <a:xfrm>
                <a:off x="8585711" y="4681908"/>
                <a:ext cx="331382" cy="331370"/>
                <a:chOff x="4646588" y="2093143"/>
                <a:chExt cx="331382" cy="331370"/>
              </a:xfrm>
            </p:grpSpPr>
            <p:sp>
              <p:nvSpPr>
                <p:cNvPr id="511" name="Google Shape;3236;p98">
                  <a:extLst>
                    <a:ext uri="{FF2B5EF4-FFF2-40B4-BE49-F238E27FC236}">
                      <a16:creationId xmlns:a16="http://schemas.microsoft.com/office/drawing/2014/main" id="{39A6C07D-5B68-612B-F951-4E4E63339BD0}"/>
                    </a:ext>
                  </a:extLst>
                </p:cNvPr>
                <p:cNvSpPr/>
                <p:nvPr/>
              </p:nvSpPr>
              <p:spPr>
                <a:xfrm>
                  <a:off x="4646588" y="2093143"/>
                  <a:ext cx="331382" cy="331370"/>
                </a:xfrm>
                <a:prstGeom prst="ellipse">
                  <a:avLst/>
                </a:prstGeom>
                <a:solidFill>
                  <a:schemeClr val="accent2">
                    <a:alpha val="49803"/>
                  </a:schemeClr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343444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  <p:sp>
              <p:nvSpPr>
                <p:cNvPr id="512" name="Google Shape;3237;p98">
                  <a:extLst>
                    <a:ext uri="{FF2B5EF4-FFF2-40B4-BE49-F238E27FC236}">
                      <a16:creationId xmlns:a16="http://schemas.microsoft.com/office/drawing/2014/main" id="{FFAA583E-D917-D010-3D75-7531521B5C6F}"/>
                    </a:ext>
                  </a:extLst>
                </p:cNvPr>
                <p:cNvSpPr/>
                <p:nvPr/>
              </p:nvSpPr>
              <p:spPr>
                <a:xfrm>
                  <a:off x="4776763" y="2223313"/>
                  <a:ext cx="71032" cy="7103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ctr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343444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</p:grpSp>
          <p:cxnSp>
            <p:nvCxnSpPr>
              <p:cNvPr id="507" name="Google Shape;3248;p98">
                <a:extLst>
                  <a:ext uri="{FF2B5EF4-FFF2-40B4-BE49-F238E27FC236}">
                    <a16:creationId xmlns:a16="http://schemas.microsoft.com/office/drawing/2014/main" id="{78211D08-D692-9E7C-BE81-065BB41E1235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2594447" y="4027006"/>
                <a:ext cx="6058986" cy="809102"/>
              </a:xfrm>
              <a:prstGeom prst="bentConnector3">
                <a:avLst>
                  <a:gd name="adj1" fmla="val 50000"/>
                </a:avLst>
              </a:prstGeom>
              <a:noFill/>
              <a:ln w="12700" cap="flat" cmpd="sng">
                <a:solidFill>
                  <a:srgbClr val="281F76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grpSp>
            <p:nvGrpSpPr>
              <p:cNvPr id="508" name="Ομάδα 507">
                <a:extLst>
                  <a:ext uri="{FF2B5EF4-FFF2-40B4-BE49-F238E27FC236}">
                    <a16:creationId xmlns:a16="http://schemas.microsoft.com/office/drawing/2014/main" id="{5E658600-86A5-91F9-3B79-FCF426D65773}"/>
                  </a:ext>
                </a:extLst>
              </p:cNvPr>
              <p:cNvGrpSpPr/>
              <p:nvPr/>
            </p:nvGrpSpPr>
            <p:grpSpPr>
              <a:xfrm>
                <a:off x="6584617" y="8875507"/>
                <a:ext cx="5327775" cy="3149828"/>
                <a:chOff x="8145077" y="8164440"/>
                <a:chExt cx="5327775" cy="3149828"/>
              </a:xfrm>
            </p:grpSpPr>
            <p:sp>
              <p:nvSpPr>
                <p:cNvPr id="509" name="TextBox 508">
                  <a:extLst>
                    <a:ext uri="{FF2B5EF4-FFF2-40B4-BE49-F238E27FC236}">
                      <a16:creationId xmlns:a16="http://schemas.microsoft.com/office/drawing/2014/main" id="{673E6002-E770-7B33-7B56-265A5E16B8AF}"/>
                    </a:ext>
                  </a:extLst>
                </p:cNvPr>
                <p:cNvSpPr txBox="1"/>
                <p:nvPr/>
              </p:nvSpPr>
              <p:spPr>
                <a:xfrm>
                  <a:off x="9513745" y="8366970"/>
                  <a:ext cx="3959107" cy="294729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3600"/>
                    <a:buFontTx/>
                    <a:buNone/>
                    <a:tabLst/>
                    <a:defRPr/>
                  </a:pPr>
                  <a:r>
                    <a:rPr kumimoji="0" lang="el-GR" sz="2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Lato Light"/>
                      <a:cs typeface="Arial" panose="020B0604020202020204" pitchFamily="34" charset="0"/>
                      <a:sym typeface="Lato Light"/>
                    </a:rPr>
                    <a:t>36.000+ </a:t>
                  </a:r>
                  <a:r>
                    <a:rPr kumimoji="0" lang="el-GR" sz="2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Lato Light"/>
                      <a:cs typeface="Arial" panose="020B0604020202020204" pitchFamily="34" charset="0"/>
                      <a:sym typeface="Lato Light"/>
                    </a:rPr>
                    <a:t>επιχειρήσεις</a:t>
                  </a:r>
                </a:p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3600"/>
                    <a:buFontTx/>
                    <a:buNone/>
                    <a:tabLst/>
                    <a:defRPr/>
                  </a:pPr>
                  <a:r>
                    <a:rPr kumimoji="0" lang="el-GR" sz="2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Lato Light"/>
                      <a:cs typeface="Arial" panose="020B0604020202020204" pitchFamily="34" charset="0"/>
                      <a:sym typeface="Lato Light"/>
                    </a:rPr>
                    <a:t>37.000+ </a:t>
                  </a:r>
                  <a:r>
                    <a:rPr kumimoji="0" lang="el-GR" sz="2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Lato Light"/>
                      <a:cs typeface="Arial" panose="020B0604020202020204" pitchFamily="34" charset="0"/>
                      <a:sym typeface="Lato Light"/>
                    </a:rPr>
                    <a:t>επενδυτές</a:t>
                  </a:r>
                </a:p>
              </p:txBody>
            </p:sp>
            <p:sp>
              <p:nvSpPr>
                <p:cNvPr id="510" name="Google Shape;5693;p134">
                  <a:extLst>
                    <a:ext uri="{FF2B5EF4-FFF2-40B4-BE49-F238E27FC236}">
                      <a16:creationId xmlns:a16="http://schemas.microsoft.com/office/drawing/2014/main" id="{43C09787-19EB-C37E-010E-C01737A4251B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145077" y="8164440"/>
                  <a:ext cx="1187494" cy="119574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9" h="279" extrusionOk="0">
                      <a:moveTo>
                        <a:pt x="279" y="139"/>
                      </a:moveTo>
                      <a:cubicBezTo>
                        <a:pt x="279" y="217"/>
                        <a:pt x="218" y="279"/>
                        <a:pt x="140" y="279"/>
                      </a:cubicBezTo>
                      <a:cubicBezTo>
                        <a:pt x="62" y="279"/>
                        <a:pt x="0" y="217"/>
                        <a:pt x="0" y="139"/>
                      </a:cubicBezTo>
                      <a:cubicBezTo>
                        <a:pt x="0" y="62"/>
                        <a:pt x="62" y="0"/>
                        <a:pt x="140" y="0"/>
                      </a:cubicBezTo>
                      <a:cubicBezTo>
                        <a:pt x="218" y="0"/>
                        <a:pt x="279" y="62"/>
                        <a:pt x="279" y="139"/>
                      </a:cubicBezTo>
                      <a:close/>
                      <a:moveTo>
                        <a:pt x="72" y="175"/>
                      </a:moveTo>
                      <a:cubicBezTo>
                        <a:pt x="70" y="164"/>
                        <a:pt x="70" y="152"/>
                        <a:pt x="70" y="140"/>
                      </a:cubicBezTo>
                      <a:cubicBezTo>
                        <a:pt x="70" y="132"/>
                        <a:pt x="70" y="125"/>
                        <a:pt x="71" y="117"/>
                      </a:cubicBezTo>
                      <a:cubicBezTo>
                        <a:pt x="51" y="113"/>
                        <a:pt x="39" y="110"/>
                        <a:pt x="30" y="106"/>
                      </a:cubicBezTo>
                      <a:cubicBezTo>
                        <a:pt x="27" y="116"/>
                        <a:pt x="26" y="128"/>
                        <a:pt x="26" y="139"/>
                      </a:cubicBezTo>
                      <a:cubicBezTo>
                        <a:pt x="26" y="145"/>
                        <a:pt x="26" y="150"/>
                        <a:pt x="26" y="155"/>
                      </a:cubicBezTo>
                      <a:cubicBezTo>
                        <a:pt x="32" y="161"/>
                        <a:pt x="46" y="170"/>
                        <a:pt x="72" y="175"/>
                      </a:cubicBezTo>
                      <a:close/>
                      <a:moveTo>
                        <a:pt x="96" y="244"/>
                      </a:moveTo>
                      <a:cubicBezTo>
                        <a:pt x="86" y="230"/>
                        <a:pt x="79" y="213"/>
                        <a:pt x="75" y="192"/>
                      </a:cubicBezTo>
                      <a:cubicBezTo>
                        <a:pt x="58" y="188"/>
                        <a:pt x="42" y="183"/>
                        <a:pt x="32" y="178"/>
                      </a:cubicBezTo>
                      <a:cubicBezTo>
                        <a:pt x="39" y="194"/>
                        <a:pt x="47" y="208"/>
                        <a:pt x="59" y="220"/>
                      </a:cubicBezTo>
                      <a:cubicBezTo>
                        <a:pt x="70" y="231"/>
                        <a:pt x="82" y="239"/>
                        <a:pt x="96" y="244"/>
                      </a:cubicBezTo>
                      <a:close/>
                      <a:moveTo>
                        <a:pt x="37" y="91"/>
                      </a:moveTo>
                      <a:cubicBezTo>
                        <a:pt x="41" y="94"/>
                        <a:pt x="47" y="95"/>
                        <a:pt x="73" y="102"/>
                      </a:cubicBezTo>
                      <a:cubicBezTo>
                        <a:pt x="77" y="74"/>
                        <a:pt x="86" y="51"/>
                        <a:pt x="98" y="34"/>
                      </a:cubicBezTo>
                      <a:cubicBezTo>
                        <a:pt x="84" y="41"/>
                        <a:pt x="71" y="47"/>
                        <a:pt x="59" y="59"/>
                      </a:cubicBezTo>
                      <a:cubicBezTo>
                        <a:pt x="49" y="68"/>
                        <a:pt x="42" y="80"/>
                        <a:pt x="37" y="91"/>
                      </a:cubicBezTo>
                      <a:close/>
                      <a:moveTo>
                        <a:pt x="88" y="178"/>
                      </a:moveTo>
                      <a:cubicBezTo>
                        <a:pt x="102" y="180"/>
                        <a:pt x="117" y="182"/>
                        <a:pt x="131" y="182"/>
                      </a:cubicBezTo>
                      <a:cubicBezTo>
                        <a:pt x="131" y="121"/>
                        <a:pt x="131" y="121"/>
                        <a:pt x="131" y="121"/>
                      </a:cubicBezTo>
                      <a:cubicBezTo>
                        <a:pt x="116" y="121"/>
                        <a:pt x="100" y="120"/>
                        <a:pt x="86" y="118"/>
                      </a:cubicBezTo>
                      <a:cubicBezTo>
                        <a:pt x="86" y="126"/>
                        <a:pt x="85" y="133"/>
                        <a:pt x="85" y="140"/>
                      </a:cubicBezTo>
                      <a:cubicBezTo>
                        <a:pt x="85" y="153"/>
                        <a:pt x="86" y="166"/>
                        <a:pt x="88" y="178"/>
                      </a:cubicBezTo>
                      <a:close/>
                      <a:moveTo>
                        <a:pt x="88" y="104"/>
                      </a:moveTo>
                      <a:cubicBezTo>
                        <a:pt x="102" y="105"/>
                        <a:pt x="117" y="106"/>
                        <a:pt x="131" y="106"/>
                      </a:cubicBezTo>
                      <a:cubicBezTo>
                        <a:pt x="131" y="26"/>
                        <a:pt x="131" y="26"/>
                        <a:pt x="131" y="26"/>
                      </a:cubicBezTo>
                      <a:cubicBezTo>
                        <a:pt x="131" y="26"/>
                        <a:pt x="131" y="26"/>
                        <a:pt x="130" y="26"/>
                      </a:cubicBezTo>
                      <a:cubicBezTo>
                        <a:pt x="111" y="34"/>
                        <a:pt x="95" y="64"/>
                        <a:pt x="88" y="104"/>
                      </a:cubicBezTo>
                      <a:close/>
                      <a:moveTo>
                        <a:pt x="131" y="253"/>
                      </a:moveTo>
                      <a:cubicBezTo>
                        <a:pt x="131" y="197"/>
                        <a:pt x="131" y="197"/>
                        <a:pt x="131" y="197"/>
                      </a:cubicBezTo>
                      <a:cubicBezTo>
                        <a:pt x="118" y="197"/>
                        <a:pt x="104" y="196"/>
                        <a:pt x="92" y="195"/>
                      </a:cubicBezTo>
                      <a:cubicBezTo>
                        <a:pt x="94" y="206"/>
                        <a:pt x="98" y="216"/>
                        <a:pt x="103" y="225"/>
                      </a:cubicBezTo>
                      <a:cubicBezTo>
                        <a:pt x="110" y="240"/>
                        <a:pt x="120" y="253"/>
                        <a:pt x="131" y="253"/>
                      </a:cubicBezTo>
                      <a:close/>
                      <a:moveTo>
                        <a:pt x="148" y="26"/>
                      </a:moveTo>
                      <a:cubicBezTo>
                        <a:pt x="148" y="106"/>
                        <a:pt x="148" y="106"/>
                        <a:pt x="148" y="106"/>
                      </a:cubicBezTo>
                      <a:cubicBezTo>
                        <a:pt x="163" y="106"/>
                        <a:pt x="177" y="105"/>
                        <a:pt x="192" y="104"/>
                      </a:cubicBezTo>
                      <a:cubicBezTo>
                        <a:pt x="186" y="73"/>
                        <a:pt x="173" y="46"/>
                        <a:pt x="159" y="32"/>
                      </a:cubicBezTo>
                      <a:cubicBezTo>
                        <a:pt x="155" y="30"/>
                        <a:pt x="151" y="26"/>
                        <a:pt x="148" y="26"/>
                      </a:cubicBezTo>
                      <a:close/>
                      <a:moveTo>
                        <a:pt x="191" y="178"/>
                      </a:moveTo>
                      <a:cubicBezTo>
                        <a:pt x="193" y="167"/>
                        <a:pt x="194" y="153"/>
                        <a:pt x="194" y="140"/>
                      </a:cubicBezTo>
                      <a:cubicBezTo>
                        <a:pt x="194" y="133"/>
                        <a:pt x="194" y="126"/>
                        <a:pt x="193" y="119"/>
                      </a:cubicBezTo>
                      <a:cubicBezTo>
                        <a:pt x="179" y="120"/>
                        <a:pt x="164" y="121"/>
                        <a:pt x="148" y="121"/>
                      </a:cubicBezTo>
                      <a:cubicBezTo>
                        <a:pt x="148" y="182"/>
                        <a:pt x="148" y="182"/>
                        <a:pt x="148" y="182"/>
                      </a:cubicBezTo>
                      <a:cubicBezTo>
                        <a:pt x="163" y="182"/>
                        <a:pt x="177" y="180"/>
                        <a:pt x="191" y="178"/>
                      </a:cubicBezTo>
                      <a:close/>
                      <a:moveTo>
                        <a:pt x="188" y="195"/>
                      </a:moveTo>
                      <a:cubicBezTo>
                        <a:pt x="174" y="196"/>
                        <a:pt x="161" y="197"/>
                        <a:pt x="148" y="197"/>
                      </a:cubicBezTo>
                      <a:cubicBezTo>
                        <a:pt x="148" y="253"/>
                        <a:pt x="148" y="253"/>
                        <a:pt x="148" y="253"/>
                      </a:cubicBezTo>
                      <a:cubicBezTo>
                        <a:pt x="170" y="253"/>
                        <a:pt x="182" y="214"/>
                        <a:pt x="188" y="195"/>
                      </a:cubicBezTo>
                      <a:close/>
                      <a:moveTo>
                        <a:pt x="181" y="34"/>
                      </a:moveTo>
                      <a:cubicBezTo>
                        <a:pt x="194" y="50"/>
                        <a:pt x="202" y="74"/>
                        <a:pt x="206" y="102"/>
                      </a:cubicBezTo>
                      <a:cubicBezTo>
                        <a:pt x="229" y="98"/>
                        <a:pt x="239" y="94"/>
                        <a:pt x="242" y="91"/>
                      </a:cubicBezTo>
                      <a:cubicBezTo>
                        <a:pt x="230" y="65"/>
                        <a:pt x="207" y="43"/>
                        <a:pt x="181" y="34"/>
                      </a:cubicBezTo>
                      <a:close/>
                      <a:moveTo>
                        <a:pt x="246" y="180"/>
                      </a:moveTo>
                      <a:cubicBezTo>
                        <a:pt x="235" y="185"/>
                        <a:pt x="220" y="189"/>
                        <a:pt x="204" y="193"/>
                      </a:cubicBezTo>
                      <a:cubicBezTo>
                        <a:pt x="199" y="213"/>
                        <a:pt x="193" y="230"/>
                        <a:pt x="183" y="244"/>
                      </a:cubicBezTo>
                      <a:cubicBezTo>
                        <a:pt x="196" y="239"/>
                        <a:pt x="210" y="231"/>
                        <a:pt x="220" y="220"/>
                      </a:cubicBezTo>
                      <a:cubicBezTo>
                        <a:pt x="232" y="208"/>
                        <a:pt x="240" y="195"/>
                        <a:pt x="246" y="180"/>
                      </a:cubicBezTo>
                      <a:close/>
                      <a:moveTo>
                        <a:pt x="209" y="140"/>
                      </a:moveTo>
                      <a:cubicBezTo>
                        <a:pt x="209" y="152"/>
                        <a:pt x="208" y="165"/>
                        <a:pt x="207" y="175"/>
                      </a:cubicBezTo>
                      <a:cubicBezTo>
                        <a:pt x="252" y="168"/>
                        <a:pt x="254" y="158"/>
                        <a:pt x="254" y="139"/>
                      </a:cubicBezTo>
                      <a:cubicBezTo>
                        <a:pt x="254" y="128"/>
                        <a:pt x="252" y="117"/>
                        <a:pt x="248" y="106"/>
                      </a:cubicBezTo>
                      <a:cubicBezTo>
                        <a:pt x="240" y="110"/>
                        <a:pt x="226" y="115"/>
                        <a:pt x="208" y="117"/>
                      </a:cubicBezTo>
                      <a:cubicBezTo>
                        <a:pt x="209" y="125"/>
                        <a:pt x="209" y="132"/>
                        <a:pt x="209" y="140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</p:spPr>
              <p:txBody>
                <a:bodyPr spcFirstLastPara="1" wrap="square" lIns="182850" tIns="91400" rIns="182850" bIns="91400" anchor="t" anchorCtr="0">
                  <a:noAutofit/>
                </a:bodyPr>
                <a:lstStyle/>
                <a:p>
                  <a:pPr marL="0" marR="0" lvl="0" indent="0" algn="l" defTabSz="13716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700" b="0" i="0" u="none" strike="noStrike" kern="1200" cap="none" spc="0" normalizeH="0" baseline="0" noProof="0">
                    <a:ln>
                      <a:noFill/>
                    </a:ln>
                    <a:solidFill>
                      <a:srgbClr val="281F76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/>
                    <a:cs typeface="Arial" panose="020B0604020202020204" pitchFamily="34" charset="0"/>
                    <a:sym typeface="Calibri"/>
                  </a:endParaRPr>
                </a:p>
              </p:txBody>
            </p:sp>
          </p:grpSp>
        </p:grpSp>
      </p:grpSp>
      <p:sp>
        <p:nvSpPr>
          <p:cNvPr id="758" name="TextBox 757">
            <a:extLst>
              <a:ext uri="{FF2B5EF4-FFF2-40B4-BE49-F238E27FC236}">
                <a16:creationId xmlns:a16="http://schemas.microsoft.com/office/drawing/2014/main" id="{B933D551-905E-F544-2C64-144FE0A189B1}"/>
              </a:ext>
            </a:extLst>
          </p:cNvPr>
          <p:cNvSpPr txBox="1"/>
          <p:nvPr/>
        </p:nvSpPr>
        <p:spPr>
          <a:xfrm>
            <a:off x="649864" y="1792060"/>
            <a:ext cx="9144000" cy="10597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371600" rtl="0" eaLnBrk="1" fontAlgn="auto" latinLnBrk="0" hangingPunct="1">
              <a:lnSpc>
                <a:spcPts val="4000"/>
              </a:lnSpc>
              <a:spcBef>
                <a:spcPts val="0"/>
              </a:spcBef>
              <a:spcAft>
                <a:spcPts val="1200"/>
              </a:spcAft>
              <a:buClr>
                <a:srgbClr val="281F76"/>
              </a:buClr>
              <a:buSzTx/>
              <a:buFontTx/>
              <a:buNone/>
              <a:tabLst/>
              <a:defRPr/>
            </a:pPr>
            <a:r>
              <a:rPr kumimoji="0" lang="el-GR" sz="2400" b="1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Η InnoAgora έχει δημιουργηθεί και φιλοξενείται σε δύο πλατφόρμες:</a:t>
            </a:r>
          </a:p>
        </p:txBody>
      </p:sp>
      <p:grpSp>
        <p:nvGrpSpPr>
          <p:cNvPr id="761" name="Ομάδα 760">
            <a:extLst>
              <a:ext uri="{FF2B5EF4-FFF2-40B4-BE49-F238E27FC236}">
                <a16:creationId xmlns:a16="http://schemas.microsoft.com/office/drawing/2014/main" id="{59A53B68-2B45-C39A-9167-C85A2E6840F3}"/>
              </a:ext>
            </a:extLst>
          </p:cNvPr>
          <p:cNvGrpSpPr/>
          <p:nvPr/>
        </p:nvGrpSpPr>
        <p:grpSpPr>
          <a:xfrm>
            <a:off x="10731103" y="2359952"/>
            <a:ext cx="5985679" cy="5985679"/>
            <a:chOff x="6157544" y="2486441"/>
            <a:chExt cx="5985679" cy="5985679"/>
          </a:xfrm>
        </p:grpSpPr>
        <p:sp>
          <p:nvSpPr>
            <p:cNvPr id="762" name="Google Shape;663;p78">
              <a:extLst>
                <a:ext uri="{FF2B5EF4-FFF2-40B4-BE49-F238E27FC236}">
                  <a16:creationId xmlns:a16="http://schemas.microsoft.com/office/drawing/2014/main" id="{FFE7B2E1-3302-F27C-C258-298ABF63F09A}"/>
                </a:ext>
              </a:extLst>
            </p:cNvPr>
            <p:cNvSpPr/>
            <p:nvPr/>
          </p:nvSpPr>
          <p:spPr>
            <a:xfrm>
              <a:off x="6157544" y="2486441"/>
              <a:ext cx="5985679" cy="5985679"/>
            </a:xfrm>
            <a:prstGeom prst="diamond">
              <a:avLst/>
            </a:prstGeom>
            <a:solidFill>
              <a:srgbClr val="CAD4E4"/>
            </a:solidFill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marL="0" marR="0" lvl="0" indent="0" algn="l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Tx/>
                <a:buNone/>
                <a:tabLst/>
                <a:defRPr/>
              </a:pPr>
              <a:endParaRPr kumimoji="0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763" name="Google Shape;664;p78">
              <a:extLst>
                <a:ext uri="{FF2B5EF4-FFF2-40B4-BE49-F238E27FC236}">
                  <a16:creationId xmlns:a16="http://schemas.microsoft.com/office/drawing/2014/main" id="{EC6B958E-75AA-2418-8373-CF3C9A79E946}"/>
                </a:ext>
              </a:extLst>
            </p:cNvPr>
            <p:cNvSpPr/>
            <p:nvPr/>
          </p:nvSpPr>
          <p:spPr>
            <a:xfrm>
              <a:off x="6726183" y="3055080"/>
              <a:ext cx="2334415" cy="2334415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0" y="20000"/>
                  </a:moveTo>
                  <a:cubicBezTo>
                    <a:pt x="0" y="8954"/>
                    <a:pt x="8954" y="0"/>
                    <a:pt x="20000" y="0"/>
                  </a:cubicBezTo>
                  <a:lnTo>
                    <a:pt x="99999" y="0"/>
                  </a:lnTo>
                  <a:cubicBezTo>
                    <a:pt x="111045" y="0"/>
                    <a:pt x="120000" y="8954"/>
                    <a:pt x="120000" y="20000"/>
                  </a:cubicBezTo>
                  <a:lnTo>
                    <a:pt x="120000" y="99999"/>
                  </a:lnTo>
                  <a:cubicBezTo>
                    <a:pt x="120000" y="111045"/>
                    <a:pt x="111045" y="120000"/>
                    <a:pt x="99999" y="120000"/>
                  </a:cubicBezTo>
                  <a:lnTo>
                    <a:pt x="20000" y="120000"/>
                  </a:lnTo>
                  <a:cubicBezTo>
                    <a:pt x="8954" y="120000"/>
                    <a:pt x="0" y="111045"/>
                    <a:pt x="0" y="99999"/>
                  </a:cubicBezTo>
                  <a:lnTo>
                    <a:pt x="0" y="200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340425" tIns="340425" rIns="340425" bIns="340425" anchor="ctr" anchorCtr="0">
              <a:noAutofit/>
            </a:bodyPr>
            <a:lstStyle/>
            <a:p>
              <a:pPr marL="0" marR="0" lvl="0" indent="0" algn="ctr" defTabSz="13716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Tx/>
                <a:buNone/>
                <a:tabLst/>
                <a:defRPr/>
              </a:pPr>
              <a:endParaRPr kumimoji="0" sz="4875" b="0" i="0" u="none" strike="noStrike" kern="1200" cap="none" spc="0" normalizeH="0" baseline="0" noProof="0">
                <a:ln>
                  <a:noFill/>
                </a:ln>
                <a:solidFill>
                  <a:srgbClr val="343444"/>
                </a:solidFill>
                <a:effectLst/>
                <a:uLnTx/>
                <a:uFillTx/>
                <a:latin typeface="Arial" panose="020B0604020202020204" pitchFamily="34" charset="0"/>
                <a:ea typeface="Lato Light"/>
                <a:cs typeface="Arial" panose="020B0604020202020204" pitchFamily="34" charset="0"/>
                <a:sym typeface="Lato Light"/>
              </a:endParaRPr>
            </a:p>
          </p:txBody>
        </p:sp>
        <p:sp>
          <p:nvSpPr>
            <p:cNvPr id="764" name="Google Shape;665;p78">
              <a:extLst>
                <a:ext uri="{FF2B5EF4-FFF2-40B4-BE49-F238E27FC236}">
                  <a16:creationId xmlns:a16="http://schemas.microsoft.com/office/drawing/2014/main" id="{EB95AE69-436B-5192-5652-BD2840D6A0A2}"/>
                </a:ext>
              </a:extLst>
            </p:cNvPr>
            <p:cNvSpPr/>
            <p:nvPr/>
          </p:nvSpPr>
          <p:spPr>
            <a:xfrm>
              <a:off x="6726183" y="5569065"/>
              <a:ext cx="2334415" cy="2334415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0" y="20000"/>
                  </a:moveTo>
                  <a:cubicBezTo>
                    <a:pt x="0" y="8954"/>
                    <a:pt x="8954" y="0"/>
                    <a:pt x="20000" y="0"/>
                  </a:cubicBezTo>
                  <a:lnTo>
                    <a:pt x="99999" y="0"/>
                  </a:lnTo>
                  <a:cubicBezTo>
                    <a:pt x="111045" y="0"/>
                    <a:pt x="120000" y="8954"/>
                    <a:pt x="120000" y="20000"/>
                  </a:cubicBezTo>
                  <a:lnTo>
                    <a:pt x="120000" y="99999"/>
                  </a:lnTo>
                  <a:cubicBezTo>
                    <a:pt x="120000" y="111045"/>
                    <a:pt x="111045" y="120000"/>
                    <a:pt x="99999" y="120000"/>
                  </a:cubicBezTo>
                  <a:lnTo>
                    <a:pt x="20000" y="120000"/>
                  </a:lnTo>
                  <a:cubicBezTo>
                    <a:pt x="8954" y="120000"/>
                    <a:pt x="0" y="111045"/>
                    <a:pt x="0" y="99999"/>
                  </a:cubicBezTo>
                  <a:lnTo>
                    <a:pt x="0" y="2000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340425" tIns="340425" rIns="340425" bIns="340425" anchor="ctr" anchorCtr="0">
              <a:noAutofit/>
            </a:bodyPr>
            <a:lstStyle/>
            <a:p>
              <a:pPr marL="0" marR="0" lvl="0" indent="0" algn="ctr" defTabSz="13716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Tx/>
                <a:buNone/>
                <a:tabLst/>
                <a:defRPr/>
              </a:pPr>
              <a:endParaRPr kumimoji="0" sz="4875" b="0" i="0" u="none" strike="noStrike" kern="1200" cap="none" spc="0" normalizeH="0" baseline="0" noProof="0">
                <a:ln>
                  <a:noFill/>
                </a:ln>
                <a:solidFill>
                  <a:srgbClr val="343444"/>
                </a:solidFill>
                <a:effectLst/>
                <a:uLnTx/>
                <a:uFillTx/>
                <a:latin typeface="Arial" panose="020B0604020202020204" pitchFamily="34" charset="0"/>
                <a:ea typeface="Lato Light"/>
                <a:cs typeface="Arial" panose="020B0604020202020204" pitchFamily="34" charset="0"/>
                <a:sym typeface="Lato Light"/>
              </a:endParaRPr>
            </a:p>
          </p:txBody>
        </p:sp>
        <p:sp>
          <p:nvSpPr>
            <p:cNvPr id="765" name="Google Shape;666;p78">
              <a:extLst>
                <a:ext uri="{FF2B5EF4-FFF2-40B4-BE49-F238E27FC236}">
                  <a16:creationId xmlns:a16="http://schemas.microsoft.com/office/drawing/2014/main" id="{32A579BB-6C7C-D2B6-EE1A-5825BBE88AEB}"/>
                </a:ext>
              </a:extLst>
            </p:cNvPr>
            <p:cNvSpPr/>
            <p:nvPr/>
          </p:nvSpPr>
          <p:spPr>
            <a:xfrm>
              <a:off x="9240168" y="5569065"/>
              <a:ext cx="2334415" cy="2334415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0" y="20000"/>
                  </a:moveTo>
                  <a:cubicBezTo>
                    <a:pt x="0" y="8954"/>
                    <a:pt x="8954" y="0"/>
                    <a:pt x="20000" y="0"/>
                  </a:cubicBezTo>
                  <a:lnTo>
                    <a:pt x="99999" y="0"/>
                  </a:lnTo>
                  <a:cubicBezTo>
                    <a:pt x="111045" y="0"/>
                    <a:pt x="120000" y="8954"/>
                    <a:pt x="120000" y="20000"/>
                  </a:cubicBezTo>
                  <a:lnTo>
                    <a:pt x="120000" y="99999"/>
                  </a:lnTo>
                  <a:cubicBezTo>
                    <a:pt x="120000" y="111045"/>
                    <a:pt x="111045" y="120000"/>
                    <a:pt x="99999" y="120000"/>
                  </a:cubicBezTo>
                  <a:lnTo>
                    <a:pt x="20000" y="120000"/>
                  </a:lnTo>
                  <a:cubicBezTo>
                    <a:pt x="8954" y="120000"/>
                    <a:pt x="0" y="111045"/>
                    <a:pt x="0" y="99999"/>
                  </a:cubicBezTo>
                  <a:lnTo>
                    <a:pt x="0" y="2000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340425" tIns="340425" rIns="340425" bIns="340425" anchor="ctr" anchorCtr="0">
              <a:noAutofit/>
            </a:bodyPr>
            <a:lstStyle/>
            <a:p>
              <a:pPr marL="0" marR="0" lvl="0" indent="0" algn="ctr" defTabSz="13716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Tx/>
                <a:buNone/>
                <a:tabLst/>
                <a:defRPr/>
              </a:pPr>
              <a:endParaRPr kumimoji="0" sz="4875" b="0" i="0" u="none" strike="noStrike" kern="1200" cap="none" spc="0" normalizeH="0" baseline="0" noProof="0">
                <a:ln>
                  <a:noFill/>
                </a:ln>
                <a:solidFill>
                  <a:srgbClr val="343444"/>
                </a:solidFill>
                <a:effectLst/>
                <a:uLnTx/>
                <a:uFillTx/>
                <a:latin typeface="Arial" panose="020B0604020202020204" pitchFamily="34" charset="0"/>
                <a:ea typeface="Lato Light"/>
                <a:cs typeface="Arial" panose="020B0604020202020204" pitchFamily="34" charset="0"/>
                <a:sym typeface="Lato Light"/>
              </a:endParaRPr>
            </a:p>
          </p:txBody>
        </p:sp>
        <p:sp>
          <p:nvSpPr>
            <p:cNvPr id="766" name="Google Shape;677;p78">
              <a:extLst>
                <a:ext uri="{FF2B5EF4-FFF2-40B4-BE49-F238E27FC236}">
                  <a16:creationId xmlns:a16="http://schemas.microsoft.com/office/drawing/2014/main" id="{C1C645CE-467E-FBA6-6F4D-322C3BD68A63}"/>
                </a:ext>
              </a:extLst>
            </p:cNvPr>
            <p:cNvSpPr/>
            <p:nvPr/>
          </p:nvSpPr>
          <p:spPr>
            <a:xfrm>
              <a:off x="9240168" y="3055080"/>
              <a:ext cx="2334415" cy="2334415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0" y="20000"/>
                  </a:moveTo>
                  <a:cubicBezTo>
                    <a:pt x="0" y="8954"/>
                    <a:pt x="8954" y="0"/>
                    <a:pt x="20000" y="0"/>
                  </a:cubicBezTo>
                  <a:lnTo>
                    <a:pt x="99999" y="0"/>
                  </a:lnTo>
                  <a:cubicBezTo>
                    <a:pt x="111045" y="0"/>
                    <a:pt x="120000" y="8954"/>
                    <a:pt x="120000" y="20000"/>
                  </a:cubicBezTo>
                  <a:lnTo>
                    <a:pt x="120000" y="99999"/>
                  </a:lnTo>
                  <a:cubicBezTo>
                    <a:pt x="120000" y="111045"/>
                    <a:pt x="111045" y="120000"/>
                    <a:pt x="99999" y="120000"/>
                  </a:cubicBezTo>
                  <a:lnTo>
                    <a:pt x="20000" y="120000"/>
                  </a:lnTo>
                  <a:cubicBezTo>
                    <a:pt x="8954" y="120000"/>
                    <a:pt x="0" y="111045"/>
                    <a:pt x="0" y="99999"/>
                  </a:cubicBezTo>
                  <a:lnTo>
                    <a:pt x="0" y="2000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340425" tIns="340425" rIns="340425" bIns="340425" anchor="ctr" anchorCtr="0">
              <a:noAutofit/>
            </a:bodyPr>
            <a:lstStyle/>
            <a:p>
              <a:pPr marL="0" marR="0" lvl="0" indent="0" algn="ctr" defTabSz="13716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500"/>
                <a:buFontTx/>
                <a:buNone/>
                <a:tabLst/>
                <a:defRPr/>
              </a:pPr>
              <a:endParaRPr kumimoji="0" sz="4875" b="0" i="0" u="none" strike="noStrike" kern="1200" cap="none" spc="0" normalizeH="0" baseline="0" noProof="0">
                <a:ln>
                  <a:noFill/>
                </a:ln>
                <a:solidFill>
                  <a:srgbClr val="343444"/>
                </a:solidFill>
                <a:effectLst/>
                <a:uLnTx/>
                <a:uFillTx/>
                <a:latin typeface="Arial" panose="020B0604020202020204" pitchFamily="34" charset="0"/>
                <a:ea typeface="Lato Light"/>
                <a:cs typeface="Arial" panose="020B0604020202020204" pitchFamily="34" charset="0"/>
                <a:sym typeface="Lato Light"/>
              </a:endParaRPr>
            </a:p>
          </p:txBody>
        </p:sp>
      </p:grpSp>
      <p:sp>
        <p:nvSpPr>
          <p:cNvPr id="767" name="Google Shape;4985;p164">
            <a:extLst>
              <a:ext uri="{FF2B5EF4-FFF2-40B4-BE49-F238E27FC236}">
                <a16:creationId xmlns:a16="http://schemas.microsoft.com/office/drawing/2014/main" id="{251C9E38-FE7C-0C9A-4584-724D90ECA0F2}"/>
              </a:ext>
            </a:extLst>
          </p:cNvPr>
          <p:cNvSpPr txBox="1"/>
          <p:nvPr/>
        </p:nvSpPr>
        <p:spPr>
          <a:xfrm>
            <a:off x="11127724" y="3130739"/>
            <a:ext cx="2613652" cy="484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599"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Arial" panose="020B0604020202020204" pitchFamily="34" charset="0"/>
                <a:ea typeface="Lato Light"/>
                <a:cs typeface="Arial" panose="020B0604020202020204" pitchFamily="34" charset="0"/>
                <a:sym typeface="Lato Light"/>
              </a:rPr>
              <a:t>Συμμετέχουσες επιχειρήσεις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srgbClr val="281F76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pic>
        <p:nvPicPr>
          <p:cNvPr id="768" name="Graphic 130" descr="Group brainstorm with solid fill">
            <a:extLst>
              <a:ext uri="{FF2B5EF4-FFF2-40B4-BE49-F238E27FC236}">
                <a16:creationId xmlns:a16="http://schemas.microsoft.com/office/drawing/2014/main" id="{E259EB30-3808-AC54-E0A4-ACFF78B4334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898670" y="6663285"/>
            <a:ext cx="1127455" cy="1127455"/>
          </a:xfrm>
          <a:prstGeom prst="rect">
            <a:avLst/>
          </a:prstGeom>
        </p:spPr>
      </p:pic>
      <p:pic>
        <p:nvPicPr>
          <p:cNvPr id="769" name="Graphic 131" descr="Connections outline">
            <a:extLst>
              <a:ext uri="{FF2B5EF4-FFF2-40B4-BE49-F238E27FC236}">
                <a16:creationId xmlns:a16="http://schemas.microsoft.com/office/drawing/2014/main" id="{30990630-0BFA-9F5F-44DE-B442DA6F285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509013" y="6726873"/>
            <a:ext cx="1039254" cy="1039254"/>
          </a:xfrm>
          <a:prstGeom prst="rect">
            <a:avLst/>
          </a:prstGeom>
        </p:spPr>
      </p:pic>
      <p:pic>
        <p:nvPicPr>
          <p:cNvPr id="770" name="Graphic 132" descr="Coins outline">
            <a:extLst>
              <a:ext uri="{FF2B5EF4-FFF2-40B4-BE49-F238E27FC236}">
                <a16:creationId xmlns:a16="http://schemas.microsoft.com/office/drawing/2014/main" id="{64E5B8B8-0A0E-14A8-4AF3-9B614901DA1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4444997" y="4227057"/>
            <a:ext cx="1006425" cy="1006425"/>
          </a:xfrm>
          <a:prstGeom prst="rect">
            <a:avLst/>
          </a:prstGeom>
        </p:spPr>
      </p:pic>
      <p:pic>
        <p:nvPicPr>
          <p:cNvPr id="771" name="Graphic 134" descr="Boardroom with solid fill">
            <a:extLst>
              <a:ext uri="{FF2B5EF4-FFF2-40B4-BE49-F238E27FC236}">
                <a16:creationId xmlns:a16="http://schemas.microsoft.com/office/drawing/2014/main" id="{7839B28A-88CA-8243-DBB2-24DF2E424DD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890702" y="4184524"/>
            <a:ext cx="1211746" cy="1211746"/>
          </a:xfrm>
          <a:prstGeom prst="rect">
            <a:avLst/>
          </a:prstGeom>
        </p:spPr>
      </p:pic>
      <p:sp>
        <p:nvSpPr>
          <p:cNvPr id="772" name="Google Shape;5040;p164">
            <a:extLst>
              <a:ext uri="{FF2B5EF4-FFF2-40B4-BE49-F238E27FC236}">
                <a16:creationId xmlns:a16="http://schemas.microsoft.com/office/drawing/2014/main" id="{ABD31378-4C0A-69DE-F2FC-77B8DB21E5EB}"/>
              </a:ext>
            </a:extLst>
          </p:cNvPr>
          <p:cNvSpPr txBox="1"/>
          <p:nvPr/>
        </p:nvSpPr>
        <p:spPr>
          <a:xfrm>
            <a:off x="11922037" y="3753378"/>
            <a:ext cx="1149075" cy="692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98"/>
              <a:buFontTx/>
              <a:buNone/>
              <a:tabLst/>
              <a:defRPr/>
            </a:pPr>
            <a:r>
              <a:rPr kumimoji="0" lang="el-GR" sz="3600" b="0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Arial" panose="020B0604020202020204" pitchFamily="34" charset="0"/>
                <a:ea typeface="Lato Light"/>
                <a:cs typeface="Arial" panose="020B0604020202020204" pitchFamily="34" charset="0"/>
                <a:sym typeface="Lato Light"/>
              </a:rPr>
              <a:t>71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srgbClr val="281F76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773" name="Google Shape;4985;p164">
            <a:extLst>
              <a:ext uri="{FF2B5EF4-FFF2-40B4-BE49-F238E27FC236}">
                <a16:creationId xmlns:a16="http://schemas.microsoft.com/office/drawing/2014/main" id="{D06C6419-52FE-D0B7-24CD-8CFE4715633E}"/>
              </a:ext>
            </a:extLst>
          </p:cNvPr>
          <p:cNvSpPr txBox="1"/>
          <p:nvPr/>
        </p:nvSpPr>
        <p:spPr>
          <a:xfrm>
            <a:off x="11160123" y="5678427"/>
            <a:ext cx="2613652" cy="484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599"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Lato Light"/>
                <a:cs typeface="Arial" panose="020B0604020202020204" pitchFamily="34" charset="0"/>
                <a:sym typeface="Lato Light"/>
              </a:rPr>
              <a:t>Συμμετέχοντες Επενδυτές</a:t>
            </a:r>
          </a:p>
        </p:txBody>
      </p:sp>
      <p:sp>
        <p:nvSpPr>
          <p:cNvPr id="774" name="Google Shape;4985;p164">
            <a:extLst>
              <a:ext uri="{FF2B5EF4-FFF2-40B4-BE49-F238E27FC236}">
                <a16:creationId xmlns:a16="http://schemas.microsoft.com/office/drawing/2014/main" id="{E0775CC9-3E3F-C364-D05A-012A01C59456}"/>
              </a:ext>
            </a:extLst>
          </p:cNvPr>
          <p:cNvSpPr txBox="1"/>
          <p:nvPr/>
        </p:nvSpPr>
        <p:spPr>
          <a:xfrm>
            <a:off x="13983963" y="3117145"/>
            <a:ext cx="2112131" cy="484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599"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Lato Light"/>
                <a:cs typeface="Arial" panose="020B0604020202020204" pitchFamily="34" charset="0"/>
                <a:sym typeface="Lato Light"/>
              </a:rPr>
              <a:t>Συνολικό κεφάλαιο € </a:t>
            </a:r>
          </a:p>
        </p:txBody>
      </p:sp>
      <p:sp>
        <p:nvSpPr>
          <p:cNvPr id="775" name="Google Shape;4985;p164">
            <a:extLst>
              <a:ext uri="{FF2B5EF4-FFF2-40B4-BE49-F238E27FC236}">
                <a16:creationId xmlns:a16="http://schemas.microsoft.com/office/drawing/2014/main" id="{297B3821-AD8F-C57F-241C-5448DDA77A2A}"/>
              </a:ext>
            </a:extLst>
          </p:cNvPr>
          <p:cNvSpPr txBox="1"/>
          <p:nvPr/>
        </p:nvSpPr>
        <p:spPr>
          <a:xfrm>
            <a:off x="13674108" y="5680295"/>
            <a:ext cx="2613652" cy="484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599"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Lato Light"/>
                <a:cs typeface="Arial" panose="020B0604020202020204" pitchFamily="34" charset="0"/>
                <a:sym typeface="Lato Light"/>
              </a:rPr>
              <a:t>Αριθμός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Lato Light"/>
                <a:cs typeface="Arial" panose="020B0604020202020204" pitchFamily="34" charset="0"/>
                <a:sym typeface="Lato Light"/>
              </a:rPr>
              <a:t>Matchmakings</a:t>
            </a:r>
          </a:p>
        </p:txBody>
      </p:sp>
      <p:sp>
        <p:nvSpPr>
          <p:cNvPr id="776" name="Google Shape;5040;p164">
            <a:extLst>
              <a:ext uri="{FF2B5EF4-FFF2-40B4-BE49-F238E27FC236}">
                <a16:creationId xmlns:a16="http://schemas.microsoft.com/office/drawing/2014/main" id="{BE8FE47C-1FAF-83A2-3B44-307D0186227F}"/>
              </a:ext>
            </a:extLst>
          </p:cNvPr>
          <p:cNvSpPr txBox="1"/>
          <p:nvPr/>
        </p:nvSpPr>
        <p:spPr>
          <a:xfrm>
            <a:off x="11866629" y="6232148"/>
            <a:ext cx="1361902" cy="692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98"/>
              <a:buFontTx/>
              <a:buNone/>
              <a:tabLst/>
              <a:defRPr/>
            </a:pPr>
            <a:r>
              <a:rPr kumimoji="0" lang="el-GR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Lato Light"/>
                <a:cs typeface="Arial" panose="020B0604020202020204" pitchFamily="34" charset="0"/>
                <a:sym typeface="Lato Light"/>
              </a:rPr>
              <a:t>210+</a:t>
            </a:r>
          </a:p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98"/>
              <a:buFontTx/>
              <a:buNone/>
              <a:tabLst/>
              <a:defRPr/>
            </a:pPr>
            <a:r>
              <a:rPr kumimoji="0" lang="el-GR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21</a:t>
            </a:r>
          </a:p>
        </p:txBody>
      </p:sp>
      <p:sp>
        <p:nvSpPr>
          <p:cNvPr id="777" name="Google Shape;5040;p164">
            <a:extLst>
              <a:ext uri="{FF2B5EF4-FFF2-40B4-BE49-F238E27FC236}">
                <a16:creationId xmlns:a16="http://schemas.microsoft.com/office/drawing/2014/main" id="{1767B556-B81D-F39B-C7FB-25DF8E393DFF}"/>
              </a:ext>
            </a:extLst>
          </p:cNvPr>
          <p:cNvSpPr txBox="1"/>
          <p:nvPr/>
        </p:nvSpPr>
        <p:spPr>
          <a:xfrm>
            <a:off x="14343020" y="6232148"/>
            <a:ext cx="1361902" cy="692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98"/>
              <a:buFontTx/>
              <a:buNone/>
              <a:tabLst/>
              <a:defRPr/>
            </a:pPr>
            <a:r>
              <a:rPr kumimoji="0" lang="el-GR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Lato Light"/>
                <a:cs typeface="Arial" panose="020B0604020202020204" pitchFamily="34" charset="0"/>
                <a:sym typeface="Lato Light"/>
              </a:rPr>
              <a:t>28</a:t>
            </a:r>
          </a:p>
        </p:txBody>
      </p:sp>
      <p:sp>
        <p:nvSpPr>
          <p:cNvPr id="778" name="Google Shape;5040;p164">
            <a:extLst>
              <a:ext uri="{FF2B5EF4-FFF2-40B4-BE49-F238E27FC236}">
                <a16:creationId xmlns:a16="http://schemas.microsoft.com/office/drawing/2014/main" id="{5BC8E575-6471-A6F5-02D5-BF62AF9AE000}"/>
              </a:ext>
            </a:extLst>
          </p:cNvPr>
          <p:cNvSpPr txBox="1"/>
          <p:nvPr/>
        </p:nvSpPr>
        <p:spPr>
          <a:xfrm>
            <a:off x="14034796" y="3745725"/>
            <a:ext cx="1920336" cy="692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98"/>
              <a:buFontTx/>
              <a:buNone/>
              <a:tabLst/>
              <a:defRPr/>
            </a:pPr>
            <a:r>
              <a:rPr kumimoji="0" lang="el-GR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Lato Light"/>
                <a:cs typeface="Arial" panose="020B0604020202020204" pitchFamily="34" charset="0"/>
                <a:sym typeface="Lato Light"/>
              </a:rPr>
              <a:t>180Μ+€</a:t>
            </a:r>
          </a:p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98"/>
              <a:buFontTx/>
              <a:buNone/>
              <a:tabLst/>
              <a:defRPr/>
            </a:pPr>
            <a:endParaRPr kumimoji="0" lang="el-GR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782" name="TextBox 781">
            <a:extLst>
              <a:ext uri="{FF2B5EF4-FFF2-40B4-BE49-F238E27FC236}">
                <a16:creationId xmlns:a16="http://schemas.microsoft.com/office/drawing/2014/main" id="{5BB6607E-54A5-1E19-0A42-8997A45D83F9}"/>
              </a:ext>
            </a:extLst>
          </p:cNvPr>
          <p:cNvSpPr txBox="1"/>
          <p:nvPr/>
        </p:nvSpPr>
        <p:spPr>
          <a:xfrm>
            <a:off x="9241727" y="1843040"/>
            <a:ext cx="9144000" cy="5467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371600" rtl="0" eaLnBrk="1" fontAlgn="auto" latinLnBrk="0" hangingPunct="1">
              <a:lnSpc>
                <a:spcPts val="4000"/>
              </a:lnSpc>
              <a:spcBef>
                <a:spcPts val="0"/>
              </a:spcBef>
              <a:spcAft>
                <a:spcPts val="1200"/>
              </a:spcAft>
              <a:buClr>
                <a:srgbClr val="281F76"/>
              </a:buClr>
              <a:buSzTx/>
              <a:buFontTx/>
              <a:buNone/>
              <a:tabLst/>
              <a:defRPr/>
            </a:pPr>
            <a:r>
              <a:rPr kumimoji="0" lang="el-GR" sz="2400" b="1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 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tching events</a:t>
            </a:r>
            <a:r>
              <a:rPr kumimoji="0" lang="el-GR" sz="2400" b="1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59C7E7E-1597-B881-3D55-F74A4342C109}"/>
              </a:ext>
            </a:extLst>
          </p:cNvPr>
          <p:cNvSpPr txBox="1">
            <a:spLocks/>
          </p:cNvSpPr>
          <p:nvPr/>
        </p:nvSpPr>
        <p:spPr>
          <a:xfrm>
            <a:off x="212445" y="267871"/>
            <a:ext cx="12263719" cy="538716"/>
          </a:xfrm>
          <a:prstGeom prst="rect">
            <a:avLst/>
          </a:prstGeom>
        </p:spPr>
        <p:txBody>
          <a:bodyPr/>
          <a:lstStyle>
            <a:lvl1pPr marL="257175" indent="-257175" algn="l" defTabSz="1028700" rtl="0" eaLnBrk="1" latinLnBrk="0" hangingPunct="1">
              <a:lnSpc>
                <a:spcPct val="90000"/>
              </a:lnSpc>
              <a:spcBef>
                <a:spcPts val="1125"/>
              </a:spcBef>
              <a:buFont typeface="Arial" panose="020B0604020202020204" pitchFamily="34" charset="0"/>
              <a:buChar char="•"/>
              <a:defRPr sz="31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7152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587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022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1457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2892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4327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5762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71975" indent="-257175" algn="l" defTabSz="1028700" rtl="0" eaLnBrk="1" latinLnBrk="0" hangingPunct="1">
              <a:lnSpc>
                <a:spcPct val="9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20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8700" rtl="0" eaLnBrk="1" fontAlgn="auto" latinLnBrk="0" hangingPunct="1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Lato Black"/>
                <a:cs typeface="Calibri" panose="020F0502020204030204" pitchFamily="34" charset="0"/>
              </a:rPr>
              <a:t>HDB| </a:t>
            </a: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InnoAgora</a:t>
            </a:r>
            <a:r>
              <a:rPr kumimoji="0" lang="el-GR" sz="3600" b="1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: Πλ</a:t>
            </a:r>
            <a:r>
              <a:rPr kumimoji="0" lang="el-GR" sz="3600" b="1" i="0" u="none" strike="noStrike" kern="1200" cap="none" spc="0" normalizeH="0" baseline="0" noProof="0" dirty="0" err="1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ατφόρμες</a:t>
            </a:r>
            <a:r>
              <a:rPr kumimoji="0" lang="el-GR" sz="3600" b="1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&amp; Pitching event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281F76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1028700" rtl="0" eaLnBrk="1" fontAlgn="auto" latinLnBrk="0" hangingPunct="1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281F76"/>
              </a:solidFill>
              <a:effectLst/>
              <a:uLnTx/>
              <a:uFillTx/>
              <a:latin typeface="Calibri" panose="020F0502020204030204" pitchFamily="34" charset="0"/>
              <a:ea typeface="Lato Black"/>
              <a:cs typeface="Calibri" panose="020F0502020204030204" pitchFamily="34" charset="0"/>
            </a:endParaRPr>
          </a:p>
          <a:p>
            <a:pPr marL="257175" marR="0" lvl="0" indent="-257175" algn="l" defTabSz="1028700" rtl="0" eaLnBrk="1" fontAlgn="auto" latinLnBrk="0" hangingPunct="1">
              <a:lnSpc>
                <a:spcPct val="90000"/>
              </a:lnSpc>
              <a:spcBef>
                <a:spcPts val="112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3150" b="1" i="0" u="none" strike="noStrike" kern="1200" cap="none" spc="0" normalizeH="0" baseline="0" noProof="0" dirty="0">
              <a:ln>
                <a:noFill/>
              </a:ln>
              <a:solidFill>
                <a:srgbClr val="0A091B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" name="Ορθογώνιο: Στρογγύλεμα διαγώνιων γωνιών 2">
            <a:extLst>
              <a:ext uri="{FF2B5EF4-FFF2-40B4-BE49-F238E27FC236}">
                <a16:creationId xmlns:a16="http://schemas.microsoft.com/office/drawing/2014/main" id="{0AA33119-3F1B-6A7A-E1E8-4CA30FF83BD5}"/>
              </a:ext>
            </a:extLst>
          </p:cNvPr>
          <p:cNvSpPr/>
          <p:nvPr/>
        </p:nvSpPr>
        <p:spPr>
          <a:xfrm>
            <a:off x="2637749" y="8115929"/>
            <a:ext cx="5563645" cy="1066309"/>
          </a:xfrm>
          <a:prstGeom prst="round2DiagRect">
            <a:avLst/>
          </a:prstGeom>
          <a:solidFill>
            <a:srgbClr val="85ACD8"/>
          </a:solidFill>
          <a:ln w="635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3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Lato Light"/>
                <a:cs typeface="Calibri" panose="020F0502020204030204" pitchFamily="34" charset="0"/>
                <a:sym typeface="Lato Light"/>
              </a:rPr>
              <a:t>         </a:t>
            </a:r>
            <a:r>
              <a:rPr kumimoji="0" lang="el-GR" sz="4000" b="1" i="0" u="none" strike="noStrike" kern="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Lato Light"/>
                <a:cs typeface="Calibri" panose="020F0502020204030204" pitchFamily="34" charset="0"/>
                <a:sym typeface="Lato Light"/>
              </a:rPr>
              <a:t>630+ μέλη</a:t>
            </a:r>
          </a:p>
        </p:txBody>
      </p:sp>
      <p:pic>
        <p:nvPicPr>
          <p:cNvPr id="6" name="Picture 10" descr="Logo&#10;&#10;Description automatically generated">
            <a:extLst>
              <a:ext uri="{FF2B5EF4-FFF2-40B4-BE49-F238E27FC236}">
                <a16:creationId xmlns:a16="http://schemas.microsoft.com/office/drawing/2014/main" id="{4600959B-5DA2-0B87-9599-CFD74F62E27B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500" b="34601"/>
          <a:stretch/>
        </p:blipFill>
        <p:spPr>
          <a:xfrm>
            <a:off x="3127480" y="8232655"/>
            <a:ext cx="2365707" cy="778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5821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8221EE-DB3C-50FD-35E8-6BD36AD7FD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κειμένου 4">
            <a:extLst>
              <a:ext uri="{FF2B5EF4-FFF2-40B4-BE49-F238E27FC236}">
                <a16:creationId xmlns:a16="http://schemas.microsoft.com/office/drawing/2014/main" id="{29B1B012-6AB9-44C4-7EC5-BF38959BB8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400">
              <a:lnSpc>
                <a:spcPts val="8400"/>
              </a:lnSpc>
              <a:defRPr/>
            </a:pPr>
            <a:r>
              <a:rPr lang="en-GB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G Tracker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281F76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Θέση κειμένου 3">
            <a:extLst>
              <a:ext uri="{FF2B5EF4-FFF2-40B4-BE49-F238E27FC236}">
                <a16:creationId xmlns:a16="http://schemas.microsoft.com/office/drawing/2014/main" id="{C9E34E88-314D-B532-3EEB-3C24B89E654A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en-US" sz="2400" b="1" dirty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https://esgtracker.hdb.gr/en/home/#)</a:t>
            </a:r>
          </a:p>
        </p:txBody>
      </p:sp>
      <p:pic>
        <p:nvPicPr>
          <p:cNvPr id="5" name="Εικόνα 4">
            <a:extLst>
              <a:ext uri="{FF2B5EF4-FFF2-40B4-BE49-F238E27FC236}">
                <a16:creationId xmlns:a16="http://schemas.microsoft.com/office/drawing/2014/main" id="{79CCC69F-EF24-F67A-12EB-2725887A9C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74977" y="330379"/>
            <a:ext cx="3180196" cy="95410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A41EAE9-94D0-3CC0-AE87-8F9D5882E5AC}"/>
              </a:ext>
            </a:extLst>
          </p:cNvPr>
          <p:cNvSpPr txBox="1"/>
          <p:nvPr/>
        </p:nvSpPr>
        <p:spPr>
          <a:xfrm>
            <a:off x="714673" y="2092087"/>
            <a:ext cx="817772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Το πρώτο Εθνικό Παρατηρητήριο ESG για τις Μικρομεσαίες Επιχειρήσεις (ΜΜΕ) από την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DB</a:t>
            </a: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281F76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7DA4D66-6EA6-2FE2-D512-44AA2A1CD3D1}"/>
              </a:ext>
            </a:extLst>
          </p:cNvPr>
          <p:cNvSpPr txBox="1"/>
          <p:nvPr/>
        </p:nvSpPr>
        <p:spPr>
          <a:xfrm>
            <a:off x="1943200" y="3109583"/>
            <a:ext cx="698477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Α</a:t>
            </a:r>
            <a:r>
              <a:rPr kumimoji="0" lang="el-GR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ναφορά</a:t>
            </a: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Επίδοσης σε μορφή PDF που αντανακλά την απόδοση σας σε θέματα ESG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281F76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B7A26BF-409E-3F85-FAED-FB931098FB50}"/>
              </a:ext>
            </a:extLst>
          </p:cNvPr>
          <p:cNvSpPr txBox="1"/>
          <p:nvPr/>
        </p:nvSpPr>
        <p:spPr>
          <a:xfrm>
            <a:off x="1907619" y="4740932"/>
            <a:ext cx="698477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Ε</a:t>
            </a:r>
            <a:r>
              <a:rPr kumimoji="0" lang="el-GR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υαισθητοποίηση</a:t>
            </a: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και εκπαίδευση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4DBC38F-23E6-2A8B-C9C1-D2AE2BE49895}"/>
              </a:ext>
            </a:extLst>
          </p:cNvPr>
          <p:cNvSpPr txBox="1"/>
          <p:nvPr/>
        </p:nvSpPr>
        <p:spPr>
          <a:xfrm>
            <a:off x="1943200" y="5976284"/>
            <a:ext cx="698477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Β</a:t>
            </a:r>
            <a:r>
              <a:rPr kumimoji="0" lang="el-GR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ελτιστοποίηση</a:t>
            </a: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των επιχειρηματικών διαδικασιών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281F76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56CFAC8-7895-9E0A-822F-7E4C07F6B126}"/>
              </a:ext>
            </a:extLst>
          </p:cNvPr>
          <p:cNvSpPr txBox="1"/>
          <p:nvPr/>
        </p:nvSpPr>
        <p:spPr>
          <a:xfrm>
            <a:off x="1907619" y="7550934"/>
            <a:ext cx="698477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Π</a:t>
            </a:r>
            <a:r>
              <a:rPr kumimoji="0" lang="el-GR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αρακολούθηση</a:t>
            </a: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της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εξέλιξης της προόδου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281F76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16" name="Εικόνα 15">
            <a:extLst>
              <a:ext uri="{FF2B5EF4-FFF2-40B4-BE49-F238E27FC236}">
                <a16:creationId xmlns:a16="http://schemas.microsoft.com/office/drawing/2014/main" id="{C3C479BF-9702-5225-771B-BBEFE48DE0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09399" y="1748200"/>
            <a:ext cx="8597042" cy="6576737"/>
          </a:xfrm>
          <a:prstGeom prst="rect">
            <a:avLst/>
          </a:prstGeom>
        </p:spPr>
      </p:pic>
      <p:pic>
        <p:nvPicPr>
          <p:cNvPr id="22" name="Εικόνα 21">
            <a:extLst>
              <a:ext uri="{FF2B5EF4-FFF2-40B4-BE49-F238E27FC236}">
                <a16:creationId xmlns:a16="http://schemas.microsoft.com/office/drawing/2014/main" id="{F286D2CF-E910-7E71-3596-43D9728CDC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5438" y="6928253"/>
            <a:ext cx="1700931" cy="1707028"/>
          </a:xfrm>
          <a:prstGeom prst="rect">
            <a:avLst/>
          </a:prstGeom>
        </p:spPr>
      </p:pic>
      <p:pic>
        <p:nvPicPr>
          <p:cNvPr id="23" name="Εικόνα 22">
            <a:extLst>
              <a:ext uri="{FF2B5EF4-FFF2-40B4-BE49-F238E27FC236}">
                <a16:creationId xmlns:a16="http://schemas.microsoft.com/office/drawing/2014/main" id="{D5CC6465-053C-3544-5B2F-05076C41B6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8180" y="5518392"/>
            <a:ext cx="1646063" cy="1646063"/>
          </a:xfrm>
          <a:prstGeom prst="rect">
            <a:avLst/>
          </a:prstGeom>
        </p:spPr>
      </p:pic>
      <p:pic>
        <p:nvPicPr>
          <p:cNvPr id="24" name="Εικόνα 23">
            <a:extLst>
              <a:ext uri="{FF2B5EF4-FFF2-40B4-BE49-F238E27FC236}">
                <a16:creationId xmlns:a16="http://schemas.microsoft.com/office/drawing/2014/main" id="{423EE363-AD64-B080-4C4B-CB04455EF1D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8448" y="4125604"/>
            <a:ext cx="1316850" cy="1688738"/>
          </a:xfrm>
          <a:prstGeom prst="rect">
            <a:avLst/>
          </a:prstGeom>
        </p:spPr>
      </p:pic>
      <p:pic>
        <p:nvPicPr>
          <p:cNvPr id="26" name="Εικόνα 25">
            <a:extLst>
              <a:ext uri="{FF2B5EF4-FFF2-40B4-BE49-F238E27FC236}">
                <a16:creationId xmlns:a16="http://schemas.microsoft.com/office/drawing/2014/main" id="{44A3DA9B-159F-FF81-D458-B12813D34B7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2786" y="2603110"/>
            <a:ext cx="1316850" cy="168873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77F9F94-EE8B-DDC1-DE80-4C165FCA782D}"/>
              </a:ext>
            </a:extLst>
          </p:cNvPr>
          <p:cNvSpPr txBox="1"/>
          <p:nvPr/>
        </p:nvSpPr>
        <p:spPr>
          <a:xfrm>
            <a:off x="10616187" y="8512604"/>
            <a:ext cx="698477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Επικυρωμένο από το </a:t>
            </a:r>
          </a:p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Εθνικό Κέντρο Τεκμηρίωσης </a:t>
            </a:r>
          </a:p>
        </p:txBody>
      </p:sp>
      <p:pic>
        <p:nvPicPr>
          <p:cNvPr id="6" name="Εικόνα 24">
            <a:extLst>
              <a:ext uri="{FF2B5EF4-FFF2-40B4-BE49-F238E27FC236}">
                <a16:creationId xmlns:a16="http://schemas.microsoft.com/office/drawing/2014/main" id="{76909E1F-C0AA-1F21-B676-7F4E3EA8DB9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1109" y="9220490"/>
            <a:ext cx="2261285" cy="608255"/>
          </a:xfrm>
          <a:prstGeom prst="rect">
            <a:avLst/>
          </a:prstGeom>
        </p:spPr>
      </p:pic>
      <p:sp>
        <p:nvSpPr>
          <p:cNvPr id="9" name="Google Shape;1041;p87">
            <a:extLst>
              <a:ext uri="{FF2B5EF4-FFF2-40B4-BE49-F238E27FC236}">
                <a16:creationId xmlns:a16="http://schemas.microsoft.com/office/drawing/2014/main" id="{4E8FF579-7DBF-B914-5CBE-500057CC4814}"/>
              </a:ext>
            </a:extLst>
          </p:cNvPr>
          <p:cNvSpPr/>
          <p:nvPr/>
        </p:nvSpPr>
        <p:spPr>
          <a:xfrm>
            <a:off x="9427212" y="8432346"/>
            <a:ext cx="1188975" cy="1189285"/>
          </a:xfrm>
          <a:prstGeom prst="ellipse">
            <a:avLst/>
          </a:prstGeom>
          <a:solidFill>
            <a:srgbClr val="281F76"/>
          </a:solidFill>
          <a:ln>
            <a:noFill/>
          </a:ln>
        </p:spPr>
        <p:txBody>
          <a:bodyPr spcFirstLastPara="1" wrap="square" lIns="60950" tIns="30475" rIns="60950" bIns="30475" anchor="t" anchorCtr="0">
            <a:noAutofit/>
          </a:bodyPr>
          <a:lstStyle/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400"/>
              <a:buFontTx/>
              <a:buNone/>
              <a:tabLst/>
              <a:defRPr/>
            </a:pPr>
            <a:endParaRPr kumimoji="0" sz="3200" b="0" i="0" u="none" strike="noStrike" kern="1200" cap="none" spc="0" normalizeH="0" baseline="0" noProof="0">
              <a:ln>
                <a:noFill/>
              </a:ln>
              <a:solidFill>
                <a:srgbClr val="343444"/>
              </a:solidFill>
              <a:effectLst/>
              <a:uLnTx/>
              <a:uFillTx/>
              <a:latin typeface="Calibri" panose="020F0502020204030204" pitchFamily="34" charset="0"/>
              <a:ea typeface="Lato Light"/>
              <a:cs typeface="Calibri" panose="020F0502020204030204" pitchFamily="34" charset="0"/>
              <a:sym typeface="Lato Light"/>
            </a:endParaRPr>
          </a:p>
        </p:txBody>
      </p:sp>
      <p:pic>
        <p:nvPicPr>
          <p:cNvPr id="10" name="Graphic 10" descr="3d Glasses outline">
            <a:extLst>
              <a:ext uri="{FF2B5EF4-FFF2-40B4-BE49-F238E27FC236}">
                <a16:creationId xmlns:a16="http://schemas.microsoft.com/office/drawing/2014/main" id="{B1583FD5-68E2-99A7-0170-65B1EDE4518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736387" y="8671960"/>
            <a:ext cx="710970" cy="71097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139F33F-9E4E-A6DD-5F69-ACAD4B949BD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4151369" y="8710272"/>
            <a:ext cx="1505595" cy="1147861"/>
          </a:xfrm>
          <a:prstGeom prst="rect">
            <a:avLst/>
          </a:prstGeom>
        </p:spPr>
      </p:pic>
      <p:grpSp>
        <p:nvGrpSpPr>
          <p:cNvPr id="7" name="Ομάδα 6">
            <a:extLst>
              <a:ext uri="{FF2B5EF4-FFF2-40B4-BE49-F238E27FC236}">
                <a16:creationId xmlns:a16="http://schemas.microsoft.com/office/drawing/2014/main" id="{07988AA3-30C9-2725-E5E4-6968E5E1440A}"/>
              </a:ext>
            </a:extLst>
          </p:cNvPr>
          <p:cNvGrpSpPr/>
          <p:nvPr/>
        </p:nvGrpSpPr>
        <p:grpSpPr>
          <a:xfrm>
            <a:off x="3987022" y="8234015"/>
            <a:ext cx="4079733" cy="1972949"/>
            <a:chOff x="13482047" y="1367939"/>
            <a:chExt cx="4079733" cy="1972949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75F5B69-F4C3-AE96-2D3C-BF8D6D6D44B7}"/>
                </a:ext>
              </a:extLst>
            </p:cNvPr>
            <p:cNvSpPr txBox="1"/>
            <p:nvPr/>
          </p:nvSpPr>
          <p:spPr>
            <a:xfrm>
              <a:off x="13482047" y="1845525"/>
              <a:ext cx="4079733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281F76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Δωρεάν</a:t>
              </a:r>
              <a:r>
                <a:rPr kumimoji="0" lang="en-GB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281F76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</a:t>
              </a:r>
              <a:r>
                <a:rPr kumimoji="0" lang="el-GR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281F76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Δημιουργία</a:t>
              </a:r>
            </a:p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281F76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Online Profile</a:t>
              </a:r>
            </a:p>
          </p:txBody>
        </p:sp>
        <p:sp>
          <p:nvSpPr>
            <p:cNvPr id="18" name="Wave 6">
              <a:extLst>
                <a:ext uri="{FF2B5EF4-FFF2-40B4-BE49-F238E27FC236}">
                  <a16:creationId xmlns:a16="http://schemas.microsoft.com/office/drawing/2014/main" id="{DD19F4C9-7023-C1A6-66BA-F5758D38586E}"/>
                </a:ext>
              </a:extLst>
            </p:cNvPr>
            <p:cNvSpPr/>
            <p:nvPr/>
          </p:nvSpPr>
          <p:spPr>
            <a:xfrm>
              <a:off x="13726848" y="1367939"/>
              <a:ext cx="3590132" cy="1972949"/>
            </a:xfrm>
            <a:prstGeom prst="wave">
              <a:avLst/>
            </a:prstGeom>
            <a:noFill/>
            <a:ln w="63500">
              <a:solidFill>
                <a:srgbClr val="281F7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2800" b="0" i="0" u="none" strike="noStrike" kern="1200" cap="none" spc="0" normalizeH="0" baseline="0" noProof="0">
                <a:ln>
                  <a:noFill/>
                </a:ln>
                <a:solidFill>
                  <a:srgbClr val="0A091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945779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4F7DAED-27C6-4377-8D94-D6DA56AF47E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-10800000">
            <a:off x="13197625" y="5023018"/>
            <a:ext cx="5090375" cy="5285400"/>
          </a:xfrm>
          <a:prstGeom prst="rect">
            <a:avLst/>
          </a:prstGeom>
        </p:spPr>
      </p:pic>
      <p:pic>
        <p:nvPicPr>
          <p:cNvPr id="10" name="Picture 9" descr="Text&#10;&#10;Description automatically generated with low confidence">
            <a:extLst>
              <a:ext uri="{FF2B5EF4-FFF2-40B4-BE49-F238E27FC236}">
                <a16:creationId xmlns:a16="http://schemas.microsoft.com/office/drawing/2014/main" id="{37596F55-C553-480F-97D8-3E9B217EAFB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036" y="7976534"/>
            <a:ext cx="3600400" cy="1798402"/>
          </a:xfrm>
          <a:prstGeom prst="rect">
            <a:avLst/>
          </a:prstGeom>
        </p:spPr>
      </p:pic>
      <p:grpSp>
        <p:nvGrpSpPr>
          <p:cNvPr id="17" name="Group 5">
            <a:extLst>
              <a:ext uri="{FF2B5EF4-FFF2-40B4-BE49-F238E27FC236}">
                <a16:creationId xmlns:a16="http://schemas.microsoft.com/office/drawing/2014/main" id="{DD05548D-A942-8518-BF8F-624E53646338}"/>
              </a:ext>
            </a:extLst>
          </p:cNvPr>
          <p:cNvGrpSpPr/>
          <p:nvPr/>
        </p:nvGrpSpPr>
        <p:grpSpPr>
          <a:xfrm>
            <a:off x="1028699" y="995082"/>
            <a:ext cx="15793572" cy="4189100"/>
            <a:chOff x="0" y="0"/>
            <a:chExt cx="16007835" cy="4751951"/>
          </a:xfrm>
        </p:grpSpPr>
        <p:sp>
          <p:nvSpPr>
            <p:cNvPr id="19" name="TextBox 6">
              <a:extLst>
                <a:ext uri="{FF2B5EF4-FFF2-40B4-BE49-F238E27FC236}">
                  <a16:creationId xmlns:a16="http://schemas.microsoft.com/office/drawing/2014/main" id="{F4CED93E-E5BB-8D2A-41D4-1F7D7FDC398E}"/>
                </a:ext>
              </a:extLst>
            </p:cNvPr>
            <p:cNvSpPr txBox="1"/>
            <p:nvPr/>
          </p:nvSpPr>
          <p:spPr>
            <a:xfrm>
              <a:off x="0" y="2753620"/>
              <a:ext cx="16007835" cy="1998331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defTabSz="914400">
                <a:lnSpc>
                  <a:spcPts val="15500"/>
                </a:lnSpc>
                <a:defRPr/>
              </a:pPr>
              <a:r>
                <a:rPr lang="el-GR" sz="80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Σας ευχαριστούμε για την προσοχή</a:t>
              </a:r>
              <a:r>
                <a:rPr lang="en-US" sz="80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!</a:t>
              </a:r>
            </a:p>
          </p:txBody>
        </p:sp>
        <p:sp>
          <p:nvSpPr>
            <p:cNvPr id="21" name="AutoShape 8">
              <a:extLst>
                <a:ext uri="{FF2B5EF4-FFF2-40B4-BE49-F238E27FC236}">
                  <a16:creationId xmlns:a16="http://schemas.microsoft.com/office/drawing/2014/main" id="{FB885A09-6473-926E-ACBE-5E221634D46C}"/>
                </a:ext>
              </a:extLst>
            </p:cNvPr>
            <p:cNvSpPr/>
            <p:nvPr/>
          </p:nvSpPr>
          <p:spPr>
            <a:xfrm>
              <a:off x="0" y="1772112"/>
              <a:ext cx="11300452" cy="1427903"/>
            </a:xfrm>
            <a:prstGeom prst="rect">
              <a:avLst/>
            </a:prstGeom>
            <a:noFill/>
          </p:spPr>
          <p:txBody>
            <a:bodyPr/>
            <a:lstStyle/>
            <a:p>
              <a:endParaRPr lang="el-GR"/>
            </a:p>
          </p:txBody>
        </p:sp>
        <p:pic>
          <p:nvPicPr>
            <p:cNvPr id="22" name="Picture 10">
              <a:extLst>
                <a:ext uri="{FF2B5EF4-FFF2-40B4-BE49-F238E27FC236}">
                  <a16:creationId xmlns:a16="http://schemas.microsoft.com/office/drawing/2014/main" id="{C225E888-88D6-883C-F450-3E42C6F78FC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121" b="121"/>
            <a:stretch>
              <a:fillRect/>
            </a:stretch>
          </p:blipFill>
          <p:spPr>
            <a:xfrm rot="-10800000">
              <a:off x="14053893" y="0"/>
              <a:ext cx="1266170" cy="126617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898915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Ισοσκελές τρίγωνο 3">
            <a:extLst>
              <a:ext uri="{FF2B5EF4-FFF2-40B4-BE49-F238E27FC236}">
                <a16:creationId xmlns:a16="http://schemas.microsoft.com/office/drawing/2014/main" id="{44CBF7CF-0BDE-782C-4830-0EA827F5B0AC}"/>
              </a:ext>
            </a:extLst>
          </p:cNvPr>
          <p:cNvSpPr/>
          <p:nvPr/>
        </p:nvSpPr>
        <p:spPr>
          <a:xfrm>
            <a:off x="5280119" y="3823878"/>
            <a:ext cx="7125129" cy="4558146"/>
          </a:xfrm>
          <a:prstGeom prst="triangle">
            <a:avLst/>
          </a:prstGeom>
          <a:solidFill>
            <a:schemeClr val="accent5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Flowchart: Connector 2">
            <a:extLst>
              <a:ext uri="{FF2B5EF4-FFF2-40B4-BE49-F238E27FC236}">
                <a16:creationId xmlns:a16="http://schemas.microsoft.com/office/drawing/2014/main" id="{0B59271C-AD4C-EA46-A0BE-CE0E4209BE17}"/>
              </a:ext>
            </a:extLst>
          </p:cNvPr>
          <p:cNvSpPr/>
          <p:nvPr/>
        </p:nvSpPr>
        <p:spPr>
          <a:xfrm>
            <a:off x="6151330" y="747593"/>
            <a:ext cx="5471160" cy="5062630"/>
          </a:xfrm>
          <a:prstGeom prst="flowChartConnector">
            <a:avLst/>
          </a:prstGeom>
          <a:solidFill>
            <a:schemeClr val="accent6">
              <a:alpha val="49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A66209-CBE9-0318-ECD7-1ABE785769A5}"/>
              </a:ext>
            </a:extLst>
          </p:cNvPr>
          <p:cNvSpPr txBox="1"/>
          <p:nvPr/>
        </p:nvSpPr>
        <p:spPr>
          <a:xfrm>
            <a:off x="6820270" y="2155344"/>
            <a:ext cx="449559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3200" b="1" dirty="0">
                <a:solidFill>
                  <a:schemeClr val="accent2"/>
                </a:solidFill>
              </a:rPr>
              <a:t>Διεύρυνση της πρόσβασης στη  χρηματοδότηση ΜμΕ</a:t>
            </a:r>
            <a:endParaRPr lang="en-US" sz="3200" b="1" dirty="0">
              <a:solidFill>
                <a:schemeClr val="accent2"/>
              </a:solidFill>
            </a:endParaRPr>
          </a:p>
          <a:p>
            <a:endParaRPr lang="en-US" sz="2400" dirty="0"/>
          </a:p>
        </p:txBody>
      </p:sp>
      <p:sp>
        <p:nvSpPr>
          <p:cNvPr id="15" name="Flowchart: Connector 14">
            <a:extLst>
              <a:ext uri="{FF2B5EF4-FFF2-40B4-BE49-F238E27FC236}">
                <a16:creationId xmlns:a16="http://schemas.microsoft.com/office/drawing/2014/main" id="{CB1F0BDA-925B-EC2D-7D42-B8D4464464F5}"/>
              </a:ext>
            </a:extLst>
          </p:cNvPr>
          <p:cNvSpPr/>
          <p:nvPr/>
        </p:nvSpPr>
        <p:spPr>
          <a:xfrm>
            <a:off x="1364776" y="5187361"/>
            <a:ext cx="5455494" cy="4755106"/>
          </a:xfrm>
          <a:prstGeom prst="flowChartConnector">
            <a:avLst/>
          </a:prstGeom>
          <a:solidFill>
            <a:schemeClr val="accent3">
              <a:lumMod val="60000"/>
              <a:lumOff val="40000"/>
              <a:alpha val="49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7D66A45-7E42-150E-84F6-EE5BBB810020}"/>
              </a:ext>
            </a:extLst>
          </p:cNvPr>
          <p:cNvSpPr txBox="1"/>
          <p:nvPr/>
        </p:nvSpPr>
        <p:spPr>
          <a:xfrm>
            <a:off x="1737778" y="7166635"/>
            <a:ext cx="44955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3200" b="1" dirty="0">
                <a:solidFill>
                  <a:schemeClr val="accent2"/>
                </a:solidFill>
              </a:rPr>
              <a:t>Εξωστρέφεια</a:t>
            </a:r>
            <a:endParaRPr lang="en-US" sz="2400" dirty="0">
              <a:solidFill>
                <a:schemeClr val="accent2"/>
              </a:solidFill>
            </a:endParaRPr>
          </a:p>
        </p:txBody>
      </p:sp>
      <p:sp>
        <p:nvSpPr>
          <p:cNvPr id="17" name="Flowchart: Connector 16">
            <a:extLst>
              <a:ext uri="{FF2B5EF4-FFF2-40B4-BE49-F238E27FC236}">
                <a16:creationId xmlns:a16="http://schemas.microsoft.com/office/drawing/2014/main" id="{C76D9D76-28EE-2F3E-AD14-EF62241A4B24}"/>
              </a:ext>
            </a:extLst>
          </p:cNvPr>
          <p:cNvSpPr/>
          <p:nvPr/>
        </p:nvSpPr>
        <p:spPr>
          <a:xfrm>
            <a:off x="10869140" y="5138627"/>
            <a:ext cx="5681082" cy="4803840"/>
          </a:xfrm>
          <a:prstGeom prst="flowChartConnector">
            <a:avLst/>
          </a:prstGeom>
          <a:solidFill>
            <a:schemeClr val="tx1">
              <a:lumMod val="25000"/>
              <a:lumOff val="75000"/>
              <a:alpha val="49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4355F95-96D6-A295-4229-E452362DB9F8}"/>
              </a:ext>
            </a:extLst>
          </p:cNvPr>
          <p:cNvSpPr txBox="1"/>
          <p:nvPr/>
        </p:nvSpPr>
        <p:spPr>
          <a:xfrm>
            <a:off x="11482847" y="7028135"/>
            <a:ext cx="449559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3200" b="1" dirty="0">
                <a:solidFill>
                  <a:schemeClr val="accent2"/>
                </a:solidFill>
              </a:rPr>
              <a:t>Στήριξη βιώσιμης ανάπτυξης και Καινοτομίας</a:t>
            </a:r>
            <a:endParaRPr lang="en-US" sz="3200" b="1" dirty="0">
              <a:solidFill>
                <a:schemeClr val="accent2"/>
              </a:solidFill>
            </a:endParaRPr>
          </a:p>
          <a:p>
            <a:endParaRPr lang="en-US" sz="2400" dirty="0">
              <a:solidFill>
                <a:schemeClr val="accent2"/>
              </a:solidFill>
            </a:endParaRPr>
          </a:p>
        </p:txBody>
      </p:sp>
      <p:pic>
        <p:nvPicPr>
          <p:cNvPr id="6" name="Picture 35">
            <a:extLst>
              <a:ext uri="{FF2B5EF4-FFF2-40B4-BE49-F238E27FC236}">
                <a16:creationId xmlns:a16="http://schemas.microsoft.com/office/drawing/2014/main" id="{A8A993D9-DC13-F8F9-6145-1DBF320439D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0119" y="5762870"/>
            <a:ext cx="2553580" cy="2362623"/>
          </a:xfrm>
          <a:prstGeom prst="ellipse">
            <a:avLst/>
          </a:prstGeom>
          <a:ln w="63500" cap="rnd">
            <a:solidFill>
              <a:schemeClr val="accent6">
                <a:lumMod val="75000"/>
              </a:schemeClr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" name="Θέση κειμένου 1">
            <a:extLst>
              <a:ext uri="{FF2B5EF4-FFF2-40B4-BE49-F238E27FC236}">
                <a16:creationId xmlns:a16="http://schemas.microsoft.com/office/drawing/2014/main" id="{FB935F38-3EE3-31FE-BBF9-3127E5C992E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l-GR" b="1" dirty="0">
                <a:latin typeface="Calibri" panose="020F0502020204030204" pitchFamily="34" charset="0"/>
                <a:cs typeface="Calibri" panose="020F0502020204030204" pitchFamily="34" charset="0"/>
              </a:rPr>
              <a:t>HDB | Άξονες Στρατηγικής της Ελληνικής Αναπτυξιακής Τράπεζας </a:t>
            </a:r>
          </a:p>
        </p:txBody>
      </p:sp>
    </p:spTree>
    <p:extLst>
      <p:ext uri="{BB962C8B-B14F-4D97-AF65-F5344CB8AC3E}">
        <p14:creationId xmlns:p14="http://schemas.microsoft.com/office/powerpoint/2010/main" val="19339222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κειμένου 1">
            <a:extLst>
              <a:ext uri="{FF2B5EF4-FFF2-40B4-BE49-F238E27FC236}">
                <a16:creationId xmlns:a16="http://schemas.microsoft.com/office/drawing/2014/main" id="{84ED328F-3F2D-DCC0-3179-88AF182C57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7057" y="344533"/>
            <a:ext cx="17506472" cy="766520"/>
          </a:xfrm>
        </p:spPr>
        <p:txBody>
          <a:bodyPr/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HDB|</a:t>
            </a:r>
            <a:r>
              <a:rPr lang="el-GR" b="1" dirty="0">
                <a:latin typeface="Calibri" panose="020F0502020204030204" pitchFamily="34" charset="0"/>
                <a:cs typeface="Calibri" panose="020F0502020204030204" pitchFamily="34" charset="0"/>
              </a:rPr>
              <a:t>Παρέχοντας λύσεις για να αντιμετωπιστούν οι προκλήσεις της αγοράς</a:t>
            </a:r>
          </a:p>
        </p:txBody>
      </p:sp>
      <p:sp>
        <p:nvSpPr>
          <p:cNvPr id="5" name="Θέση κειμένου 4">
            <a:extLst>
              <a:ext uri="{FF2B5EF4-FFF2-40B4-BE49-F238E27FC236}">
                <a16:creationId xmlns:a16="http://schemas.microsoft.com/office/drawing/2014/main" id="{3EDC0010-EABC-A1B5-AA88-6F16091E7861}"/>
              </a:ext>
            </a:extLst>
          </p:cNvPr>
          <p:cNvSpPr txBox="1">
            <a:spLocks/>
          </p:cNvSpPr>
          <p:nvPr/>
        </p:nvSpPr>
        <p:spPr>
          <a:xfrm>
            <a:off x="457200" y="2023660"/>
            <a:ext cx="8556812" cy="68714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45" marR="0" lvl="0" indent="-457223" algn="l" defTabSz="1028751" rtl="0" eaLnBrk="1" latinLnBrk="0" hangingPunct="1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kern="1200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92" marR="0" lvl="1" indent="-685835" algn="l" defTabSz="1028751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337" marR="0" lvl="2" indent="-647733" algn="l" defTabSz="1028751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783" marR="0" lvl="3" indent="-628682" algn="l" defTabSz="1028751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228" marR="0" lvl="4" indent="-628682" algn="l" defTabSz="1028751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675" marR="0" lvl="5" indent="-628682" algn="l" defTabSz="1028751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1120" marR="0" lvl="6" indent="-628682" algn="l" defTabSz="1028751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566" marR="0" lvl="7" indent="-628682" algn="l" defTabSz="1028751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30011" marR="0" lvl="8" indent="-628682" algn="l" defTabSz="1028751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>
              <a:lnSpc>
                <a:spcPct val="150000"/>
              </a:lnSpc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</a:pPr>
            <a:r>
              <a:rPr lang="el-GR" sz="2800" b="1" dirty="0">
                <a:solidFill>
                  <a:srgbClr val="281F76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Σημαντική αύξηση του κόστους χρηματοδότησης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</a:pPr>
            <a:r>
              <a:rPr lang="el-GR" sz="2800" b="1" dirty="0">
                <a:solidFill>
                  <a:srgbClr val="281F76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Περιορισμένες εξασφαλίσεις</a:t>
            </a:r>
            <a:r>
              <a:rPr lang="en-US" sz="2800" b="1" dirty="0">
                <a:solidFill>
                  <a:srgbClr val="281F76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 </a:t>
            </a:r>
            <a:r>
              <a:rPr lang="el-GR" sz="2800" b="1" dirty="0">
                <a:solidFill>
                  <a:srgbClr val="281F76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από επιχειρήσεις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</a:pPr>
            <a:r>
              <a:rPr lang="el-GR" sz="2800" b="1" dirty="0">
                <a:solidFill>
                  <a:srgbClr val="281F76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Πρόσβαση σε χρηματοδότηση και διεθνείς αγορές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</a:pPr>
            <a:r>
              <a:rPr lang="el-GR" sz="2800" b="1" dirty="0">
                <a:solidFill>
                  <a:srgbClr val="281F76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Πράσινη</a:t>
            </a:r>
            <a:r>
              <a:rPr lang="en-US" sz="2800" b="1" dirty="0">
                <a:solidFill>
                  <a:srgbClr val="281F76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, </a:t>
            </a:r>
            <a:r>
              <a:rPr lang="el-GR" sz="2800" b="1" dirty="0">
                <a:solidFill>
                  <a:srgbClr val="281F76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ενεργειακή και δίκαιη μετάβαση των επιχειρήσεων και των ιδιωτών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</a:pPr>
            <a:r>
              <a:rPr lang="el-GR" sz="2800" b="1" dirty="0">
                <a:solidFill>
                  <a:srgbClr val="281F76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Στεγαστική κοινωνική πολιτική για νέους 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</a:pPr>
            <a:r>
              <a:rPr lang="el-GR" sz="2800" b="1" dirty="0">
                <a:solidFill>
                  <a:srgbClr val="281F76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Αύξηση δαπανών ενέργειας και πρώτων υλών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</a:pPr>
            <a:r>
              <a:rPr lang="el-GR" sz="2800" b="1" dirty="0">
                <a:solidFill>
                  <a:srgbClr val="281F76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Εκπαίδευση, επιμόρφωση, καθοδήγηση </a:t>
            </a:r>
            <a:r>
              <a:rPr lang="el-GR" sz="2800" b="1" dirty="0" err="1">
                <a:solidFill>
                  <a:srgbClr val="281F76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ΜμΕ</a:t>
            </a:r>
            <a:endParaRPr lang="el-GR" sz="2800" b="1" dirty="0">
              <a:solidFill>
                <a:srgbClr val="281F76"/>
              </a:solidFill>
              <a:latin typeface="Calibri" panose="020F0502020204030204" pitchFamily="34" charset="0"/>
              <a:ea typeface="Lato Black"/>
              <a:cs typeface="Calibri" panose="020F0502020204030204" pitchFamily="34" charset="0"/>
              <a:sym typeface="Lato Black"/>
            </a:endParaRPr>
          </a:p>
        </p:txBody>
      </p:sp>
      <p:sp>
        <p:nvSpPr>
          <p:cNvPr id="6" name="Θέση κειμένου 4">
            <a:extLst>
              <a:ext uri="{FF2B5EF4-FFF2-40B4-BE49-F238E27FC236}">
                <a16:creationId xmlns:a16="http://schemas.microsoft.com/office/drawing/2014/main" id="{59308CC6-0650-BA43-156C-4D1A08A8BBA7}"/>
              </a:ext>
            </a:extLst>
          </p:cNvPr>
          <p:cNvSpPr txBox="1">
            <a:spLocks/>
          </p:cNvSpPr>
          <p:nvPr/>
        </p:nvSpPr>
        <p:spPr>
          <a:xfrm>
            <a:off x="8838916" y="2312967"/>
            <a:ext cx="9129044" cy="68714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45" marR="0" lvl="0" indent="-457223" algn="l" defTabSz="1028751" rtl="0" eaLnBrk="1" latinLnBrk="0" hangingPunct="1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kern="1200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92" marR="0" lvl="1" indent="-685835" algn="l" defTabSz="1028751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337" marR="0" lvl="2" indent="-647733" algn="l" defTabSz="1028751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783" marR="0" lvl="3" indent="-628682" algn="l" defTabSz="1028751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228" marR="0" lvl="4" indent="-628682" algn="l" defTabSz="1028751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675" marR="0" lvl="5" indent="-628682" algn="l" defTabSz="1028751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1120" marR="0" lvl="6" indent="-628682" algn="l" defTabSz="1028751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566" marR="0" lvl="7" indent="-628682" algn="l" defTabSz="1028751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30011" marR="0" lvl="8" indent="-628682" algn="l" defTabSz="1028751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>
              <a:lnSpc>
                <a:spcPct val="150000"/>
              </a:lnSpc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</a:pPr>
            <a:r>
              <a:rPr lang="el-GR" sz="2800" b="1" dirty="0">
                <a:solidFill>
                  <a:srgbClr val="281F76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Άτοκη συγχρηματοδότηση </a:t>
            </a:r>
            <a:r>
              <a:rPr lang="el-GR" sz="2800" dirty="0">
                <a:solidFill>
                  <a:srgbClr val="281F76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δανείων</a:t>
            </a:r>
            <a:r>
              <a:rPr lang="en-US" sz="2800" dirty="0">
                <a:solidFill>
                  <a:srgbClr val="281F76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 </a:t>
            </a:r>
            <a:r>
              <a:rPr lang="el-GR" sz="2800" dirty="0">
                <a:solidFill>
                  <a:srgbClr val="281F76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κατά 40% ή 50% ή 75%.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</a:pPr>
            <a:r>
              <a:rPr lang="el-GR" sz="2800" b="1" dirty="0">
                <a:solidFill>
                  <a:srgbClr val="281F76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Εγγύηση δανείων κατά 80% </a:t>
            </a:r>
            <a:r>
              <a:rPr lang="el-GR" sz="2800" dirty="0">
                <a:solidFill>
                  <a:srgbClr val="281F76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με ανώτατο επιτόκιο δανείου τράπεζας και ανώτατο ποσοστό εξασφαλίσεων.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</a:pPr>
            <a:r>
              <a:rPr lang="el-GR" sz="2800" b="1" dirty="0">
                <a:solidFill>
                  <a:srgbClr val="281F76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Επιδότηση επιτοκίου </a:t>
            </a:r>
            <a:r>
              <a:rPr lang="el-GR" sz="2800" dirty="0">
                <a:solidFill>
                  <a:srgbClr val="281F76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για το αρχικό χρονικό διάστημα του δανείου ως πρόσθετη ενίσχυση.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</a:pPr>
            <a:r>
              <a:rPr lang="el-GR" sz="2800" b="1" dirty="0">
                <a:solidFill>
                  <a:srgbClr val="281F76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Μείωση δανειακού κεφαλαίου </a:t>
            </a:r>
            <a:r>
              <a:rPr lang="el-GR" sz="2800" dirty="0">
                <a:solidFill>
                  <a:srgbClr val="281F76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υπό προϋποθέσεις επίτευξης στόχων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</a:pPr>
            <a:r>
              <a:rPr lang="el-GR" sz="2800" b="1" dirty="0">
                <a:solidFill>
                  <a:srgbClr val="281F76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Μεγάλη περίοδος χάριτος </a:t>
            </a:r>
            <a:r>
              <a:rPr lang="el-GR" sz="2800" dirty="0">
                <a:solidFill>
                  <a:srgbClr val="281F76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δανείων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</a:pPr>
            <a:r>
              <a:rPr lang="el-GR" sz="2800" b="1" dirty="0">
                <a:solidFill>
                  <a:srgbClr val="281F76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Μη χρηματοδοτικοί μηχανισμοί στήριξης </a:t>
            </a:r>
          </a:p>
          <a:p>
            <a:pPr>
              <a:lnSpc>
                <a:spcPct val="150000"/>
              </a:lnSpc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</a:pPr>
            <a:endParaRPr lang="el-GR" sz="2600" dirty="0">
              <a:solidFill>
                <a:srgbClr val="281F76"/>
              </a:solidFill>
              <a:latin typeface="Calibri" panose="020F0502020204030204" pitchFamily="34" charset="0"/>
              <a:ea typeface="Lato Black"/>
              <a:cs typeface="Calibri" panose="020F0502020204030204" pitchFamily="34" charset="0"/>
              <a:sym typeface="Lato Black"/>
            </a:endParaRPr>
          </a:p>
        </p:txBody>
      </p:sp>
      <p:sp>
        <p:nvSpPr>
          <p:cNvPr id="9" name="Θέση κειμένου 2">
            <a:extLst>
              <a:ext uri="{FF2B5EF4-FFF2-40B4-BE49-F238E27FC236}">
                <a16:creationId xmlns:a16="http://schemas.microsoft.com/office/drawing/2014/main" id="{0CCDF22D-D2D7-6FA6-2E50-DDEA74AC283F}"/>
              </a:ext>
            </a:extLst>
          </p:cNvPr>
          <p:cNvSpPr>
            <a:spLocks noGrp="1"/>
          </p:cNvSpPr>
          <p:nvPr>
            <p:ph type="body" idx="2"/>
          </p:nvPr>
        </p:nvSpPr>
        <p:spPr>
          <a:xfrm>
            <a:off x="1175121" y="1391894"/>
            <a:ext cx="7200800" cy="583242"/>
          </a:xfrm>
        </p:spPr>
        <p:txBody>
          <a:bodyPr/>
          <a:lstStyle/>
          <a:p>
            <a:pPr algn="ctr"/>
            <a:r>
              <a:rPr lang="el-GR" sz="36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Προκλήσεις</a:t>
            </a:r>
            <a:endParaRPr lang="en-US" sz="3600" b="1" dirty="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Θέση κειμένου 2">
            <a:extLst>
              <a:ext uri="{FF2B5EF4-FFF2-40B4-BE49-F238E27FC236}">
                <a16:creationId xmlns:a16="http://schemas.microsoft.com/office/drawing/2014/main" id="{E797BB05-5FF8-6DCC-851D-DBE416046EE5}"/>
              </a:ext>
            </a:extLst>
          </p:cNvPr>
          <p:cNvSpPr txBox="1">
            <a:spLocks/>
          </p:cNvSpPr>
          <p:nvPr/>
        </p:nvSpPr>
        <p:spPr>
          <a:xfrm>
            <a:off x="9912081" y="1371415"/>
            <a:ext cx="7200800" cy="583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914445" marR="0" lvl="0" indent="-457223" algn="l" defTabSz="1028751" rtl="0" eaLnBrk="1" latinLnBrk="0" hangingPunct="1">
              <a:lnSpc>
                <a:spcPct val="133333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2000" b="0" i="0" u="none" strike="noStrike" kern="1200" cap="none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Lato"/>
                <a:cs typeface="Lato"/>
                <a:sym typeface="Lato"/>
              </a:defRPr>
            </a:lvl1pPr>
            <a:lvl2pPr marL="1828892" marR="0" lvl="1" indent="-685835" algn="l" defTabSz="1028751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337" marR="0" lvl="2" indent="-647733" algn="l" defTabSz="1028751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783" marR="0" lvl="3" indent="-628682" algn="l" defTabSz="1028751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228" marR="0" lvl="4" indent="-628682" algn="l" defTabSz="1028751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675" marR="0" lvl="5" indent="-628682" algn="l" defTabSz="1028751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1120" marR="0" lvl="6" indent="-628682" algn="l" defTabSz="1028751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566" marR="0" lvl="7" indent="-628682" algn="l" defTabSz="1028751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30011" marR="0" lvl="8" indent="-628682" algn="l" defTabSz="1028751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27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algn="ctr"/>
            <a:r>
              <a:rPr lang="el-GR" sz="36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Απαντήσεις</a:t>
            </a:r>
            <a:endParaRPr lang="en-US" sz="3600" b="1" dirty="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37726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κειμένου 1">
            <a:extLst>
              <a:ext uri="{FF2B5EF4-FFF2-40B4-BE49-F238E27FC236}">
                <a16:creationId xmlns:a16="http://schemas.microsoft.com/office/drawing/2014/main" id="{34F847DD-1377-E5C7-97FE-B2830B48FB8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l-GR" b="1" dirty="0">
                <a:latin typeface="Calibri" panose="020F0502020204030204" pitchFamily="34" charset="0"/>
                <a:cs typeface="Calibri" panose="020F0502020204030204" pitchFamily="34" charset="0"/>
              </a:rPr>
              <a:t>...ενισχύοντας την πρόσβαση των ΜμΕ στη χρηματοδότηση</a:t>
            </a:r>
          </a:p>
        </p:txBody>
      </p:sp>
      <p:sp>
        <p:nvSpPr>
          <p:cNvPr id="34" name="Βέλος: Καμπύλο προς τα αριστερά 33">
            <a:extLst>
              <a:ext uri="{FF2B5EF4-FFF2-40B4-BE49-F238E27FC236}">
                <a16:creationId xmlns:a16="http://schemas.microsoft.com/office/drawing/2014/main" id="{C22CF220-7343-C477-AF07-46895E98A381}"/>
              </a:ext>
            </a:extLst>
          </p:cNvPr>
          <p:cNvSpPr/>
          <p:nvPr/>
        </p:nvSpPr>
        <p:spPr>
          <a:xfrm>
            <a:off x="17151842" y="2893338"/>
            <a:ext cx="613391" cy="5358332"/>
          </a:xfrm>
          <a:prstGeom prst="curvedLeftArrow">
            <a:avLst/>
          </a:prstGeom>
          <a:solidFill>
            <a:schemeClr val="accent3">
              <a:lumMod val="75000"/>
            </a:scheme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E05F2FF-3274-7E01-42C2-2D6A5FECE516}"/>
              </a:ext>
            </a:extLst>
          </p:cNvPr>
          <p:cNvSpPr txBox="1"/>
          <p:nvPr/>
        </p:nvSpPr>
        <p:spPr>
          <a:xfrm>
            <a:off x="13576001" y="4817307"/>
            <a:ext cx="336879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44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Μόχλευση </a:t>
            </a:r>
          </a:p>
          <a:p>
            <a:pPr algn="ctr"/>
            <a:r>
              <a:rPr lang="en-US" sz="44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 2,7</a:t>
            </a:r>
            <a:endParaRPr lang="el-GR" sz="4400" b="1" dirty="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el-GR" sz="3200" b="1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41" name="Πίνακας 40">
            <a:extLst>
              <a:ext uri="{FF2B5EF4-FFF2-40B4-BE49-F238E27FC236}">
                <a16:creationId xmlns:a16="http://schemas.microsoft.com/office/drawing/2014/main" id="{3987CBC1-645A-0094-3DFB-FD4CF9B338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0616709"/>
              </p:ext>
            </p:extLst>
          </p:nvPr>
        </p:nvGraphicFramePr>
        <p:xfrm>
          <a:off x="672931" y="1642596"/>
          <a:ext cx="11849100" cy="7392216"/>
        </p:xfrm>
        <a:graphic>
          <a:graphicData uri="http://schemas.openxmlformats.org/drawingml/2006/table">
            <a:tbl>
              <a:tblPr firstRow="1" bandRow="1"/>
              <a:tblGrid>
                <a:gridCol w="6121400">
                  <a:extLst>
                    <a:ext uri="{9D8B030D-6E8A-4147-A177-3AD203B41FA5}">
                      <a16:colId xmlns:a16="http://schemas.microsoft.com/office/drawing/2014/main" val="4142032392"/>
                    </a:ext>
                  </a:extLst>
                </a:gridCol>
                <a:gridCol w="4114800">
                  <a:extLst>
                    <a:ext uri="{9D8B030D-6E8A-4147-A177-3AD203B41FA5}">
                      <a16:colId xmlns:a16="http://schemas.microsoft.com/office/drawing/2014/main" val="1040526430"/>
                    </a:ext>
                  </a:extLst>
                </a:gridCol>
                <a:gridCol w="1612900">
                  <a:extLst>
                    <a:ext uri="{9D8B030D-6E8A-4147-A177-3AD203B41FA5}">
                      <a16:colId xmlns:a16="http://schemas.microsoft.com/office/drawing/2014/main" val="2915861783"/>
                    </a:ext>
                  </a:extLst>
                </a:gridCol>
              </a:tblGrid>
              <a:tr h="7968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l-GR" sz="1800" b="1" i="0" u="sng" strike="noStrike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Χρηματοδοτικά Εργαλεία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1A3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-GR" sz="1800" b="1" i="0" u="sng" strike="noStrike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Τύπος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1A3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-GR" sz="1800" b="1" i="0" u="sng" strike="noStrike" dirty="0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Π/Υ Δανείων (εκ. ευρώ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1A3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4303908"/>
                  </a:ext>
                </a:extLst>
              </a:tr>
              <a:tr h="475952">
                <a:tc>
                  <a:txBody>
                    <a:bodyPr/>
                    <a:lstStyle/>
                    <a:p>
                      <a:pPr algn="l" rtl="0" fontAlgn="ctr"/>
                      <a:r>
                        <a:rPr lang="el-GR" sz="1600" b="1" i="0" u="none" strike="noStrike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ΤΕΠΙΧ Ι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0F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-GR" sz="1600" b="0" i="0" u="none" strike="noStrike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Συγχρηματοδότηση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0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2.522</a:t>
                      </a:r>
                      <a:endParaRPr lang="el-GR" sz="1800" b="1" i="0" u="none" strike="noStrike" dirty="0">
                        <a:solidFill>
                          <a:srgbClr val="281F76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0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749742"/>
                  </a:ext>
                </a:extLst>
              </a:tr>
              <a:tr h="475952">
                <a:tc>
                  <a:txBody>
                    <a:bodyPr/>
                    <a:lstStyle/>
                    <a:p>
                      <a:pPr algn="l" rtl="0" fontAlgn="ctr"/>
                      <a:r>
                        <a:rPr lang="el-GR" sz="1600" b="1" i="0" u="none" strike="noStrike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Ταμείο Εγγυοδοσίας Επιχειρήσεων </a:t>
                      </a:r>
                      <a:r>
                        <a:rPr lang="en-US" sz="1600" b="1" i="0" u="none" strike="noStrike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COVID-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0F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-GR" sz="1600" b="0" i="0" u="none" strike="noStrike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Εγγύηση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0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-GR" sz="1800" b="1" i="0" u="none" strike="noStrike" dirty="0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6.4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0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2990532"/>
                  </a:ext>
                </a:extLst>
              </a:tr>
              <a:tr h="42155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000" b="1" i="0" u="none" strike="noStrike" dirty="0" err="1">
                          <a:solidFill>
                            <a:srgbClr val="281F76"/>
                          </a:solidFill>
                          <a:effectLst/>
                          <a:latin typeface="Calibri" panose="020F0502020204030204" pitchFamily="34" charset="0"/>
                        </a:rPr>
                        <a:t>EquiFund</a:t>
                      </a:r>
                      <a:r>
                        <a:rPr lang="en-US" sz="2000" b="1" i="0" u="none" strike="noStrike" dirty="0">
                          <a:solidFill>
                            <a:srgbClr val="281F76"/>
                          </a:solidFill>
                          <a:effectLst/>
                          <a:latin typeface="Calibri" panose="020F0502020204030204" pitchFamily="34" charset="0"/>
                        </a:rPr>
                        <a:t> (Growth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0F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-GR" sz="1600" b="0" i="0" u="none" strike="noStrike" dirty="0">
                          <a:solidFill>
                            <a:srgbClr val="281F76"/>
                          </a:solidFill>
                          <a:effectLst/>
                          <a:latin typeface="Calibri" panose="020F0502020204030204" pitchFamily="34" charset="0"/>
                        </a:rPr>
                        <a:t>Συμμετοχές Κεφαλαίων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0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-GR" sz="2000" b="1" i="0" u="none" strike="noStrike" dirty="0">
                          <a:solidFill>
                            <a:srgbClr val="281F76"/>
                          </a:solidFill>
                          <a:effectLst/>
                          <a:latin typeface="Calibri" panose="020F0502020204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0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9049535"/>
                  </a:ext>
                </a:extLst>
              </a:tr>
              <a:tr h="462354">
                <a:tc>
                  <a:txBody>
                    <a:bodyPr/>
                    <a:lstStyle/>
                    <a:p>
                      <a:pPr algn="l" rtl="0" fontAlgn="ctr"/>
                      <a:r>
                        <a:rPr lang="el-GR" sz="1600" b="1" i="0" u="none" strike="noStrike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Ταμείο Ανάπτυξης Δυτικής Μακεδονία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0F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-GR" sz="1600" b="0" i="0" u="none" strike="noStrike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Συγχρηματοδότηση + Επιδότηση επιτοκίο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0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-GR" sz="2000" b="1" i="0" u="none" strike="noStrike" dirty="0">
                          <a:solidFill>
                            <a:srgbClr val="281F76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0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0652320"/>
                  </a:ext>
                </a:extLst>
              </a:tr>
              <a:tr h="475952">
                <a:tc>
                  <a:txBody>
                    <a:bodyPr/>
                    <a:lstStyle/>
                    <a:p>
                      <a:pPr algn="l" rtl="0" fontAlgn="ctr"/>
                      <a:r>
                        <a:rPr lang="el-GR" sz="1600" b="1" i="0" u="none" strike="noStrike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Ταμείο Εγγυοδοσίας ΕΑΤ-ΤΜΕΔΕ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0F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-GR" sz="1600" b="0" i="0" u="none" strike="noStrike" dirty="0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Εγγύηση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0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-GR" sz="1800" b="1" i="0" u="none" strike="noStrike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67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0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4614890"/>
                  </a:ext>
                </a:extLst>
              </a:tr>
              <a:tr h="475952">
                <a:tc>
                  <a:txBody>
                    <a:bodyPr/>
                    <a:lstStyle/>
                    <a:p>
                      <a:pPr algn="l" rtl="0" fontAlgn="ctr"/>
                      <a:r>
                        <a:rPr lang="el-GR" sz="1600" b="1" i="0" u="none" strike="noStrike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Ταμείο Εγγυοδοσίας Παραγωγής Οπτικοακουστικών Έργων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0F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-GR" sz="1600" b="0" i="0" u="none" strike="noStrike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Εγγύηση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0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-GR" sz="1800" b="1" i="0" u="none" strike="noStrike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62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0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5283580"/>
                  </a:ext>
                </a:extLst>
              </a:tr>
              <a:tr h="475952">
                <a:tc>
                  <a:txBody>
                    <a:bodyPr/>
                    <a:lstStyle/>
                    <a:p>
                      <a:pPr algn="l" rtl="0" fontAlgn="ctr"/>
                      <a:r>
                        <a:rPr lang="el-GR" sz="1600" b="1" i="0" u="none" strike="noStrike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Ταμείο Εγγυοδοσίας Καινοτομία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0F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-GR" sz="1600" b="0" i="0" u="none" strike="noStrike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Εγγύηση + Επιχορήγηση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0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-GR" sz="1800" b="1" i="0" u="none" strike="noStrike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0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9868756"/>
                  </a:ext>
                </a:extLst>
              </a:tr>
              <a:tr h="475952">
                <a:tc>
                  <a:txBody>
                    <a:bodyPr/>
                    <a:lstStyle/>
                    <a:p>
                      <a:pPr algn="l" rtl="0" fontAlgn="ctr"/>
                      <a:r>
                        <a:rPr lang="el-GR" sz="1800" b="1" i="0" u="none" strike="noStrike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Ταμείο Μικρών Δανείων Αγροτικών Επιχειρήσεων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0F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-GR" sz="1600" b="0" i="0" u="none" strike="noStrike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Συγχρηματοδότηση+ Επιδότηση Επιτοκίο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0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-GR" sz="1800" b="1" i="0" u="none" strike="noStrike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0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1074258"/>
                  </a:ext>
                </a:extLst>
              </a:tr>
              <a:tr h="475952">
                <a:tc>
                  <a:txBody>
                    <a:bodyPr/>
                    <a:lstStyle/>
                    <a:p>
                      <a:pPr algn="l" rtl="0" fontAlgn="ctr"/>
                      <a:r>
                        <a:rPr lang="el-GR" sz="1800" b="1" i="0" u="none" strike="noStrike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Πρόγραμμα «Σπίτι μου»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0F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-GR" sz="1600" b="0" i="0" u="none" strike="noStrike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Συγχρηματοδότηση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0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-GR" sz="1800" b="1" i="0" u="none" strike="noStrike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1.0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0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5876649"/>
                  </a:ext>
                </a:extLst>
              </a:tr>
              <a:tr h="475952">
                <a:tc>
                  <a:txBody>
                    <a:bodyPr/>
                    <a:lstStyle/>
                    <a:p>
                      <a:pPr algn="l" rtl="0" fontAlgn="ctr"/>
                      <a:r>
                        <a:rPr lang="el-GR" sz="1800" b="1" i="0" u="none" strike="noStrike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Δάνεια Ρευστότητας Επιχειρήσεων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0F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-GR" sz="1600" b="0" i="0" u="none" strike="noStrike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Συγχρηματοδότηση + Επιδότηση Επιτοκίο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0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-GR" sz="1800" b="1" i="0" u="none" strike="noStrike" kern="1200" dirty="0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7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0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557353"/>
                  </a:ext>
                </a:extLst>
              </a:tr>
              <a:tr h="475952">
                <a:tc>
                  <a:txBody>
                    <a:bodyPr/>
                    <a:lstStyle/>
                    <a:p>
                      <a:pPr algn="l" rtl="0" fontAlgn="ctr"/>
                      <a:r>
                        <a:rPr lang="el-GR" sz="1800" b="1" i="0" u="none" strike="noStrike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Πράσινα Συγχρηματοδοτούμενα Δάνεια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0F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-GR" sz="1600" b="0" i="0" u="none" strike="noStrike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Συγχρηματοδότηση + Επιδότηση Επιτοκίο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0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-GR" sz="1800" b="1" i="0" u="none" strike="noStrike" kern="1200" dirty="0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415</a:t>
                      </a:r>
                      <a:endParaRPr lang="el-GR" sz="1800" b="1" i="0" u="none" strike="noStrike" dirty="0">
                        <a:solidFill>
                          <a:srgbClr val="281F76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0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158607"/>
                  </a:ext>
                </a:extLst>
              </a:tr>
              <a:tr h="475952">
                <a:tc>
                  <a:txBody>
                    <a:bodyPr/>
                    <a:lstStyle/>
                    <a:p>
                      <a:pPr algn="l" rtl="0" fontAlgn="ctr"/>
                      <a:r>
                        <a:rPr lang="el-GR" sz="1800" b="1" i="0" u="none" strike="noStrike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Δάνεια Ψηφιακής Αναβάθμισης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0F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-GR" sz="1600" b="0" i="0" u="none" strike="noStrike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Συγχρηματοδότηση + Επιδότηση Επιτοκίο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0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-GR" sz="1800" b="1" i="0" u="none" strike="noStrike" kern="1200" dirty="0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175</a:t>
                      </a:r>
                      <a:endParaRPr lang="el-GR" sz="1800" b="1" i="0" u="none" strike="noStrike" dirty="0">
                        <a:solidFill>
                          <a:srgbClr val="281F76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0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30970"/>
                  </a:ext>
                </a:extLst>
              </a:tr>
              <a:tr h="47595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800" b="1" i="0" u="none" strike="noStrike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Development Law Financial instrument (DELFi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0F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-GR" sz="1600" b="0" i="0" u="none" strike="noStrike" dirty="0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Εγγύηση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0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-GR" sz="1800" b="1" i="0" u="none" strike="noStrike" dirty="0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0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6066486"/>
                  </a:ext>
                </a:extLst>
              </a:tr>
              <a:tr h="475952">
                <a:tc>
                  <a:txBody>
                    <a:bodyPr/>
                    <a:lstStyle/>
                    <a:p>
                      <a:pPr algn="r" rtl="0" fontAlgn="ctr"/>
                      <a:r>
                        <a:rPr lang="el-GR" sz="2400" b="1" i="0" u="none" strike="noStrike" dirty="0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Σύνολο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0F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l-GR" sz="2400" b="0" i="0" u="none" strike="noStrike" dirty="0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0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-GR" sz="2800" b="1" i="0" u="none" strike="noStrike" dirty="0">
                          <a:solidFill>
                            <a:srgbClr val="281F76"/>
                          </a:solidFill>
                          <a:effectLst/>
                          <a:latin typeface="Segoe UI" panose="020B0502040204020203" pitchFamily="34" charset="0"/>
                        </a:rPr>
                        <a:t>12.3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0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8161980"/>
                  </a:ext>
                </a:extLst>
              </a:tr>
            </a:tbl>
          </a:graphicData>
        </a:graphic>
      </p:graphicFrame>
      <p:sp>
        <p:nvSpPr>
          <p:cNvPr id="3" name="Oval 2">
            <a:extLst>
              <a:ext uri="{FF2B5EF4-FFF2-40B4-BE49-F238E27FC236}">
                <a16:creationId xmlns:a16="http://schemas.microsoft.com/office/drawing/2014/main" id="{8CDDA39E-BEA8-8204-99B8-36699DF790A6}"/>
              </a:ext>
            </a:extLst>
          </p:cNvPr>
          <p:cNvSpPr/>
          <p:nvPr/>
        </p:nvSpPr>
        <p:spPr>
          <a:xfrm>
            <a:off x="13243560" y="1920240"/>
            <a:ext cx="3908282" cy="2087880"/>
          </a:xfrm>
          <a:prstGeom prst="ellipse">
            <a:avLst/>
          </a:prstGeom>
          <a:solidFill>
            <a:schemeClr val="accent1"/>
          </a:solidFill>
          <a:ln w="63500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l-GR" sz="3600" b="1" dirty="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US" sz="44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,</a:t>
            </a:r>
            <a:r>
              <a:rPr lang="el-GR" sz="44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 </a:t>
            </a:r>
            <a:r>
              <a:rPr lang="el-GR" sz="4400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δισ.€</a:t>
            </a:r>
          </a:p>
          <a:p>
            <a:pPr algn="ctr"/>
            <a:r>
              <a:rPr lang="el-GR" sz="2800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Δημόσιων Πόρων</a:t>
            </a:r>
            <a:endParaRPr lang="en-US" sz="2800" b="1" dirty="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234EB036-5FAF-A1D1-897B-188096B98B40}"/>
              </a:ext>
            </a:extLst>
          </p:cNvPr>
          <p:cNvSpPr/>
          <p:nvPr/>
        </p:nvSpPr>
        <p:spPr>
          <a:xfrm>
            <a:off x="13269112" y="7210535"/>
            <a:ext cx="3982568" cy="2348511"/>
          </a:xfrm>
          <a:prstGeom prst="ellipse">
            <a:avLst/>
          </a:prstGeom>
          <a:solidFill>
            <a:schemeClr val="accent1"/>
          </a:solidFill>
          <a:ln w="63500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l-GR" sz="3600" b="1" dirty="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l-GR" sz="44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,3 </a:t>
            </a:r>
            <a:r>
              <a:rPr lang="el-GR" sz="4400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δισ.€</a:t>
            </a:r>
          </a:p>
          <a:p>
            <a:pPr algn="ctr"/>
            <a:r>
              <a:rPr lang="el-GR" sz="3200" b="1" dirty="0">
                <a:solidFill>
                  <a:srgbClr val="281F7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στην αγορά</a:t>
            </a:r>
            <a:endParaRPr lang="en-US" sz="3200" b="1" dirty="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en-US" sz="2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81289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Θέση κειμένου 4">
            <a:extLst>
              <a:ext uri="{FF2B5EF4-FFF2-40B4-BE49-F238E27FC236}">
                <a16:creationId xmlns:a16="http://schemas.microsoft.com/office/drawing/2014/main" id="{BB40535F-7637-0A30-DD71-5DE88412C0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l-GR" b="1" dirty="0">
                <a:latin typeface="Calibri" panose="020F0502020204030204" pitchFamily="34" charset="0"/>
                <a:cs typeface="Calibri" panose="020F0502020204030204" pitchFamily="34" charset="0"/>
              </a:rPr>
              <a:t>HDB | Η συμβολή μας το 2023</a:t>
            </a:r>
          </a:p>
        </p:txBody>
      </p:sp>
      <p:grpSp>
        <p:nvGrpSpPr>
          <p:cNvPr id="7" name="Ομάδα 6">
            <a:extLst>
              <a:ext uri="{FF2B5EF4-FFF2-40B4-BE49-F238E27FC236}">
                <a16:creationId xmlns:a16="http://schemas.microsoft.com/office/drawing/2014/main" id="{3298E7CD-7A01-4098-88C7-441FA11956B8}"/>
              </a:ext>
            </a:extLst>
          </p:cNvPr>
          <p:cNvGrpSpPr/>
          <p:nvPr/>
        </p:nvGrpSpPr>
        <p:grpSpPr>
          <a:xfrm>
            <a:off x="11382165" y="4106928"/>
            <a:ext cx="4101777" cy="2811930"/>
            <a:chOff x="1035866" y="1511847"/>
            <a:chExt cx="4115934" cy="2542532"/>
          </a:xfrm>
          <a:solidFill>
            <a:schemeClr val="accent6"/>
          </a:solidFill>
        </p:grpSpPr>
        <p:sp>
          <p:nvSpPr>
            <p:cNvPr id="8" name="Οβάλ 7">
              <a:extLst>
                <a:ext uri="{FF2B5EF4-FFF2-40B4-BE49-F238E27FC236}">
                  <a16:creationId xmlns:a16="http://schemas.microsoft.com/office/drawing/2014/main" id="{761F6879-329B-5C30-AF29-D1BC4B6A632B}"/>
                </a:ext>
              </a:extLst>
            </p:cNvPr>
            <p:cNvSpPr/>
            <p:nvPr/>
          </p:nvSpPr>
          <p:spPr>
            <a:xfrm>
              <a:off x="1104107" y="1511847"/>
              <a:ext cx="4047693" cy="2542532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200" dirty="0">
                <a:solidFill>
                  <a:schemeClr val="tx1"/>
                </a:solidFill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FABD833-A058-987F-DCFE-E735310A50B7}"/>
                </a:ext>
              </a:extLst>
            </p:cNvPr>
            <p:cNvSpPr txBox="1"/>
            <p:nvPr/>
          </p:nvSpPr>
          <p:spPr>
            <a:xfrm>
              <a:off x="1035866" y="1962397"/>
              <a:ext cx="4047692" cy="151809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l-GR" sz="4000" b="1" dirty="0">
                  <a:solidFill>
                    <a:schemeClr val="accent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/>
                </a:rPr>
                <a:t>3,68% μ.ο</a:t>
              </a:r>
              <a:r>
                <a:rPr lang="el-GR" sz="3200" b="1" dirty="0">
                  <a:solidFill>
                    <a:schemeClr val="accent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/>
                </a:rPr>
                <a:t>. επιτοκίου ΜμΕ </a:t>
              </a:r>
              <a:endParaRPr lang="en-US" sz="32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/>
              </a:endParaRPr>
            </a:p>
            <a:p>
              <a:pPr algn="ctr"/>
              <a:r>
                <a:rPr lang="el-GR" sz="2400" b="1" dirty="0">
                  <a:solidFill>
                    <a:schemeClr val="accent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/>
                </a:rPr>
                <a:t>(Σεπτ-2023)</a:t>
              </a:r>
              <a:endParaRPr lang="en-US" sz="24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/>
              </a:endParaRPr>
            </a:p>
          </p:txBody>
        </p:sp>
      </p:grpSp>
      <p:grpSp>
        <p:nvGrpSpPr>
          <p:cNvPr id="16" name="Ομάδα 15">
            <a:extLst>
              <a:ext uri="{FF2B5EF4-FFF2-40B4-BE49-F238E27FC236}">
                <a16:creationId xmlns:a16="http://schemas.microsoft.com/office/drawing/2014/main" id="{A01D9BDF-104F-89BB-D800-08D1F793FAF6}"/>
              </a:ext>
            </a:extLst>
          </p:cNvPr>
          <p:cNvGrpSpPr/>
          <p:nvPr/>
        </p:nvGrpSpPr>
        <p:grpSpPr>
          <a:xfrm>
            <a:off x="14021299" y="6391561"/>
            <a:ext cx="4162424" cy="2939778"/>
            <a:chOff x="959847" y="1545981"/>
            <a:chExt cx="4284430" cy="2542532"/>
          </a:xfrm>
          <a:solidFill>
            <a:srgbClr val="7094CF"/>
          </a:solidFill>
        </p:grpSpPr>
        <p:sp>
          <p:nvSpPr>
            <p:cNvPr id="17" name="Οβάλ 16">
              <a:extLst>
                <a:ext uri="{FF2B5EF4-FFF2-40B4-BE49-F238E27FC236}">
                  <a16:creationId xmlns:a16="http://schemas.microsoft.com/office/drawing/2014/main" id="{AD36633C-2CE4-63D1-84E6-1D6BBC86FC79}"/>
                </a:ext>
              </a:extLst>
            </p:cNvPr>
            <p:cNvSpPr/>
            <p:nvPr/>
          </p:nvSpPr>
          <p:spPr>
            <a:xfrm>
              <a:off x="1035865" y="1545981"/>
              <a:ext cx="4047694" cy="2542532"/>
            </a:xfrm>
            <a:prstGeom prst="ellipse">
              <a:avLst/>
            </a:prstGeom>
            <a:grpFill/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200" dirty="0">
                <a:solidFill>
                  <a:schemeClr val="tx1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5A1AA7E-93C5-6168-D821-667222D7E8D6}"/>
                </a:ext>
              </a:extLst>
            </p:cNvPr>
            <p:cNvSpPr txBox="1"/>
            <p:nvPr/>
          </p:nvSpPr>
          <p:spPr>
            <a:xfrm>
              <a:off x="959847" y="2077442"/>
              <a:ext cx="4284430" cy="143095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l-GR" sz="4000" b="1" dirty="0">
                  <a:solidFill>
                    <a:schemeClr val="accent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/>
                </a:rPr>
                <a:t>1 δισ. ευρώ </a:t>
              </a:r>
            </a:p>
            <a:p>
              <a:pPr algn="ctr"/>
              <a:r>
                <a:rPr lang="el-GR" sz="3200" b="1" dirty="0">
                  <a:solidFill>
                    <a:schemeClr val="accent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/>
                </a:rPr>
                <a:t>ύψος νέων δανείων σε Ιδιώτες</a:t>
              </a:r>
              <a:endParaRPr lang="en-US" sz="32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/>
              </a:endParaRPr>
            </a:p>
          </p:txBody>
        </p:sp>
      </p:grpSp>
      <p:pic>
        <p:nvPicPr>
          <p:cNvPr id="2" name="Εικόνα 1">
            <a:extLst>
              <a:ext uri="{FF2B5EF4-FFF2-40B4-BE49-F238E27FC236}">
                <a16:creationId xmlns:a16="http://schemas.microsoft.com/office/drawing/2014/main" id="{708FDDE6-9347-15BA-0460-AE399194F3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96357" y="2568873"/>
            <a:ext cx="8562578" cy="6089728"/>
          </a:xfrm>
          <a:prstGeom prst="rect">
            <a:avLst/>
          </a:prstGeom>
        </p:spPr>
      </p:pic>
      <p:grpSp>
        <p:nvGrpSpPr>
          <p:cNvPr id="31" name="Ομάδα 30">
            <a:extLst>
              <a:ext uri="{FF2B5EF4-FFF2-40B4-BE49-F238E27FC236}">
                <a16:creationId xmlns:a16="http://schemas.microsoft.com/office/drawing/2014/main" id="{51D23FB4-2484-5E0A-B33A-7B45B1EA3CE5}"/>
              </a:ext>
            </a:extLst>
          </p:cNvPr>
          <p:cNvGrpSpPr/>
          <p:nvPr/>
        </p:nvGrpSpPr>
        <p:grpSpPr>
          <a:xfrm>
            <a:off x="9183559" y="6554056"/>
            <a:ext cx="4114897" cy="2811930"/>
            <a:chOff x="886736" y="1628744"/>
            <a:chExt cx="4128553" cy="2542532"/>
          </a:xfrm>
          <a:solidFill>
            <a:schemeClr val="accent6"/>
          </a:solidFill>
        </p:grpSpPr>
        <p:sp>
          <p:nvSpPr>
            <p:cNvPr id="32" name="Οβάλ 31">
              <a:extLst>
                <a:ext uri="{FF2B5EF4-FFF2-40B4-BE49-F238E27FC236}">
                  <a16:creationId xmlns:a16="http://schemas.microsoft.com/office/drawing/2014/main" id="{10410F4D-15F3-2157-4436-3CEEBD24AA3A}"/>
                </a:ext>
              </a:extLst>
            </p:cNvPr>
            <p:cNvSpPr/>
            <p:nvPr/>
          </p:nvSpPr>
          <p:spPr>
            <a:xfrm>
              <a:off x="886736" y="1628744"/>
              <a:ext cx="4047693" cy="2542532"/>
            </a:xfrm>
            <a:prstGeom prst="ellipse">
              <a:avLst/>
            </a:prstGeom>
            <a:grpFill/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3200" dirty="0">
                <a:solidFill>
                  <a:schemeClr val="tx1"/>
                </a:solidFill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1991E3D0-3F19-7191-C1D7-EEECC9FD121D}"/>
                </a:ext>
              </a:extLst>
            </p:cNvPr>
            <p:cNvSpPr txBox="1"/>
            <p:nvPr/>
          </p:nvSpPr>
          <p:spPr>
            <a:xfrm>
              <a:off x="967597" y="2134712"/>
              <a:ext cx="4047692" cy="141927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3200" b="1" dirty="0">
                  <a:solidFill>
                    <a:schemeClr val="accent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/>
                </a:rPr>
                <a:t>920 </a:t>
              </a:r>
              <a:r>
                <a:rPr lang="el-GR" sz="3200" b="1" dirty="0">
                  <a:solidFill>
                    <a:schemeClr val="accent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/>
                </a:rPr>
                <a:t>εκ. ευρώ </a:t>
              </a:r>
            </a:p>
            <a:p>
              <a:pPr algn="ctr"/>
              <a:r>
                <a:rPr lang="el-GR" sz="3200" b="1" dirty="0">
                  <a:solidFill>
                    <a:schemeClr val="accent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/>
                </a:rPr>
                <a:t>ύψος νέων δανείων σε ΜμΕ</a:t>
              </a:r>
              <a:endParaRPr lang="en-US" sz="32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/>
              </a:endParaRPr>
            </a:p>
          </p:txBody>
        </p:sp>
      </p:grpSp>
      <p:grpSp>
        <p:nvGrpSpPr>
          <p:cNvPr id="34" name="Ομάδα 33">
            <a:extLst>
              <a:ext uri="{FF2B5EF4-FFF2-40B4-BE49-F238E27FC236}">
                <a16:creationId xmlns:a16="http://schemas.microsoft.com/office/drawing/2014/main" id="{8BDA3B0B-13C8-27E9-F456-972EB452AFE4}"/>
              </a:ext>
            </a:extLst>
          </p:cNvPr>
          <p:cNvGrpSpPr/>
          <p:nvPr/>
        </p:nvGrpSpPr>
        <p:grpSpPr>
          <a:xfrm>
            <a:off x="13943687" y="1580135"/>
            <a:ext cx="3924086" cy="2917682"/>
            <a:chOff x="1035865" y="1545981"/>
            <a:chExt cx="4047693" cy="2542532"/>
          </a:xfrm>
          <a:solidFill>
            <a:srgbClr val="7094CF"/>
          </a:solidFill>
        </p:grpSpPr>
        <p:sp>
          <p:nvSpPr>
            <p:cNvPr id="35" name="Οβάλ 34">
              <a:extLst>
                <a:ext uri="{FF2B5EF4-FFF2-40B4-BE49-F238E27FC236}">
                  <a16:creationId xmlns:a16="http://schemas.microsoft.com/office/drawing/2014/main" id="{1DD68D69-9A6A-FB2D-2F42-E4D848D06D3E}"/>
                </a:ext>
              </a:extLst>
            </p:cNvPr>
            <p:cNvSpPr/>
            <p:nvPr/>
          </p:nvSpPr>
          <p:spPr>
            <a:xfrm>
              <a:off x="1035865" y="1545981"/>
              <a:ext cx="4047693" cy="2542532"/>
            </a:xfrm>
            <a:prstGeom prst="ellipse">
              <a:avLst/>
            </a:prstGeom>
            <a:grpFill/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3200" dirty="0">
                <a:solidFill>
                  <a:schemeClr val="tx1"/>
                </a:solidFill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D3C84C5D-EB2E-093F-9CE0-924117EDF451}"/>
                </a:ext>
              </a:extLst>
            </p:cNvPr>
            <p:cNvSpPr txBox="1"/>
            <p:nvPr/>
          </p:nvSpPr>
          <p:spPr>
            <a:xfrm>
              <a:off x="1035866" y="1984200"/>
              <a:ext cx="4047692" cy="136783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l-GR" sz="3200" b="1" dirty="0">
                  <a:solidFill>
                    <a:schemeClr val="accent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/>
                </a:rPr>
                <a:t>9.500 </a:t>
              </a:r>
            </a:p>
            <a:p>
              <a:pPr algn="ctr"/>
              <a:r>
                <a:rPr lang="el-GR" sz="3200" b="1" dirty="0">
                  <a:solidFill>
                    <a:schemeClr val="accent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/>
                </a:rPr>
                <a:t>Νέα δάνεια σε Ιδιώτες</a:t>
              </a:r>
              <a:endParaRPr lang="en-US" sz="32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/>
              </a:endParaRPr>
            </a:p>
          </p:txBody>
        </p:sp>
      </p:grpSp>
      <p:grpSp>
        <p:nvGrpSpPr>
          <p:cNvPr id="37" name="Ομάδα 36">
            <a:extLst>
              <a:ext uri="{FF2B5EF4-FFF2-40B4-BE49-F238E27FC236}">
                <a16:creationId xmlns:a16="http://schemas.microsoft.com/office/drawing/2014/main" id="{E6580B0E-B11B-A967-D7E4-2741F76C28FC}"/>
              </a:ext>
            </a:extLst>
          </p:cNvPr>
          <p:cNvGrpSpPr/>
          <p:nvPr/>
        </p:nvGrpSpPr>
        <p:grpSpPr>
          <a:xfrm>
            <a:off x="9253579" y="1549777"/>
            <a:ext cx="4095843" cy="2917682"/>
            <a:chOff x="1035865" y="1545981"/>
            <a:chExt cx="4086640" cy="2542532"/>
          </a:xfrm>
          <a:solidFill>
            <a:schemeClr val="accent6"/>
          </a:solidFill>
        </p:grpSpPr>
        <p:sp>
          <p:nvSpPr>
            <p:cNvPr id="38" name="Οβάλ 37">
              <a:extLst>
                <a:ext uri="{FF2B5EF4-FFF2-40B4-BE49-F238E27FC236}">
                  <a16:creationId xmlns:a16="http://schemas.microsoft.com/office/drawing/2014/main" id="{75547690-6F04-7C94-24CE-865953DDB9D6}"/>
                </a:ext>
              </a:extLst>
            </p:cNvPr>
            <p:cNvSpPr/>
            <p:nvPr/>
          </p:nvSpPr>
          <p:spPr>
            <a:xfrm>
              <a:off x="1035865" y="1545981"/>
              <a:ext cx="4047693" cy="2542532"/>
            </a:xfrm>
            <a:prstGeom prst="ellipse">
              <a:avLst/>
            </a:prstGeom>
            <a:grpFill/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3200" dirty="0">
                <a:solidFill>
                  <a:schemeClr val="tx1"/>
                </a:solidFill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38E5A445-EA20-187E-B387-84D6B22A3D8B}"/>
                </a:ext>
              </a:extLst>
            </p:cNvPr>
            <p:cNvSpPr txBox="1"/>
            <p:nvPr/>
          </p:nvSpPr>
          <p:spPr>
            <a:xfrm>
              <a:off x="1074813" y="2159241"/>
              <a:ext cx="4047692" cy="9387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l-GR" sz="3200" b="1" dirty="0">
                  <a:solidFill>
                    <a:schemeClr val="accent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/>
                </a:rPr>
                <a:t>4.400</a:t>
              </a:r>
            </a:p>
            <a:p>
              <a:pPr algn="ctr"/>
              <a:r>
                <a:rPr lang="el-GR" sz="3200" b="1" dirty="0">
                  <a:solidFill>
                    <a:schemeClr val="accent2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Calibri"/>
                </a:rPr>
                <a:t>Νέα δάνεια σε ΜμΕ</a:t>
              </a:r>
              <a:endParaRPr lang="en-US" sz="32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/>
              </a:endParaRPr>
            </a:p>
          </p:txBody>
        </p:sp>
      </p:grpSp>
      <p:sp>
        <p:nvSpPr>
          <p:cNvPr id="45" name="Δεξί άγκιστρο 44">
            <a:extLst>
              <a:ext uri="{FF2B5EF4-FFF2-40B4-BE49-F238E27FC236}">
                <a16:creationId xmlns:a16="http://schemas.microsoft.com/office/drawing/2014/main" id="{A95BCD52-D210-3F76-BD11-AF6204870500}"/>
              </a:ext>
            </a:extLst>
          </p:cNvPr>
          <p:cNvSpPr/>
          <p:nvPr/>
        </p:nvSpPr>
        <p:spPr>
          <a:xfrm>
            <a:off x="8030890" y="3197650"/>
            <a:ext cx="1711815" cy="4349565"/>
          </a:xfrm>
          <a:prstGeom prst="rightBrace">
            <a:avLst>
              <a:gd name="adj1" fmla="val 8333"/>
              <a:gd name="adj2" fmla="val 50356"/>
            </a:avLst>
          </a:prstGeom>
          <a:ln w="25400" cap="sq">
            <a:solidFill>
              <a:schemeClr val="accent2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5118840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3" name="Google Shape;1253;p92"/>
          <p:cNvCxnSpPr/>
          <p:nvPr/>
        </p:nvCxnSpPr>
        <p:spPr>
          <a:xfrm>
            <a:off x="1122866" y="-1311276"/>
            <a:ext cx="0" cy="0"/>
          </a:xfrm>
          <a:prstGeom prst="straightConnector1">
            <a:avLst/>
          </a:prstGeom>
          <a:noFill/>
          <a:ln>
            <a:noFill/>
          </a:ln>
        </p:spPr>
      </p:cxnSp>
      <p:cxnSp>
        <p:nvCxnSpPr>
          <p:cNvPr id="1254" name="Google Shape;1254;p92"/>
          <p:cNvCxnSpPr/>
          <p:nvPr/>
        </p:nvCxnSpPr>
        <p:spPr>
          <a:xfrm>
            <a:off x="1122866" y="-1311276"/>
            <a:ext cx="0" cy="0"/>
          </a:xfrm>
          <a:prstGeom prst="straightConnector1">
            <a:avLst/>
          </a:prstGeom>
          <a:noFill/>
          <a:ln>
            <a:noFill/>
          </a:ln>
        </p:spPr>
      </p:cxnSp>
      <p:sp>
        <p:nvSpPr>
          <p:cNvPr id="1255" name="Google Shape;1255;p92"/>
          <p:cNvSpPr/>
          <p:nvPr/>
        </p:nvSpPr>
        <p:spPr>
          <a:xfrm>
            <a:off x="7394197" y="0"/>
            <a:ext cx="10923712" cy="1028953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54569" y="0"/>
                </a:moveTo>
                <a:lnTo>
                  <a:pt x="75779" y="0"/>
                </a:lnTo>
                <a:lnTo>
                  <a:pt x="103675" y="0"/>
                </a:lnTo>
                <a:lnTo>
                  <a:pt x="104195" y="0"/>
                </a:lnTo>
                <a:lnTo>
                  <a:pt x="116872" y="0"/>
                </a:lnTo>
                <a:lnTo>
                  <a:pt x="119999" y="0"/>
                </a:lnTo>
                <a:lnTo>
                  <a:pt x="119999" y="120000"/>
                </a:lnTo>
                <a:lnTo>
                  <a:pt x="116872" y="120000"/>
                </a:lnTo>
                <a:lnTo>
                  <a:pt x="104195" y="120000"/>
                </a:lnTo>
                <a:lnTo>
                  <a:pt x="103675" y="120000"/>
                </a:lnTo>
                <a:lnTo>
                  <a:pt x="75779" y="120000"/>
                </a:lnTo>
                <a:lnTo>
                  <a:pt x="0" y="120000"/>
                </a:lnTo>
                <a:close/>
              </a:path>
            </a:pathLst>
          </a:custGeom>
          <a:solidFill>
            <a:schemeClr val="accent2">
              <a:alpha val="78431"/>
            </a:schemeClr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Tx/>
              <a:buNone/>
              <a:tabLst/>
              <a:defRPr/>
            </a:pPr>
            <a:endParaRPr kumimoji="0" sz="2700" b="0" i="0" u="none" strike="noStrike" kern="1200" cap="none" spc="0" normalizeH="0" baseline="0" noProof="0">
              <a:ln>
                <a:noFill/>
              </a:ln>
              <a:solidFill>
                <a:srgbClr val="343444"/>
              </a:solidFill>
              <a:effectLst/>
              <a:uLnTx/>
              <a:uFillTx/>
              <a:latin typeface="Calibri" panose="020F0502020204030204" pitchFamily="34" charset="0"/>
              <a:ea typeface="Lato Light"/>
              <a:cs typeface="Calibri" panose="020F0502020204030204" pitchFamily="34" charset="0"/>
              <a:sym typeface="Lato Light"/>
            </a:endParaRPr>
          </a:p>
        </p:txBody>
      </p:sp>
      <p:cxnSp>
        <p:nvCxnSpPr>
          <p:cNvPr id="1258" name="Google Shape;1258;p92"/>
          <p:cNvCxnSpPr/>
          <p:nvPr/>
        </p:nvCxnSpPr>
        <p:spPr>
          <a:xfrm>
            <a:off x="13272864" y="9600698"/>
            <a:ext cx="5045045" cy="0"/>
          </a:xfrm>
          <a:prstGeom prst="straightConnector1">
            <a:avLst/>
          </a:prstGeom>
          <a:noFill/>
          <a:ln w="38100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259" name="Google Shape;1259;p92"/>
          <p:cNvCxnSpPr/>
          <p:nvPr/>
        </p:nvCxnSpPr>
        <p:spPr>
          <a:xfrm>
            <a:off x="9964352" y="6126653"/>
            <a:ext cx="8321267" cy="0"/>
          </a:xfrm>
          <a:prstGeom prst="straightConnector1">
            <a:avLst/>
          </a:prstGeom>
          <a:noFill/>
          <a:ln w="38100" cap="flat" cmpd="sng">
            <a:solidFill>
              <a:schemeClr val="bg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" name="Google Shape;1256;p92">
            <a:extLst>
              <a:ext uri="{FF2B5EF4-FFF2-40B4-BE49-F238E27FC236}">
                <a16:creationId xmlns:a16="http://schemas.microsoft.com/office/drawing/2014/main" id="{2754C4E4-7B11-439E-A20D-43C1102A5F9C}"/>
              </a:ext>
            </a:extLst>
          </p:cNvPr>
          <p:cNvSpPr txBox="1"/>
          <p:nvPr/>
        </p:nvSpPr>
        <p:spPr>
          <a:xfrm>
            <a:off x="7149104" y="7622889"/>
            <a:ext cx="10923713" cy="11956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r" defTabSz="1371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500"/>
              <a:buFontTx/>
              <a:buNone/>
              <a:tabLst/>
              <a:defRPr/>
            </a:pPr>
            <a:r>
              <a:rPr lang="el-GR" sz="6000" b="1" dirty="0">
                <a:solidFill>
                  <a:schemeClr val="bg2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</a:rPr>
              <a:t>Χρηματοδοτικά Προϊόντα  </a:t>
            </a:r>
          </a:p>
          <a:p>
            <a:pPr marL="0" marR="0" lvl="0" indent="0" algn="r" defTabSz="1371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500"/>
              <a:buFontTx/>
              <a:buNone/>
              <a:tabLst/>
              <a:defRPr/>
            </a:pPr>
            <a:r>
              <a:rPr lang="el-GR" sz="6000" b="1" dirty="0">
                <a:solidFill>
                  <a:schemeClr val="bg2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</a:rPr>
              <a:t>και Υπηρεσίες HDB</a:t>
            </a:r>
            <a:endParaRPr sz="6000" b="1" dirty="0">
              <a:solidFill>
                <a:schemeClr val="bg2"/>
              </a:solidFill>
              <a:latin typeface="Calibri" panose="020F0502020204030204" pitchFamily="34" charset="0"/>
              <a:ea typeface="Lato Black"/>
              <a:cs typeface="Calibri" panose="020F0502020204030204" pitchFamily="34" charset="0"/>
              <a:sym typeface="Lato Black"/>
            </a:endParaRPr>
          </a:p>
        </p:txBody>
      </p:sp>
    </p:spTree>
    <p:extLst>
      <p:ext uri="{BB962C8B-B14F-4D97-AF65-F5344CB8AC3E}">
        <p14:creationId xmlns:p14="http://schemas.microsoft.com/office/powerpoint/2010/main" val="12164340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oogle Shape;1253;p92">
            <a:extLst>
              <a:ext uri="{FF2B5EF4-FFF2-40B4-BE49-F238E27FC236}">
                <a16:creationId xmlns:a16="http://schemas.microsoft.com/office/drawing/2014/main" id="{9AA0D6B7-FB77-038F-0476-280CF0BEC79A}"/>
              </a:ext>
            </a:extLst>
          </p:cNvPr>
          <p:cNvCxnSpPr/>
          <p:nvPr/>
        </p:nvCxnSpPr>
        <p:spPr>
          <a:xfrm>
            <a:off x="1618668" y="-162610"/>
            <a:ext cx="0" cy="0"/>
          </a:xfrm>
          <a:prstGeom prst="straightConnector1">
            <a:avLst/>
          </a:prstGeom>
          <a:noFill/>
          <a:ln>
            <a:noFill/>
          </a:ln>
        </p:spPr>
      </p:cxnSp>
      <p:cxnSp>
        <p:nvCxnSpPr>
          <p:cNvPr id="5" name="Google Shape;1254;p92">
            <a:extLst>
              <a:ext uri="{FF2B5EF4-FFF2-40B4-BE49-F238E27FC236}">
                <a16:creationId xmlns:a16="http://schemas.microsoft.com/office/drawing/2014/main" id="{B0B0A48C-68BE-1BE2-6BB8-D883AEA982AB}"/>
              </a:ext>
            </a:extLst>
          </p:cNvPr>
          <p:cNvCxnSpPr/>
          <p:nvPr/>
        </p:nvCxnSpPr>
        <p:spPr>
          <a:xfrm>
            <a:off x="1618668" y="-162610"/>
            <a:ext cx="0" cy="0"/>
          </a:xfrm>
          <a:prstGeom prst="straightConnector1">
            <a:avLst/>
          </a:prstGeom>
          <a:noFill/>
          <a:ln>
            <a:noFill/>
          </a:ln>
        </p:spPr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C5BABE0B-82AA-604D-12B3-F8C7E3594DA3}"/>
              </a:ext>
            </a:extLst>
          </p:cNvPr>
          <p:cNvGrpSpPr/>
          <p:nvPr/>
        </p:nvGrpSpPr>
        <p:grpSpPr>
          <a:xfrm>
            <a:off x="431032" y="4947774"/>
            <a:ext cx="8496944" cy="2316178"/>
            <a:chOff x="2113225" y="3135850"/>
            <a:chExt cx="10464547" cy="2652739"/>
          </a:xfrm>
        </p:grpSpPr>
        <p:cxnSp>
          <p:nvCxnSpPr>
            <p:cNvPr id="8" name="Google Shape;352;p66">
              <a:extLst>
                <a:ext uri="{FF2B5EF4-FFF2-40B4-BE49-F238E27FC236}">
                  <a16:creationId xmlns:a16="http://schemas.microsoft.com/office/drawing/2014/main" id="{2AED39DF-8375-5FFF-9ABE-3CBEB2434441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7334162" y="3135850"/>
              <a:ext cx="0" cy="733163"/>
            </a:xfrm>
            <a:prstGeom prst="straightConnector1">
              <a:avLst/>
            </a:prstGeom>
            <a:noFill/>
            <a:ln w="12700" cap="flat" cmpd="sng">
              <a:solidFill>
                <a:srgbClr val="281F7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9" name="Google Shape;354;p66">
              <a:extLst>
                <a:ext uri="{FF2B5EF4-FFF2-40B4-BE49-F238E27FC236}">
                  <a16:creationId xmlns:a16="http://schemas.microsoft.com/office/drawing/2014/main" id="{6B7545BA-0518-FFC9-01E4-DFC177040CC2}"/>
                </a:ext>
              </a:extLst>
            </p:cNvPr>
            <p:cNvSpPr/>
            <p:nvPr/>
          </p:nvSpPr>
          <p:spPr>
            <a:xfrm>
              <a:off x="2113225" y="3582614"/>
              <a:ext cx="3270539" cy="773676"/>
            </a:xfrm>
            <a:prstGeom prst="rect">
              <a:avLst/>
            </a:prstGeom>
            <a:solidFill>
              <a:srgbClr val="281F76"/>
            </a:solidFill>
            <a:ln>
              <a:noFill/>
            </a:ln>
          </p:spPr>
          <p:txBody>
            <a:bodyPr spcFirstLastPara="1" wrap="square" lIns="72281" tIns="72281" rIns="72281" bIns="72281" anchor="ctr" anchorCtr="0">
              <a:noAutofit/>
            </a:bodyPr>
            <a:lstStyle/>
            <a:p>
              <a:pPr marL="0" marR="0" lvl="0" indent="0" algn="ctr" defTabSz="13716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600"/>
                <a:buFontTx/>
                <a:buNone/>
                <a:tabLst/>
                <a:defRPr/>
              </a:pPr>
              <a:r>
                <a:rPr kumimoji="0" lang="el-GR" sz="2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Light" panose="020B0304020202020204" pitchFamily="34" charset="0"/>
                  <a:cs typeface="Calibri" panose="020F0502020204030204" pitchFamily="34" charset="0"/>
                </a:rPr>
                <a:t>Συγχρηματοδοτήσεις </a:t>
              </a:r>
              <a:endParaRPr kumimoji="0" lang="en-ID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Light" panose="020B030402020202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" name="Google Shape;355;p66">
              <a:extLst>
                <a:ext uri="{FF2B5EF4-FFF2-40B4-BE49-F238E27FC236}">
                  <a16:creationId xmlns:a16="http://schemas.microsoft.com/office/drawing/2014/main" id="{2C915066-5B36-0EA9-EF81-8A71B0526A54}"/>
                </a:ext>
              </a:extLst>
            </p:cNvPr>
            <p:cNvSpPr/>
            <p:nvPr/>
          </p:nvSpPr>
          <p:spPr>
            <a:xfrm>
              <a:off x="5883487" y="3582614"/>
              <a:ext cx="3270539" cy="773676"/>
            </a:xfrm>
            <a:prstGeom prst="rect">
              <a:avLst/>
            </a:prstGeom>
            <a:solidFill>
              <a:srgbClr val="281F76"/>
            </a:solidFill>
            <a:ln>
              <a:noFill/>
            </a:ln>
          </p:spPr>
          <p:txBody>
            <a:bodyPr spcFirstLastPara="1" wrap="square" lIns="72281" tIns="72281" rIns="72281" bIns="72281" anchor="ctr" anchorCtr="0">
              <a:noAutofit/>
            </a:bodyPr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altLang="ko-KR" sz="2000" b="1" i="0" u="none" strike="noStrike" kern="1200" cap="none" spc="0" normalizeH="0" baseline="0" noProof="0" dirty="0">
                  <a:ln w="12700"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Light" panose="020B0304020202020204" pitchFamily="34" charset="0"/>
                  <a:cs typeface="Calibri" panose="020F0502020204030204" pitchFamily="34" charset="0"/>
                </a:rPr>
                <a:t>Εγγυήσεις</a:t>
              </a:r>
              <a:endParaRPr kumimoji="0" lang="en-US" altLang="ko-KR" sz="2000" b="0" i="0" u="none" strike="noStrike" kern="1200" cap="none" spc="0" normalizeH="0" baseline="0" noProof="0" dirty="0">
                <a:ln w="12700"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Light" panose="020B030402020202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" name="Google Shape;356;p66">
              <a:extLst>
                <a:ext uri="{FF2B5EF4-FFF2-40B4-BE49-F238E27FC236}">
                  <a16:creationId xmlns:a16="http://schemas.microsoft.com/office/drawing/2014/main" id="{67DC8F6C-7BA6-8E37-D57A-16C054711BCD}"/>
                </a:ext>
              </a:extLst>
            </p:cNvPr>
            <p:cNvSpPr/>
            <p:nvPr/>
          </p:nvSpPr>
          <p:spPr>
            <a:xfrm>
              <a:off x="9307233" y="3582614"/>
              <a:ext cx="3270539" cy="773676"/>
            </a:xfrm>
            <a:prstGeom prst="rect">
              <a:avLst/>
            </a:prstGeom>
            <a:solidFill>
              <a:srgbClr val="281F76"/>
            </a:solidFill>
            <a:ln>
              <a:noFill/>
            </a:ln>
          </p:spPr>
          <p:txBody>
            <a:bodyPr spcFirstLastPara="1" wrap="square" lIns="72281" tIns="72281" rIns="72281" bIns="72281" anchor="ctr" anchorCtr="0">
              <a:noAutofit/>
            </a:bodyPr>
            <a:lstStyle/>
            <a:p>
              <a:pPr marL="0" marR="0" lvl="0" indent="0" algn="ctr" defTabSz="13716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600"/>
                <a:buFontTx/>
                <a:buNone/>
                <a:tabLst/>
                <a:defRPr/>
              </a:pPr>
              <a:r>
                <a:rPr kumimoji="0" lang="el-GR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Light" panose="020B0304020202020204" pitchFamily="34" charset="0"/>
                  <a:ea typeface="Lato Light"/>
                  <a:cs typeface="Calibri" panose="020F0502020204030204" pitchFamily="34" charset="0"/>
                  <a:sym typeface="Lato Light"/>
                </a:rPr>
                <a:t>Επιχορηγήσεις</a:t>
              </a:r>
              <a:endParaRPr kumimoji="0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Light" panose="020B0304020202020204" pitchFamily="34" charset="0"/>
                <a:ea typeface="Lato Light"/>
                <a:cs typeface="Calibri" panose="020F0502020204030204" pitchFamily="34" charset="0"/>
                <a:sym typeface="Lato Light"/>
              </a:endParaRPr>
            </a:p>
          </p:txBody>
        </p:sp>
        <p:sp>
          <p:nvSpPr>
            <p:cNvPr id="12" name="Google Shape;357;p66">
              <a:extLst>
                <a:ext uri="{FF2B5EF4-FFF2-40B4-BE49-F238E27FC236}">
                  <a16:creationId xmlns:a16="http://schemas.microsoft.com/office/drawing/2014/main" id="{86826B5C-89E0-F208-33BE-8681521079BD}"/>
                </a:ext>
              </a:extLst>
            </p:cNvPr>
            <p:cNvSpPr/>
            <p:nvPr/>
          </p:nvSpPr>
          <p:spPr>
            <a:xfrm>
              <a:off x="2113226" y="4355850"/>
              <a:ext cx="3270539" cy="1432739"/>
            </a:xfrm>
            <a:prstGeom prst="rect">
              <a:avLst/>
            </a:prstGeom>
            <a:solidFill>
              <a:srgbClr val="CAD4E4"/>
            </a:solidFill>
            <a:ln>
              <a:noFill/>
            </a:ln>
          </p:spPr>
          <p:txBody>
            <a:bodyPr spcFirstLastPara="1" wrap="square" lIns="137156" tIns="137156" rIns="274256" bIns="274256" anchor="t" anchorCtr="0">
              <a:noAutofit/>
            </a:bodyPr>
            <a:lstStyle/>
            <a:p>
              <a:pPr marL="266700" marR="0" lvl="0" indent="-266700" algn="l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D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281F76"/>
                  </a:solidFill>
                  <a:effectLst/>
                  <a:uLnTx/>
                  <a:uFillTx/>
                  <a:latin typeface="Arial Nova Light" panose="020B0304020202020204" pitchFamily="34" charset="0"/>
                  <a:cs typeface="Calibri" panose="020F0502020204030204" pitchFamily="34" charset="0"/>
                </a:rPr>
                <a:t>Senior Loans</a:t>
              </a:r>
            </a:p>
            <a:p>
              <a:pPr marL="266700" marR="0" lvl="0" indent="-266700" algn="l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D" sz="2000" b="0" i="0" u="none" strike="noStrike" kern="1200" cap="none" spc="0" normalizeH="0" baseline="0" noProof="0">
                  <a:ln>
                    <a:noFill/>
                  </a:ln>
                  <a:solidFill>
                    <a:srgbClr val="281F76"/>
                  </a:solidFill>
                  <a:effectLst/>
                  <a:uLnTx/>
                  <a:uFillTx/>
                  <a:latin typeface="Arial Nova Light" panose="020B0304020202020204" pitchFamily="34" charset="0"/>
                  <a:cs typeface="Calibri" panose="020F0502020204030204" pitchFamily="34" charset="0"/>
                </a:rPr>
                <a:t>Mezzanine</a:t>
              </a:r>
              <a:r>
                <a:rPr kumimoji="0" lang="el-GR" sz="2000" b="0" i="0" u="none" strike="noStrike" kern="1200" cap="none" spc="0" normalizeH="0" baseline="0" noProof="0">
                  <a:ln>
                    <a:noFill/>
                  </a:ln>
                  <a:solidFill>
                    <a:srgbClr val="281F76"/>
                  </a:solidFill>
                  <a:effectLst/>
                  <a:uLnTx/>
                  <a:uFillTx/>
                  <a:latin typeface="Arial Nova Light" panose="020B0304020202020204" pitchFamily="34" charset="0"/>
                  <a:cs typeface="Calibri" panose="020F0502020204030204" pitchFamily="34" charset="0"/>
                </a:rPr>
                <a:t> </a:t>
              </a:r>
              <a:r>
                <a:rPr kumimoji="0" lang="en-ID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281F76"/>
                  </a:solidFill>
                  <a:effectLst/>
                  <a:uLnTx/>
                  <a:uFillTx/>
                  <a:latin typeface="Arial Nova Light" panose="020B0304020202020204" pitchFamily="34" charset="0"/>
                  <a:cs typeface="Calibri" panose="020F0502020204030204" pitchFamily="34" charset="0"/>
                </a:rPr>
                <a:t>Loans </a:t>
              </a:r>
            </a:p>
          </p:txBody>
        </p:sp>
        <p:cxnSp>
          <p:nvCxnSpPr>
            <p:cNvPr id="13" name="Google Shape;359;p66">
              <a:extLst>
                <a:ext uri="{FF2B5EF4-FFF2-40B4-BE49-F238E27FC236}">
                  <a16:creationId xmlns:a16="http://schemas.microsoft.com/office/drawing/2014/main" id="{C6D8F424-A652-05B4-F7F5-37A093861B79}"/>
                </a:ext>
              </a:extLst>
            </p:cNvPr>
            <p:cNvCxnSpPr>
              <a:cxnSpLocks/>
              <a:endCxn id="9" idx="0"/>
            </p:cNvCxnSpPr>
            <p:nvPr/>
          </p:nvCxnSpPr>
          <p:spPr>
            <a:xfrm rot="10800000" flipV="1">
              <a:off x="3748495" y="3148824"/>
              <a:ext cx="5558738" cy="433790"/>
            </a:xfrm>
            <a:prstGeom prst="bentConnector2">
              <a:avLst/>
            </a:prstGeom>
            <a:noFill/>
            <a:ln w="9525" cap="flat" cmpd="sng">
              <a:solidFill>
                <a:srgbClr val="281F7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" name="Google Shape;361;p66">
              <a:extLst>
                <a:ext uri="{FF2B5EF4-FFF2-40B4-BE49-F238E27FC236}">
                  <a16:creationId xmlns:a16="http://schemas.microsoft.com/office/drawing/2014/main" id="{9F6CC78E-5F60-35D2-E5D7-513C63163D2E}"/>
                </a:ext>
              </a:extLst>
            </p:cNvPr>
            <p:cNvCxnSpPr>
              <a:cxnSpLocks/>
              <a:endCxn id="11" idx="0"/>
            </p:cNvCxnSpPr>
            <p:nvPr/>
          </p:nvCxnSpPr>
          <p:spPr>
            <a:xfrm>
              <a:off x="9307232" y="3148823"/>
              <a:ext cx="1635271" cy="433791"/>
            </a:xfrm>
            <a:prstGeom prst="bentConnector2">
              <a:avLst/>
            </a:prstGeom>
            <a:noFill/>
            <a:ln w="9525" cap="flat" cmpd="sng">
              <a:solidFill>
                <a:srgbClr val="281F76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5" name="Google Shape;362;p66">
              <a:extLst>
                <a:ext uri="{FF2B5EF4-FFF2-40B4-BE49-F238E27FC236}">
                  <a16:creationId xmlns:a16="http://schemas.microsoft.com/office/drawing/2014/main" id="{A2C2E441-879D-4E1E-D77F-B1091A8624D4}"/>
                </a:ext>
              </a:extLst>
            </p:cNvPr>
            <p:cNvSpPr/>
            <p:nvPr/>
          </p:nvSpPr>
          <p:spPr>
            <a:xfrm>
              <a:off x="5883488" y="4355850"/>
              <a:ext cx="3270539" cy="1432739"/>
            </a:xfrm>
            <a:prstGeom prst="rect">
              <a:avLst/>
            </a:prstGeom>
            <a:solidFill>
              <a:srgbClr val="CAD4E4"/>
            </a:solidFill>
            <a:ln>
              <a:noFill/>
            </a:ln>
          </p:spPr>
          <p:txBody>
            <a:bodyPr spcFirstLastPara="1" wrap="square" lIns="137156" tIns="137156" rIns="274256" bIns="274256" anchor="t" anchorCtr="0">
              <a:noAutofit/>
            </a:bodyPr>
            <a:lstStyle/>
            <a:p>
              <a:pPr marL="266700" marR="0" lvl="0" indent="-266700" algn="l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l-GR" altLang="ko-KR" sz="1800" dirty="0">
                  <a:ln w="12700">
                    <a:noFill/>
                  </a:ln>
                  <a:solidFill>
                    <a:srgbClr val="281F76"/>
                  </a:solidFill>
                  <a:latin typeface="Arial Nova Light" panose="020B0304020202020204" pitchFamily="34" charset="0"/>
                  <a:cs typeface="Calibri" panose="020F0502020204030204" pitchFamily="34" charset="0"/>
                </a:rPr>
                <a:t>Χαρτοφυλακίων </a:t>
              </a:r>
              <a:endParaRPr kumimoji="0" lang="en-US" altLang="ko-KR" sz="1800" b="0" i="0" u="none" strike="noStrike" kern="1200" cap="none" spc="0" normalizeH="0" baseline="0" noProof="0" dirty="0">
                <a:ln w="12700"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Arial Nova Light" panose="020B0304020202020204" pitchFamily="34" charset="0"/>
                <a:cs typeface="Calibri" panose="020F0502020204030204" pitchFamily="34" charset="0"/>
              </a:endParaRPr>
            </a:p>
            <a:p>
              <a:pPr marR="0" lvl="0" algn="l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l-GR" altLang="ko-KR" sz="1800" b="0" i="0" u="none" strike="noStrike" kern="1200" cap="none" spc="0" normalizeH="0" baseline="0" noProof="0" dirty="0">
                  <a:ln w="12700">
                    <a:noFill/>
                  </a:ln>
                  <a:solidFill>
                    <a:srgbClr val="281F76"/>
                  </a:solidFill>
                  <a:effectLst/>
                  <a:uLnTx/>
                  <a:uFillTx/>
                  <a:latin typeface="Arial Nova Light" panose="020B0304020202020204" pitchFamily="34" charset="0"/>
                  <a:cs typeface="Calibri" panose="020F0502020204030204" pitchFamily="34" charset="0"/>
                </a:rPr>
                <a:t>(</a:t>
              </a:r>
              <a:r>
                <a:rPr kumimoji="0" lang="en-US" altLang="ko-KR" sz="1800" b="0" i="0" u="none" strike="noStrike" kern="1200" cap="none" spc="0" normalizeH="0" baseline="0" noProof="0" dirty="0">
                  <a:ln w="12700">
                    <a:noFill/>
                  </a:ln>
                  <a:solidFill>
                    <a:srgbClr val="281F76"/>
                  </a:solidFill>
                  <a:effectLst/>
                  <a:uLnTx/>
                  <a:uFillTx/>
                  <a:latin typeface="Arial Nova Light" panose="020B0304020202020204" pitchFamily="34" charset="0"/>
                  <a:cs typeface="Calibri" panose="020F0502020204030204" pitchFamily="34" charset="0"/>
                </a:rPr>
                <a:t>Capped </a:t>
              </a:r>
              <a:r>
                <a:rPr kumimoji="0" lang="el-GR" altLang="ko-KR" sz="1800" b="0" i="0" u="none" strike="noStrike" kern="1200" cap="none" spc="0" normalizeH="0" baseline="0" noProof="0" dirty="0">
                  <a:ln w="12700">
                    <a:noFill/>
                  </a:ln>
                  <a:solidFill>
                    <a:srgbClr val="281F76"/>
                  </a:solidFill>
                  <a:effectLst/>
                  <a:uLnTx/>
                  <a:uFillTx/>
                  <a:latin typeface="Arial Nova Light" panose="020B0304020202020204" pitchFamily="34" charset="0"/>
                  <a:cs typeface="Calibri" panose="020F0502020204030204" pitchFamily="34" charset="0"/>
                </a:rPr>
                <a:t>ή </a:t>
              </a:r>
              <a:r>
                <a:rPr kumimoji="0" lang="en-US" altLang="ko-KR" sz="1800" b="0" i="0" u="none" strike="noStrike" kern="1200" cap="none" spc="0" normalizeH="0" baseline="0" noProof="0" dirty="0">
                  <a:ln w="12700">
                    <a:noFill/>
                  </a:ln>
                  <a:solidFill>
                    <a:srgbClr val="281F76"/>
                  </a:solidFill>
                  <a:effectLst/>
                  <a:uLnTx/>
                  <a:uFillTx/>
                  <a:latin typeface="Arial Nova Light" panose="020B0304020202020204" pitchFamily="34" charset="0"/>
                  <a:cs typeface="Calibri" panose="020F0502020204030204" pitchFamily="34" charset="0"/>
                </a:rPr>
                <a:t>Uncapped)</a:t>
              </a:r>
            </a:p>
            <a:p>
              <a:pPr marL="0" marR="0" lvl="0" indent="0" algn="l" defTabSz="13716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Arial Nova Light" panose="020B0304020202020204" pitchFamily="34" charset="0"/>
                <a:ea typeface="Arial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16" name="Google Shape;363;p66">
              <a:extLst>
                <a:ext uri="{FF2B5EF4-FFF2-40B4-BE49-F238E27FC236}">
                  <a16:creationId xmlns:a16="http://schemas.microsoft.com/office/drawing/2014/main" id="{46C237CC-1B6B-B35B-6330-D3D18E91540E}"/>
                </a:ext>
              </a:extLst>
            </p:cNvPr>
            <p:cNvSpPr/>
            <p:nvPr/>
          </p:nvSpPr>
          <p:spPr>
            <a:xfrm>
              <a:off x="9307233" y="4355850"/>
              <a:ext cx="3270539" cy="1432739"/>
            </a:xfrm>
            <a:prstGeom prst="rect">
              <a:avLst/>
            </a:prstGeom>
            <a:solidFill>
              <a:srgbClr val="CAD4E4"/>
            </a:solidFill>
            <a:ln>
              <a:noFill/>
            </a:ln>
          </p:spPr>
          <p:txBody>
            <a:bodyPr spcFirstLastPara="1" wrap="square" lIns="137156" tIns="137156" rIns="274256" bIns="274256" anchor="t" anchorCtr="0">
              <a:noAutofit/>
            </a:bodyPr>
            <a:lstStyle/>
            <a:p>
              <a:pPr marL="266700" marR="0" lvl="0" indent="-266700" algn="l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l-G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281F76"/>
                  </a:solidFill>
                  <a:effectLst/>
                  <a:uLnTx/>
                  <a:uFillTx/>
                  <a:latin typeface="Arial Nova Light" panose="020B0304020202020204" pitchFamily="34" charset="0"/>
                  <a:cs typeface="Calibri" panose="020F0502020204030204" pitchFamily="34" charset="0"/>
                </a:rPr>
                <a:t>Επιδότηση επιτοκίου-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281F76"/>
                  </a:solidFill>
                  <a:effectLst/>
                  <a:uLnTx/>
                  <a:uFillTx/>
                  <a:latin typeface="Arial Nova Light" panose="020B0304020202020204" pitchFamily="34" charset="0"/>
                  <a:cs typeface="Calibri" panose="020F0502020204030204" pitchFamily="34" charset="0"/>
                </a:rPr>
                <a:t>Mentoring</a:t>
              </a:r>
            </a:p>
            <a:p>
              <a:pPr marL="266700" marR="0" lvl="0" indent="-266700" algn="l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281F76"/>
                  </a:solidFill>
                  <a:effectLst/>
                  <a:uLnTx/>
                  <a:uFillTx/>
                  <a:latin typeface="Arial Nova Light" panose="020B0304020202020204" pitchFamily="34" charset="0"/>
                  <a:cs typeface="Calibri" panose="020F0502020204030204" pitchFamily="34" charset="0"/>
                </a:rPr>
                <a:t>Capital Rebates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Arial Nova Light" panose="020B030402020202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7" name="Google Shape;354;p66">
              <a:extLst>
                <a:ext uri="{FF2B5EF4-FFF2-40B4-BE49-F238E27FC236}">
                  <a16:creationId xmlns:a16="http://schemas.microsoft.com/office/drawing/2014/main" id="{F1A28DB1-2B99-3360-AD3C-ACE3D1ADA2D5}"/>
                </a:ext>
              </a:extLst>
            </p:cNvPr>
            <p:cNvSpPr/>
            <p:nvPr/>
          </p:nvSpPr>
          <p:spPr>
            <a:xfrm>
              <a:off x="2113226" y="3582614"/>
              <a:ext cx="3574326" cy="773676"/>
            </a:xfrm>
            <a:prstGeom prst="rect">
              <a:avLst/>
            </a:prstGeom>
            <a:solidFill>
              <a:srgbClr val="281F76"/>
            </a:solidFill>
            <a:ln>
              <a:noFill/>
            </a:ln>
          </p:spPr>
          <p:txBody>
            <a:bodyPr spcFirstLastPara="1" wrap="square" lIns="72281" tIns="72281" rIns="72281" bIns="72281" anchor="ctr" anchorCtr="0">
              <a:noAutofit/>
            </a:bodyPr>
            <a:lstStyle/>
            <a:p>
              <a:pPr marL="0" marR="0" lvl="0" indent="0" algn="ctr" defTabSz="13716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600"/>
                <a:buFontTx/>
                <a:buNone/>
                <a:tabLst/>
                <a:defRPr/>
              </a:pPr>
              <a:r>
                <a:rPr kumimoji="0" lang="el-GR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Light" panose="020B0304020202020204" pitchFamily="34" charset="0"/>
                  <a:cs typeface="Calibri" panose="020F0502020204030204" pitchFamily="34" charset="0"/>
                </a:rPr>
                <a:t>Συγχρηματοδοτήσεις</a:t>
              </a:r>
              <a:endParaRPr kumimoji="0" lang="en-ID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Light" panose="020B030402020202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" name="Google Shape;357;p66">
              <a:extLst>
                <a:ext uri="{FF2B5EF4-FFF2-40B4-BE49-F238E27FC236}">
                  <a16:creationId xmlns:a16="http://schemas.microsoft.com/office/drawing/2014/main" id="{9B15FEFD-F7E7-1EBF-2FD9-B7B37DEBAAA6}"/>
                </a:ext>
              </a:extLst>
            </p:cNvPr>
            <p:cNvSpPr/>
            <p:nvPr/>
          </p:nvSpPr>
          <p:spPr>
            <a:xfrm>
              <a:off x="2113227" y="4355850"/>
              <a:ext cx="3574326" cy="1432739"/>
            </a:xfrm>
            <a:prstGeom prst="rect">
              <a:avLst/>
            </a:prstGeom>
            <a:solidFill>
              <a:srgbClr val="CAD4E4"/>
            </a:solidFill>
            <a:ln>
              <a:noFill/>
            </a:ln>
          </p:spPr>
          <p:txBody>
            <a:bodyPr spcFirstLastPara="1" wrap="square" lIns="137156" tIns="137156" rIns="274256" bIns="274256" anchor="t" anchorCtr="0">
              <a:noAutofit/>
            </a:bodyPr>
            <a:lstStyle/>
            <a:p>
              <a:pPr marL="266700" marR="0" lvl="0" indent="-266700" algn="l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l-G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281F76"/>
                  </a:solidFill>
                  <a:effectLst/>
                  <a:uLnTx/>
                  <a:uFillTx/>
                  <a:latin typeface="Arial Nova Light" panose="020B0304020202020204" pitchFamily="34" charset="0"/>
                  <a:cs typeface="Calibri" panose="020F0502020204030204" pitchFamily="34" charset="0"/>
                </a:rPr>
                <a:t>Άτοκη χρηματοδότηση μέρους δανείων </a:t>
              </a:r>
              <a:endPara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Arial Nova Light" panose="020B030402020202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9" name="Google Shape;11840;p208">
            <a:extLst>
              <a:ext uri="{FF2B5EF4-FFF2-40B4-BE49-F238E27FC236}">
                <a16:creationId xmlns:a16="http://schemas.microsoft.com/office/drawing/2014/main" id="{C9BA7373-3C52-054E-81F4-425C3C0C6482}"/>
              </a:ext>
            </a:extLst>
          </p:cNvPr>
          <p:cNvSpPr/>
          <p:nvPr/>
        </p:nvSpPr>
        <p:spPr>
          <a:xfrm>
            <a:off x="6823861" y="1462049"/>
            <a:ext cx="4320591" cy="2097039"/>
          </a:xfrm>
          <a:prstGeom prst="flowChartAlternateProcess">
            <a:avLst/>
          </a:prstGeom>
          <a:solidFill>
            <a:srgbClr val="281F76"/>
          </a:solidFill>
          <a:ln w="38100" cap="flat" cmpd="sng">
            <a:solidFill>
              <a:srgbClr val="281F7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Tx/>
              <a:buNone/>
              <a:tabLst/>
              <a:defRPr/>
            </a:pPr>
            <a:endParaRPr kumimoji="0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Lato Light"/>
              <a:cs typeface="Calibri" panose="020F0502020204030204" pitchFamily="34" charset="0"/>
              <a:sym typeface="Lato Light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CC3A934-090C-3048-945A-ECC932EA35D8}"/>
              </a:ext>
            </a:extLst>
          </p:cNvPr>
          <p:cNvSpPr txBox="1"/>
          <p:nvPr/>
        </p:nvSpPr>
        <p:spPr>
          <a:xfrm>
            <a:off x="2217395" y="3538845"/>
            <a:ext cx="4152702" cy="1077218"/>
          </a:xfrm>
          <a:prstGeom prst="rect">
            <a:avLst/>
          </a:prstGeom>
          <a:solidFill>
            <a:srgbClr val="281F76"/>
          </a:solidFill>
        </p:spPr>
        <p:txBody>
          <a:bodyPr wrap="square" rtlCol="0">
            <a:sp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Light" panose="020B0304020202020204" pitchFamily="34" charset="0"/>
                <a:ea typeface="Lato Light"/>
                <a:cs typeface="Calibri" panose="020F0502020204030204" pitchFamily="34" charset="0"/>
                <a:sym typeface="Lato Light"/>
              </a:rPr>
              <a:t>Χρηματοδοτική υποστήριξη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A01E366-C846-CF5F-ABBB-F3C77AA64AA8}"/>
              </a:ext>
            </a:extLst>
          </p:cNvPr>
          <p:cNvSpPr txBox="1"/>
          <p:nvPr/>
        </p:nvSpPr>
        <p:spPr>
          <a:xfrm>
            <a:off x="11562156" y="3538844"/>
            <a:ext cx="4864195" cy="1077218"/>
          </a:xfrm>
          <a:prstGeom prst="rect">
            <a:avLst/>
          </a:prstGeom>
          <a:solidFill>
            <a:srgbClr val="281F76"/>
          </a:solidFill>
        </p:spPr>
        <p:txBody>
          <a:bodyPr wrap="square" rtlCol="0">
            <a:sp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Light" panose="020B0304020202020204" pitchFamily="34" charset="0"/>
                <a:ea typeface="Lato Light"/>
                <a:cs typeface="Calibri" panose="020F0502020204030204" pitchFamily="34" charset="0"/>
                <a:sym typeface="Lato Light"/>
              </a:rPr>
              <a:t>Μη χρηματοδοτική </a:t>
            </a:r>
          </a:p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Light" panose="020B0304020202020204" pitchFamily="34" charset="0"/>
                <a:ea typeface="Lato Light"/>
                <a:cs typeface="Calibri" panose="020F0502020204030204" pitchFamily="34" charset="0"/>
                <a:sym typeface="Lato Light"/>
              </a:rPr>
              <a:t>υποστήριξη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843EB737-B2F2-CA38-127B-2154E8819220}"/>
              </a:ext>
            </a:extLst>
          </p:cNvPr>
          <p:cNvCxnSpPr>
            <a:cxnSpLocks/>
            <a:stCxn id="20" idx="2"/>
          </p:cNvCxnSpPr>
          <p:nvPr/>
        </p:nvCxnSpPr>
        <p:spPr>
          <a:xfrm>
            <a:off x="4293746" y="4616063"/>
            <a:ext cx="0" cy="360352"/>
          </a:xfrm>
          <a:prstGeom prst="straightConnector1">
            <a:avLst/>
          </a:prstGeom>
          <a:ln w="25400" cap="sq">
            <a:solidFill>
              <a:schemeClr val="accent2"/>
            </a:solidFill>
            <a:bevel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FB007C67-C12B-3A8C-7310-EBE5376AEFC3}"/>
              </a:ext>
            </a:extLst>
          </p:cNvPr>
          <p:cNvCxnSpPr>
            <a:cxnSpLocks/>
            <a:stCxn id="21" idx="2"/>
          </p:cNvCxnSpPr>
          <p:nvPr/>
        </p:nvCxnSpPr>
        <p:spPr>
          <a:xfrm flipH="1">
            <a:off x="13994253" y="4616062"/>
            <a:ext cx="1" cy="458791"/>
          </a:xfrm>
          <a:prstGeom prst="straightConnector1">
            <a:avLst/>
          </a:prstGeom>
          <a:ln w="25400" cap="sq">
            <a:solidFill>
              <a:schemeClr val="accent2"/>
            </a:solidFill>
            <a:bevel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1">
            <a:extLst>
              <a:ext uri="{FF2B5EF4-FFF2-40B4-BE49-F238E27FC236}">
                <a16:creationId xmlns:a16="http://schemas.microsoft.com/office/drawing/2014/main" id="{ABD35AF3-120E-D21C-1D81-C924EFABD524}"/>
              </a:ext>
            </a:extLst>
          </p:cNvPr>
          <p:cNvSpPr txBox="1">
            <a:spLocks/>
          </p:cNvSpPr>
          <p:nvPr/>
        </p:nvSpPr>
        <p:spPr>
          <a:xfrm>
            <a:off x="-495529" y="387372"/>
            <a:ext cx="16921880" cy="766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>
              <a:defRPr lang="uk-UA"/>
            </a:defPPr>
            <a:lvl1pPr marL="177809" marR="0" lvl="0" indent="0" defTabSz="102875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None/>
              <a:defRPr sz="3600" b="1" i="0" u="none" strike="noStrike" cap="none">
                <a:solidFill>
                  <a:srgbClr val="281F76"/>
                </a:solidFill>
                <a:ea typeface="Lato Black"/>
                <a:cs typeface="Lato Black"/>
                <a:sym typeface="Lato Black"/>
              </a:defRPr>
            </a:lvl1pPr>
            <a:lvl2pPr marL="1828892" marR="0" lvl="1" indent="-685835" defTabSz="102875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3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2743337" marR="0" lvl="2" indent="-647733" defTabSz="102875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3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3657783" marR="0" lvl="3" indent="-628682" defTabSz="102875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4572228" marR="0" lvl="4" indent="-628682" defTabSz="102875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5486675" marR="0" lvl="5" indent="-628682" defTabSz="102875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6401120" marR="0" lvl="6" indent="-628682" defTabSz="102875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7315566" marR="0" lvl="7" indent="-628682" defTabSz="102875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8230011" marR="0" lvl="8" indent="-628682" defTabSz="102875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271463" lvl="1" indent="871538">
              <a:buNone/>
            </a:pPr>
            <a:r>
              <a:rPr lang="el-GR" b="1" dirty="0">
                <a:solidFill>
                  <a:srgbClr val="281F76"/>
                </a:solidFill>
                <a:latin typeface="+mn-lt"/>
              </a:rPr>
              <a:t>Στήριξη της Επιχειρηματικότητας με 2 Πυλώνες</a:t>
            </a:r>
          </a:p>
        </p:txBody>
      </p:sp>
      <p:sp>
        <p:nvSpPr>
          <p:cNvPr id="3" name="Google Shape;356;p66">
            <a:extLst>
              <a:ext uri="{FF2B5EF4-FFF2-40B4-BE49-F238E27FC236}">
                <a16:creationId xmlns:a16="http://schemas.microsoft.com/office/drawing/2014/main" id="{3106BCE6-4BC3-AFA2-D370-F800CFB8E363}"/>
              </a:ext>
            </a:extLst>
          </p:cNvPr>
          <p:cNvSpPr/>
          <p:nvPr/>
        </p:nvSpPr>
        <p:spPr>
          <a:xfrm>
            <a:off x="9071992" y="5316658"/>
            <a:ext cx="2655594" cy="675517"/>
          </a:xfrm>
          <a:prstGeom prst="rect">
            <a:avLst/>
          </a:prstGeom>
          <a:solidFill>
            <a:srgbClr val="281F76"/>
          </a:solidFill>
          <a:ln>
            <a:noFill/>
          </a:ln>
        </p:spPr>
        <p:txBody>
          <a:bodyPr spcFirstLastPara="1" wrap="square" lIns="72281" tIns="72281" rIns="72281" bIns="72281" anchor="ctr" anchorCtr="0">
            <a:no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Light" panose="020B0304020202020204" pitchFamily="34" charset="0"/>
                <a:ea typeface="Lato Light"/>
                <a:cs typeface="Calibri" panose="020F0502020204030204" pitchFamily="34" charset="0"/>
                <a:sym typeface="Lato Light"/>
              </a:rPr>
              <a:t>Equity</a:t>
            </a: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Light" panose="020B0304020202020204" pitchFamily="34" charset="0"/>
                <a:ea typeface="Lato Light"/>
                <a:cs typeface="Calibri" panose="020F0502020204030204" pitchFamily="34" charset="0"/>
                <a:sym typeface="Lato Light"/>
              </a:rPr>
              <a:t> </a:t>
            </a:r>
            <a:endParaRPr kumimoji="0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ova Light" panose="020B0304020202020204" pitchFamily="34" charset="0"/>
              <a:ea typeface="Lato Light"/>
              <a:cs typeface="Calibri" panose="020F0502020204030204" pitchFamily="34" charset="0"/>
              <a:sym typeface="Lato Light"/>
            </a:endParaRPr>
          </a:p>
        </p:txBody>
      </p:sp>
      <p:sp>
        <p:nvSpPr>
          <p:cNvPr id="6" name="Google Shape;363;p66">
            <a:extLst>
              <a:ext uri="{FF2B5EF4-FFF2-40B4-BE49-F238E27FC236}">
                <a16:creationId xmlns:a16="http://schemas.microsoft.com/office/drawing/2014/main" id="{24C2D580-B69C-BF02-BA5A-CC22716EAD38}"/>
              </a:ext>
            </a:extLst>
          </p:cNvPr>
          <p:cNvSpPr/>
          <p:nvPr/>
        </p:nvSpPr>
        <p:spPr>
          <a:xfrm>
            <a:off x="9064737" y="6018459"/>
            <a:ext cx="2655594" cy="1250963"/>
          </a:xfrm>
          <a:prstGeom prst="rect">
            <a:avLst/>
          </a:prstGeom>
          <a:solidFill>
            <a:srgbClr val="CAD4E4"/>
          </a:solidFill>
          <a:ln>
            <a:noFill/>
          </a:ln>
        </p:spPr>
        <p:txBody>
          <a:bodyPr spcFirstLastPara="1" wrap="square" lIns="137156" tIns="137156" rIns="274256" bIns="274256" anchor="t" anchorCtr="0">
            <a:noAutofit/>
          </a:bodyPr>
          <a:lstStyle/>
          <a:p>
            <a:pPr marL="266700" marR="0" lvl="0" indent="-26670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Arial Nova Light" panose="020B0304020202020204" pitchFamily="34" charset="0"/>
                <a:cs typeface="Calibri" panose="020F0502020204030204" pitchFamily="34" charset="0"/>
              </a:rPr>
              <a:t>Επιχειρηματικές συμμετοχές (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1F76"/>
                </a:solidFill>
                <a:effectLst/>
                <a:uLnTx/>
                <a:uFillTx/>
                <a:latin typeface="Arial Nova Light" panose="020B0304020202020204" pitchFamily="34" charset="0"/>
                <a:cs typeface="Calibri" panose="020F0502020204030204" pitchFamily="34" charset="0"/>
              </a:rPr>
              <a:t>EquiFund)</a:t>
            </a:r>
          </a:p>
        </p:txBody>
      </p:sp>
      <p:cxnSp>
        <p:nvCxnSpPr>
          <p:cNvPr id="31" name="Google Shape;361;p66">
            <a:extLst>
              <a:ext uri="{FF2B5EF4-FFF2-40B4-BE49-F238E27FC236}">
                <a16:creationId xmlns:a16="http://schemas.microsoft.com/office/drawing/2014/main" id="{DF45244B-C1C4-8A59-C5EC-D7E94B09671B}"/>
              </a:ext>
            </a:extLst>
          </p:cNvPr>
          <p:cNvCxnSpPr>
            <a:cxnSpLocks/>
          </p:cNvCxnSpPr>
          <p:nvPr/>
        </p:nvCxnSpPr>
        <p:spPr>
          <a:xfrm flipV="1">
            <a:off x="7576349" y="4963548"/>
            <a:ext cx="2758750" cy="2927"/>
          </a:xfrm>
          <a:prstGeom prst="straightConnector1">
            <a:avLst/>
          </a:prstGeom>
          <a:noFill/>
          <a:ln w="9525" cap="flat" cmpd="sng">
            <a:solidFill>
              <a:srgbClr val="281F7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4" name="Google Shape;361;p66">
            <a:extLst>
              <a:ext uri="{FF2B5EF4-FFF2-40B4-BE49-F238E27FC236}">
                <a16:creationId xmlns:a16="http://schemas.microsoft.com/office/drawing/2014/main" id="{6884F847-2AB3-7345-4217-2E7114203CF6}"/>
              </a:ext>
            </a:extLst>
          </p:cNvPr>
          <p:cNvCxnSpPr>
            <a:cxnSpLocks/>
          </p:cNvCxnSpPr>
          <p:nvPr/>
        </p:nvCxnSpPr>
        <p:spPr>
          <a:xfrm>
            <a:off x="10368136" y="4959101"/>
            <a:ext cx="0" cy="343713"/>
          </a:xfrm>
          <a:prstGeom prst="straightConnector1">
            <a:avLst/>
          </a:prstGeom>
          <a:noFill/>
          <a:ln w="9525" cap="flat" cmpd="sng">
            <a:solidFill>
              <a:srgbClr val="281F7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24" name="Γραμμή σύνδεσης: Γωνιώδης 23">
            <a:extLst>
              <a:ext uri="{FF2B5EF4-FFF2-40B4-BE49-F238E27FC236}">
                <a16:creationId xmlns:a16="http://schemas.microsoft.com/office/drawing/2014/main" id="{F1009052-21E0-796D-564F-7D63F10944ED}"/>
              </a:ext>
            </a:extLst>
          </p:cNvPr>
          <p:cNvCxnSpPr>
            <a:cxnSpLocks/>
            <a:stCxn id="19" idx="1"/>
            <a:endCxn id="20" idx="0"/>
          </p:cNvCxnSpPr>
          <p:nvPr/>
        </p:nvCxnSpPr>
        <p:spPr>
          <a:xfrm rot="10800000" flipV="1">
            <a:off x="4293747" y="2510569"/>
            <a:ext cx="2530115" cy="1028276"/>
          </a:xfrm>
          <a:prstGeom prst="bentConnector2">
            <a:avLst/>
          </a:prstGeom>
          <a:ln w="25400" cap="sq">
            <a:solidFill>
              <a:schemeClr val="accent2"/>
            </a:solidFill>
            <a:bevel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Γραμμή σύνδεσης: Γωνιώδης 36">
            <a:extLst>
              <a:ext uri="{FF2B5EF4-FFF2-40B4-BE49-F238E27FC236}">
                <a16:creationId xmlns:a16="http://schemas.microsoft.com/office/drawing/2014/main" id="{841BF4C1-E24B-2B79-9ED8-E93C2A1E4BCD}"/>
              </a:ext>
            </a:extLst>
          </p:cNvPr>
          <p:cNvCxnSpPr>
            <a:cxnSpLocks/>
            <a:stCxn id="19" idx="3"/>
            <a:endCxn id="21" idx="0"/>
          </p:cNvCxnSpPr>
          <p:nvPr/>
        </p:nvCxnSpPr>
        <p:spPr>
          <a:xfrm>
            <a:off x="11144452" y="2510569"/>
            <a:ext cx="2849802" cy="1028275"/>
          </a:xfrm>
          <a:prstGeom prst="bentConnector2">
            <a:avLst/>
          </a:prstGeom>
          <a:ln w="25400" cap="sq">
            <a:solidFill>
              <a:schemeClr val="accent2"/>
            </a:solidFill>
            <a:bevel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Picture 43" descr="A black and white sign with white text&#10;&#10;Description automatically generated">
            <a:extLst>
              <a:ext uri="{FF2B5EF4-FFF2-40B4-BE49-F238E27FC236}">
                <a16:creationId xmlns:a16="http://schemas.microsoft.com/office/drawing/2014/main" id="{CFF306C2-4DCC-0B62-B8B0-07341EE40D8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5706" y="1796939"/>
            <a:ext cx="2190732" cy="1272738"/>
          </a:xfrm>
          <a:prstGeom prst="rect">
            <a:avLst/>
          </a:prstGeom>
        </p:spPr>
      </p:pic>
      <p:sp>
        <p:nvSpPr>
          <p:cNvPr id="47" name="Google Shape;363;p66">
            <a:extLst>
              <a:ext uri="{FF2B5EF4-FFF2-40B4-BE49-F238E27FC236}">
                <a16:creationId xmlns:a16="http://schemas.microsoft.com/office/drawing/2014/main" id="{C59E5FFD-5323-E9C1-A2D6-70E0D6578625}"/>
              </a:ext>
            </a:extLst>
          </p:cNvPr>
          <p:cNvSpPr/>
          <p:nvPr/>
        </p:nvSpPr>
        <p:spPr>
          <a:xfrm>
            <a:off x="12126092" y="5099143"/>
            <a:ext cx="5320490" cy="3039951"/>
          </a:xfrm>
          <a:prstGeom prst="rect">
            <a:avLst/>
          </a:prstGeom>
          <a:solidFill>
            <a:srgbClr val="CAD4E4"/>
          </a:solidFill>
          <a:ln>
            <a:noFill/>
          </a:ln>
        </p:spPr>
        <p:txBody>
          <a:bodyPr spcFirstLastPara="1" wrap="square" lIns="91437" tIns="91437" rIns="182837" bIns="182837" anchor="t" anchorCtr="0">
            <a:noAutofit/>
          </a:bodyPr>
          <a:lstStyle/>
          <a:p>
            <a:pPr marL="48002" marR="0" lvl="0" indent="0" algn="just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1F76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goe UI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8002" marR="0" lvl="0" indent="0" algn="just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1F76"/>
              </a:buClr>
              <a:buSzPct val="100000"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goe UI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8002" marR="0" lvl="0" indent="0" algn="just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1F76"/>
              </a:buClr>
              <a:buSzPct val="100000"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"/>
                <a:ea typeface="Calibri" panose="020F0502020204030204" pitchFamily="34" charset="0"/>
                <a:cs typeface="Calibri" panose="020F0502020204030204" pitchFamily="34" charset="0"/>
              </a:rPr>
              <a:t>  </a:t>
            </a:r>
          </a:p>
          <a:p>
            <a:pPr marL="48002" marR="0" lvl="0" indent="0" algn="just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1F76"/>
              </a:buClr>
              <a:buSzPct val="100000"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48002" marR="0" lvl="0" indent="0" algn="just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1F76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goe UI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8002" marR="0" lvl="0" indent="0" algn="just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1F76"/>
              </a:buClr>
              <a:buSzPct val="100000"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goe UI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8002" marR="0" lvl="0" indent="0" algn="just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1F76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goe UI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8002" marR="0" lvl="0" indent="0" algn="just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1F76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goe UI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8002" marR="0" lvl="0" indent="0" algn="just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1F76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goe UI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8002" marR="0" lvl="0" indent="0" algn="just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1F76"/>
              </a:buClr>
              <a:buSzPct val="100000"/>
              <a:tabLst/>
              <a:defRPr/>
            </a:pP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goe UI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8002" marR="0" lvl="0" indent="0" algn="just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1F76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goe UI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8002" marR="0" lvl="0" indent="0" algn="just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1F76"/>
              </a:buClr>
              <a:buSzPct val="100000"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goe UI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8002" marR="0" lvl="0" indent="0" algn="just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1F76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goe UI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8" name="Picture 41">
            <a:extLst>
              <a:ext uri="{FF2B5EF4-FFF2-40B4-BE49-F238E27FC236}">
                <a16:creationId xmlns:a16="http://schemas.microsoft.com/office/drawing/2014/main" id="{ECDDAF7D-18EB-302C-1702-7D5E01C296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187446" y="5351413"/>
            <a:ext cx="1937141" cy="1093631"/>
          </a:xfrm>
          <a:prstGeom prst="rect">
            <a:avLst/>
          </a:prstGeom>
        </p:spPr>
      </p:pic>
      <p:pic>
        <p:nvPicPr>
          <p:cNvPr id="49" name="Picture 51">
            <a:extLst>
              <a:ext uri="{FF2B5EF4-FFF2-40B4-BE49-F238E27FC236}">
                <a16:creationId xmlns:a16="http://schemas.microsoft.com/office/drawing/2014/main" id="{275D1917-48D9-42FD-FCB5-F3D4F73219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416693" y="6619118"/>
            <a:ext cx="1937142" cy="744977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18276056-E445-23C6-273C-1F0A29FBD2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416693" y="5471630"/>
            <a:ext cx="1937142" cy="744977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12771488-7BFC-DCFD-1A29-85EDE7CEA10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187446" y="6638470"/>
            <a:ext cx="1838009" cy="873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2130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2">
          <a:extLst>
            <a:ext uri="{FF2B5EF4-FFF2-40B4-BE49-F238E27FC236}">
              <a16:creationId xmlns:a16="http://schemas.microsoft.com/office/drawing/2014/main" id="{0DA5434C-299B-1CFD-50F0-2B3586AF30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3" name="Google Shape;1253;p92">
            <a:extLst>
              <a:ext uri="{FF2B5EF4-FFF2-40B4-BE49-F238E27FC236}">
                <a16:creationId xmlns:a16="http://schemas.microsoft.com/office/drawing/2014/main" id="{089985D8-E55F-6393-9C3D-31426FF9293A}"/>
              </a:ext>
            </a:extLst>
          </p:cNvPr>
          <p:cNvCxnSpPr/>
          <p:nvPr/>
        </p:nvCxnSpPr>
        <p:spPr>
          <a:xfrm>
            <a:off x="1122866" y="-1311276"/>
            <a:ext cx="0" cy="0"/>
          </a:xfrm>
          <a:prstGeom prst="straightConnector1">
            <a:avLst/>
          </a:prstGeom>
          <a:noFill/>
          <a:ln>
            <a:noFill/>
          </a:ln>
        </p:spPr>
      </p:cxnSp>
      <p:cxnSp>
        <p:nvCxnSpPr>
          <p:cNvPr id="1254" name="Google Shape;1254;p92">
            <a:extLst>
              <a:ext uri="{FF2B5EF4-FFF2-40B4-BE49-F238E27FC236}">
                <a16:creationId xmlns:a16="http://schemas.microsoft.com/office/drawing/2014/main" id="{47300A34-F480-A16C-552C-C3E8135B9A7A}"/>
              </a:ext>
            </a:extLst>
          </p:cNvPr>
          <p:cNvCxnSpPr/>
          <p:nvPr/>
        </p:nvCxnSpPr>
        <p:spPr>
          <a:xfrm>
            <a:off x="1122866" y="-1311276"/>
            <a:ext cx="0" cy="0"/>
          </a:xfrm>
          <a:prstGeom prst="straightConnector1">
            <a:avLst/>
          </a:prstGeom>
          <a:noFill/>
          <a:ln>
            <a:noFill/>
          </a:ln>
        </p:spPr>
      </p:cxnSp>
      <p:sp>
        <p:nvSpPr>
          <p:cNvPr id="1255" name="Google Shape;1255;p92">
            <a:extLst>
              <a:ext uri="{FF2B5EF4-FFF2-40B4-BE49-F238E27FC236}">
                <a16:creationId xmlns:a16="http://schemas.microsoft.com/office/drawing/2014/main" id="{89BD2E04-A0A8-BC20-3EE5-825EEE054763}"/>
              </a:ext>
            </a:extLst>
          </p:cNvPr>
          <p:cNvSpPr/>
          <p:nvPr/>
        </p:nvSpPr>
        <p:spPr>
          <a:xfrm>
            <a:off x="7361907" y="0"/>
            <a:ext cx="10923712" cy="1028953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54569" y="0"/>
                </a:moveTo>
                <a:lnTo>
                  <a:pt x="75779" y="0"/>
                </a:lnTo>
                <a:lnTo>
                  <a:pt x="103675" y="0"/>
                </a:lnTo>
                <a:lnTo>
                  <a:pt x="104195" y="0"/>
                </a:lnTo>
                <a:lnTo>
                  <a:pt x="116872" y="0"/>
                </a:lnTo>
                <a:lnTo>
                  <a:pt x="119999" y="0"/>
                </a:lnTo>
                <a:lnTo>
                  <a:pt x="119999" y="120000"/>
                </a:lnTo>
                <a:lnTo>
                  <a:pt x="116872" y="120000"/>
                </a:lnTo>
                <a:lnTo>
                  <a:pt x="104195" y="120000"/>
                </a:lnTo>
                <a:lnTo>
                  <a:pt x="103675" y="120000"/>
                </a:lnTo>
                <a:lnTo>
                  <a:pt x="75779" y="120000"/>
                </a:lnTo>
                <a:lnTo>
                  <a:pt x="0" y="120000"/>
                </a:lnTo>
                <a:close/>
              </a:path>
            </a:pathLst>
          </a:custGeom>
          <a:solidFill>
            <a:schemeClr val="accent2">
              <a:alpha val="78431"/>
            </a:schemeClr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Tx/>
              <a:buNone/>
              <a:tabLst/>
              <a:defRPr/>
            </a:pPr>
            <a:endParaRPr kumimoji="0" sz="2700" b="0" i="0" u="none" strike="noStrike" kern="1200" cap="none" spc="0" normalizeH="0" baseline="0" noProof="0">
              <a:ln>
                <a:noFill/>
              </a:ln>
              <a:solidFill>
                <a:srgbClr val="343444"/>
              </a:solidFill>
              <a:effectLst/>
              <a:uLnTx/>
              <a:uFillTx/>
              <a:latin typeface="Calibri" panose="020F0502020204030204" pitchFamily="34" charset="0"/>
              <a:ea typeface="Lato Light"/>
              <a:cs typeface="Calibri" panose="020F0502020204030204" pitchFamily="34" charset="0"/>
              <a:sym typeface="Lato Light"/>
            </a:endParaRPr>
          </a:p>
        </p:txBody>
      </p:sp>
      <p:cxnSp>
        <p:nvCxnSpPr>
          <p:cNvPr id="1258" name="Google Shape;1258;p92">
            <a:extLst>
              <a:ext uri="{FF2B5EF4-FFF2-40B4-BE49-F238E27FC236}">
                <a16:creationId xmlns:a16="http://schemas.microsoft.com/office/drawing/2014/main" id="{532432B3-11DD-E13C-09DD-5BA6E634F9FA}"/>
              </a:ext>
            </a:extLst>
          </p:cNvPr>
          <p:cNvCxnSpPr/>
          <p:nvPr/>
        </p:nvCxnSpPr>
        <p:spPr>
          <a:xfrm>
            <a:off x="13272864" y="9600698"/>
            <a:ext cx="5045045" cy="0"/>
          </a:xfrm>
          <a:prstGeom prst="straightConnector1">
            <a:avLst/>
          </a:prstGeom>
          <a:noFill/>
          <a:ln w="38100" cap="flat" cmpd="sng">
            <a:solidFill>
              <a:srgbClr val="FFFFFF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259" name="Google Shape;1259;p92">
            <a:extLst>
              <a:ext uri="{FF2B5EF4-FFF2-40B4-BE49-F238E27FC236}">
                <a16:creationId xmlns:a16="http://schemas.microsoft.com/office/drawing/2014/main" id="{689638ED-695C-FA41-2643-6BBF4325BC71}"/>
              </a:ext>
            </a:extLst>
          </p:cNvPr>
          <p:cNvCxnSpPr/>
          <p:nvPr/>
        </p:nvCxnSpPr>
        <p:spPr>
          <a:xfrm>
            <a:off x="9964352" y="6126653"/>
            <a:ext cx="8321267" cy="0"/>
          </a:xfrm>
          <a:prstGeom prst="straightConnector1">
            <a:avLst/>
          </a:prstGeom>
          <a:noFill/>
          <a:ln w="38100" cap="flat" cmpd="sng">
            <a:solidFill>
              <a:schemeClr val="bg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" name="Google Shape;1256;p92">
            <a:extLst>
              <a:ext uri="{FF2B5EF4-FFF2-40B4-BE49-F238E27FC236}">
                <a16:creationId xmlns:a16="http://schemas.microsoft.com/office/drawing/2014/main" id="{F27A516A-115B-8657-B73B-A5122EB273C8}"/>
              </a:ext>
            </a:extLst>
          </p:cNvPr>
          <p:cNvSpPr txBox="1"/>
          <p:nvPr/>
        </p:nvSpPr>
        <p:spPr>
          <a:xfrm>
            <a:off x="7135036" y="7018618"/>
            <a:ext cx="10923713" cy="11956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r" defTabSz="1371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500"/>
              <a:buFontTx/>
              <a:buNone/>
              <a:tabLst/>
              <a:defRPr/>
            </a:pPr>
            <a:r>
              <a:rPr lang="el-GR" sz="6000" b="1" dirty="0">
                <a:solidFill>
                  <a:srgbClr val="FFFFFF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 </a:t>
            </a:r>
            <a:r>
              <a:rPr lang="en-US" sz="6000" b="1" dirty="0">
                <a:solidFill>
                  <a:srgbClr val="FFFFFF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Guarantees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Lato Black"/>
              <a:cs typeface="Calibri" panose="020F0502020204030204" pitchFamily="34" charset="0"/>
              <a:sym typeface="Lato Black"/>
            </a:endParaRPr>
          </a:p>
          <a:p>
            <a:pPr marL="0" marR="0" lvl="0" indent="0" algn="r" defTabSz="1371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500"/>
              <a:buFontTx/>
              <a:buNone/>
              <a:tabLst/>
              <a:defRPr/>
            </a:pPr>
            <a:r>
              <a:rPr lang="el-GR" sz="4400" b="1" dirty="0">
                <a:solidFill>
                  <a:srgbClr val="FFFFFF"/>
                </a:solidFill>
                <a:latin typeface="Calibri" panose="020F0502020204030204" pitchFamily="34" charset="0"/>
                <a:ea typeface="Lato Black"/>
                <a:cs typeface="Calibri" panose="020F0502020204030204" pitchFamily="34" charset="0"/>
                <a:sym typeface="Lato Black"/>
              </a:rPr>
              <a:t>Εγγυοδοσία Δανείων</a:t>
            </a:r>
            <a:endParaRPr kumimoji="0" sz="4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Lato Black"/>
              <a:cs typeface="Calibri" panose="020F0502020204030204" pitchFamily="34" charset="0"/>
              <a:sym typeface="Lato Black"/>
            </a:endParaRPr>
          </a:p>
        </p:txBody>
      </p:sp>
    </p:spTree>
    <p:extLst>
      <p:ext uri="{BB962C8B-B14F-4D97-AF65-F5344CB8AC3E}">
        <p14:creationId xmlns:p14="http://schemas.microsoft.com/office/powerpoint/2010/main" val="32290846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S WITH IMAGES">
  <a:themeElements>
    <a:clrScheme name="Custom 11">
      <a:dk1>
        <a:srgbClr val="0A091B"/>
      </a:dk1>
      <a:lt1>
        <a:srgbClr val="343444"/>
      </a:lt1>
      <a:dk2>
        <a:srgbClr val="272733"/>
      </a:dk2>
      <a:lt2>
        <a:srgbClr val="FFFFFF"/>
      </a:lt2>
      <a:accent1>
        <a:srgbClr val="FFFFFF"/>
      </a:accent1>
      <a:accent2>
        <a:srgbClr val="281F76"/>
      </a:accent2>
      <a:accent3>
        <a:srgbClr val="3768B7"/>
      </a:accent3>
      <a:accent4>
        <a:srgbClr val="81A3D9"/>
      </a:accent4>
      <a:accent5>
        <a:srgbClr val="CAD4E4"/>
      </a:accent5>
      <a:accent6>
        <a:srgbClr val="82BDD4"/>
      </a:accent6>
      <a:hlink>
        <a:srgbClr val="3768B7"/>
      </a:hlink>
      <a:folHlink>
        <a:srgbClr val="3768B7"/>
      </a:folHlink>
    </a:clrScheme>
    <a:fontScheme name="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8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sq">
          <a:solidFill>
            <a:schemeClr val="accent2"/>
          </a:solidFill>
          <a:bevel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0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MPLICITY by SMART - 16x9 - NON-ANIMATED - Cool Ice - template" id="{36753E96-986E-4473-8C71-6A41EC558119}" vid="{82913011-1868-4964-B887-29E38324C8C2}"/>
    </a:ext>
  </a:extLst>
</a:theme>
</file>

<file path=ppt/theme/theme10.xml><?xml version="1.0" encoding="utf-8"?>
<a:theme xmlns:a="http://schemas.openxmlformats.org/drawingml/2006/main" name="10_SLIDES WITH IMAGES">
  <a:themeElements>
    <a:clrScheme name="Custom 11">
      <a:dk1>
        <a:srgbClr val="0A091B"/>
      </a:dk1>
      <a:lt1>
        <a:srgbClr val="343444"/>
      </a:lt1>
      <a:dk2>
        <a:srgbClr val="272733"/>
      </a:dk2>
      <a:lt2>
        <a:srgbClr val="FFFFFF"/>
      </a:lt2>
      <a:accent1>
        <a:srgbClr val="FFFFFF"/>
      </a:accent1>
      <a:accent2>
        <a:srgbClr val="281F76"/>
      </a:accent2>
      <a:accent3>
        <a:srgbClr val="3768B7"/>
      </a:accent3>
      <a:accent4>
        <a:srgbClr val="81A3D9"/>
      </a:accent4>
      <a:accent5>
        <a:srgbClr val="CAD4E4"/>
      </a:accent5>
      <a:accent6>
        <a:srgbClr val="82BDD4"/>
      </a:accent6>
      <a:hlink>
        <a:srgbClr val="3768B7"/>
      </a:hlink>
      <a:folHlink>
        <a:srgbClr val="3768B7"/>
      </a:folHlink>
    </a:clrScheme>
    <a:fontScheme name="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8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sq">
          <a:solidFill>
            <a:schemeClr val="accent2"/>
          </a:solidFill>
          <a:bevel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0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MPLICITY by SMART - 16x9 - NON-ANIMATED - Cool Ice - template" id="{36753E96-986E-4473-8C71-6A41EC558119}" vid="{82913011-1868-4964-B887-29E38324C8C2}"/>
    </a:ext>
  </a:extLst>
</a:theme>
</file>

<file path=ppt/theme/theme11.xml><?xml version="1.0" encoding="utf-8"?>
<a:theme xmlns:a="http://schemas.openxmlformats.org/drawingml/2006/main" name="9_SLIDES WITH IMAGES">
  <a:themeElements>
    <a:clrScheme name="Custom 11">
      <a:dk1>
        <a:srgbClr val="0A091B"/>
      </a:dk1>
      <a:lt1>
        <a:srgbClr val="343444"/>
      </a:lt1>
      <a:dk2>
        <a:srgbClr val="272733"/>
      </a:dk2>
      <a:lt2>
        <a:srgbClr val="FFFFFF"/>
      </a:lt2>
      <a:accent1>
        <a:srgbClr val="FFFFFF"/>
      </a:accent1>
      <a:accent2>
        <a:srgbClr val="281F76"/>
      </a:accent2>
      <a:accent3>
        <a:srgbClr val="3768B7"/>
      </a:accent3>
      <a:accent4>
        <a:srgbClr val="81A3D9"/>
      </a:accent4>
      <a:accent5>
        <a:srgbClr val="CAD4E4"/>
      </a:accent5>
      <a:accent6>
        <a:srgbClr val="82BDD4"/>
      </a:accent6>
      <a:hlink>
        <a:srgbClr val="3768B7"/>
      </a:hlink>
      <a:folHlink>
        <a:srgbClr val="3768B7"/>
      </a:folHlink>
    </a:clrScheme>
    <a:fontScheme name="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8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sq">
          <a:solidFill>
            <a:schemeClr val="accent2"/>
          </a:solidFill>
          <a:bevel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0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MPLICITY by SMART - 16x9 - NON-ANIMATED - Cool Ice - template" id="{36753E96-986E-4473-8C71-6A41EC558119}" vid="{82913011-1868-4964-B887-29E38324C8C2}"/>
    </a:ext>
  </a:extLst>
</a:theme>
</file>

<file path=ppt/theme/theme12.xml><?xml version="1.0" encoding="utf-8"?>
<a:theme xmlns:a="http://schemas.openxmlformats.org/drawingml/2006/main" name="11_SLIDES WITH IMAGES">
  <a:themeElements>
    <a:clrScheme name="Custom 11">
      <a:dk1>
        <a:srgbClr val="0A091B"/>
      </a:dk1>
      <a:lt1>
        <a:srgbClr val="343444"/>
      </a:lt1>
      <a:dk2>
        <a:srgbClr val="272733"/>
      </a:dk2>
      <a:lt2>
        <a:srgbClr val="FFFFFF"/>
      </a:lt2>
      <a:accent1>
        <a:srgbClr val="FFFFFF"/>
      </a:accent1>
      <a:accent2>
        <a:srgbClr val="281F76"/>
      </a:accent2>
      <a:accent3>
        <a:srgbClr val="3768B7"/>
      </a:accent3>
      <a:accent4>
        <a:srgbClr val="81A3D9"/>
      </a:accent4>
      <a:accent5>
        <a:srgbClr val="CAD4E4"/>
      </a:accent5>
      <a:accent6>
        <a:srgbClr val="82BDD4"/>
      </a:accent6>
      <a:hlink>
        <a:srgbClr val="3768B7"/>
      </a:hlink>
      <a:folHlink>
        <a:srgbClr val="3768B7"/>
      </a:folHlink>
    </a:clrScheme>
    <a:fontScheme name="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8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sq">
          <a:solidFill>
            <a:schemeClr val="accent2"/>
          </a:solidFill>
          <a:bevel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0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MPLICITY by SMART - 16x9 - NON-ANIMATED - Cool Ice - template" id="{36753E96-986E-4473-8C71-6A41EC558119}" vid="{82913011-1868-4964-B887-29E38324C8C2}"/>
    </a:ext>
  </a:extLst>
</a:theme>
</file>

<file path=ppt/theme/theme13.xml><?xml version="1.0" encoding="utf-8"?>
<a:theme xmlns:a="http://schemas.openxmlformats.org/drawingml/2006/main" name="12_SLIDES WITH IMAGES">
  <a:themeElements>
    <a:clrScheme name="Custom 11">
      <a:dk1>
        <a:srgbClr val="0A091B"/>
      </a:dk1>
      <a:lt1>
        <a:srgbClr val="343444"/>
      </a:lt1>
      <a:dk2>
        <a:srgbClr val="272733"/>
      </a:dk2>
      <a:lt2>
        <a:srgbClr val="FFFFFF"/>
      </a:lt2>
      <a:accent1>
        <a:srgbClr val="FFFFFF"/>
      </a:accent1>
      <a:accent2>
        <a:srgbClr val="281F76"/>
      </a:accent2>
      <a:accent3>
        <a:srgbClr val="3768B7"/>
      </a:accent3>
      <a:accent4>
        <a:srgbClr val="81A3D9"/>
      </a:accent4>
      <a:accent5>
        <a:srgbClr val="CAD4E4"/>
      </a:accent5>
      <a:accent6>
        <a:srgbClr val="82BDD4"/>
      </a:accent6>
      <a:hlink>
        <a:srgbClr val="3768B7"/>
      </a:hlink>
      <a:folHlink>
        <a:srgbClr val="3768B7"/>
      </a:folHlink>
    </a:clrScheme>
    <a:fontScheme name="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8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sq">
          <a:solidFill>
            <a:schemeClr val="accent2"/>
          </a:solidFill>
          <a:bevel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0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MPLICITY by SMART - 16x9 - NON-ANIMATED - Cool Ice - template" id="{36753E96-986E-4473-8C71-6A41EC558119}" vid="{82913011-1868-4964-B887-29E38324C8C2}"/>
    </a:ext>
  </a:extLst>
</a:theme>
</file>

<file path=ppt/theme/theme14.xml><?xml version="1.0" encoding="utf-8"?>
<a:theme xmlns:a="http://schemas.openxmlformats.org/drawingml/2006/main" name="13_SLIDES WITH IMAGES">
  <a:themeElements>
    <a:clrScheme name="Custom 11">
      <a:dk1>
        <a:srgbClr val="0A091B"/>
      </a:dk1>
      <a:lt1>
        <a:srgbClr val="343444"/>
      </a:lt1>
      <a:dk2>
        <a:srgbClr val="272733"/>
      </a:dk2>
      <a:lt2>
        <a:srgbClr val="FFFFFF"/>
      </a:lt2>
      <a:accent1>
        <a:srgbClr val="FFFFFF"/>
      </a:accent1>
      <a:accent2>
        <a:srgbClr val="281F76"/>
      </a:accent2>
      <a:accent3>
        <a:srgbClr val="3768B7"/>
      </a:accent3>
      <a:accent4>
        <a:srgbClr val="81A3D9"/>
      </a:accent4>
      <a:accent5>
        <a:srgbClr val="CAD4E4"/>
      </a:accent5>
      <a:accent6>
        <a:srgbClr val="82BDD4"/>
      </a:accent6>
      <a:hlink>
        <a:srgbClr val="3768B7"/>
      </a:hlink>
      <a:folHlink>
        <a:srgbClr val="3768B7"/>
      </a:folHlink>
    </a:clrScheme>
    <a:fontScheme name="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8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sq">
          <a:solidFill>
            <a:schemeClr val="accent2"/>
          </a:solidFill>
          <a:bevel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0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MPLICITY by SMART - 16x9 - NON-ANIMATED - Cool Ice - template" id="{36753E96-986E-4473-8C71-6A41EC558119}" vid="{82913011-1868-4964-B887-29E38324C8C2}"/>
    </a:ext>
  </a:extLst>
</a:theme>
</file>

<file path=ppt/theme/theme15.xml><?xml version="1.0" encoding="utf-8"?>
<a:theme xmlns:a="http://schemas.openxmlformats.org/drawingml/2006/main" name="14_SLIDES WITH IMAGES">
  <a:themeElements>
    <a:clrScheme name="Custom 11">
      <a:dk1>
        <a:srgbClr val="0A091B"/>
      </a:dk1>
      <a:lt1>
        <a:srgbClr val="343444"/>
      </a:lt1>
      <a:dk2>
        <a:srgbClr val="272733"/>
      </a:dk2>
      <a:lt2>
        <a:srgbClr val="FFFFFF"/>
      </a:lt2>
      <a:accent1>
        <a:srgbClr val="FFFFFF"/>
      </a:accent1>
      <a:accent2>
        <a:srgbClr val="281F76"/>
      </a:accent2>
      <a:accent3>
        <a:srgbClr val="3768B7"/>
      </a:accent3>
      <a:accent4>
        <a:srgbClr val="81A3D9"/>
      </a:accent4>
      <a:accent5>
        <a:srgbClr val="CAD4E4"/>
      </a:accent5>
      <a:accent6>
        <a:srgbClr val="82BDD4"/>
      </a:accent6>
      <a:hlink>
        <a:srgbClr val="3768B7"/>
      </a:hlink>
      <a:folHlink>
        <a:srgbClr val="3768B7"/>
      </a:folHlink>
    </a:clrScheme>
    <a:fontScheme name="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8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sq">
          <a:solidFill>
            <a:schemeClr val="accent2"/>
          </a:solidFill>
          <a:bevel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0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MPLICITY by SMART - 16x9 - NON-ANIMATED - Cool Ice - template" id="{36753E96-986E-4473-8C71-6A41EC558119}" vid="{82913011-1868-4964-B887-29E38324C8C2}"/>
    </a:ext>
  </a:extLst>
</a:theme>
</file>

<file path=ppt/theme/theme16.xml><?xml version="1.0" encoding="utf-8"?>
<a:theme xmlns:a="http://schemas.openxmlformats.org/drawingml/2006/main" name="15_SLIDES WITH IMAGES">
  <a:themeElements>
    <a:clrScheme name="Custom 11">
      <a:dk1>
        <a:srgbClr val="0A091B"/>
      </a:dk1>
      <a:lt1>
        <a:srgbClr val="343444"/>
      </a:lt1>
      <a:dk2>
        <a:srgbClr val="272733"/>
      </a:dk2>
      <a:lt2>
        <a:srgbClr val="FFFFFF"/>
      </a:lt2>
      <a:accent1>
        <a:srgbClr val="FFFFFF"/>
      </a:accent1>
      <a:accent2>
        <a:srgbClr val="281F76"/>
      </a:accent2>
      <a:accent3>
        <a:srgbClr val="3768B7"/>
      </a:accent3>
      <a:accent4>
        <a:srgbClr val="81A3D9"/>
      </a:accent4>
      <a:accent5>
        <a:srgbClr val="CAD4E4"/>
      </a:accent5>
      <a:accent6>
        <a:srgbClr val="82BDD4"/>
      </a:accent6>
      <a:hlink>
        <a:srgbClr val="3768B7"/>
      </a:hlink>
      <a:folHlink>
        <a:srgbClr val="3768B7"/>
      </a:folHlink>
    </a:clrScheme>
    <a:fontScheme name="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8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sq">
          <a:solidFill>
            <a:schemeClr val="accent2"/>
          </a:solidFill>
          <a:bevel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0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MPLICITY by SMART - 16x9 - NON-ANIMATED - Cool Ice - template" id="{36753E96-986E-4473-8C71-6A41EC558119}" vid="{82913011-1868-4964-B887-29E38324C8C2}"/>
    </a:ext>
  </a:extLst>
</a:theme>
</file>

<file path=ppt/theme/theme17.xml><?xml version="1.0" encoding="utf-8"?>
<a:theme xmlns:a="http://schemas.openxmlformats.org/drawingml/2006/main" name="16_SLIDES WITH IMAGES">
  <a:themeElements>
    <a:clrScheme name="Custom 11">
      <a:dk1>
        <a:srgbClr val="0A091B"/>
      </a:dk1>
      <a:lt1>
        <a:srgbClr val="343444"/>
      </a:lt1>
      <a:dk2>
        <a:srgbClr val="272733"/>
      </a:dk2>
      <a:lt2>
        <a:srgbClr val="FFFFFF"/>
      </a:lt2>
      <a:accent1>
        <a:srgbClr val="FFFFFF"/>
      </a:accent1>
      <a:accent2>
        <a:srgbClr val="281F76"/>
      </a:accent2>
      <a:accent3>
        <a:srgbClr val="3768B7"/>
      </a:accent3>
      <a:accent4>
        <a:srgbClr val="81A3D9"/>
      </a:accent4>
      <a:accent5>
        <a:srgbClr val="CAD4E4"/>
      </a:accent5>
      <a:accent6>
        <a:srgbClr val="82BDD4"/>
      </a:accent6>
      <a:hlink>
        <a:srgbClr val="3768B7"/>
      </a:hlink>
      <a:folHlink>
        <a:srgbClr val="3768B7"/>
      </a:folHlink>
    </a:clrScheme>
    <a:fontScheme name="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8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sq">
          <a:solidFill>
            <a:schemeClr val="accent2"/>
          </a:solidFill>
          <a:bevel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0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MPLICITY by SMART - 16x9 - NON-ANIMATED - Cool Ice - template" id="{36753E96-986E-4473-8C71-6A41EC558119}" vid="{82913011-1868-4964-B887-29E38324C8C2}"/>
    </a:ext>
  </a:extLst>
</a:theme>
</file>

<file path=ppt/theme/theme18.xml><?xml version="1.0" encoding="utf-8"?>
<a:theme xmlns:a="http://schemas.openxmlformats.org/drawingml/2006/main" name="Parcel">
  <a:themeElements>
    <a:clrScheme name="Parcel">
      <a:dk1>
        <a:srgbClr val="000000"/>
      </a:dk1>
      <a:lt1>
        <a:srgbClr val="FFFFFF"/>
      </a:lt1>
      <a:dk2>
        <a:srgbClr val="4A5356"/>
      </a:dk2>
      <a:lt2>
        <a:srgbClr val="E8E3CE"/>
      </a:lt2>
      <a:accent1>
        <a:srgbClr val="F6A21D"/>
      </a:accent1>
      <a:accent2>
        <a:srgbClr val="9BAFB5"/>
      </a:accent2>
      <a:accent3>
        <a:srgbClr val="C96731"/>
      </a:accent3>
      <a:accent4>
        <a:srgbClr val="9CA383"/>
      </a:accent4>
      <a:accent5>
        <a:srgbClr val="87795D"/>
      </a:accent5>
      <a:accent6>
        <a:srgbClr val="A0988C"/>
      </a:accent6>
      <a:hlink>
        <a:srgbClr val="00B0F0"/>
      </a:hlink>
      <a:folHlink>
        <a:srgbClr val="738F97"/>
      </a:folHlink>
    </a:clrScheme>
    <a:fontScheme name="Parcel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Parcel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107000"/>
                <a:lumMod val="103000"/>
              </a:schemeClr>
            </a:gs>
            <a:gs pos="100000">
              <a:schemeClr val="phClr">
                <a:tint val="82000"/>
                <a:satMod val="109000"/>
                <a:lumMod val="103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3000"/>
                <a:lumMod val="100000"/>
              </a:schemeClr>
            </a:gs>
            <a:gs pos="100000">
              <a:schemeClr val="phClr">
                <a:shade val="93000"/>
                <a:satMod val="11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5880" dist="1524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prstMaterial="dkEdge">
            <a:bevelT w="0" h="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7000"/>
                <a:shade val="100000"/>
                <a:satMod val="185000"/>
                <a:lumMod val="120000"/>
              </a:schemeClr>
            </a:gs>
            <a:gs pos="100000">
              <a:schemeClr val="phClr">
                <a:tint val="96000"/>
                <a:shade val="95000"/>
                <a:satMod val="215000"/>
                <a:lumMod val="80000"/>
              </a:schemeClr>
            </a:gs>
          </a:gsLst>
          <a:path path="circle">
            <a:fillToRect l="50000" t="55000" r="125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arcel" id="{8BEC4385-4EB9-4D53-BFB5-0EA123736B6D}" vid="{4DB32801-28C0-48B0-8C1D-A9A58613615A}"/>
    </a:ext>
  </a:extLst>
</a:theme>
</file>

<file path=ppt/theme/theme19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SLIDES WITH IMAGES">
  <a:themeElements>
    <a:clrScheme name="Custom 11">
      <a:dk1>
        <a:srgbClr val="0A091B"/>
      </a:dk1>
      <a:lt1>
        <a:srgbClr val="343444"/>
      </a:lt1>
      <a:dk2>
        <a:srgbClr val="272733"/>
      </a:dk2>
      <a:lt2>
        <a:srgbClr val="FFFFFF"/>
      </a:lt2>
      <a:accent1>
        <a:srgbClr val="FFFFFF"/>
      </a:accent1>
      <a:accent2>
        <a:srgbClr val="281F76"/>
      </a:accent2>
      <a:accent3>
        <a:srgbClr val="3768B7"/>
      </a:accent3>
      <a:accent4>
        <a:srgbClr val="81A3D9"/>
      </a:accent4>
      <a:accent5>
        <a:srgbClr val="CAD4E4"/>
      </a:accent5>
      <a:accent6>
        <a:srgbClr val="82BDD4"/>
      </a:accent6>
      <a:hlink>
        <a:srgbClr val="3768B7"/>
      </a:hlink>
      <a:folHlink>
        <a:srgbClr val="3768B7"/>
      </a:folHlink>
    </a:clrScheme>
    <a:fontScheme name="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8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sq">
          <a:solidFill>
            <a:schemeClr val="accent2"/>
          </a:solidFill>
          <a:bevel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0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MPLICITY by SMART - 16x9 - NON-ANIMATED - Cool Ice - template" id="{36753E96-986E-4473-8C71-6A41EC558119}" vid="{82913011-1868-4964-B887-29E38324C8C2}"/>
    </a:ext>
  </a:extLst>
</a:theme>
</file>

<file path=ppt/theme/theme2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1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SLIDES WITH IMAGES">
  <a:themeElements>
    <a:clrScheme name="Custom 11">
      <a:dk1>
        <a:srgbClr val="0A091B"/>
      </a:dk1>
      <a:lt1>
        <a:srgbClr val="343444"/>
      </a:lt1>
      <a:dk2>
        <a:srgbClr val="272733"/>
      </a:dk2>
      <a:lt2>
        <a:srgbClr val="FFFFFF"/>
      </a:lt2>
      <a:accent1>
        <a:srgbClr val="FFFFFF"/>
      </a:accent1>
      <a:accent2>
        <a:srgbClr val="281F76"/>
      </a:accent2>
      <a:accent3>
        <a:srgbClr val="3768B7"/>
      </a:accent3>
      <a:accent4>
        <a:srgbClr val="81A3D9"/>
      </a:accent4>
      <a:accent5>
        <a:srgbClr val="CAD4E4"/>
      </a:accent5>
      <a:accent6>
        <a:srgbClr val="82BDD4"/>
      </a:accent6>
      <a:hlink>
        <a:srgbClr val="3768B7"/>
      </a:hlink>
      <a:folHlink>
        <a:srgbClr val="3768B7"/>
      </a:folHlink>
    </a:clrScheme>
    <a:fontScheme name="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8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sq">
          <a:solidFill>
            <a:schemeClr val="accent2"/>
          </a:solidFill>
          <a:bevel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0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MPLICITY by SMART - 16x9 - NON-ANIMATED - Cool Ice - template" id="{36753E96-986E-4473-8C71-6A41EC558119}" vid="{82913011-1868-4964-B887-29E38324C8C2}"/>
    </a:ext>
  </a:extLst>
</a:theme>
</file>

<file path=ppt/theme/theme4.xml><?xml version="1.0" encoding="utf-8"?>
<a:theme xmlns:a="http://schemas.openxmlformats.org/drawingml/2006/main" name="3_SLIDES WITH IMAGES">
  <a:themeElements>
    <a:clrScheme name="Custom 11">
      <a:dk1>
        <a:srgbClr val="0A091B"/>
      </a:dk1>
      <a:lt1>
        <a:srgbClr val="343444"/>
      </a:lt1>
      <a:dk2>
        <a:srgbClr val="272733"/>
      </a:dk2>
      <a:lt2>
        <a:srgbClr val="FFFFFF"/>
      </a:lt2>
      <a:accent1>
        <a:srgbClr val="FFFFFF"/>
      </a:accent1>
      <a:accent2>
        <a:srgbClr val="281F76"/>
      </a:accent2>
      <a:accent3>
        <a:srgbClr val="3768B7"/>
      </a:accent3>
      <a:accent4>
        <a:srgbClr val="81A3D9"/>
      </a:accent4>
      <a:accent5>
        <a:srgbClr val="CAD4E4"/>
      </a:accent5>
      <a:accent6>
        <a:srgbClr val="82BDD4"/>
      </a:accent6>
      <a:hlink>
        <a:srgbClr val="3768B7"/>
      </a:hlink>
      <a:folHlink>
        <a:srgbClr val="3768B7"/>
      </a:folHlink>
    </a:clrScheme>
    <a:fontScheme name="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8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sq">
          <a:solidFill>
            <a:schemeClr val="accent2"/>
          </a:solidFill>
          <a:bevel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0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MPLICITY by SMART - 16x9 - NON-ANIMATED - Cool Ice - template" id="{36753E96-986E-4473-8C71-6A41EC558119}" vid="{82913011-1868-4964-B887-29E38324C8C2}"/>
    </a:ext>
  </a:extLst>
</a:theme>
</file>

<file path=ppt/theme/theme5.xml><?xml version="1.0" encoding="utf-8"?>
<a:theme xmlns:a="http://schemas.openxmlformats.org/drawingml/2006/main" name="4_SLIDES WITH IMAGES">
  <a:themeElements>
    <a:clrScheme name="Custom 11">
      <a:dk1>
        <a:srgbClr val="0A091B"/>
      </a:dk1>
      <a:lt1>
        <a:srgbClr val="343444"/>
      </a:lt1>
      <a:dk2>
        <a:srgbClr val="272733"/>
      </a:dk2>
      <a:lt2>
        <a:srgbClr val="FFFFFF"/>
      </a:lt2>
      <a:accent1>
        <a:srgbClr val="FFFFFF"/>
      </a:accent1>
      <a:accent2>
        <a:srgbClr val="281F76"/>
      </a:accent2>
      <a:accent3>
        <a:srgbClr val="3768B7"/>
      </a:accent3>
      <a:accent4>
        <a:srgbClr val="81A3D9"/>
      </a:accent4>
      <a:accent5>
        <a:srgbClr val="CAD4E4"/>
      </a:accent5>
      <a:accent6>
        <a:srgbClr val="82BDD4"/>
      </a:accent6>
      <a:hlink>
        <a:srgbClr val="3768B7"/>
      </a:hlink>
      <a:folHlink>
        <a:srgbClr val="3768B7"/>
      </a:folHlink>
    </a:clrScheme>
    <a:fontScheme name="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8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sq">
          <a:solidFill>
            <a:schemeClr val="accent2"/>
          </a:solidFill>
          <a:bevel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0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MPLICITY by SMART - 16x9 - NON-ANIMATED - Cool Ice - template" id="{36753E96-986E-4473-8C71-6A41EC558119}" vid="{82913011-1868-4964-B887-29E38324C8C2}"/>
    </a:ext>
  </a:extLst>
</a:theme>
</file>

<file path=ppt/theme/theme6.xml><?xml version="1.0" encoding="utf-8"?>
<a:theme xmlns:a="http://schemas.openxmlformats.org/drawingml/2006/main" name="5_SLIDES WITH IMAGES">
  <a:themeElements>
    <a:clrScheme name="Custom 11">
      <a:dk1>
        <a:srgbClr val="0A091B"/>
      </a:dk1>
      <a:lt1>
        <a:srgbClr val="343444"/>
      </a:lt1>
      <a:dk2>
        <a:srgbClr val="272733"/>
      </a:dk2>
      <a:lt2>
        <a:srgbClr val="FFFFFF"/>
      </a:lt2>
      <a:accent1>
        <a:srgbClr val="FFFFFF"/>
      </a:accent1>
      <a:accent2>
        <a:srgbClr val="281F76"/>
      </a:accent2>
      <a:accent3>
        <a:srgbClr val="3768B7"/>
      </a:accent3>
      <a:accent4>
        <a:srgbClr val="81A3D9"/>
      </a:accent4>
      <a:accent5>
        <a:srgbClr val="CAD4E4"/>
      </a:accent5>
      <a:accent6>
        <a:srgbClr val="82BDD4"/>
      </a:accent6>
      <a:hlink>
        <a:srgbClr val="3768B7"/>
      </a:hlink>
      <a:folHlink>
        <a:srgbClr val="3768B7"/>
      </a:folHlink>
    </a:clrScheme>
    <a:fontScheme name="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8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sq">
          <a:solidFill>
            <a:schemeClr val="accent2"/>
          </a:solidFill>
          <a:bevel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0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MPLICITY by SMART - 16x9 - NON-ANIMATED - Cool Ice - template" id="{36753E96-986E-4473-8C71-6A41EC558119}" vid="{82913011-1868-4964-B887-29E38324C8C2}"/>
    </a:ext>
  </a:extLst>
</a:theme>
</file>

<file path=ppt/theme/theme7.xml><?xml version="1.0" encoding="utf-8"?>
<a:theme xmlns:a="http://schemas.openxmlformats.org/drawingml/2006/main" name="6_SLIDES WITH IMAGES">
  <a:themeElements>
    <a:clrScheme name="Custom 11">
      <a:dk1>
        <a:srgbClr val="0A091B"/>
      </a:dk1>
      <a:lt1>
        <a:srgbClr val="343444"/>
      </a:lt1>
      <a:dk2>
        <a:srgbClr val="272733"/>
      </a:dk2>
      <a:lt2>
        <a:srgbClr val="FFFFFF"/>
      </a:lt2>
      <a:accent1>
        <a:srgbClr val="FFFFFF"/>
      </a:accent1>
      <a:accent2>
        <a:srgbClr val="281F76"/>
      </a:accent2>
      <a:accent3>
        <a:srgbClr val="3768B7"/>
      </a:accent3>
      <a:accent4>
        <a:srgbClr val="81A3D9"/>
      </a:accent4>
      <a:accent5>
        <a:srgbClr val="CAD4E4"/>
      </a:accent5>
      <a:accent6>
        <a:srgbClr val="82BDD4"/>
      </a:accent6>
      <a:hlink>
        <a:srgbClr val="3768B7"/>
      </a:hlink>
      <a:folHlink>
        <a:srgbClr val="3768B7"/>
      </a:folHlink>
    </a:clrScheme>
    <a:fontScheme name="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8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sq">
          <a:solidFill>
            <a:schemeClr val="accent2"/>
          </a:solidFill>
          <a:bevel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0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MPLICITY by SMART - 16x9 - NON-ANIMATED - Cool Ice - template" id="{36753E96-986E-4473-8C71-6A41EC558119}" vid="{82913011-1868-4964-B887-29E38324C8C2}"/>
    </a:ext>
  </a:extLst>
</a:theme>
</file>

<file path=ppt/theme/theme8.xml><?xml version="1.0" encoding="utf-8"?>
<a:theme xmlns:a="http://schemas.openxmlformats.org/drawingml/2006/main" name="7_SLIDES WITH IMAGES">
  <a:themeElements>
    <a:clrScheme name="Custom 11">
      <a:dk1>
        <a:srgbClr val="0A091B"/>
      </a:dk1>
      <a:lt1>
        <a:srgbClr val="343444"/>
      </a:lt1>
      <a:dk2>
        <a:srgbClr val="272733"/>
      </a:dk2>
      <a:lt2>
        <a:srgbClr val="FFFFFF"/>
      </a:lt2>
      <a:accent1>
        <a:srgbClr val="FFFFFF"/>
      </a:accent1>
      <a:accent2>
        <a:srgbClr val="281F76"/>
      </a:accent2>
      <a:accent3>
        <a:srgbClr val="3768B7"/>
      </a:accent3>
      <a:accent4>
        <a:srgbClr val="81A3D9"/>
      </a:accent4>
      <a:accent5>
        <a:srgbClr val="CAD4E4"/>
      </a:accent5>
      <a:accent6>
        <a:srgbClr val="82BDD4"/>
      </a:accent6>
      <a:hlink>
        <a:srgbClr val="3768B7"/>
      </a:hlink>
      <a:folHlink>
        <a:srgbClr val="3768B7"/>
      </a:folHlink>
    </a:clrScheme>
    <a:fontScheme name="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8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sq">
          <a:solidFill>
            <a:schemeClr val="accent2"/>
          </a:solidFill>
          <a:bevel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0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MPLICITY by SMART - 16x9 - NON-ANIMATED - Cool Ice - template" id="{36753E96-986E-4473-8C71-6A41EC558119}" vid="{82913011-1868-4964-B887-29E38324C8C2}"/>
    </a:ext>
  </a:extLst>
</a:theme>
</file>

<file path=ppt/theme/theme9.xml><?xml version="1.0" encoding="utf-8"?>
<a:theme xmlns:a="http://schemas.openxmlformats.org/drawingml/2006/main" name="8_SLIDES WITH IMAGES">
  <a:themeElements>
    <a:clrScheme name="Custom 11">
      <a:dk1>
        <a:srgbClr val="0A091B"/>
      </a:dk1>
      <a:lt1>
        <a:srgbClr val="343444"/>
      </a:lt1>
      <a:dk2>
        <a:srgbClr val="272733"/>
      </a:dk2>
      <a:lt2>
        <a:srgbClr val="FFFFFF"/>
      </a:lt2>
      <a:accent1>
        <a:srgbClr val="FFFFFF"/>
      </a:accent1>
      <a:accent2>
        <a:srgbClr val="281F76"/>
      </a:accent2>
      <a:accent3>
        <a:srgbClr val="3768B7"/>
      </a:accent3>
      <a:accent4>
        <a:srgbClr val="81A3D9"/>
      </a:accent4>
      <a:accent5>
        <a:srgbClr val="CAD4E4"/>
      </a:accent5>
      <a:accent6>
        <a:srgbClr val="82BDD4"/>
      </a:accent6>
      <a:hlink>
        <a:srgbClr val="3768B7"/>
      </a:hlink>
      <a:folHlink>
        <a:srgbClr val="3768B7"/>
      </a:folHlink>
    </a:clrScheme>
    <a:fontScheme name="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8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sq">
          <a:solidFill>
            <a:schemeClr val="accent2"/>
          </a:solidFill>
          <a:bevel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0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MPLICITY by SMART - 16x9 - NON-ANIMATED - Cool Ice - template" id="{36753E96-986E-4473-8C71-6A41EC558119}" vid="{82913011-1868-4964-B887-29E38324C8C2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Yu Gothic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Yu Gothic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5345ce46-59d5-4cbd-8433-fd12cfa795f4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Έγγραφο" ma:contentTypeID="0x01010034031B0432442E44A88A43B9067FB87D" ma:contentTypeVersion="4" ma:contentTypeDescription="Δημιουργία νέου εγγράφου" ma:contentTypeScope="" ma:versionID="792cc50b54573b4fa962bec5eef1d0e0">
  <xsd:schema xmlns:xsd="http://www.w3.org/2001/XMLSchema" xmlns:xs="http://www.w3.org/2001/XMLSchema" xmlns:p="http://schemas.microsoft.com/office/2006/metadata/properties" xmlns:ns3="5345ce46-59d5-4cbd-8433-fd12cfa795f4" targetNamespace="http://schemas.microsoft.com/office/2006/metadata/properties" ma:root="true" ma:fieldsID="15fd705df2a3ce4aa8e0e4114e36add9" ns3:_="">
    <xsd:import namespace="5345ce46-59d5-4cbd-8433-fd12cfa795f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_activity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45ce46-59d5-4cbd-8433-fd12cfa795f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_activity" ma:index="10" nillable="true" ma:displayName="_activity" ma:hidden="true" ma:internalName="_activity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Τύπος περιεχομένου"/>
        <xsd:element ref="dc:title" minOccurs="0" maxOccurs="1" ma:index="4" ma:displayName="Τίτλος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65A0F8E-A2C5-418B-8FEA-3D90D07F7572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5345ce46-59d5-4cbd-8433-fd12cfa795f4"/>
    <ds:schemaRef ds:uri="http://purl.org/dc/dcmitype/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3FFC83C-CCDB-41E9-87DC-039D3C135EF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345ce46-59d5-4cbd-8433-fd12cfa795f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422F559-48B3-4D51-B285-57E86F17CF4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703</TotalTime>
  <Words>2959</Words>
  <Application>Microsoft Office PowerPoint</Application>
  <PresentationFormat>Προσαρμογή</PresentationFormat>
  <Paragraphs>519</Paragraphs>
  <Slides>28</Slides>
  <Notes>10</Notes>
  <HiddenSlides>0</HiddenSlides>
  <MMClips>0</MMClips>
  <ScaleCrop>false</ScaleCrop>
  <HeadingPairs>
    <vt:vector size="8" baseType="variant">
      <vt:variant>
        <vt:lpstr>Γραμματοσειρές που χρησιμοποιούνται</vt:lpstr>
      </vt:variant>
      <vt:variant>
        <vt:i4>20</vt:i4>
      </vt:variant>
      <vt:variant>
        <vt:lpstr>Θέμα</vt:lpstr>
      </vt:variant>
      <vt:variant>
        <vt:i4>19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28</vt:i4>
      </vt:variant>
    </vt:vector>
  </HeadingPairs>
  <TitlesOfParts>
    <vt:vector size="68" baseType="lpstr">
      <vt:lpstr>等线</vt:lpstr>
      <vt:lpstr>等线 Light</vt:lpstr>
      <vt:lpstr>微软雅黑</vt:lpstr>
      <vt:lpstr>Arial</vt:lpstr>
      <vt:lpstr>Arial MT</vt:lpstr>
      <vt:lpstr>Arial Nova Light</vt:lpstr>
      <vt:lpstr>Calibri</vt:lpstr>
      <vt:lpstr>Calibri Light</vt:lpstr>
      <vt:lpstr>Century Gothic</vt:lpstr>
      <vt:lpstr>Corbel</vt:lpstr>
      <vt:lpstr>Courier New</vt:lpstr>
      <vt:lpstr>Gill Sans MT</vt:lpstr>
      <vt:lpstr>Lato</vt:lpstr>
      <vt:lpstr>Lato Black</vt:lpstr>
      <vt:lpstr>Lato Light</vt:lpstr>
      <vt:lpstr>Open Sans</vt:lpstr>
      <vt:lpstr>Roboto Condensed</vt:lpstr>
      <vt:lpstr>Segoe UI</vt:lpstr>
      <vt:lpstr>Times New Roman</vt:lpstr>
      <vt:lpstr>Wingdings</vt:lpstr>
      <vt:lpstr>SLIDES WITH IMAGES</vt:lpstr>
      <vt:lpstr>1_SLIDES WITH IMAGES</vt:lpstr>
      <vt:lpstr>2_SLIDES WITH IMAGES</vt:lpstr>
      <vt:lpstr>3_SLIDES WITH IMAGES</vt:lpstr>
      <vt:lpstr>4_SLIDES WITH IMAGES</vt:lpstr>
      <vt:lpstr>5_SLIDES WITH IMAGES</vt:lpstr>
      <vt:lpstr>6_SLIDES WITH IMAGES</vt:lpstr>
      <vt:lpstr>7_SLIDES WITH IMAGES</vt:lpstr>
      <vt:lpstr>8_SLIDES WITH IMAGES</vt:lpstr>
      <vt:lpstr>10_SLIDES WITH IMAGES</vt:lpstr>
      <vt:lpstr>9_SLIDES WITH IMAGES</vt:lpstr>
      <vt:lpstr>11_SLIDES WITH IMAGES</vt:lpstr>
      <vt:lpstr>12_SLIDES WITH IMAGES</vt:lpstr>
      <vt:lpstr>13_SLIDES WITH IMAGES</vt:lpstr>
      <vt:lpstr>14_SLIDES WITH IMAGES</vt:lpstr>
      <vt:lpstr>15_SLIDES WITH IMAGES</vt:lpstr>
      <vt:lpstr>16_SLIDES WITH IMAGES</vt:lpstr>
      <vt:lpstr>Parcel</vt:lpstr>
      <vt:lpstr>Θέμα του Office</vt:lpstr>
      <vt:lpstr>think-cell Slide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</vt:vector>
  </TitlesOfParts>
  <Company>NB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Παρουσίαση του PowerPoint</dc:title>
  <dc:creator>Dimitrios Plessas</dc:creator>
  <cp:lastModifiedBy>User</cp:lastModifiedBy>
  <cp:revision>964</cp:revision>
  <cp:lastPrinted>2023-04-10T14:04:44Z</cp:lastPrinted>
  <dcterms:created xsi:type="dcterms:W3CDTF">2016-11-16T09:31:15Z</dcterms:created>
  <dcterms:modified xsi:type="dcterms:W3CDTF">2024-03-15T09:47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4031B0432442E44A88A43B9067FB87D</vt:lpwstr>
  </property>
</Properties>
</file>